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slideLayouts/slideLayout11.xml" ContentType="application/vnd.openxmlformats-officedocument.presentationml.slideLayout+xml"/>
  <Override PartName="/ppt/theme/theme4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5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6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7.xml" ContentType="application/vnd.openxmlformats-officedocument.theme+xml"/>
  <Override PartName="/ppt/tags/tag3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8.xml" ContentType="application/vnd.openxmlformats-officedocument.theme+xml"/>
  <Override PartName="/ppt/tags/tag4.xml" ContentType="application/vnd.openxmlformats-officedocument.presentationml.tags+xml"/>
  <Override PartName="/ppt/theme/theme9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3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6.xml" ContentType="application/vnd.openxmlformats-officedocument.presentationml.notesSlide+xml"/>
  <Override PartName="/ppt/charts/chart5.xml" ContentType="application/vnd.openxmlformats-officedocument.drawingml.chart+xml"/>
  <Override PartName="/ppt/theme/themeOverride3.xml" ContentType="application/vnd.openxmlformats-officedocument.themeOverride+xml"/>
  <Override PartName="/ppt/charts/chart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heme/themeOverride4.xml" ContentType="application/vnd.openxmlformats-officedocument.themeOverride+xml"/>
  <Override PartName="/ppt/charts/chart8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8.xml" ContentType="application/vnd.openxmlformats-officedocument.presentationml.notesSlide+xml"/>
  <Override PartName="/ppt/charts/chart9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10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11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charts/chart12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3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4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9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5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6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7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8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9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20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21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22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23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4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5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notesSlides/notesSlide12.xml" ContentType="application/vnd.openxmlformats-officedocument.presentationml.notesSlid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notesSlides/notesSlide13.xml" ContentType="application/vnd.openxmlformats-officedocument.presentationml.notesSlid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26.xml" ContentType="application/vnd.openxmlformats-officedocument.drawingml.chart+xml"/>
  <Override PartName="/ppt/theme/themeOverride5.xml" ContentType="application/vnd.openxmlformats-officedocument.themeOverride+xml"/>
  <Override PartName="/ppt/charts/chart27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heme/themeOverride6.xml" ContentType="application/vnd.openxmlformats-officedocument.themeOverrid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28.xml" ContentType="application/vnd.openxmlformats-officedocument.drawingml.chart+xml"/>
  <Override PartName="/ppt/theme/themeOverride7.xml" ContentType="application/vnd.openxmlformats-officedocument.themeOverride+xml"/>
  <Override PartName="/ppt/charts/chart29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30.xml" ContentType="application/vnd.openxmlformats-officedocument.drawingml.chart+xml"/>
  <Override PartName="/ppt/theme/themeOverride8.xml" ContentType="application/vnd.openxmlformats-officedocument.themeOverride+xml"/>
  <Override PartName="/ppt/charts/chart31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32.xml" ContentType="application/vnd.openxmlformats-officedocument.drawingml.chart+xml"/>
  <Override PartName="/ppt/theme/themeOverride9.xml" ContentType="application/vnd.openxmlformats-officedocument.themeOverride+xml"/>
  <Override PartName="/ppt/charts/chart33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34.xml" ContentType="application/vnd.openxmlformats-officedocument.drawingml.chart+xml"/>
  <Override PartName="/ppt/theme/themeOverride10.xml" ContentType="application/vnd.openxmlformats-officedocument.themeOverride+xml"/>
  <Override PartName="/ppt/charts/chart35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36.xml" ContentType="application/vnd.openxmlformats-officedocument.drawingml.chart+xml"/>
  <Override PartName="/ppt/theme/themeOverride11.xml" ContentType="application/vnd.openxmlformats-officedocument.themeOverride+xml"/>
  <Override PartName="/ppt/charts/chart3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38.xml" ContentType="application/vnd.openxmlformats-officedocument.drawingml.chart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39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drawings/drawing1.xml" ContentType="application/vnd.openxmlformats-officedocument.drawingml.chartshape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40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41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42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43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44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45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46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47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charts/chart48.xml" ContentType="application/vnd.openxmlformats-officedocument.drawingml.chart+xml"/>
  <Override PartName="/ppt/charts/chart49.xml" ContentType="application/vnd.openxmlformats-officedocument.drawingml.chart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charts/chart50.xml" ContentType="application/vnd.openxmlformats-officedocument.drawingml.chart+xml"/>
  <Override PartName="/ppt/charts/chart51.xml" ContentType="application/vnd.openxmlformats-officedocument.drawingml.chart+xml"/>
  <Override PartName="/ppt/tags/tag274.xml" ContentType="application/vnd.openxmlformats-officedocument.presentationml.tags+xml"/>
  <Override PartName="/ppt/charts/chart52.xml" ContentType="application/vnd.openxmlformats-officedocument.drawingml.chart+xml"/>
  <Override PartName="/ppt/theme/themeOverride12.xml" ContentType="application/vnd.openxmlformats-officedocument.themeOverride+xml"/>
  <Override PartName="/ppt/charts/chart53.xml" ContentType="application/vnd.openxmlformats-officedocument.drawingml.chart+xml"/>
  <Override PartName="/ppt/tags/tag275.xml" ContentType="application/vnd.openxmlformats-officedocument.presentationml.tags+xml"/>
  <Override PartName="/ppt/charts/chart54.xml" ContentType="application/vnd.openxmlformats-officedocument.drawingml.chart+xml"/>
  <Override PartName="/ppt/theme/themeOverride13.xml" ContentType="application/vnd.openxmlformats-officedocument.themeOverride+xml"/>
  <Override PartName="/ppt/charts/chart55.xml" ContentType="application/vnd.openxmlformats-officedocument.drawingml.chart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charts/chart56.xml" ContentType="application/vnd.openxmlformats-officedocument.drawingml.chart+xml"/>
  <Override PartName="/ppt/theme/themeOverride14.xml" ContentType="application/vnd.openxmlformats-officedocument.themeOverride+xml"/>
  <Override PartName="/ppt/charts/chart57.xml" ContentType="application/vnd.openxmlformats-officedocument.drawingml.chart+xml"/>
  <Override PartName="/ppt/theme/themeOverride15.xml" ContentType="application/vnd.openxmlformats-officedocument.themeOverride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charts/chart58.xml" ContentType="application/vnd.openxmlformats-officedocument.drawingml.chart+xml"/>
  <Override PartName="/ppt/theme/themeOverride16.xml" ContentType="application/vnd.openxmlformats-officedocument.themeOverride+xml"/>
  <Override PartName="/ppt/charts/chart59.xml" ContentType="application/vnd.openxmlformats-officedocument.drawingml.chart+xml"/>
  <Override PartName="/ppt/theme/themeOverride17.xml" ContentType="application/vnd.openxmlformats-officedocument.themeOverride+xml"/>
  <Override PartName="/ppt/notesSlides/notesSlide26.xml" ContentType="application/vnd.openxmlformats-officedocument.presentationml.notesSlide+xml"/>
  <Override PartName="/ppt/tags/tag296.xml" ContentType="application/vnd.openxmlformats-officedocument.presentationml.tags+xml"/>
  <Override PartName="/ppt/notesSlides/notesSlide27.xml" ContentType="application/vnd.openxmlformats-officedocument.presentationml.notesSlide+xml"/>
  <Override PartName="/ppt/tags/tag297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60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theme/themeOverride18.xml" ContentType="application/vnd.openxmlformats-officedocument.themeOverride+xml"/>
  <Override PartName="/ppt/tags/tag298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61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theme/themeOverride19.xml" ContentType="application/vnd.openxmlformats-officedocument.themeOverride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notesSlides/notesSlide30.xml" ContentType="application/vnd.openxmlformats-officedocument.presentationml.notesSlide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notesSlides/notesSlide31.xml" ContentType="application/vnd.openxmlformats-officedocument.presentationml.notesSlide+xml"/>
  <Override PartName="/ppt/charts/chart62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63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notesSlides/notesSlide32.xml" ContentType="application/vnd.openxmlformats-officedocument.presentationml.notesSlide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notesSlides/notesSlide33.xml" ContentType="application/vnd.openxmlformats-officedocument.presentationml.notesSlide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notesSlides/notesSlide34.xml" ContentType="application/vnd.openxmlformats-officedocument.presentationml.notesSlide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notesSlides/notesSlide35.xml" ContentType="application/vnd.openxmlformats-officedocument.presentationml.notesSlide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notesSlides/notesSlide36.xml" ContentType="application/vnd.openxmlformats-officedocument.presentationml.notesSlide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notesSlides/notesSlide37.xml" ContentType="application/vnd.openxmlformats-officedocument.presentationml.notesSlide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notesSlides/notesSlide38.xml" ContentType="application/vnd.openxmlformats-officedocument.presentationml.notesSlide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notesSlides/notesSlide39.xml" ContentType="application/vnd.openxmlformats-officedocument.presentationml.notesSlide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notesSlides/notesSlide40.xml" ContentType="application/vnd.openxmlformats-officedocument.presentationml.notesSlide+xml"/>
  <Override PartName="/ppt/charts/chart64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rts/chart65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charts/chart66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charts/chart67.xml" ContentType="application/vnd.openxmlformats-officedocument.drawingml.chart+xml"/>
  <Override PartName="/ppt/charts/style44.xml" ContentType="application/vnd.ms-office.chartstyle+xml"/>
  <Override PartName="/ppt/charts/colors44.xml" ContentType="application/vnd.ms-office.chartcolorstyle+xml"/>
  <Override PartName="/ppt/charts/chart68.xml" ContentType="application/vnd.openxmlformats-officedocument.drawingml.chart+xml"/>
  <Override PartName="/ppt/charts/style45.xml" ContentType="application/vnd.ms-office.chartstyle+xml"/>
  <Override PartName="/ppt/charts/colors45.xml" ContentType="application/vnd.ms-office.chartcolorstyle+xml"/>
  <Override PartName="/ppt/charts/chart69.xml" ContentType="application/vnd.openxmlformats-officedocument.drawingml.chart+xml"/>
  <Override PartName="/ppt/charts/style46.xml" ContentType="application/vnd.ms-office.chartstyle+xml"/>
  <Override PartName="/ppt/charts/colors46.xml" ContentType="application/vnd.ms-office.chartcolorstyle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notesSlides/notesSlide41.xml" ContentType="application/vnd.openxmlformats-officedocument.presentationml.notesSlide+xml"/>
  <Override PartName="/ppt/charts/chart70.xml" ContentType="application/vnd.openxmlformats-officedocument.drawingml.chart+xml"/>
  <Override PartName="/ppt/charts/style47.xml" ContentType="application/vnd.ms-office.chartstyle+xml"/>
  <Override PartName="/ppt/charts/colors47.xml" ContentType="application/vnd.ms-office.chartcolorstyle+xml"/>
  <Override PartName="/ppt/charts/chart71.xml" ContentType="application/vnd.openxmlformats-officedocument.drawingml.chart+xml"/>
  <Override PartName="/ppt/charts/style48.xml" ContentType="application/vnd.ms-office.chartstyle+xml"/>
  <Override PartName="/ppt/charts/colors48.xml" ContentType="application/vnd.ms-office.chartcolorstyle+xml"/>
  <Override PartName="/ppt/charts/chart72.xml" ContentType="application/vnd.openxmlformats-officedocument.drawingml.chart+xml"/>
  <Override PartName="/ppt/charts/style49.xml" ContentType="application/vnd.ms-office.chartstyle+xml"/>
  <Override PartName="/ppt/charts/colors49.xml" ContentType="application/vnd.ms-office.chartcolorstyle+xml"/>
  <Override PartName="/ppt/charts/chart73.xml" ContentType="application/vnd.openxmlformats-officedocument.drawingml.chart+xml"/>
  <Override PartName="/ppt/charts/style50.xml" ContentType="application/vnd.ms-office.chartstyle+xml"/>
  <Override PartName="/ppt/charts/colors50.xml" ContentType="application/vnd.ms-office.chartcolorstyle+xml"/>
  <Override PartName="/ppt/charts/chart74.xml" ContentType="application/vnd.openxmlformats-officedocument.drawingml.chart+xml"/>
  <Override PartName="/ppt/charts/style51.xml" ContentType="application/vnd.ms-office.chartstyle+xml"/>
  <Override PartName="/ppt/charts/colors51.xml" ContentType="application/vnd.ms-office.chartcolorstyle+xml"/>
  <Override PartName="/ppt/charts/chart75.xml" ContentType="application/vnd.openxmlformats-officedocument.drawingml.chart+xml"/>
  <Override PartName="/ppt/charts/style52.xml" ContentType="application/vnd.ms-office.chartstyle+xml"/>
  <Override PartName="/ppt/charts/colors52.xml" ContentType="application/vnd.ms-office.chartcolorstyle+xml"/>
  <Override PartName="/ppt/tags/tag386.xml" ContentType="application/vnd.openxmlformats-officedocument.presentationml.tags+xml"/>
  <Override PartName="/ppt/notesSlides/notesSlide42.xml" ContentType="application/vnd.openxmlformats-officedocument.presentationml.notesSlide+xml"/>
  <Override PartName="/ppt/charts/chart76.xml" ContentType="application/vnd.openxmlformats-officedocument.drawingml.chart+xml"/>
  <Override PartName="/ppt/charts/style53.xml" ContentType="application/vnd.ms-office.chartstyle+xml"/>
  <Override PartName="/ppt/charts/colors53.xml" ContentType="application/vnd.ms-office.chartcolorstyle+xml"/>
  <Override PartName="/ppt/charts/chart77.xml" ContentType="application/vnd.openxmlformats-officedocument.drawingml.chart+xml"/>
  <Override PartName="/ppt/charts/style54.xml" ContentType="application/vnd.ms-office.chartstyle+xml"/>
  <Override PartName="/ppt/charts/colors54.xml" ContentType="application/vnd.ms-office.chartcolorstyle+xml"/>
  <Override PartName="/ppt/charts/chart78.xml" ContentType="application/vnd.openxmlformats-officedocument.drawingml.chart+xml"/>
  <Override PartName="/ppt/charts/style55.xml" ContentType="application/vnd.ms-office.chartstyle+xml"/>
  <Override PartName="/ppt/charts/colors55.xml" ContentType="application/vnd.ms-office.chartcolorstyle+xml"/>
  <Override PartName="/ppt/tags/tag387.xml" ContentType="application/vnd.openxmlformats-officedocument.presentationml.tags+xml"/>
  <Override PartName="/ppt/notesSlides/notesSlide43.xml" ContentType="application/vnd.openxmlformats-officedocument.presentationml.notesSlide+xml"/>
  <Override PartName="/ppt/charts/chart79.xml" ContentType="application/vnd.openxmlformats-officedocument.drawingml.chart+xml"/>
  <Override PartName="/ppt/charts/style56.xml" ContentType="application/vnd.ms-office.chartstyle+xml"/>
  <Override PartName="/ppt/charts/colors56.xml" ContentType="application/vnd.ms-office.chartcolorstyle+xml"/>
  <Override PartName="/ppt/charts/chart80.xml" ContentType="application/vnd.openxmlformats-officedocument.drawingml.chart+xml"/>
  <Override PartName="/ppt/charts/style57.xml" ContentType="application/vnd.ms-office.chartstyle+xml"/>
  <Override PartName="/ppt/charts/colors57.xml" ContentType="application/vnd.ms-office.chartcolorstyle+xml"/>
  <Override PartName="/ppt/charts/chart81.xml" ContentType="application/vnd.openxmlformats-officedocument.drawingml.chart+xml"/>
  <Override PartName="/ppt/charts/style58.xml" ContentType="application/vnd.ms-office.chartstyle+xml"/>
  <Override PartName="/ppt/charts/colors58.xml" ContentType="application/vnd.ms-office.chartcolorstyle+xml"/>
  <Override PartName="/ppt/tags/tag388.xml" ContentType="application/vnd.openxmlformats-officedocument.presentationml.tags+xml"/>
  <Override PartName="/ppt/notesSlides/notesSlide44.xml" ContentType="application/vnd.openxmlformats-officedocument.presentationml.notesSlide+xml"/>
  <Override PartName="/ppt/charts/chart82.xml" ContentType="application/vnd.openxmlformats-officedocument.drawingml.chart+xml"/>
  <Override PartName="/ppt/charts/style59.xml" ContentType="application/vnd.ms-office.chartstyle+xml"/>
  <Override PartName="/ppt/charts/colors59.xml" ContentType="application/vnd.ms-office.chartcolorstyle+xml"/>
  <Override PartName="/ppt/charts/chart83.xml" ContentType="application/vnd.openxmlformats-officedocument.drawingml.chart+xml"/>
  <Override PartName="/ppt/charts/style60.xml" ContentType="application/vnd.ms-office.chartstyle+xml"/>
  <Override PartName="/ppt/charts/colors60.xml" ContentType="application/vnd.ms-office.chartcolorstyle+xml"/>
  <Override PartName="/ppt/charts/chart84.xml" ContentType="application/vnd.openxmlformats-officedocument.drawingml.chart+xml"/>
  <Override PartName="/ppt/charts/style61.xml" ContentType="application/vnd.ms-office.chartstyle+xml"/>
  <Override PartName="/ppt/charts/colors61.xml" ContentType="application/vnd.ms-office.chartcolorstyle+xml"/>
  <Override PartName="/ppt/tags/tag389.xml" ContentType="application/vnd.openxmlformats-officedocument.presentationml.tags+xml"/>
  <Override PartName="/ppt/notesSlides/notesSlide45.xml" ContentType="application/vnd.openxmlformats-officedocument.presentationml.notesSlide+xml"/>
  <Override PartName="/ppt/charts/chart85.xml" ContentType="application/vnd.openxmlformats-officedocument.drawingml.chart+xml"/>
  <Override PartName="/ppt/charts/style62.xml" ContentType="application/vnd.ms-office.chartstyle+xml"/>
  <Override PartName="/ppt/charts/colors62.xml" ContentType="application/vnd.ms-office.chartcolorstyle+xml"/>
  <Override PartName="/ppt/charts/chart86.xml" ContentType="application/vnd.openxmlformats-officedocument.drawingml.chart+xml"/>
  <Override PartName="/ppt/charts/style63.xml" ContentType="application/vnd.ms-office.chartstyle+xml"/>
  <Override PartName="/ppt/charts/colors63.xml" ContentType="application/vnd.ms-office.chartcolorstyle+xml"/>
  <Override PartName="/ppt/charts/chart87.xml" ContentType="application/vnd.openxmlformats-officedocument.drawingml.chart+xml"/>
  <Override PartName="/ppt/charts/style64.xml" ContentType="application/vnd.ms-office.chartstyle+xml"/>
  <Override PartName="/ppt/charts/colors64.xml" ContentType="application/vnd.ms-office.chartcolorstyle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notesSlides/notesSlide46.xml" ContentType="application/vnd.openxmlformats-officedocument.presentationml.notesSlide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notesSlides/notesSlide47.xml" ContentType="application/vnd.openxmlformats-officedocument.presentationml.notesSlide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notesSlides/notesSlide48.xml" ContentType="application/vnd.openxmlformats-officedocument.presentationml.notesSlide+xml"/>
  <Override PartName="/ppt/charts/chart88.xml" ContentType="application/vnd.openxmlformats-officedocument.drawingml.chart+xml"/>
  <Override PartName="/ppt/theme/themeOverride20.xml" ContentType="application/vnd.openxmlformats-officedocument.themeOverride+xml"/>
  <Override PartName="/ppt/charts/chart89.xml" ContentType="application/vnd.openxmlformats-officedocument.drawingml.chart+xml"/>
  <Override PartName="/ppt/charts/style65.xml" ContentType="application/vnd.ms-office.chartstyle+xml"/>
  <Override PartName="/ppt/charts/colors65.xml" ContentType="application/vnd.ms-office.chartcolorstyle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notesSlides/notesSlide49.xml" ContentType="application/vnd.openxmlformats-officedocument.presentationml.notesSlide+xml"/>
  <Override PartName="/ppt/charts/chart90.xml" ContentType="application/vnd.openxmlformats-officedocument.drawingml.chart+xml"/>
  <Override PartName="/ppt/charts/style66.xml" ContentType="application/vnd.ms-office.chartstyle+xml"/>
  <Override PartName="/ppt/charts/colors66.xml" ContentType="application/vnd.ms-office.chartcolorstyle+xml"/>
  <Override PartName="/ppt/charts/chart91.xml" ContentType="application/vnd.openxmlformats-officedocument.drawingml.chart+xml"/>
  <Override PartName="/ppt/charts/style67.xml" ContentType="application/vnd.ms-office.chartstyle+xml"/>
  <Override PartName="/ppt/charts/colors67.xml" ContentType="application/vnd.ms-office.chartcolorstyle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notesSlides/notesSlide50.xml" ContentType="application/vnd.openxmlformats-officedocument.presentationml.notesSlide+xml"/>
  <Override PartName="/ppt/charts/chart92.xml" ContentType="application/vnd.openxmlformats-officedocument.drawingml.chart+xml"/>
  <Override PartName="/ppt/charts/style68.xml" ContentType="application/vnd.ms-office.chartstyle+xml"/>
  <Override PartName="/ppt/charts/colors68.xml" ContentType="application/vnd.ms-office.chartcolorstyle+xml"/>
  <Override PartName="/ppt/charts/chart93.xml" ContentType="application/vnd.openxmlformats-officedocument.drawingml.chart+xml"/>
  <Override PartName="/ppt/charts/style69.xml" ContentType="application/vnd.ms-office.chartstyle+xml"/>
  <Override PartName="/ppt/charts/colors69.xml" ContentType="application/vnd.ms-office.chartcolorstyle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notesSlides/notesSlide51.xml" ContentType="application/vnd.openxmlformats-officedocument.presentationml.notesSlide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notesSlides/notesSlide52.xml" ContentType="application/vnd.openxmlformats-officedocument.presentationml.notesSlide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notesSlides/notesSlide53.xml" ContentType="application/vnd.openxmlformats-officedocument.presentationml.notesSlide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notesSlides/notesSlide54.xml" ContentType="application/vnd.openxmlformats-officedocument.presentationml.notesSlide+xml"/>
  <Override PartName="/ppt/charts/chart94.xml" ContentType="application/vnd.openxmlformats-officedocument.drawingml.chart+xml"/>
  <Override PartName="/ppt/charts/chart95.xml" ContentType="application/vnd.openxmlformats-officedocument.drawingml.chart+xml"/>
  <Override PartName="/ppt/charts/style70.xml" ContentType="application/vnd.ms-office.chartstyle+xml"/>
  <Override PartName="/ppt/charts/colors70.xml" ContentType="application/vnd.ms-office.chartcolorstyle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notesSlides/notesSlide55.xml" ContentType="application/vnd.openxmlformats-officedocument.presentationml.notesSlide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notesSlides/notesSlide56.xml" ContentType="application/vnd.openxmlformats-officedocument.presentationml.notesSlide+xml"/>
  <Override PartName="/ppt/charts/chart96.xml" ContentType="application/vnd.openxmlformats-officedocument.drawingml.chart+xml"/>
  <Override PartName="/ppt/charts/style71.xml" ContentType="application/vnd.ms-office.chartstyle+xml"/>
  <Override PartName="/ppt/charts/colors71.xml" ContentType="application/vnd.ms-office.chartcolorstyle+xml"/>
  <Override PartName="/ppt/theme/themeOverride21.xml" ContentType="application/vnd.openxmlformats-officedocument.themeOverride+xml"/>
  <Override PartName="/ppt/charts/chart97.xml" ContentType="application/vnd.openxmlformats-officedocument.drawingml.chart+xml"/>
  <Override PartName="/ppt/charts/style72.xml" ContentType="application/vnd.ms-office.chartstyle+xml"/>
  <Override PartName="/ppt/charts/colors72.xml" ContentType="application/vnd.ms-office.chartcolorstyle+xml"/>
  <Override PartName="/ppt/theme/themeOverride22.xml" ContentType="application/vnd.openxmlformats-officedocument.themeOverride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notesSlides/notesSlide57.xml" ContentType="application/vnd.openxmlformats-officedocument.presentationml.notesSlide+xml"/>
  <Override PartName="/ppt/charts/chart98.xml" ContentType="application/vnd.openxmlformats-officedocument.drawingml.chart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charts/chart99.xml" ContentType="application/vnd.openxmlformats-officedocument.drawingml.chart+xml"/>
  <Override PartName="/ppt/charts/style73.xml" ContentType="application/vnd.ms-office.chartstyle+xml"/>
  <Override PartName="/ppt/charts/colors73.xml" ContentType="application/vnd.ms-office.chartcolorstyle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charts/chart100.xml" ContentType="application/vnd.openxmlformats-officedocument.drawingml.chart+xml"/>
  <Override PartName="/ppt/charts/style74.xml" ContentType="application/vnd.ms-office.chartstyle+xml"/>
  <Override PartName="/ppt/charts/colors7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8" r:id="rId2"/>
    <p:sldMasterId id="2147483661" r:id="rId3"/>
    <p:sldMasterId id="2147483664" r:id="rId4"/>
    <p:sldMasterId id="2147483667" r:id="rId5"/>
    <p:sldMasterId id="2147483671" r:id="rId6"/>
    <p:sldMasterId id="2147483684" r:id="rId7"/>
    <p:sldMasterId id="2147483713" r:id="rId8"/>
  </p:sldMasterIdLst>
  <p:notesMasterIdLst>
    <p:notesMasterId r:id="rId111"/>
  </p:notesMasterIdLst>
  <p:sldIdLst>
    <p:sldId id="5908" r:id="rId9"/>
    <p:sldId id="5909" r:id="rId10"/>
    <p:sldId id="5750" r:id="rId11"/>
    <p:sldId id="5751" r:id="rId12"/>
    <p:sldId id="5760" r:id="rId13"/>
    <p:sldId id="5759" r:id="rId14"/>
    <p:sldId id="5761" r:id="rId15"/>
    <p:sldId id="5753" r:id="rId16"/>
    <p:sldId id="5754" r:id="rId17"/>
    <p:sldId id="5755" r:id="rId18"/>
    <p:sldId id="5756" r:id="rId19"/>
    <p:sldId id="5757" r:id="rId20"/>
    <p:sldId id="5758" r:id="rId21"/>
    <p:sldId id="5910" r:id="rId22"/>
    <p:sldId id="5736" r:id="rId23"/>
    <p:sldId id="5784" r:id="rId24"/>
    <p:sldId id="5785" r:id="rId25"/>
    <p:sldId id="5911" r:id="rId26"/>
    <p:sldId id="5912" r:id="rId27"/>
    <p:sldId id="5913" r:id="rId28"/>
    <p:sldId id="5914" r:id="rId29"/>
    <p:sldId id="5738" r:id="rId30"/>
    <p:sldId id="5739" r:id="rId31"/>
    <p:sldId id="5790" r:id="rId32"/>
    <p:sldId id="5792" r:id="rId33"/>
    <p:sldId id="5793" r:id="rId34"/>
    <p:sldId id="5796" r:id="rId35"/>
    <p:sldId id="5797" r:id="rId36"/>
    <p:sldId id="5915" r:id="rId37"/>
    <p:sldId id="5859" r:id="rId38"/>
    <p:sldId id="5860" r:id="rId39"/>
    <p:sldId id="5861" r:id="rId40"/>
    <p:sldId id="5862" r:id="rId41"/>
    <p:sldId id="5863" r:id="rId42"/>
    <p:sldId id="5864" r:id="rId43"/>
    <p:sldId id="5916" r:id="rId44"/>
    <p:sldId id="5798" r:id="rId45"/>
    <p:sldId id="5866" r:id="rId46"/>
    <p:sldId id="5867" r:id="rId47"/>
    <p:sldId id="5888" r:id="rId48"/>
    <p:sldId id="5917" r:id="rId49"/>
    <p:sldId id="5869" r:id="rId50"/>
    <p:sldId id="5889" r:id="rId51"/>
    <p:sldId id="5770" r:id="rId52"/>
    <p:sldId id="5918" r:id="rId53"/>
    <p:sldId id="5794" r:id="rId54"/>
    <p:sldId id="5795" r:id="rId55"/>
    <p:sldId id="5903" r:id="rId56"/>
    <p:sldId id="5904" r:id="rId57"/>
    <p:sldId id="5166" r:id="rId58"/>
    <p:sldId id="5168" r:id="rId59"/>
    <p:sldId id="5897" r:id="rId60"/>
    <p:sldId id="5898" r:id="rId61"/>
    <p:sldId id="5899" r:id="rId62"/>
    <p:sldId id="5854" r:id="rId63"/>
    <p:sldId id="5905" r:id="rId64"/>
    <p:sldId id="5902" r:id="rId65"/>
    <p:sldId id="5922" r:id="rId66"/>
    <p:sldId id="5923" r:id="rId67"/>
    <p:sldId id="5900" r:id="rId68"/>
    <p:sldId id="5906" r:id="rId69"/>
    <p:sldId id="5907" r:id="rId70"/>
    <p:sldId id="5919" r:id="rId71"/>
    <p:sldId id="5481" r:id="rId72"/>
    <p:sldId id="5427" r:id="rId73"/>
    <p:sldId id="5696" r:id="rId74"/>
    <p:sldId id="5762" r:id="rId75"/>
    <p:sldId id="5890" r:id="rId76"/>
    <p:sldId id="5891" r:id="rId77"/>
    <p:sldId id="5688" r:id="rId78"/>
    <p:sldId id="5764" r:id="rId79"/>
    <p:sldId id="5765" r:id="rId80"/>
    <p:sldId id="5892" r:id="rId81"/>
    <p:sldId id="5767" r:id="rId82"/>
    <p:sldId id="5701" r:id="rId83"/>
    <p:sldId id="5692" r:id="rId84"/>
    <p:sldId id="5766" r:id="rId85"/>
    <p:sldId id="5893" r:id="rId86"/>
    <p:sldId id="5894" r:id="rId87"/>
    <p:sldId id="5895" r:id="rId88"/>
    <p:sldId id="5769" r:id="rId89"/>
    <p:sldId id="4807" r:id="rId90"/>
    <p:sldId id="5920" r:id="rId91"/>
    <p:sldId id="5873" r:id="rId92"/>
    <p:sldId id="5874" r:id="rId93"/>
    <p:sldId id="5875" r:id="rId94"/>
    <p:sldId id="5876" r:id="rId95"/>
    <p:sldId id="5877" r:id="rId96"/>
    <p:sldId id="5878" r:id="rId97"/>
    <p:sldId id="5879" r:id="rId98"/>
    <p:sldId id="5768" r:id="rId99"/>
    <p:sldId id="5880" r:id="rId100"/>
    <p:sldId id="5729" r:id="rId101"/>
    <p:sldId id="5773" r:id="rId102"/>
    <p:sldId id="5881" r:id="rId103"/>
    <p:sldId id="5865" r:id="rId104"/>
    <p:sldId id="5921" r:id="rId105"/>
    <p:sldId id="5882" r:id="rId106"/>
    <p:sldId id="5883" r:id="rId107"/>
    <p:sldId id="5886" r:id="rId108"/>
    <p:sldId id="5887" r:id="rId109"/>
    <p:sldId id="5884" r:id="rId110"/>
  </p:sldIdLst>
  <p:sldSz cx="12192000" cy="6858000"/>
  <p:notesSz cx="6858000" cy="9144000"/>
  <p:custDataLst>
    <p:tags r:id="rId112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99"/>
    <a:srgbClr val="3F55A6"/>
    <a:srgbClr val="5BCC72"/>
    <a:srgbClr val="308297"/>
    <a:srgbClr val="F2F2F2"/>
    <a:srgbClr val="767171"/>
    <a:srgbClr val="FF7F72"/>
    <a:srgbClr val="F4C0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657" autoAdjust="0"/>
  </p:normalViewPr>
  <p:slideViewPr>
    <p:cSldViewPr snapToGrid="0">
      <p:cViewPr varScale="1">
        <p:scale>
          <a:sx n="72" d="100"/>
          <a:sy n="72" d="100"/>
        </p:scale>
        <p:origin x="984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-2017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63" Type="http://schemas.openxmlformats.org/officeDocument/2006/relationships/slide" Target="slides/slide55.xml"/><Relationship Id="rId68" Type="http://schemas.openxmlformats.org/officeDocument/2006/relationships/slide" Target="slides/slide60.xml"/><Relationship Id="rId84" Type="http://schemas.openxmlformats.org/officeDocument/2006/relationships/slide" Target="slides/slide76.xml"/><Relationship Id="rId89" Type="http://schemas.openxmlformats.org/officeDocument/2006/relationships/slide" Target="slides/slide81.xml"/><Relationship Id="rId112" Type="http://schemas.openxmlformats.org/officeDocument/2006/relationships/tags" Target="tags/tag1.xml"/><Relationship Id="rId16" Type="http://schemas.openxmlformats.org/officeDocument/2006/relationships/slide" Target="slides/slide8.xml"/><Relationship Id="rId107" Type="http://schemas.openxmlformats.org/officeDocument/2006/relationships/slide" Target="slides/slide99.xml"/><Relationship Id="rId11" Type="http://schemas.openxmlformats.org/officeDocument/2006/relationships/slide" Target="slides/slide3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74" Type="http://schemas.openxmlformats.org/officeDocument/2006/relationships/slide" Target="slides/slide66.xml"/><Relationship Id="rId79" Type="http://schemas.openxmlformats.org/officeDocument/2006/relationships/slide" Target="slides/slide71.xml"/><Relationship Id="rId102" Type="http://schemas.openxmlformats.org/officeDocument/2006/relationships/slide" Target="slides/slide94.xml"/><Relationship Id="rId5" Type="http://schemas.openxmlformats.org/officeDocument/2006/relationships/slideMaster" Target="slideMasters/slideMaster5.xml"/><Relationship Id="rId90" Type="http://schemas.openxmlformats.org/officeDocument/2006/relationships/slide" Target="slides/slide82.xml"/><Relationship Id="rId95" Type="http://schemas.openxmlformats.org/officeDocument/2006/relationships/slide" Target="slides/slide87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64" Type="http://schemas.openxmlformats.org/officeDocument/2006/relationships/slide" Target="slides/slide56.xml"/><Relationship Id="rId69" Type="http://schemas.openxmlformats.org/officeDocument/2006/relationships/slide" Target="slides/slide61.xml"/><Relationship Id="rId113" Type="http://schemas.openxmlformats.org/officeDocument/2006/relationships/presProps" Target="presProps.xml"/><Relationship Id="rId80" Type="http://schemas.openxmlformats.org/officeDocument/2006/relationships/slide" Target="slides/slide72.xml"/><Relationship Id="rId85" Type="http://schemas.openxmlformats.org/officeDocument/2006/relationships/slide" Target="slides/slide7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59" Type="http://schemas.openxmlformats.org/officeDocument/2006/relationships/slide" Target="slides/slide51.xml"/><Relationship Id="rId103" Type="http://schemas.openxmlformats.org/officeDocument/2006/relationships/slide" Target="slides/slide95.xml"/><Relationship Id="rId108" Type="http://schemas.openxmlformats.org/officeDocument/2006/relationships/slide" Target="slides/slide100.xml"/><Relationship Id="rId54" Type="http://schemas.openxmlformats.org/officeDocument/2006/relationships/slide" Target="slides/slide46.xml"/><Relationship Id="rId70" Type="http://schemas.openxmlformats.org/officeDocument/2006/relationships/slide" Target="slides/slide62.xml"/><Relationship Id="rId75" Type="http://schemas.openxmlformats.org/officeDocument/2006/relationships/slide" Target="slides/slide67.xml"/><Relationship Id="rId91" Type="http://schemas.openxmlformats.org/officeDocument/2006/relationships/slide" Target="slides/slide83.xml"/><Relationship Id="rId96" Type="http://schemas.openxmlformats.org/officeDocument/2006/relationships/slide" Target="slides/slide88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slide" Target="slides/slide49.xml"/><Relationship Id="rId106" Type="http://schemas.openxmlformats.org/officeDocument/2006/relationships/slide" Target="slides/slide98.xml"/><Relationship Id="rId114" Type="http://schemas.openxmlformats.org/officeDocument/2006/relationships/viewProps" Target="viewProps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slide" Target="slides/slide44.xml"/><Relationship Id="rId60" Type="http://schemas.openxmlformats.org/officeDocument/2006/relationships/slide" Target="slides/slide52.xml"/><Relationship Id="rId65" Type="http://schemas.openxmlformats.org/officeDocument/2006/relationships/slide" Target="slides/slide57.xml"/><Relationship Id="rId73" Type="http://schemas.openxmlformats.org/officeDocument/2006/relationships/slide" Target="slides/slide65.xml"/><Relationship Id="rId78" Type="http://schemas.openxmlformats.org/officeDocument/2006/relationships/slide" Target="slides/slide70.xml"/><Relationship Id="rId81" Type="http://schemas.openxmlformats.org/officeDocument/2006/relationships/slide" Target="slides/slide73.xml"/><Relationship Id="rId86" Type="http://schemas.openxmlformats.org/officeDocument/2006/relationships/slide" Target="slides/slide78.xml"/><Relationship Id="rId94" Type="http://schemas.openxmlformats.org/officeDocument/2006/relationships/slide" Target="slides/slide86.xml"/><Relationship Id="rId99" Type="http://schemas.openxmlformats.org/officeDocument/2006/relationships/slide" Target="slides/slide91.xml"/><Relationship Id="rId101" Type="http://schemas.openxmlformats.org/officeDocument/2006/relationships/slide" Target="slides/slide9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9" Type="http://schemas.openxmlformats.org/officeDocument/2006/relationships/slide" Target="slides/slide31.xml"/><Relationship Id="rId109" Type="http://schemas.openxmlformats.org/officeDocument/2006/relationships/slide" Target="slides/slide101.xml"/><Relationship Id="rId34" Type="http://schemas.openxmlformats.org/officeDocument/2006/relationships/slide" Target="slides/slide26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76" Type="http://schemas.openxmlformats.org/officeDocument/2006/relationships/slide" Target="slides/slide68.xml"/><Relationship Id="rId97" Type="http://schemas.openxmlformats.org/officeDocument/2006/relationships/slide" Target="slides/slide89.xml"/><Relationship Id="rId104" Type="http://schemas.openxmlformats.org/officeDocument/2006/relationships/slide" Target="slides/slide96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63.xml"/><Relationship Id="rId92" Type="http://schemas.openxmlformats.org/officeDocument/2006/relationships/slide" Target="slides/slide84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1.xml"/><Relationship Id="rId24" Type="http://schemas.openxmlformats.org/officeDocument/2006/relationships/slide" Target="slides/slide16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66" Type="http://schemas.openxmlformats.org/officeDocument/2006/relationships/slide" Target="slides/slide58.xml"/><Relationship Id="rId87" Type="http://schemas.openxmlformats.org/officeDocument/2006/relationships/slide" Target="slides/slide79.xml"/><Relationship Id="rId110" Type="http://schemas.openxmlformats.org/officeDocument/2006/relationships/slide" Target="slides/slide102.xml"/><Relationship Id="rId115" Type="http://schemas.openxmlformats.org/officeDocument/2006/relationships/theme" Target="theme/theme1.xml"/><Relationship Id="rId61" Type="http://schemas.openxmlformats.org/officeDocument/2006/relationships/slide" Target="slides/slide53.xml"/><Relationship Id="rId82" Type="http://schemas.openxmlformats.org/officeDocument/2006/relationships/slide" Target="slides/slide74.xml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56" Type="http://schemas.openxmlformats.org/officeDocument/2006/relationships/slide" Target="slides/slide48.xml"/><Relationship Id="rId77" Type="http://schemas.openxmlformats.org/officeDocument/2006/relationships/slide" Target="slides/slide69.xml"/><Relationship Id="rId100" Type="http://schemas.openxmlformats.org/officeDocument/2006/relationships/slide" Target="slides/slide92.xml"/><Relationship Id="rId105" Type="http://schemas.openxmlformats.org/officeDocument/2006/relationships/slide" Target="slides/slide97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3.xml"/><Relationship Id="rId72" Type="http://schemas.openxmlformats.org/officeDocument/2006/relationships/slide" Target="slides/slide64.xml"/><Relationship Id="rId93" Type="http://schemas.openxmlformats.org/officeDocument/2006/relationships/slide" Target="slides/slide85.xml"/><Relationship Id="rId98" Type="http://schemas.openxmlformats.org/officeDocument/2006/relationships/slide" Target="slides/slide90.xml"/><Relationship Id="rId3" Type="http://schemas.openxmlformats.org/officeDocument/2006/relationships/slideMaster" Target="slideMasters/slideMaster3.xml"/><Relationship Id="rId25" Type="http://schemas.openxmlformats.org/officeDocument/2006/relationships/slide" Target="slides/slide17.xml"/><Relationship Id="rId46" Type="http://schemas.openxmlformats.org/officeDocument/2006/relationships/slide" Target="slides/slide38.xml"/><Relationship Id="rId67" Type="http://schemas.openxmlformats.org/officeDocument/2006/relationships/slide" Target="slides/slide59.xml"/><Relationship Id="rId116" Type="http://schemas.openxmlformats.org/officeDocument/2006/relationships/tableStyles" Target="tableStyles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62" Type="http://schemas.openxmlformats.org/officeDocument/2006/relationships/slide" Target="slides/slide54.xml"/><Relationship Id="rId83" Type="http://schemas.openxmlformats.org/officeDocument/2006/relationships/slide" Target="slides/slide75.xml"/><Relationship Id="rId88" Type="http://schemas.openxmlformats.org/officeDocument/2006/relationships/slide" Target="slides/slide80.xml"/><Relationship Id="rId111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0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9.xlsx"/><Relationship Id="rId2" Type="http://schemas.microsoft.com/office/2011/relationships/chartColorStyle" Target="colors74.xml"/><Relationship Id="rId1" Type="http://schemas.microsoft.com/office/2011/relationships/chartStyle" Target="style74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5.xlsx"/><Relationship Id="rId1" Type="http://schemas.openxmlformats.org/officeDocument/2006/relationships/themeOverride" Target="../theme/themeOverride5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7.xlsx"/><Relationship Id="rId1" Type="http://schemas.openxmlformats.org/officeDocument/2006/relationships/themeOverride" Target="../theme/themeOverride7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9.xlsx"/><Relationship Id="rId1" Type="http://schemas.openxmlformats.org/officeDocument/2006/relationships/themeOverride" Target="../theme/themeOverride8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3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1.xlsx"/><Relationship Id="rId1" Type="http://schemas.openxmlformats.org/officeDocument/2006/relationships/themeOverride" Target="../theme/themeOverride9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3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3.xlsx"/><Relationship Id="rId1" Type="http://schemas.openxmlformats.org/officeDocument/2006/relationships/themeOverride" Target="../theme/themeOverride10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3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5.xlsx"/><Relationship Id="rId1" Type="http://schemas.openxmlformats.org/officeDocument/2006/relationships/themeOverride" Target="../theme/themeOverride11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7.xlsx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28.xml"/><Relationship Id="rId1" Type="http://schemas.microsoft.com/office/2011/relationships/chartStyle" Target="style28.xml"/><Relationship Id="rId4" Type="http://schemas.openxmlformats.org/officeDocument/2006/relationships/chartUserShapes" Target="../drawings/drawing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1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2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3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4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4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5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4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6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4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7.xlsx"/></Relationships>
</file>

<file path=ppt/charts/_rels/chart4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8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3.xml"/></Relationships>
</file>

<file path=ppt/charts/_rels/chart5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9.xlsx"/></Relationships>
</file>

<file path=ppt/charts/_rels/chart5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0.xlsx"/></Relationships>
</file>

<file path=ppt/charts/_rels/chart5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1.xlsx"/><Relationship Id="rId1" Type="http://schemas.openxmlformats.org/officeDocument/2006/relationships/themeOverride" Target="../theme/themeOverride12.xml"/></Relationships>
</file>

<file path=ppt/charts/_rels/chart5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2.xlsx"/></Relationships>
</file>

<file path=ppt/charts/_rels/chart5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3.xlsx"/><Relationship Id="rId1" Type="http://schemas.openxmlformats.org/officeDocument/2006/relationships/themeOverride" Target="../theme/themeOverride13.xml"/></Relationships>
</file>

<file path=ppt/charts/_rels/chart5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4.xlsx"/></Relationships>
</file>

<file path=ppt/charts/_rels/chart5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5.xlsx"/><Relationship Id="rId1" Type="http://schemas.openxmlformats.org/officeDocument/2006/relationships/themeOverride" Target="../theme/themeOverride14.xml"/></Relationships>
</file>

<file path=ppt/charts/_rels/chart5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6.xlsx"/><Relationship Id="rId1" Type="http://schemas.openxmlformats.org/officeDocument/2006/relationships/themeOverride" Target="../theme/themeOverride15.xml"/></Relationships>
</file>

<file path=ppt/charts/_rels/chart5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7.xlsx"/><Relationship Id="rId1" Type="http://schemas.openxmlformats.org/officeDocument/2006/relationships/themeOverride" Target="../theme/themeOverride16.xml"/></Relationships>
</file>

<file path=ppt/charts/_rels/chart5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8.xlsx"/><Relationship Id="rId1" Type="http://schemas.openxmlformats.org/officeDocument/2006/relationships/themeOverride" Target="../theme/themeOverride17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6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8.xml"/><Relationship Id="rId2" Type="http://schemas.microsoft.com/office/2011/relationships/chartColorStyle" Target="colors37.xml"/><Relationship Id="rId1" Type="http://schemas.microsoft.com/office/2011/relationships/chartStyle" Target="style37.xml"/><Relationship Id="rId4" Type="http://schemas.openxmlformats.org/officeDocument/2006/relationships/package" Target="../embeddings/Microsoft_Excel_Worksheet59.xlsx"/></Relationships>
</file>

<file path=ppt/charts/_rels/chart6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9.xml"/><Relationship Id="rId2" Type="http://schemas.microsoft.com/office/2011/relationships/chartColorStyle" Target="colors38.xml"/><Relationship Id="rId1" Type="http://schemas.microsoft.com/office/2011/relationships/chartStyle" Target="style38.xml"/><Relationship Id="rId4" Type="http://schemas.openxmlformats.org/officeDocument/2006/relationships/package" Target="../embeddings/Microsoft_Excel_Worksheet60.xlsx"/></Relationships>
</file>

<file path=ppt/charts/_rels/chart6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1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6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2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6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3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6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4.xlsx"/><Relationship Id="rId2" Type="http://schemas.microsoft.com/office/2011/relationships/chartColorStyle" Target="colors42.xml"/><Relationship Id="rId1" Type="http://schemas.microsoft.com/office/2011/relationships/chartStyle" Target="style42.xml"/></Relationships>
</file>

<file path=ppt/charts/_rels/chart6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5.xlsx"/><Relationship Id="rId2" Type="http://schemas.microsoft.com/office/2011/relationships/chartColorStyle" Target="colors43.xml"/><Relationship Id="rId1" Type="http://schemas.microsoft.com/office/2011/relationships/chartStyle" Target="style43.xml"/></Relationships>
</file>

<file path=ppt/charts/_rels/chart6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6.xlsx"/><Relationship Id="rId2" Type="http://schemas.microsoft.com/office/2011/relationships/chartColorStyle" Target="colors44.xml"/><Relationship Id="rId1" Type="http://schemas.microsoft.com/office/2011/relationships/chartStyle" Target="style44.xml"/></Relationships>
</file>

<file path=ppt/charts/_rels/chart6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7.xlsx"/><Relationship Id="rId2" Type="http://schemas.microsoft.com/office/2011/relationships/chartColorStyle" Target="colors45.xml"/><Relationship Id="rId1" Type="http://schemas.microsoft.com/office/2011/relationships/chartStyle" Target="style45.xml"/></Relationships>
</file>

<file path=ppt/charts/_rels/chart6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8.xlsx"/><Relationship Id="rId2" Type="http://schemas.microsoft.com/office/2011/relationships/chartColorStyle" Target="colors46.xml"/><Relationship Id="rId1" Type="http://schemas.microsoft.com/office/2011/relationships/chartStyle" Target="style4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4.xml"/></Relationships>
</file>

<file path=ppt/charts/_rels/chart7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9.xlsx"/><Relationship Id="rId2" Type="http://schemas.microsoft.com/office/2011/relationships/chartColorStyle" Target="colors47.xml"/><Relationship Id="rId1" Type="http://schemas.microsoft.com/office/2011/relationships/chartStyle" Target="style47.xml"/></Relationships>
</file>

<file path=ppt/charts/_rels/chart7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0.xlsx"/><Relationship Id="rId2" Type="http://schemas.microsoft.com/office/2011/relationships/chartColorStyle" Target="colors48.xml"/><Relationship Id="rId1" Type="http://schemas.microsoft.com/office/2011/relationships/chartStyle" Target="style48.xml"/></Relationships>
</file>

<file path=ppt/charts/_rels/chart7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1.xlsx"/><Relationship Id="rId2" Type="http://schemas.microsoft.com/office/2011/relationships/chartColorStyle" Target="colors49.xml"/><Relationship Id="rId1" Type="http://schemas.microsoft.com/office/2011/relationships/chartStyle" Target="style49.xml"/></Relationships>
</file>

<file path=ppt/charts/_rels/chart7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2.xlsx"/><Relationship Id="rId2" Type="http://schemas.microsoft.com/office/2011/relationships/chartColorStyle" Target="colors50.xml"/><Relationship Id="rId1" Type="http://schemas.microsoft.com/office/2011/relationships/chartStyle" Target="style50.xml"/></Relationships>
</file>

<file path=ppt/charts/_rels/chart7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3.xlsx"/><Relationship Id="rId2" Type="http://schemas.microsoft.com/office/2011/relationships/chartColorStyle" Target="colors51.xml"/><Relationship Id="rId1" Type="http://schemas.microsoft.com/office/2011/relationships/chartStyle" Target="style51.xml"/></Relationships>
</file>

<file path=ppt/charts/_rels/chart7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4.xlsx"/><Relationship Id="rId2" Type="http://schemas.microsoft.com/office/2011/relationships/chartColorStyle" Target="colors52.xml"/><Relationship Id="rId1" Type="http://schemas.microsoft.com/office/2011/relationships/chartStyle" Target="style52.xml"/></Relationships>
</file>

<file path=ppt/charts/_rels/chart7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5.xlsx"/><Relationship Id="rId2" Type="http://schemas.microsoft.com/office/2011/relationships/chartColorStyle" Target="colors53.xml"/><Relationship Id="rId1" Type="http://schemas.microsoft.com/office/2011/relationships/chartStyle" Target="style53.xml"/></Relationships>
</file>

<file path=ppt/charts/_rels/chart7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6.xlsx"/><Relationship Id="rId2" Type="http://schemas.microsoft.com/office/2011/relationships/chartColorStyle" Target="colors54.xml"/><Relationship Id="rId1" Type="http://schemas.microsoft.com/office/2011/relationships/chartStyle" Target="style54.xml"/></Relationships>
</file>

<file path=ppt/charts/_rels/chart7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7.xlsx"/><Relationship Id="rId2" Type="http://schemas.microsoft.com/office/2011/relationships/chartColorStyle" Target="colors55.xml"/><Relationship Id="rId1" Type="http://schemas.microsoft.com/office/2011/relationships/chartStyle" Target="style55.xml"/></Relationships>
</file>

<file path=ppt/charts/_rels/chart7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8.xlsx"/><Relationship Id="rId2" Type="http://schemas.microsoft.com/office/2011/relationships/chartColorStyle" Target="colors56.xml"/><Relationship Id="rId1" Type="http://schemas.microsoft.com/office/2011/relationships/chartStyle" Target="style5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8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9.xlsx"/><Relationship Id="rId2" Type="http://schemas.microsoft.com/office/2011/relationships/chartColorStyle" Target="colors57.xml"/><Relationship Id="rId1" Type="http://schemas.microsoft.com/office/2011/relationships/chartStyle" Target="style57.xml"/></Relationships>
</file>

<file path=ppt/charts/_rels/chart8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0.xlsx"/><Relationship Id="rId2" Type="http://schemas.microsoft.com/office/2011/relationships/chartColorStyle" Target="colors58.xml"/><Relationship Id="rId1" Type="http://schemas.microsoft.com/office/2011/relationships/chartStyle" Target="style58.xml"/></Relationships>
</file>

<file path=ppt/charts/_rels/chart8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1.xlsx"/><Relationship Id="rId2" Type="http://schemas.microsoft.com/office/2011/relationships/chartColorStyle" Target="colors59.xml"/><Relationship Id="rId1" Type="http://schemas.microsoft.com/office/2011/relationships/chartStyle" Target="style59.xml"/></Relationships>
</file>

<file path=ppt/charts/_rels/chart8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2.xlsx"/><Relationship Id="rId2" Type="http://schemas.microsoft.com/office/2011/relationships/chartColorStyle" Target="colors60.xml"/><Relationship Id="rId1" Type="http://schemas.microsoft.com/office/2011/relationships/chartStyle" Target="style60.xml"/></Relationships>
</file>

<file path=ppt/charts/_rels/chart8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3.xlsx"/><Relationship Id="rId2" Type="http://schemas.microsoft.com/office/2011/relationships/chartColorStyle" Target="colors61.xml"/><Relationship Id="rId1" Type="http://schemas.microsoft.com/office/2011/relationships/chartStyle" Target="style61.xml"/></Relationships>
</file>

<file path=ppt/charts/_rels/chart8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4.xlsx"/><Relationship Id="rId2" Type="http://schemas.microsoft.com/office/2011/relationships/chartColorStyle" Target="colors62.xml"/><Relationship Id="rId1" Type="http://schemas.microsoft.com/office/2011/relationships/chartStyle" Target="style62.xml"/></Relationships>
</file>

<file path=ppt/charts/_rels/chart8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5.xlsx"/><Relationship Id="rId2" Type="http://schemas.microsoft.com/office/2011/relationships/chartColorStyle" Target="colors63.xml"/><Relationship Id="rId1" Type="http://schemas.microsoft.com/office/2011/relationships/chartStyle" Target="style63.xml"/></Relationships>
</file>

<file path=ppt/charts/_rels/chart8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6.xlsx"/><Relationship Id="rId2" Type="http://schemas.microsoft.com/office/2011/relationships/chartColorStyle" Target="colors64.xml"/><Relationship Id="rId1" Type="http://schemas.microsoft.com/office/2011/relationships/chartStyle" Target="style64.xml"/></Relationships>
</file>

<file path=ppt/charts/_rels/chart8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7.xlsx"/><Relationship Id="rId1" Type="http://schemas.openxmlformats.org/officeDocument/2006/relationships/themeOverride" Target="../theme/themeOverride20.xml"/></Relationships>
</file>

<file path=ppt/charts/_rels/chart8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8.xlsx"/><Relationship Id="rId2" Type="http://schemas.microsoft.com/office/2011/relationships/chartColorStyle" Target="colors65.xml"/><Relationship Id="rId1" Type="http://schemas.microsoft.com/office/2011/relationships/chartStyle" Target="style65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9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9.xlsx"/><Relationship Id="rId2" Type="http://schemas.microsoft.com/office/2011/relationships/chartColorStyle" Target="colors66.xml"/><Relationship Id="rId1" Type="http://schemas.microsoft.com/office/2011/relationships/chartStyle" Target="style66.xml"/></Relationships>
</file>

<file path=ppt/charts/_rels/chart9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0.xlsx"/><Relationship Id="rId2" Type="http://schemas.microsoft.com/office/2011/relationships/chartColorStyle" Target="colors67.xml"/><Relationship Id="rId1" Type="http://schemas.microsoft.com/office/2011/relationships/chartStyle" Target="style67.xml"/></Relationships>
</file>

<file path=ppt/charts/_rels/chart9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1.xlsx"/><Relationship Id="rId2" Type="http://schemas.microsoft.com/office/2011/relationships/chartColorStyle" Target="colors68.xml"/><Relationship Id="rId1" Type="http://schemas.microsoft.com/office/2011/relationships/chartStyle" Target="style68.xml"/></Relationships>
</file>

<file path=ppt/charts/_rels/chart9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2.xlsx"/><Relationship Id="rId2" Type="http://schemas.microsoft.com/office/2011/relationships/chartColorStyle" Target="colors69.xml"/><Relationship Id="rId1" Type="http://schemas.microsoft.com/office/2011/relationships/chartStyle" Target="style69.xml"/></Relationships>
</file>

<file path=ppt/charts/_rels/chart9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3.xlsx"/></Relationships>
</file>

<file path=ppt/charts/_rels/chart9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4.xlsx"/><Relationship Id="rId2" Type="http://schemas.microsoft.com/office/2011/relationships/chartColorStyle" Target="colors70.xml"/><Relationship Id="rId1" Type="http://schemas.microsoft.com/office/2011/relationships/chartStyle" Target="style70.xml"/></Relationships>
</file>

<file path=ppt/charts/_rels/chart9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1.xml"/><Relationship Id="rId2" Type="http://schemas.microsoft.com/office/2011/relationships/chartColorStyle" Target="colors71.xml"/><Relationship Id="rId1" Type="http://schemas.microsoft.com/office/2011/relationships/chartStyle" Target="style71.xml"/><Relationship Id="rId4" Type="http://schemas.openxmlformats.org/officeDocument/2006/relationships/package" Target="../embeddings/Microsoft_Excel_Worksheet95.xlsx"/></Relationships>
</file>

<file path=ppt/charts/_rels/chart9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2.xml"/><Relationship Id="rId2" Type="http://schemas.microsoft.com/office/2011/relationships/chartColorStyle" Target="colors72.xml"/><Relationship Id="rId1" Type="http://schemas.microsoft.com/office/2011/relationships/chartStyle" Target="style72.xml"/><Relationship Id="rId4" Type="http://schemas.openxmlformats.org/officeDocument/2006/relationships/package" Target="../embeddings/Microsoft_Excel_Worksheet96.xlsx"/></Relationships>
</file>

<file path=ppt/charts/_rels/chart9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7.xlsx"/></Relationships>
</file>

<file path=ppt/charts/_rels/chart9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8.xlsx"/><Relationship Id="rId2" Type="http://schemas.microsoft.com/office/2011/relationships/chartColorStyle" Target="colors73.xml"/><Relationship Id="rId1" Type="http://schemas.microsoft.com/office/2011/relationships/chartStyle" Target="style7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4131074023507296"/>
          <c:y val="0.15573556917754688"/>
          <c:w val="0.61189273984018855"/>
          <c:h val="0.821541244989106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rgbClr val="2E5980"/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29B-4F15-9CD7-4B1BF5807B30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229B-4F15-9CD7-4B1BF5807B30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Olomoucký kraj</c:v>
                </c:pt>
                <c:pt idx="1">
                  <c:v>Hl. m. Praha</c:v>
                </c:pt>
                <c:pt idx="2">
                  <c:v>Plzeňský kraj</c:v>
                </c:pt>
                <c:pt idx="3">
                  <c:v>Pardubický kraj</c:v>
                </c:pt>
                <c:pt idx="4">
                  <c:v>Ústecký kraj</c:v>
                </c:pt>
                <c:pt idx="5">
                  <c:v>Česká republika</c:v>
                </c:pt>
                <c:pt idx="6">
                  <c:v>Jihočeský kraj</c:v>
                </c:pt>
                <c:pt idx="7">
                  <c:v>Vysočina</c:v>
                </c:pt>
                <c:pt idx="8">
                  <c:v>Středočeský kraj</c:v>
                </c:pt>
                <c:pt idx="9">
                  <c:v>Královéhradecký kraj</c:v>
                </c:pt>
                <c:pt idx="10">
                  <c:v>Jihomoravský kraj</c:v>
                </c:pt>
                <c:pt idx="11">
                  <c:v>Moravskoslezský kraj</c:v>
                </c:pt>
                <c:pt idx="12">
                  <c:v>Karlovarský kraj</c:v>
                </c:pt>
                <c:pt idx="13">
                  <c:v>Zlínský kraj</c:v>
                </c:pt>
                <c:pt idx="14">
                  <c:v>Liberecký kraj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7215.1898734177212</c:v>
                </c:pt>
                <c:pt idx="1">
                  <c:v>7060.656288791517</c:v>
                </c:pt>
                <c:pt idx="2">
                  <c:v>6777.2081527760474</c:v>
                </c:pt>
                <c:pt idx="3">
                  <c:v>6545.1740539154116</c:v>
                </c:pt>
                <c:pt idx="4">
                  <c:v>6429.569770760947</c:v>
                </c:pt>
                <c:pt idx="5">
                  <c:v>6312.7812891327321</c:v>
                </c:pt>
                <c:pt idx="6">
                  <c:v>6174.7987243111684</c:v>
                </c:pt>
                <c:pt idx="7">
                  <c:v>6160.7020244903961</c:v>
                </c:pt>
                <c:pt idx="8">
                  <c:v>6052.41802315119</c:v>
                </c:pt>
                <c:pt idx="9">
                  <c:v>6027.1309821731729</c:v>
                </c:pt>
                <c:pt idx="10">
                  <c:v>5947.7207543961204</c:v>
                </c:pt>
                <c:pt idx="11">
                  <c:v>5897.7786702942412</c:v>
                </c:pt>
                <c:pt idx="12">
                  <c:v>5722.0542167857775</c:v>
                </c:pt>
                <c:pt idx="13">
                  <c:v>5620.4666021763751</c:v>
                </c:pt>
                <c:pt idx="14">
                  <c:v>5244.53324453324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29B-4F15-9CD7-4B1BF5807B3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Řada 2</c:v>
                </c:pt>
              </c:strCache>
            </c:strRef>
          </c:tx>
          <c:spPr>
            <a:solidFill>
              <a:srgbClr val="2E5980"/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229B-4F15-9CD7-4B1BF5807B30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229B-4F15-9CD7-4B1BF5807B30}"/>
              </c:ext>
            </c:extLst>
          </c:dPt>
          <c:dLbls>
            <c:delete val="1"/>
          </c:dLbls>
          <c:cat>
            <c:strRef>
              <c:f>List1!$A$2:$A$16</c:f>
              <c:strCache>
                <c:ptCount val="15"/>
                <c:pt idx="0">
                  <c:v>Olomoucký kraj</c:v>
                </c:pt>
                <c:pt idx="1">
                  <c:v>Hl. m. Praha</c:v>
                </c:pt>
                <c:pt idx="2">
                  <c:v>Plzeňský kraj</c:v>
                </c:pt>
                <c:pt idx="3">
                  <c:v>Pardubický kraj</c:v>
                </c:pt>
                <c:pt idx="4">
                  <c:v>Ústecký kraj</c:v>
                </c:pt>
                <c:pt idx="5">
                  <c:v>Česká republika</c:v>
                </c:pt>
                <c:pt idx="6">
                  <c:v>Jihočeský kraj</c:v>
                </c:pt>
                <c:pt idx="7">
                  <c:v>Vysočina</c:v>
                </c:pt>
                <c:pt idx="8">
                  <c:v>Středočeský kraj</c:v>
                </c:pt>
                <c:pt idx="9">
                  <c:v>Královéhradecký kraj</c:v>
                </c:pt>
                <c:pt idx="10">
                  <c:v>Jihomoravský kraj</c:v>
                </c:pt>
                <c:pt idx="11">
                  <c:v>Moravskoslezský kraj</c:v>
                </c:pt>
                <c:pt idx="12">
                  <c:v>Karlovarský kraj</c:v>
                </c:pt>
                <c:pt idx="13">
                  <c:v>Zlínský kraj</c:v>
                </c:pt>
                <c:pt idx="14">
                  <c:v>Liberecký kraj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</c:numCache>
            </c:numRef>
          </c:val>
          <c:extLst>
            <c:ext xmlns:c16="http://schemas.microsoft.com/office/drawing/2014/chart" uri="{C3380CC4-5D6E-409C-BE32-E72D297353CC}">
              <c16:uniqueId val="{00000005-229B-4F15-9CD7-4B1BF5807B30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Řada 3</c:v>
                </c:pt>
              </c:strCache>
            </c:strRef>
          </c:tx>
          <c:spPr>
            <a:solidFill>
              <a:srgbClr val="FFC121"/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229B-4F15-9CD7-4B1BF5807B30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229B-4F15-9CD7-4B1BF5807B30}"/>
              </c:ext>
            </c:extLst>
          </c:dPt>
          <c:dLbls>
            <c:delete val="1"/>
          </c:dLbls>
          <c:cat>
            <c:strRef>
              <c:f>List1!$A$2:$A$16</c:f>
              <c:strCache>
                <c:ptCount val="15"/>
                <c:pt idx="0">
                  <c:v>Olomoucký kraj</c:v>
                </c:pt>
                <c:pt idx="1">
                  <c:v>Hl. m. Praha</c:v>
                </c:pt>
                <c:pt idx="2">
                  <c:v>Plzeňský kraj</c:v>
                </c:pt>
                <c:pt idx="3">
                  <c:v>Pardubický kraj</c:v>
                </c:pt>
                <c:pt idx="4">
                  <c:v>Ústecký kraj</c:v>
                </c:pt>
                <c:pt idx="5">
                  <c:v>Česká republika</c:v>
                </c:pt>
                <c:pt idx="6">
                  <c:v>Jihočeský kraj</c:v>
                </c:pt>
                <c:pt idx="7">
                  <c:v>Vysočina</c:v>
                </c:pt>
                <c:pt idx="8">
                  <c:v>Středočeský kraj</c:v>
                </c:pt>
                <c:pt idx="9">
                  <c:v>Královéhradecký kraj</c:v>
                </c:pt>
                <c:pt idx="10">
                  <c:v>Jihomoravský kraj</c:v>
                </c:pt>
                <c:pt idx="11">
                  <c:v>Moravskoslezský kraj</c:v>
                </c:pt>
                <c:pt idx="12">
                  <c:v>Karlovarský kraj</c:v>
                </c:pt>
                <c:pt idx="13">
                  <c:v>Zlínský kraj</c:v>
                </c:pt>
                <c:pt idx="14">
                  <c:v>Liberecký kraj</c:v>
                </c:pt>
              </c:strCache>
            </c:strRef>
          </c:cat>
          <c:val>
            <c:numRef>
              <c:f>List1!$D$2:$D$16</c:f>
              <c:numCache>
                <c:formatCode>General</c:formatCode>
                <c:ptCount val="15"/>
                <c:pt idx="5">
                  <c:v>6312.78128913273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29B-4F15-9CD7-4B1BF5807B3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593864360"/>
        <c:axId val="593863184"/>
      </c:barChart>
      <c:catAx>
        <c:axId val="59386436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93863184"/>
        <c:crosses val="autoZero"/>
        <c:auto val="1"/>
        <c:lblAlgn val="ctr"/>
        <c:lblOffset val="100"/>
        <c:tickLblSkip val="1"/>
        <c:noMultiLvlLbl val="0"/>
      </c:catAx>
      <c:valAx>
        <c:axId val="593863184"/>
        <c:scaling>
          <c:orientation val="minMax"/>
        </c:scaling>
        <c:delete val="0"/>
        <c:axPos val="t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938643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131074023507296"/>
          <c:y val="0.15573556917754688"/>
          <c:w val="0.61189273984018855"/>
          <c:h val="0.821541244989106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B1C-4344-B550-FABDEF9A079F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8B1C-4344-B550-FABDEF9A079F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B1C-4344-B550-FABDEF9A079F}"/>
              </c:ext>
            </c:extLst>
          </c:dPt>
          <c:dLbls>
            <c:delete val="1"/>
          </c:dLbls>
          <c:cat>
            <c:strRef>
              <c:f>List1!$A$2:$A$16</c:f>
              <c:strCache>
                <c:ptCount val="15"/>
                <c:pt idx="0">
                  <c:v>ZLI</c:v>
                </c:pt>
                <c:pt idx="1">
                  <c:v>OLO</c:v>
                </c:pt>
                <c:pt idx="2">
                  <c:v>MSK</c:v>
                </c:pt>
                <c:pt idx="3">
                  <c:v>VYS</c:v>
                </c:pt>
                <c:pt idx="4">
                  <c:v>PAR</c:v>
                </c:pt>
                <c:pt idx="5">
                  <c:v>ČR</c:v>
                </c:pt>
                <c:pt idx="6">
                  <c:v>PHA</c:v>
                </c:pt>
                <c:pt idx="7">
                  <c:v>JMK</c:v>
                </c:pt>
                <c:pt idx="8">
                  <c:v>HRA</c:v>
                </c:pt>
                <c:pt idx="9">
                  <c:v>JHC</c:v>
                </c:pt>
                <c:pt idx="10">
                  <c:v>PLZ</c:v>
                </c:pt>
                <c:pt idx="11">
                  <c:v>KAR</c:v>
                </c:pt>
                <c:pt idx="12">
                  <c:v>LIB</c:v>
                </c:pt>
                <c:pt idx="13">
                  <c:v>STC</c:v>
                </c:pt>
                <c:pt idx="14">
                  <c:v>UST</c:v>
                </c:pt>
              </c:strCache>
            </c:strRef>
          </c:cat>
          <c:val>
            <c:numRef>
              <c:f>List1!$B$2:$B$16</c:f>
              <c:numCache>
                <c:formatCode>0.0</c:formatCode>
                <c:ptCount val="15"/>
                <c:pt idx="0">
                  <c:v>416.21710270774167</c:v>
                </c:pt>
                <c:pt idx="1">
                  <c:v>321.0425786292339</c:v>
                </c:pt>
                <c:pt idx="2">
                  <c:v>290.79557088205183</c:v>
                </c:pt>
                <c:pt idx="3">
                  <c:v>244.39195554523982</c:v>
                </c:pt>
                <c:pt idx="4">
                  <c:v>227.24549930305042</c:v>
                </c:pt>
                <c:pt idx="5">
                  <c:v>231.53438464988</c:v>
                </c:pt>
                <c:pt idx="6">
                  <c:v>232.269728732266</c:v>
                </c:pt>
                <c:pt idx="7">
                  <c:v>219.53379456101925</c:v>
                </c:pt>
                <c:pt idx="8">
                  <c:v>210.23150794971815</c:v>
                </c:pt>
                <c:pt idx="9">
                  <c:v>208.32852160657785</c:v>
                </c:pt>
                <c:pt idx="10">
                  <c:v>195.40064654379884</c:v>
                </c:pt>
                <c:pt idx="11">
                  <c:v>189.08846320153191</c:v>
                </c:pt>
                <c:pt idx="12">
                  <c:v>181.04509343180038</c:v>
                </c:pt>
                <c:pt idx="13">
                  <c:v>173.11267947041952</c:v>
                </c:pt>
                <c:pt idx="14">
                  <c:v>124.9217695933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B1C-4344-B550-FABDEF9A079F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8B1C-4344-B550-FABDEF9A079F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B1C-4344-B550-FABDEF9A079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8B1C-4344-B550-FABDEF9A079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ZLI</c:v>
                </c:pt>
                <c:pt idx="1">
                  <c:v>OLO</c:v>
                </c:pt>
                <c:pt idx="2">
                  <c:v>MSK</c:v>
                </c:pt>
                <c:pt idx="3">
                  <c:v>VYS</c:v>
                </c:pt>
                <c:pt idx="4">
                  <c:v>PAR</c:v>
                </c:pt>
                <c:pt idx="5">
                  <c:v>ČR</c:v>
                </c:pt>
                <c:pt idx="6">
                  <c:v>PHA</c:v>
                </c:pt>
                <c:pt idx="7">
                  <c:v>JMK</c:v>
                </c:pt>
                <c:pt idx="8">
                  <c:v>HRA</c:v>
                </c:pt>
                <c:pt idx="9">
                  <c:v>JHC</c:v>
                </c:pt>
                <c:pt idx="10">
                  <c:v>PLZ</c:v>
                </c:pt>
                <c:pt idx="11">
                  <c:v>KAR</c:v>
                </c:pt>
                <c:pt idx="12">
                  <c:v>LIB</c:v>
                </c:pt>
                <c:pt idx="13">
                  <c:v>STC</c:v>
                </c:pt>
                <c:pt idx="14">
                  <c:v>UST</c:v>
                </c:pt>
              </c:strCache>
            </c:strRef>
          </c:cat>
          <c:val>
            <c:numRef>
              <c:f>List1!$C$2:$C$16</c:f>
              <c:numCache>
                <c:formatCode>0.0</c:formatCode>
                <c:ptCount val="15"/>
                <c:pt idx="0">
                  <c:v>402.94957019860027</c:v>
                </c:pt>
                <c:pt idx="1">
                  <c:v>321.27562066404334</c:v>
                </c:pt>
                <c:pt idx="2">
                  <c:v>282.65510951205022</c:v>
                </c:pt>
                <c:pt idx="3">
                  <c:v>236.35495020492476</c:v>
                </c:pt>
                <c:pt idx="4">
                  <c:v>232.91427623067378</c:v>
                </c:pt>
                <c:pt idx="5">
                  <c:v>228.49700341293038</c:v>
                </c:pt>
                <c:pt idx="6">
                  <c:v>222.79882473983764</c:v>
                </c:pt>
                <c:pt idx="7">
                  <c:v>217.14887452130776</c:v>
                </c:pt>
                <c:pt idx="8">
                  <c:v>212.52782353902842</c:v>
                </c:pt>
                <c:pt idx="9">
                  <c:v>207.16183696745648</c:v>
                </c:pt>
                <c:pt idx="10">
                  <c:v>200.6070658266519</c:v>
                </c:pt>
                <c:pt idx="11">
                  <c:v>190.53172590553424</c:v>
                </c:pt>
                <c:pt idx="12">
                  <c:v>187.8121878121878</c:v>
                </c:pt>
                <c:pt idx="13">
                  <c:v>168.0250472462715</c:v>
                </c:pt>
                <c:pt idx="14">
                  <c:v>124.757620795889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B1C-4344-B550-FABDEF9A079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593864360"/>
        <c:axId val="593863184"/>
      </c:barChart>
      <c:catAx>
        <c:axId val="59386436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3863184"/>
        <c:crosses val="autoZero"/>
        <c:auto val="1"/>
        <c:lblAlgn val="ctr"/>
        <c:lblOffset val="100"/>
        <c:noMultiLvlLbl val="0"/>
      </c:catAx>
      <c:valAx>
        <c:axId val="593863184"/>
        <c:scaling>
          <c:orientation val="minMax"/>
        </c:scaling>
        <c:delete val="0"/>
        <c:axPos val="t"/>
        <c:numFmt formatCode="#,##0" sourceLinked="0"/>
        <c:majorTickMark val="out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38643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hart10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Zaměstnán na pozici dle odbornosti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9</c:f>
              <c:strCache>
                <c:ptCount val="8"/>
                <c:pt idx="0">
                  <c:v>Psychiatrie</c:v>
                </c:pt>
                <c:pt idx="1">
                  <c:v>Dětská a dorostová psychiatrie</c:v>
                </c:pt>
                <c:pt idx="2">
                  <c:v>Gerontopsychiatrie</c:v>
                </c:pt>
                <c:pt idx="3">
                  <c:v>Sexuologie</c:v>
                </c:pt>
                <c:pt idx="4">
                  <c:v>Návykové nemoci</c:v>
                </c:pt>
                <c:pt idx="5">
                  <c:v>Psycholog ve zdravotnictví</c:v>
                </c:pt>
                <c:pt idx="6">
                  <c:v>Adiktologie</c:v>
                </c:pt>
                <c:pt idx="7">
                  <c:v>Ošetřovatelská péče v psychiatrii</c:v>
                </c:pt>
              </c:strCache>
            </c:strRef>
          </c:cat>
          <c:val>
            <c:numRef>
              <c:f>List1!$B$2:$B$9</c:f>
              <c:numCache>
                <c:formatCode>0.00</c:formatCode>
                <c:ptCount val="8"/>
                <c:pt idx="0">
                  <c:v>88.402061855670098</c:v>
                </c:pt>
                <c:pt idx="1">
                  <c:v>91.304347826086953</c:v>
                </c:pt>
                <c:pt idx="2">
                  <c:v>94.73684210526315</c:v>
                </c:pt>
                <c:pt idx="3">
                  <c:v>89.473684210526315</c:v>
                </c:pt>
                <c:pt idx="4">
                  <c:v>85.714285714285708</c:v>
                </c:pt>
                <c:pt idx="5">
                  <c:v>84.552845528455293</c:v>
                </c:pt>
                <c:pt idx="6">
                  <c:v>30.601092896174865</c:v>
                </c:pt>
                <c:pt idx="7">
                  <c:v>78.9250353606789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8A8-4FB9-87CC-1837144FCB9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iné zaměstnání ve zdravotnicví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8A8-4FB9-87CC-1837144FCB91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8A8-4FB9-87CC-1837144FCB91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9</c:f>
              <c:strCache>
                <c:ptCount val="8"/>
                <c:pt idx="0">
                  <c:v>Psychiatrie</c:v>
                </c:pt>
                <c:pt idx="1">
                  <c:v>Dětská a dorostová psychiatrie</c:v>
                </c:pt>
                <c:pt idx="2">
                  <c:v>Gerontopsychiatrie</c:v>
                </c:pt>
                <c:pt idx="3">
                  <c:v>Sexuologie</c:v>
                </c:pt>
                <c:pt idx="4">
                  <c:v>Návykové nemoci</c:v>
                </c:pt>
                <c:pt idx="5">
                  <c:v>Psycholog ve zdravotnictví</c:v>
                </c:pt>
                <c:pt idx="6">
                  <c:v>Adiktologie</c:v>
                </c:pt>
                <c:pt idx="7">
                  <c:v>Ošetřovatelská péče v psychiatrii</c:v>
                </c:pt>
              </c:strCache>
            </c:strRef>
          </c:cat>
          <c:val>
            <c:numRef>
              <c:f>List1!$C$2:$C$9</c:f>
              <c:numCache>
                <c:formatCode>0.00</c:formatCode>
                <c:ptCount val="8"/>
                <c:pt idx="0">
                  <c:v>0.51546391752577314</c:v>
                </c:pt>
                <c:pt idx="1">
                  <c:v>0</c:v>
                </c:pt>
                <c:pt idx="2">
                  <c:v>5.2631578947368416</c:v>
                </c:pt>
                <c:pt idx="3">
                  <c:v>10.526315789473683</c:v>
                </c:pt>
                <c:pt idx="4">
                  <c:v>0</c:v>
                </c:pt>
                <c:pt idx="5">
                  <c:v>2.7100271002710028</c:v>
                </c:pt>
                <c:pt idx="6">
                  <c:v>6.8306010928961758</c:v>
                </c:pt>
                <c:pt idx="7">
                  <c:v>16.1244695898161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8A8-4FB9-87CC-1837144FCB91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Bez zaměstnání ve zdravotnicví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8A8-4FB9-87CC-1837144FCB91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8A8-4FB9-87CC-1837144FCB91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9</c:f>
              <c:strCache>
                <c:ptCount val="8"/>
                <c:pt idx="0">
                  <c:v>Psychiatrie</c:v>
                </c:pt>
                <c:pt idx="1">
                  <c:v>Dětská a dorostová psychiatrie</c:v>
                </c:pt>
                <c:pt idx="2">
                  <c:v>Gerontopsychiatrie</c:v>
                </c:pt>
                <c:pt idx="3">
                  <c:v>Sexuologie</c:v>
                </c:pt>
                <c:pt idx="4">
                  <c:v>Návykové nemoci</c:v>
                </c:pt>
                <c:pt idx="5">
                  <c:v>Psycholog ve zdravotnictví</c:v>
                </c:pt>
                <c:pt idx="6">
                  <c:v>Adiktologie</c:v>
                </c:pt>
                <c:pt idx="7">
                  <c:v>Ošetřovatelská péče v psychiatrii</c:v>
                </c:pt>
              </c:strCache>
            </c:strRef>
          </c:cat>
          <c:val>
            <c:numRef>
              <c:f>List1!$D$2:$D$9</c:f>
              <c:numCache>
                <c:formatCode>0.00</c:formatCode>
                <c:ptCount val="8"/>
                <c:pt idx="0">
                  <c:v>11.082474226804123</c:v>
                </c:pt>
                <c:pt idx="1">
                  <c:v>8.695652173913043</c:v>
                </c:pt>
                <c:pt idx="2">
                  <c:v>0</c:v>
                </c:pt>
                <c:pt idx="3">
                  <c:v>0</c:v>
                </c:pt>
                <c:pt idx="4">
                  <c:v>14.285714285714285</c:v>
                </c:pt>
                <c:pt idx="5">
                  <c:v>3.5230352303523031</c:v>
                </c:pt>
                <c:pt idx="6">
                  <c:v>62.568306010928964</c:v>
                </c:pt>
                <c:pt idx="7">
                  <c:v>4.95049504950495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8A8-4FB9-87CC-1837144FCB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2022054719"/>
        <c:axId val="2022055967"/>
      </c:barChart>
      <c:catAx>
        <c:axId val="202205471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2055967"/>
        <c:crosses val="autoZero"/>
        <c:auto val="1"/>
        <c:lblAlgn val="ctr"/>
        <c:lblOffset val="100"/>
        <c:noMultiLvlLbl val="0"/>
      </c:catAx>
      <c:valAx>
        <c:axId val="202205596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20547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131074023507296"/>
          <c:y val="0.15573556917754688"/>
          <c:w val="0.61189273984018855"/>
          <c:h val="0.821541244989106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F9C-4297-9716-CDD499066E4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FF9C-4297-9716-CDD499066E42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FF9C-4297-9716-CDD499066E42}"/>
              </c:ext>
            </c:extLst>
          </c:dPt>
          <c:dLbls>
            <c:delete val="1"/>
          </c:dLbls>
          <c:cat>
            <c:strRef>
              <c:f>List1!$A$2:$A$16</c:f>
              <c:strCache>
                <c:ptCount val="15"/>
                <c:pt idx="0">
                  <c:v>PHA</c:v>
                </c:pt>
                <c:pt idx="1">
                  <c:v>UST</c:v>
                </c:pt>
                <c:pt idx="2">
                  <c:v>HRA</c:v>
                </c:pt>
                <c:pt idx="3">
                  <c:v>STC</c:v>
                </c:pt>
                <c:pt idx="4">
                  <c:v>ČR</c:v>
                </c:pt>
                <c:pt idx="5">
                  <c:v>OLO</c:v>
                </c:pt>
                <c:pt idx="6">
                  <c:v>KAR</c:v>
                </c:pt>
                <c:pt idx="7">
                  <c:v>JHC</c:v>
                </c:pt>
                <c:pt idx="8">
                  <c:v>PLZ</c:v>
                </c:pt>
                <c:pt idx="9">
                  <c:v>LIB</c:v>
                </c:pt>
                <c:pt idx="10">
                  <c:v>JMK</c:v>
                </c:pt>
                <c:pt idx="11">
                  <c:v>MSK</c:v>
                </c:pt>
                <c:pt idx="12">
                  <c:v>ZLI</c:v>
                </c:pt>
                <c:pt idx="13">
                  <c:v>VYS</c:v>
                </c:pt>
                <c:pt idx="14">
                  <c:v>PAR</c:v>
                </c:pt>
              </c:strCache>
            </c:strRef>
          </c:cat>
          <c:val>
            <c:numRef>
              <c:f>List1!$B$2:$B$16</c:f>
              <c:numCache>
                <c:formatCode>0.0</c:formatCode>
                <c:ptCount val="15"/>
                <c:pt idx="0">
                  <c:v>229.50550230476716</c:v>
                </c:pt>
                <c:pt idx="1">
                  <c:v>216.76148953162976</c:v>
                </c:pt>
                <c:pt idx="2">
                  <c:v>155.59302653765712</c:v>
                </c:pt>
                <c:pt idx="3">
                  <c:v>164.35546177159213</c:v>
                </c:pt>
                <c:pt idx="4">
                  <c:v>157.24671860514289</c:v>
                </c:pt>
                <c:pt idx="5">
                  <c:v>149.24828086621162</c:v>
                </c:pt>
                <c:pt idx="6">
                  <c:v>159.5755633188972</c:v>
                </c:pt>
                <c:pt idx="7">
                  <c:v>140.57940888899154</c:v>
                </c:pt>
                <c:pt idx="8">
                  <c:v>136.73030699129805</c:v>
                </c:pt>
                <c:pt idx="9">
                  <c:v>137.18249972026408</c:v>
                </c:pt>
                <c:pt idx="10">
                  <c:v>130.47997281253799</c:v>
                </c:pt>
                <c:pt idx="11">
                  <c:v>131.92723207069346</c:v>
                </c:pt>
                <c:pt idx="12">
                  <c:v>109.27641062380775</c:v>
                </c:pt>
                <c:pt idx="13">
                  <c:v>107.66509134953901</c:v>
                </c:pt>
                <c:pt idx="14">
                  <c:v>98.5047436309457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F9C-4297-9716-CDD499066E42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FF9C-4297-9716-CDD499066E42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FF9C-4297-9716-CDD499066E42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FF9C-4297-9716-CDD499066E4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PHA</c:v>
                </c:pt>
                <c:pt idx="1">
                  <c:v>UST</c:v>
                </c:pt>
                <c:pt idx="2">
                  <c:v>HRA</c:v>
                </c:pt>
                <c:pt idx="3">
                  <c:v>STC</c:v>
                </c:pt>
                <c:pt idx="4">
                  <c:v>ČR</c:v>
                </c:pt>
                <c:pt idx="5">
                  <c:v>OLO</c:v>
                </c:pt>
                <c:pt idx="6">
                  <c:v>KAR</c:v>
                </c:pt>
                <c:pt idx="7">
                  <c:v>JHC</c:v>
                </c:pt>
                <c:pt idx="8">
                  <c:v>PLZ</c:v>
                </c:pt>
                <c:pt idx="9">
                  <c:v>LIB</c:v>
                </c:pt>
                <c:pt idx="10">
                  <c:v>JMK</c:v>
                </c:pt>
                <c:pt idx="11">
                  <c:v>MSK</c:v>
                </c:pt>
                <c:pt idx="12">
                  <c:v>ZLI</c:v>
                </c:pt>
                <c:pt idx="13">
                  <c:v>VYS</c:v>
                </c:pt>
                <c:pt idx="14">
                  <c:v>PAR</c:v>
                </c:pt>
              </c:strCache>
            </c:strRef>
          </c:cat>
          <c:val>
            <c:numRef>
              <c:f>List1!$C$2:$C$16</c:f>
              <c:numCache>
                <c:formatCode>0.0</c:formatCode>
                <c:ptCount val="15"/>
                <c:pt idx="0">
                  <c:v>224.18131254847802</c:v>
                </c:pt>
                <c:pt idx="1">
                  <c:v>205.09956002637873</c:v>
                </c:pt>
                <c:pt idx="2">
                  <c:v>160.9678190118085</c:v>
                </c:pt>
                <c:pt idx="3">
                  <c:v>158.78608281007931</c:v>
                </c:pt>
                <c:pt idx="4">
                  <c:v>156.35166696359511</c:v>
                </c:pt>
                <c:pt idx="5">
                  <c:v>152.973340286667</c:v>
                </c:pt>
                <c:pt idx="6">
                  <c:v>150.52684395383844</c:v>
                </c:pt>
                <c:pt idx="7">
                  <c:v>142.49065096211768</c:v>
                </c:pt>
                <c:pt idx="8">
                  <c:v>138.65488373312706</c:v>
                </c:pt>
                <c:pt idx="9">
                  <c:v>135.42013542013541</c:v>
                </c:pt>
                <c:pt idx="10">
                  <c:v>131.30312216913413</c:v>
                </c:pt>
                <c:pt idx="11">
                  <c:v>127.88379211573736</c:v>
                </c:pt>
                <c:pt idx="12">
                  <c:v>114.46452976594155</c:v>
                </c:pt>
                <c:pt idx="13">
                  <c:v>114.11572882234502</c:v>
                </c:pt>
                <c:pt idx="14">
                  <c:v>102.595438274887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FF9C-4297-9716-CDD499066E4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593864360"/>
        <c:axId val="593863184"/>
      </c:barChart>
      <c:catAx>
        <c:axId val="59386436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3863184"/>
        <c:crosses val="autoZero"/>
        <c:auto val="1"/>
        <c:lblAlgn val="ctr"/>
        <c:lblOffset val="100"/>
        <c:noMultiLvlLbl val="0"/>
      </c:catAx>
      <c:valAx>
        <c:axId val="593863184"/>
        <c:scaling>
          <c:orientation val="minMax"/>
        </c:scaling>
        <c:delete val="0"/>
        <c:axPos val="t"/>
        <c:numFmt formatCode="#,##0" sourceLinked="0"/>
        <c:majorTickMark val="out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38643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131074023507296"/>
          <c:y val="0.15573556917754688"/>
          <c:w val="0.61189273984018855"/>
          <c:h val="0.821541244989106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8FB-4AB4-9BBD-DBC80499664D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88FB-4AB4-9BBD-DBC80499664D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FB-4AB4-9BBD-DBC80499664D}"/>
              </c:ext>
            </c:extLst>
          </c:dPt>
          <c:dLbls>
            <c:delete val="1"/>
          </c:dLbls>
          <c:cat>
            <c:strRef>
              <c:f>List1!$A$2:$A$16</c:f>
              <c:strCache>
                <c:ptCount val="15"/>
                <c:pt idx="0">
                  <c:v>ZLI</c:v>
                </c:pt>
                <c:pt idx="1">
                  <c:v>MSK</c:v>
                </c:pt>
                <c:pt idx="2">
                  <c:v>OLO</c:v>
                </c:pt>
                <c:pt idx="3">
                  <c:v>JMK</c:v>
                </c:pt>
                <c:pt idx="4">
                  <c:v>UST</c:v>
                </c:pt>
                <c:pt idx="5">
                  <c:v>ČR</c:v>
                </c:pt>
                <c:pt idx="6">
                  <c:v>PAR</c:v>
                </c:pt>
                <c:pt idx="7">
                  <c:v>JHC</c:v>
                </c:pt>
                <c:pt idx="8">
                  <c:v>PHA</c:v>
                </c:pt>
                <c:pt idx="9">
                  <c:v>PLZ</c:v>
                </c:pt>
                <c:pt idx="10">
                  <c:v>VYS</c:v>
                </c:pt>
                <c:pt idx="11">
                  <c:v>LIB</c:v>
                </c:pt>
                <c:pt idx="12">
                  <c:v>KAR</c:v>
                </c:pt>
                <c:pt idx="13">
                  <c:v>HRA</c:v>
                </c:pt>
                <c:pt idx="14">
                  <c:v>STC</c:v>
                </c:pt>
              </c:strCache>
            </c:strRef>
          </c:cat>
          <c:val>
            <c:numRef>
              <c:f>List1!$B$2:$B$16</c:f>
              <c:numCache>
                <c:formatCode>0.0</c:formatCode>
                <c:ptCount val="15"/>
                <c:pt idx="0">
                  <c:v>536.88726230654368</c:v>
                </c:pt>
                <c:pt idx="1">
                  <c:v>527.03540061425724</c:v>
                </c:pt>
                <c:pt idx="2">
                  <c:v>508.23802877951431</c:v>
                </c:pt>
                <c:pt idx="3">
                  <c:v>509.26879122460167</c:v>
                </c:pt>
                <c:pt idx="4">
                  <c:v>475.86306500252437</c:v>
                </c:pt>
                <c:pt idx="5">
                  <c:v>469.2307513575181</c:v>
                </c:pt>
                <c:pt idx="6">
                  <c:v>462.66803330905577</c:v>
                </c:pt>
                <c:pt idx="7">
                  <c:v>466.85297672664001</c:v>
                </c:pt>
                <c:pt idx="8">
                  <c:v>465.80950744473415</c:v>
                </c:pt>
                <c:pt idx="9">
                  <c:v>459.16644658324668</c:v>
                </c:pt>
                <c:pt idx="10">
                  <c:v>438.26713815654739</c:v>
                </c:pt>
                <c:pt idx="11">
                  <c:v>427.4364999440528</c:v>
                </c:pt>
                <c:pt idx="12">
                  <c:v>420.04406344587125</c:v>
                </c:pt>
                <c:pt idx="13">
                  <c:v>401.64711501581263</c:v>
                </c:pt>
                <c:pt idx="14">
                  <c:v>371.446145913461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8FB-4AB4-9BBD-DBC80499664D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88FB-4AB4-9BBD-DBC80499664D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FB-4AB4-9BBD-DBC80499664D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88FB-4AB4-9BBD-DBC80499664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ZLI</c:v>
                </c:pt>
                <c:pt idx="1">
                  <c:v>MSK</c:v>
                </c:pt>
                <c:pt idx="2">
                  <c:v>OLO</c:v>
                </c:pt>
                <c:pt idx="3">
                  <c:v>JMK</c:v>
                </c:pt>
                <c:pt idx="4">
                  <c:v>UST</c:v>
                </c:pt>
                <c:pt idx="5">
                  <c:v>ČR</c:v>
                </c:pt>
                <c:pt idx="6">
                  <c:v>PAR</c:v>
                </c:pt>
                <c:pt idx="7">
                  <c:v>JHC</c:v>
                </c:pt>
                <c:pt idx="8">
                  <c:v>PHA</c:v>
                </c:pt>
                <c:pt idx="9">
                  <c:v>PLZ</c:v>
                </c:pt>
                <c:pt idx="10">
                  <c:v>VYS</c:v>
                </c:pt>
                <c:pt idx="11">
                  <c:v>LIB</c:v>
                </c:pt>
                <c:pt idx="12">
                  <c:v>KAR</c:v>
                </c:pt>
                <c:pt idx="13">
                  <c:v>HRA</c:v>
                </c:pt>
                <c:pt idx="14">
                  <c:v>STC</c:v>
                </c:pt>
              </c:strCache>
            </c:strRef>
          </c:cat>
          <c:val>
            <c:numRef>
              <c:f>List1!$C$2:$C$16</c:f>
              <c:numCache>
                <c:formatCode>0.0</c:formatCode>
                <c:ptCount val="15"/>
                <c:pt idx="0">
                  <c:v>531.18426895894083</c:v>
                </c:pt>
                <c:pt idx="1">
                  <c:v>528.33987176330913</c:v>
                </c:pt>
                <c:pt idx="2">
                  <c:v>499.53381058487014</c:v>
                </c:pt>
                <c:pt idx="3">
                  <c:v>497.33305862692578</c:v>
                </c:pt>
                <c:pt idx="4">
                  <c:v>473.19310609565247</c:v>
                </c:pt>
                <c:pt idx="5">
                  <c:v>461.34221581420627</c:v>
                </c:pt>
                <c:pt idx="6">
                  <c:v>455.45585190046739</c:v>
                </c:pt>
                <c:pt idx="7">
                  <c:v>453.92139775378467</c:v>
                </c:pt>
                <c:pt idx="8">
                  <c:v>450.76378813301574</c:v>
                </c:pt>
                <c:pt idx="9">
                  <c:v>443.9906383369281</c:v>
                </c:pt>
                <c:pt idx="10">
                  <c:v>437.8949322945578</c:v>
                </c:pt>
                <c:pt idx="11">
                  <c:v>416.25041625041627</c:v>
                </c:pt>
                <c:pt idx="12">
                  <c:v>404.7951614434304</c:v>
                </c:pt>
                <c:pt idx="13">
                  <c:v>396.31139368309107</c:v>
                </c:pt>
                <c:pt idx="14">
                  <c:v>368.041732540253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8FB-4AB4-9BBD-DBC80499664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593864360"/>
        <c:axId val="593863184"/>
      </c:barChart>
      <c:catAx>
        <c:axId val="59386436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3863184"/>
        <c:crosses val="autoZero"/>
        <c:auto val="1"/>
        <c:lblAlgn val="ctr"/>
        <c:lblOffset val="100"/>
        <c:noMultiLvlLbl val="0"/>
      </c:catAx>
      <c:valAx>
        <c:axId val="593863184"/>
        <c:scaling>
          <c:orientation val="minMax"/>
        </c:scaling>
        <c:delete val="0"/>
        <c:axPos val="t"/>
        <c:numFmt formatCode="#,##0" sourceLinked="0"/>
        <c:majorTickMark val="out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38643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0"/>
          <c:y val="0.4267428240740741"/>
          <c:w val="0.17554611111111112"/>
          <c:h val="0.1347550925925925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131074023507296"/>
          <c:y val="0.15573556917754688"/>
          <c:w val="0.61189273984018855"/>
          <c:h val="0.821541244989106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B1C-4344-B550-FABDEF9A079F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8B1C-4344-B550-FABDEF9A079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8B1C-4344-B550-FABDEF9A079F}"/>
              </c:ext>
            </c:extLst>
          </c:dPt>
          <c:dLbls>
            <c:delete val="1"/>
          </c:dLbls>
          <c:cat>
            <c:strRef>
              <c:f>List1!$A$2:$A$16</c:f>
              <c:strCache>
                <c:ptCount val="15"/>
                <c:pt idx="0">
                  <c:v>PHA</c:v>
                </c:pt>
                <c:pt idx="1">
                  <c:v>STC</c:v>
                </c:pt>
                <c:pt idx="2">
                  <c:v>LIB</c:v>
                </c:pt>
                <c:pt idx="3">
                  <c:v>VYS</c:v>
                </c:pt>
                <c:pt idx="4">
                  <c:v>ČR</c:v>
                </c:pt>
                <c:pt idx="5">
                  <c:v>PAR</c:v>
                </c:pt>
                <c:pt idx="6">
                  <c:v>ZLI</c:v>
                </c:pt>
                <c:pt idx="7">
                  <c:v>MSK</c:v>
                </c:pt>
                <c:pt idx="8">
                  <c:v>PLZ</c:v>
                </c:pt>
                <c:pt idx="9">
                  <c:v>JMK</c:v>
                </c:pt>
                <c:pt idx="10">
                  <c:v>HRA</c:v>
                </c:pt>
                <c:pt idx="11">
                  <c:v>UST</c:v>
                </c:pt>
                <c:pt idx="12">
                  <c:v>KAR</c:v>
                </c:pt>
                <c:pt idx="13">
                  <c:v>OLO</c:v>
                </c:pt>
                <c:pt idx="14">
                  <c:v>JHC</c:v>
                </c:pt>
              </c:strCache>
            </c:strRef>
          </c:cat>
          <c:val>
            <c:numRef>
              <c:f>List1!$B$2:$B$16</c:f>
              <c:numCache>
                <c:formatCode>0.0</c:formatCode>
                <c:ptCount val="15"/>
                <c:pt idx="0">
                  <c:v>239.89002861347896</c:v>
                </c:pt>
                <c:pt idx="1">
                  <c:v>171.08100496429157</c:v>
                </c:pt>
                <c:pt idx="2">
                  <c:v>161.79926149714669</c:v>
                </c:pt>
                <c:pt idx="3">
                  <c:v>187.82877349566314</c:v>
                </c:pt>
                <c:pt idx="4">
                  <c:v>150.28544475708733</c:v>
                </c:pt>
                <c:pt idx="5">
                  <c:v>125.50797451047134</c:v>
                </c:pt>
                <c:pt idx="6">
                  <c:v>134.48076441697668</c:v>
                </c:pt>
                <c:pt idx="7">
                  <c:v>126.03386497117302</c:v>
                </c:pt>
                <c:pt idx="8">
                  <c:v>124.5282135800942</c:v>
                </c:pt>
                <c:pt idx="9">
                  <c:v>126.59368718377418</c:v>
                </c:pt>
                <c:pt idx="10">
                  <c:v>122.30335574355375</c:v>
                </c:pt>
                <c:pt idx="11">
                  <c:v>120.23103120945751</c:v>
                </c:pt>
                <c:pt idx="12">
                  <c:v>128.68997041846546</c:v>
                </c:pt>
                <c:pt idx="13">
                  <c:v>122.09779572991141</c:v>
                </c:pt>
                <c:pt idx="14">
                  <c:v>109.168456629019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B1C-4344-B550-FABDEF9A079F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8B1C-4344-B550-FABDEF9A079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8B1C-4344-B550-FABDEF9A079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8B1C-4344-B550-FABDEF9A079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PHA</c:v>
                </c:pt>
                <c:pt idx="1">
                  <c:v>STC</c:v>
                </c:pt>
                <c:pt idx="2">
                  <c:v>LIB</c:v>
                </c:pt>
                <c:pt idx="3">
                  <c:v>VYS</c:v>
                </c:pt>
                <c:pt idx="4">
                  <c:v>ČR</c:v>
                </c:pt>
                <c:pt idx="5">
                  <c:v>PAR</c:v>
                </c:pt>
                <c:pt idx="6">
                  <c:v>ZLI</c:v>
                </c:pt>
                <c:pt idx="7">
                  <c:v>MSK</c:v>
                </c:pt>
                <c:pt idx="8">
                  <c:v>PLZ</c:v>
                </c:pt>
                <c:pt idx="9">
                  <c:v>JMK</c:v>
                </c:pt>
                <c:pt idx="10">
                  <c:v>HRA</c:v>
                </c:pt>
                <c:pt idx="11">
                  <c:v>UST</c:v>
                </c:pt>
                <c:pt idx="12">
                  <c:v>KAR</c:v>
                </c:pt>
                <c:pt idx="13">
                  <c:v>OLO</c:v>
                </c:pt>
                <c:pt idx="14">
                  <c:v>JHC</c:v>
                </c:pt>
              </c:strCache>
            </c:strRef>
          </c:cat>
          <c:val>
            <c:numRef>
              <c:f>List1!$C$2:$C$16</c:f>
              <c:numCache>
                <c:formatCode>0.0</c:formatCode>
                <c:ptCount val="15"/>
                <c:pt idx="0">
                  <c:v>231.02098907543581</c:v>
                </c:pt>
                <c:pt idx="1">
                  <c:v>169.33504966632859</c:v>
                </c:pt>
                <c:pt idx="2">
                  <c:v>158.50815850815852</c:v>
                </c:pt>
                <c:pt idx="3">
                  <c:v>156.86077300834205</c:v>
                </c:pt>
                <c:pt idx="4">
                  <c:v>146.15681755963067</c:v>
                </c:pt>
                <c:pt idx="5">
                  <c:v>131.26181073404771</c:v>
                </c:pt>
                <c:pt idx="6">
                  <c:v>128.40682587277053</c:v>
                </c:pt>
                <c:pt idx="7">
                  <c:v>127.29562750022475</c:v>
                </c:pt>
                <c:pt idx="8">
                  <c:v>122.10152290919581</c:v>
                </c:pt>
                <c:pt idx="9">
                  <c:v>120.75635830872422</c:v>
                </c:pt>
                <c:pt idx="10">
                  <c:v>120.72586425885636</c:v>
                </c:pt>
                <c:pt idx="11">
                  <c:v>120.20532102325858</c:v>
                </c:pt>
                <c:pt idx="12">
                  <c:v>119.67562143176795</c:v>
                </c:pt>
                <c:pt idx="13">
                  <c:v>114.25591428435975</c:v>
                </c:pt>
                <c:pt idx="14">
                  <c:v>109.31417965441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B1C-4344-B550-FABDEF9A079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593864360"/>
        <c:axId val="593863184"/>
      </c:barChart>
      <c:catAx>
        <c:axId val="59386436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3863184"/>
        <c:crosses val="autoZero"/>
        <c:auto val="1"/>
        <c:lblAlgn val="ctr"/>
        <c:lblOffset val="100"/>
        <c:noMultiLvlLbl val="0"/>
      </c:catAx>
      <c:valAx>
        <c:axId val="593863184"/>
        <c:scaling>
          <c:orientation val="minMax"/>
        </c:scaling>
        <c:delete val="0"/>
        <c:axPos val="t"/>
        <c:numFmt formatCode="#,##0" sourceLinked="0"/>
        <c:majorTickMark val="out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38643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131074023507296"/>
          <c:y val="0.15573556917754688"/>
          <c:w val="0.61189273984018855"/>
          <c:h val="0.821541244989106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F9C-4297-9716-CDD499066E4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FF9C-4297-9716-CDD499066E42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FF9C-4297-9716-CDD499066E42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FF87-4D45-A951-26CA394B45C0}"/>
              </c:ext>
            </c:extLst>
          </c:dPt>
          <c:dLbls>
            <c:delete val="1"/>
          </c:dLbls>
          <c:cat>
            <c:strRef>
              <c:f>List1!$A$2:$A$16</c:f>
              <c:strCache>
                <c:ptCount val="15"/>
                <c:pt idx="0">
                  <c:v>PLZ</c:v>
                </c:pt>
                <c:pt idx="1">
                  <c:v>PHA</c:v>
                </c:pt>
                <c:pt idx="2">
                  <c:v>PAR</c:v>
                </c:pt>
                <c:pt idx="3">
                  <c:v>VYS</c:v>
                </c:pt>
                <c:pt idx="4">
                  <c:v>JHC</c:v>
                </c:pt>
                <c:pt idx="5">
                  <c:v>UST</c:v>
                </c:pt>
                <c:pt idx="6">
                  <c:v>ČR</c:v>
                </c:pt>
                <c:pt idx="7">
                  <c:v>STC</c:v>
                </c:pt>
                <c:pt idx="8">
                  <c:v>JMK</c:v>
                </c:pt>
                <c:pt idx="9">
                  <c:v>OLO</c:v>
                </c:pt>
                <c:pt idx="10">
                  <c:v>KAR</c:v>
                </c:pt>
                <c:pt idx="11">
                  <c:v>MSK</c:v>
                </c:pt>
                <c:pt idx="12">
                  <c:v>HRA</c:v>
                </c:pt>
                <c:pt idx="13">
                  <c:v>LIB</c:v>
                </c:pt>
                <c:pt idx="14">
                  <c:v>ZLI</c:v>
                </c:pt>
              </c:strCache>
            </c:strRef>
          </c:cat>
          <c:val>
            <c:numRef>
              <c:f>List1!$B$2:$B$16</c:f>
              <c:numCache>
                <c:formatCode>0.0</c:formatCode>
                <c:ptCount val="15"/>
                <c:pt idx="0">
                  <c:v>1250.6309986661274</c:v>
                </c:pt>
                <c:pt idx="1">
                  <c:v>1232.5461513750158</c:v>
                </c:pt>
                <c:pt idx="2">
                  <c:v>1202.7847557253506</c:v>
                </c:pt>
                <c:pt idx="3">
                  <c:v>1199.139459451025</c:v>
                </c:pt>
                <c:pt idx="4">
                  <c:v>980.36045607470885</c:v>
                </c:pt>
                <c:pt idx="5">
                  <c:v>937.53047436943518</c:v>
                </c:pt>
                <c:pt idx="6">
                  <c:v>933.86092787553355</c:v>
                </c:pt>
                <c:pt idx="7">
                  <c:v>883.07783274975236</c:v>
                </c:pt>
                <c:pt idx="8">
                  <c:v>918.81714695368953</c:v>
                </c:pt>
                <c:pt idx="9">
                  <c:v>844.99930932976417</c:v>
                </c:pt>
                <c:pt idx="10">
                  <c:v>753.60846677053371</c:v>
                </c:pt>
                <c:pt idx="11">
                  <c:v>667.12915566571473</c:v>
                </c:pt>
                <c:pt idx="12">
                  <c:v>666.8789486253537</c:v>
                </c:pt>
                <c:pt idx="13">
                  <c:v>659.50542687702807</c:v>
                </c:pt>
                <c:pt idx="14">
                  <c:v>639.431003081491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F9C-4297-9716-CDD499066E42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FF9C-4297-9716-CDD499066E42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FF9C-4297-9716-CDD499066E42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FF9C-4297-9716-CDD499066E4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PLZ</c:v>
                </c:pt>
                <c:pt idx="1">
                  <c:v>PHA</c:v>
                </c:pt>
                <c:pt idx="2">
                  <c:v>PAR</c:v>
                </c:pt>
                <c:pt idx="3">
                  <c:v>VYS</c:v>
                </c:pt>
                <c:pt idx="4">
                  <c:v>JHC</c:v>
                </c:pt>
                <c:pt idx="5">
                  <c:v>UST</c:v>
                </c:pt>
                <c:pt idx="6">
                  <c:v>ČR</c:v>
                </c:pt>
                <c:pt idx="7">
                  <c:v>STC</c:v>
                </c:pt>
                <c:pt idx="8">
                  <c:v>JMK</c:v>
                </c:pt>
                <c:pt idx="9">
                  <c:v>OLO</c:v>
                </c:pt>
                <c:pt idx="10">
                  <c:v>KAR</c:v>
                </c:pt>
                <c:pt idx="11">
                  <c:v>MSK</c:v>
                </c:pt>
                <c:pt idx="12">
                  <c:v>HRA</c:v>
                </c:pt>
                <c:pt idx="13">
                  <c:v>LIB</c:v>
                </c:pt>
                <c:pt idx="14">
                  <c:v>ZLI</c:v>
                </c:pt>
              </c:strCache>
            </c:strRef>
          </c:cat>
          <c:val>
            <c:numRef>
              <c:f>List1!$C$2:$C$16</c:f>
              <c:numCache>
                <c:formatCode>0.0</c:formatCode>
                <c:ptCount val="15"/>
                <c:pt idx="0">
                  <c:v>1235.2740646531661</c:v>
                </c:pt>
                <c:pt idx="1">
                  <c:v>1202.6188684846625</c:v>
                </c:pt>
                <c:pt idx="2">
                  <c:v>1189.0886733881766</c:v>
                </c:pt>
                <c:pt idx="3">
                  <c:v>1181.774751024624</c:v>
                </c:pt>
                <c:pt idx="4">
                  <c:v>978.78234705952491</c:v>
                </c:pt>
                <c:pt idx="5">
                  <c:v>931.25289132553121</c:v>
                </c:pt>
                <c:pt idx="6">
                  <c:v>927.31761837286535</c:v>
                </c:pt>
                <c:pt idx="7">
                  <c:v>903.14324738568325</c:v>
                </c:pt>
                <c:pt idx="8">
                  <c:v>886.4187114307299</c:v>
                </c:pt>
                <c:pt idx="9">
                  <c:v>823.49594652254291</c:v>
                </c:pt>
                <c:pt idx="10">
                  <c:v>779.41714921142921</c:v>
                </c:pt>
                <c:pt idx="11">
                  <c:v>667.81890915629469</c:v>
                </c:pt>
                <c:pt idx="12">
                  <c:v>666.50737559576953</c:v>
                </c:pt>
                <c:pt idx="13">
                  <c:v>662.00466200466201</c:v>
                </c:pt>
                <c:pt idx="14">
                  <c:v>633.944155079643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FF9C-4297-9716-CDD499066E4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593864360"/>
        <c:axId val="593863184"/>
      </c:barChart>
      <c:catAx>
        <c:axId val="59386436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3863184"/>
        <c:crosses val="autoZero"/>
        <c:auto val="1"/>
        <c:lblAlgn val="ctr"/>
        <c:lblOffset val="100"/>
        <c:noMultiLvlLbl val="0"/>
      </c:catAx>
      <c:valAx>
        <c:axId val="593863184"/>
        <c:scaling>
          <c:orientation val="minMax"/>
        </c:scaling>
        <c:delete val="0"/>
        <c:axPos val="t"/>
        <c:numFmt formatCode="#,##0" sourceLinked="0"/>
        <c:majorTickMark val="out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38643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15873107172338E-2"/>
          <c:y val="3.9247139343385737E-2"/>
          <c:w val="0.89141998119028387"/>
          <c:h val="0.6528865909552730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0 – 4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9B2-442E-BE12-A9F0BE2C1AA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5 – 9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9B2-442E-BE12-A9F0BE2C1AA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 10 – 14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D$2:$D$15</c:f>
              <c:numCache>
                <c:formatCode>General</c:formatCode>
                <c:ptCount val="14"/>
                <c:pt idx="0">
                  <c:v>9</c:v>
                </c:pt>
                <c:pt idx="1">
                  <c:v>7</c:v>
                </c:pt>
                <c:pt idx="2">
                  <c:v>4</c:v>
                </c:pt>
                <c:pt idx="3">
                  <c:v>8</c:v>
                </c:pt>
                <c:pt idx="4">
                  <c:v>3</c:v>
                </c:pt>
                <c:pt idx="5">
                  <c:v>4</c:v>
                </c:pt>
                <c:pt idx="6">
                  <c:v>2</c:v>
                </c:pt>
                <c:pt idx="7">
                  <c:v>3</c:v>
                </c:pt>
                <c:pt idx="8">
                  <c:v>7</c:v>
                </c:pt>
                <c:pt idx="9">
                  <c:v>8</c:v>
                </c:pt>
                <c:pt idx="10">
                  <c:v>11</c:v>
                </c:pt>
                <c:pt idx="11">
                  <c:v>12</c:v>
                </c:pt>
                <c:pt idx="12">
                  <c:v>9</c:v>
                </c:pt>
                <c:pt idx="13">
                  <c:v>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9B2-442E-BE12-A9F0BE2C1AA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 15 – 19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E$2:$E$15</c:f>
              <c:numCache>
                <c:formatCode>General</c:formatCode>
                <c:ptCount val="14"/>
                <c:pt idx="0">
                  <c:v>64</c:v>
                </c:pt>
                <c:pt idx="1">
                  <c:v>39</c:v>
                </c:pt>
                <c:pt idx="2">
                  <c:v>57</c:v>
                </c:pt>
                <c:pt idx="3">
                  <c:v>50</c:v>
                </c:pt>
                <c:pt idx="4">
                  <c:v>63</c:v>
                </c:pt>
                <c:pt idx="5">
                  <c:v>52</c:v>
                </c:pt>
                <c:pt idx="6">
                  <c:v>60</c:v>
                </c:pt>
                <c:pt idx="7">
                  <c:v>59</c:v>
                </c:pt>
                <c:pt idx="8">
                  <c:v>70</c:v>
                </c:pt>
                <c:pt idx="9">
                  <c:v>69</c:v>
                </c:pt>
                <c:pt idx="10">
                  <c:v>69</c:v>
                </c:pt>
                <c:pt idx="11">
                  <c:v>79</c:v>
                </c:pt>
                <c:pt idx="12">
                  <c:v>83</c:v>
                </c:pt>
                <c:pt idx="13">
                  <c:v>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9B2-442E-BE12-A9F0BE2C1A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0838112"/>
        <c:axId val="450840464"/>
      </c:lineChart>
      <c:catAx>
        <c:axId val="450838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40464"/>
        <c:crosses val="autoZero"/>
        <c:auto val="1"/>
        <c:lblAlgn val="ctr"/>
        <c:lblOffset val="100"/>
        <c:noMultiLvlLbl val="0"/>
      </c:catAx>
      <c:valAx>
        <c:axId val="45084046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38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3493520616735377"/>
          <c:y val="0.88671208776873589"/>
          <c:w val="0.86506492964713311"/>
          <c:h val="0.11328771435141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15873107172338E-2"/>
          <c:y val="3.9247139343385737E-2"/>
          <c:w val="0.89141998119028387"/>
          <c:h val="0.6528865909552730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0 – 4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EF5-4928-9494-CD25DD30E2A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5 – 9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EF5-4928-9494-CD25DD30E2A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 10 – 14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D$2:$D$15</c:f>
              <c:numCache>
                <c:formatCode>General</c:formatCode>
                <c:ptCount val="14"/>
                <c:pt idx="0">
                  <c:v>2</c:v>
                </c:pt>
                <c:pt idx="1">
                  <c:v>7</c:v>
                </c:pt>
                <c:pt idx="2">
                  <c:v>1</c:v>
                </c:pt>
                <c:pt idx="3">
                  <c:v>2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0</c:v>
                </c:pt>
                <c:pt idx="8">
                  <c:v>3</c:v>
                </c:pt>
                <c:pt idx="9">
                  <c:v>2</c:v>
                </c:pt>
                <c:pt idx="10">
                  <c:v>6</c:v>
                </c:pt>
                <c:pt idx="11">
                  <c:v>1</c:v>
                </c:pt>
                <c:pt idx="12">
                  <c:v>0</c:v>
                </c:pt>
                <c:pt idx="13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EF5-4928-9494-CD25DD30E2A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 15 – 19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E$2:$E$15</c:f>
              <c:numCache>
                <c:formatCode>General</c:formatCode>
                <c:ptCount val="14"/>
                <c:pt idx="0">
                  <c:v>40</c:v>
                </c:pt>
                <c:pt idx="1">
                  <c:v>32</c:v>
                </c:pt>
                <c:pt idx="2">
                  <c:v>33</c:v>
                </c:pt>
                <c:pt idx="3">
                  <c:v>28</c:v>
                </c:pt>
                <c:pt idx="4">
                  <c:v>33</c:v>
                </c:pt>
                <c:pt idx="5">
                  <c:v>40</c:v>
                </c:pt>
                <c:pt idx="6">
                  <c:v>29</c:v>
                </c:pt>
                <c:pt idx="7">
                  <c:v>28</c:v>
                </c:pt>
                <c:pt idx="8">
                  <c:v>31</c:v>
                </c:pt>
                <c:pt idx="9">
                  <c:v>30</c:v>
                </c:pt>
                <c:pt idx="10">
                  <c:v>29</c:v>
                </c:pt>
                <c:pt idx="11">
                  <c:v>34</c:v>
                </c:pt>
                <c:pt idx="12">
                  <c:v>33</c:v>
                </c:pt>
                <c:pt idx="13">
                  <c:v>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EF5-4928-9494-CD25DD30E2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0838112"/>
        <c:axId val="450840464"/>
      </c:lineChart>
      <c:catAx>
        <c:axId val="450838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40464"/>
        <c:crosses val="autoZero"/>
        <c:auto val="1"/>
        <c:lblAlgn val="ctr"/>
        <c:lblOffset val="100"/>
        <c:noMultiLvlLbl val="0"/>
      </c:catAx>
      <c:valAx>
        <c:axId val="45084046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38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3493520616735377"/>
          <c:y val="0.88671208776873589"/>
          <c:w val="0.84677909524889039"/>
          <c:h val="0.11328771435141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15873107172338E-2"/>
          <c:y val="3.9247139343385737E-2"/>
          <c:w val="0.89141998119028387"/>
          <c:h val="0.6528865909552730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0 – 4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F11-4DF1-A66B-4394E48CAD8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5 – 9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0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1</c:v>
                </c:pt>
                <c:pt idx="9">
                  <c:v>1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F11-4DF1-A66B-4394E48CAD8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 10 – 14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D$2:$D$15</c:f>
              <c:numCache>
                <c:formatCode>General</c:formatCode>
                <c:ptCount val="14"/>
                <c:pt idx="0">
                  <c:v>4</c:v>
                </c:pt>
                <c:pt idx="1">
                  <c:v>2</c:v>
                </c:pt>
                <c:pt idx="2">
                  <c:v>2</c:v>
                </c:pt>
                <c:pt idx="3">
                  <c:v>0</c:v>
                </c:pt>
                <c:pt idx="4">
                  <c:v>1</c:v>
                </c:pt>
                <c:pt idx="5">
                  <c:v>6</c:v>
                </c:pt>
                <c:pt idx="6">
                  <c:v>9</c:v>
                </c:pt>
                <c:pt idx="7">
                  <c:v>13</c:v>
                </c:pt>
                <c:pt idx="8">
                  <c:v>16</c:v>
                </c:pt>
                <c:pt idx="9">
                  <c:v>8</c:v>
                </c:pt>
                <c:pt idx="10">
                  <c:v>10</c:v>
                </c:pt>
                <c:pt idx="11">
                  <c:v>4</c:v>
                </c:pt>
                <c:pt idx="12">
                  <c:v>1</c:v>
                </c:pt>
                <c:pt idx="13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F11-4DF1-A66B-4394E48CAD8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 15 – 19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E$2:$E$15</c:f>
              <c:numCache>
                <c:formatCode>General</c:formatCode>
                <c:ptCount val="14"/>
                <c:pt idx="0">
                  <c:v>41</c:v>
                </c:pt>
                <c:pt idx="1">
                  <c:v>26</c:v>
                </c:pt>
                <c:pt idx="2">
                  <c:v>30</c:v>
                </c:pt>
                <c:pt idx="3">
                  <c:v>23</c:v>
                </c:pt>
                <c:pt idx="4">
                  <c:v>30</c:v>
                </c:pt>
                <c:pt idx="5">
                  <c:v>39</c:v>
                </c:pt>
                <c:pt idx="6">
                  <c:v>31</c:v>
                </c:pt>
                <c:pt idx="7">
                  <c:v>45</c:v>
                </c:pt>
                <c:pt idx="8">
                  <c:v>44</c:v>
                </c:pt>
                <c:pt idx="9">
                  <c:v>37</c:v>
                </c:pt>
                <c:pt idx="10">
                  <c:v>38</c:v>
                </c:pt>
                <c:pt idx="11">
                  <c:v>28</c:v>
                </c:pt>
                <c:pt idx="12">
                  <c:v>44</c:v>
                </c:pt>
                <c:pt idx="13">
                  <c:v>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F11-4DF1-A66B-4394E48CAD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0838112"/>
        <c:axId val="450840464"/>
      </c:lineChart>
      <c:catAx>
        <c:axId val="450838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40464"/>
        <c:crosses val="autoZero"/>
        <c:auto val="1"/>
        <c:lblAlgn val="ctr"/>
        <c:lblOffset val="100"/>
        <c:noMultiLvlLbl val="0"/>
      </c:catAx>
      <c:valAx>
        <c:axId val="45084046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38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3493520616735377"/>
          <c:y val="0.88671208776873589"/>
          <c:w val="0.86506492964713311"/>
          <c:h val="0.11328771435141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15873107172338E-2"/>
          <c:y val="3.9247139343385737E-2"/>
          <c:w val="0.89141998119028387"/>
          <c:h val="0.6528865909552730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0 – 4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FC8-4C37-A4E0-5E4BA5123E2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5 – 9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FC8-4C37-A4E0-5E4BA5123E2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 10 – 14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D$2:$D$15</c:f>
              <c:numCache>
                <c:formatCode>General</c:formatCode>
                <c:ptCount val="14"/>
                <c:pt idx="0">
                  <c:v>1</c:v>
                </c:pt>
                <c:pt idx="1">
                  <c:v>3</c:v>
                </c:pt>
                <c:pt idx="2">
                  <c:v>2</c:v>
                </c:pt>
                <c:pt idx="3">
                  <c:v>9</c:v>
                </c:pt>
                <c:pt idx="4">
                  <c:v>5</c:v>
                </c:pt>
                <c:pt idx="5">
                  <c:v>2</c:v>
                </c:pt>
                <c:pt idx="6">
                  <c:v>3</c:v>
                </c:pt>
                <c:pt idx="7">
                  <c:v>5</c:v>
                </c:pt>
                <c:pt idx="8">
                  <c:v>3</c:v>
                </c:pt>
                <c:pt idx="9">
                  <c:v>14</c:v>
                </c:pt>
                <c:pt idx="10">
                  <c:v>10</c:v>
                </c:pt>
                <c:pt idx="11">
                  <c:v>13</c:v>
                </c:pt>
                <c:pt idx="12">
                  <c:v>12</c:v>
                </c:pt>
                <c:pt idx="13">
                  <c:v>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FC8-4C37-A4E0-5E4BA5123E2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 15 – 19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E$2:$E$15</c:f>
              <c:numCache>
                <c:formatCode>General</c:formatCode>
                <c:ptCount val="14"/>
                <c:pt idx="0">
                  <c:v>129</c:v>
                </c:pt>
                <c:pt idx="1">
                  <c:v>123</c:v>
                </c:pt>
                <c:pt idx="2">
                  <c:v>125</c:v>
                </c:pt>
                <c:pt idx="3">
                  <c:v>116</c:v>
                </c:pt>
                <c:pt idx="4">
                  <c:v>98</c:v>
                </c:pt>
                <c:pt idx="5">
                  <c:v>132</c:v>
                </c:pt>
                <c:pt idx="6">
                  <c:v>121</c:v>
                </c:pt>
                <c:pt idx="7">
                  <c:v>116</c:v>
                </c:pt>
                <c:pt idx="8">
                  <c:v>124</c:v>
                </c:pt>
                <c:pt idx="9">
                  <c:v>124</c:v>
                </c:pt>
                <c:pt idx="10">
                  <c:v>109</c:v>
                </c:pt>
                <c:pt idx="11">
                  <c:v>123</c:v>
                </c:pt>
                <c:pt idx="12">
                  <c:v>158</c:v>
                </c:pt>
                <c:pt idx="13">
                  <c:v>1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FC8-4C37-A4E0-5E4BA5123E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0838112"/>
        <c:axId val="450840464"/>
      </c:lineChart>
      <c:catAx>
        <c:axId val="450838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40464"/>
        <c:crosses val="autoZero"/>
        <c:auto val="1"/>
        <c:lblAlgn val="ctr"/>
        <c:lblOffset val="100"/>
        <c:noMultiLvlLbl val="0"/>
      </c:catAx>
      <c:valAx>
        <c:axId val="45084046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38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3493520616735377"/>
          <c:y val="0.88671208776873589"/>
          <c:w val="0.86506479383264623"/>
          <c:h val="0.11328771435141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15873107172338E-2"/>
          <c:y val="3.9247139343385737E-2"/>
          <c:w val="0.89141998119028387"/>
          <c:h val="0.6528865909552730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0 – 4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2</c:v>
                </c:pt>
                <c:pt idx="5">
                  <c:v>1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E3F-409C-B5C1-4432C171C28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5 – 9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3</c:v>
                </c:pt>
                <c:pt idx="1">
                  <c:v>1</c:v>
                </c:pt>
                <c:pt idx="2">
                  <c:v>2</c:v>
                </c:pt>
                <c:pt idx="3">
                  <c:v>7</c:v>
                </c:pt>
                <c:pt idx="4">
                  <c:v>3</c:v>
                </c:pt>
                <c:pt idx="5">
                  <c:v>1</c:v>
                </c:pt>
                <c:pt idx="6">
                  <c:v>5</c:v>
                </c:pt>
                <c:pt idx="7">
                  <c:v>3</c:v>
                </c:pt>
                <c:pt idx="8">
                  <c:v>5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2</c:v>
                </c:pt>
                <c:pt idx="13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E3F-409C-B5C1-4432C171C28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 10 – 14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D$2:$D$15</c:f>
              <c:numCache>
                <c:formatCode>General</c:formatCode>
                <c:ptCount val="14"/>
                <c:pt idx="0">
                  <c:v>12</c:v>
                </c:pt>
                <c:pt idx="1">
                  <c:v>19</c:v>
                </c:pt>
                <c:pt idx="2">
                  <c:v>22</c:v>
                </c:pt>
                <c:pt idx="3">
                  <c:v>24</c:v>
                </c:pt>
                <c:pt idx="4">
                  <c:v>34</c:v>
                </c:pt>
                <c:pt idx="5">
                  <c:v>32</c:v>
                </c:pt>
                <c:pt idx="6">
                  <c:v>21</c:v>
                </c:pt>
                <c:pt idx="7">
                  <c:v>43</c:v>
                </c:pt>
                <c:pt idx="8">
                  <c:v>56</c:v>
                </c:pt>
                <c:pt idx="9">
                  <c:v>53</c:v>
                </c:pt>
                <c:pt idx="10">
                  <c:v>51</c:v>
                </c:pt>
                <c:pt idx="11">
                  <c:v>66</c:v>
                </c:pt>
                <c:pt idx="12">
                  <c:v>78</c:v>
                </c:pt>
                <c:pt idx="13">
                  <c:v>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E3F-409C-B5C1-4432C171C28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 15 – 19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E$2:$E$15</c:f>
              <c:numCache>
                <c:formatCode>General</c:formatCode>
                <c:ptCount val="14"/>
                <c:pt idx="0">
                  <c:v>166</c:v>
                </c:pt>
                <c:pt idx="1">
                  <c:v>168</c:v>
                </c:pt>
                <c:pt idx="2">
                  <c:v>149</c:v>
                </c:pt>
                <c:pt idx="3">
                  <c:v>150</c:v>
                </c:pt>
                <c:pt idx="4">
                  <c:v>162</c:v>
                </c:pt>
                <c:pt idx="5">
                  <c:v>163</c:v>
                </c:pt>
                <c:pt idx="6">
                  <c:v>175</c:v>
                </c:pt>
                <c:pt idx="7">
                  <c:v>237</c:v>
                </c:pt>
                <c:pt idx="8">
                  <c:v>296</c:v>
                </c:pt>
                <c:pt idx="9">
                  <c:v>335</c:v>
                </c:pt>
                <c:pt idx="10">
                  <c:v>328</c:v>
                </c:pt>
                <c:pt idx="11">
                  <c:v>402</c:v>
                </c:pt>
                <c:pt idx="12">
                  <c:v>543</c:v>
                </c:pt>
                <c:pt idx="13">
                  <c:v>6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E3F-409C-B5C1-4432C171C2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0838112"/>
        <c:axId val="450840464"/>
      </c:lineChart>
      <c:catAx>
        <c:axId val="450838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40464"/>
        <c:crosses val="autoZero"/>
        <c:auto val="1"/>
        <c:lblAlgn val="ctr"/>
        <c:lblOffset val="100"/>
        <c:noMultiLvlLbl val="0"/>
      </c:catAx>
      <c:valAx>
        <c:axId val="45084046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38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3493520616735377"/>
          <c:y val="0.88671208776873589"/>
          <c:w val="0.86506492964713311"/>
          <c:h val="0.11328771435141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29879136124037"/>
          <c:y val="6.5393325144959685E-2"/>
          <c:w val="0.84184599831277318"/>
          <c:h val="0.61265647339595886"/>
        </c:manualLayout>
      </c:layout>
      <c:areaChart>
        <c:grouping val="stacked"/>
        <c:varyColors val="0"/>
        <c:ser>
          <c:idx val="0"/>
          <c:order val="0"/>
          <c:tx>
            <c:strRef>
              <c:f>List1!$A$2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2:$O$2</c:f>
              <c:numCache>
                <c:formatCode>General</c:formatCode>
                <c:ptCount val="14"/>
                <c:pt idx="0">
                  <c:v>3719.211102045062</c:v>
                </c:pt>
                <c:pt idx="1">
                  <c:v>3911.7814700232934</c:v>
                </c:pt>
                <c:pt idx="2">
                  <c:v>3975.747477552532</c:v>
                </c:pt>
                <c:pt idx="3">
                  <c:v>4151.1765819820002</c:v>
                </c:pt>
                <c:pt idx="4">
                  <c:v>4280.712284913966</c:v>
                </c:pt>
                <c:pt idx="5">
                  <c:v>4456.5268369815012</c:v>
                </c:pt>
                <c:pt idx="6">
                  <c:v>4585.341571454037</c:v>
                </c:pt>
                <c:pt idx="7">
                  <c:v>4803.0097330010203</c:v>
                </c:pt>
                <c:pt idx="8">
                  <c:v>4864.9480987663264</c:v>
                </c:pt>
                <c:pt idx="9">
                  <c:v>4935.8049608643923</c:v>
                </c:pt>
                <c:pt idx="10">
                  <c:v>4810.4413520142798</c:v>
                </c:pt>
                <c:pt idx="11">
                  <c:v>5089.3210502114925</c:v>
                </c:pt>
                <c:pt idx="12">
                  <c:v>5101.9357726306362</c:v>
                </c:pt>
                <c:pt idx="13">
                  <c:v>5244.53324453324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32-480B-A0A6-326AA72C5D34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Rozsah hodnot krajů</c:v>
                </c:pt>
              </c:strCache>
            </c:strRef>
          </c:tx>
          <c:spPr>
            <a:solidFill>
              <a:srgbClr val="FFDC85"/>
            </a:solidFill>
            <a:ln>
              <a:noFill/>
            </a:ln>
            <a:effectLst/>
          </c:spP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3:$O$3</c:f>
              <c:numCache>
                <c:formatCode>General</c:formatCode>
                <c:ptCount val="14"/>
                <c:pt idx="0">
                  <c:v>2529.9999872827939</c:v>
                </c:pt>
                <c:pt idx="1">
                  <c:v>2617.3559781467761</c:v>
                </c:pt>
                <c:pt idx="2">
                  <c:v>2622.252836029174</c:v>
                </c:pt>
                <c:pt idx="3">
                  <c:v>2544.882584348592</c:v>
                </c:pt>
                <c:pt idx="4">
                  <c:v>2433.5134809274105</c:v>
                </c:pt>
                <c:pt idx="5">
                  <c:v>2255.8319855834434</c:v>
                </c:pt>
                <c:pt idx="6">
                  <c:v>2160.3048018594327</c:v>
                </c:pt>
                <c:pt idx="7">
                  <c:v>1972.6094792512449</c:v>
                </c:pt>
                <c:pt idx="8">
                  <c:v>1939.9217369929138</c:v>
                </c:pt>
                <c:pt idx="9">
                  <c:v>1986.7012521482111</c:v>
                </c:pt>
                <c:pt idx="10">
                  <c:v>1977.820776270356</c:v>
                </c:pt>
                <c:pt idx="11">
                  <c:v>2172.9864642320754</c:v>
                </c:pt>
                <c:pt idx="12">
                  <c:v>2011.9676573806519</c:v>
                </c:pt>
                <c:pt idx="13">
                  <c:v>1970.6566288844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32-480B-A0A6-326AA72C5D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00352592"/>
        <c:axId val="300349064"/>
      </c:areaChart>
      <c:lineChart>
        <c:grouping val="standard"/>
        <c:varyColors val="0"/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D7144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D71440"/>
              </a:solidFill>
              <a:ln w="9525">
                <a:solidFill>
                  <a:srgbClr val="D71440"/>
                </a:solidFill>
              </a:ln>
              <a:effectLst/>
            </c:spPr>
          </c:marke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4:$O$4</c:f>
              <c:numCache>
                <c:formatCode>General</c:formatCode>
                <c:ptCount val="1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E32-480B-A0A6-326AA72C5D34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ČR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9525">
                <a:solidFill>
                  <a:schemeClr val="tx1"/>
                </a:solidFill>
              </a:ln>
              <a:effectLst/>
            </c:spPr>
          </c:marke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5:$O$5</c:f>
              <c:numCache>
                <c:formatCode>General</c:formatCode>
                <c:ptCount val="14"/>
                <c:pt idx="0">
                  <c:v>4957.7612848685594</c:v>
                </c:pt>
                <c:pt idx="1">
                  <c:v>5170.0958170361046</c:v>
                </c:pt>
                <c:pt idx="2">
                  <c:v>5263.8970906301338</c:v>
                </c:pt>
                <c:pt idx="3">
                  <c:v>5413.8351524762484</c:v>
                </c:pt>
                <c:pt idx="4">
                  <c:v>5539.82918222637</c:v>
                </c:pt>
                <c:pt idx="5">
                  <c:v>5653.4124915037946</c:v>
                </c:pt>
                <c:pt idx="6">
                  <c:v>5784.8137352483845</c:v>
                </c:pt>
                <c:pt idx="7">
                  <c:v>5887.4212122431163</c:v>
                </c:pt>
                <c:pt idx="8">
                  <c:v>5959.4144035202789</c:v>
                </c:pt>
                <c:pt idx="9">
                  <c:v>6053.4950480461557</c:v>
                </c:pt>
                <c:pt idx="10">
                  <c:v>5961.8388705584166</c:v>
                </c:pt>
                <c:pt idx="11">
                  <c:v>6293.2619740306745</c:v>
                </c:pt>
                <c:pt idx="12">
                  <c:v>6255.0995513277767</c:v>
                </c:pt>
                <c:pt idx="13">
                  <c:v>6312.78128913273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E32-480B-A0A6-326AA72C5D34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Praha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0000"/>
              </a:solidFill>
              <a:ln w="9525">
                <a:solidFill>
                  <a:srgbClr val="FF0000"/>
                </a:solidFill>
              </a:ln>
              <a:effectLst/>
            </c:spPr>
          </c:marke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6:$O$6</c:f>
              <c:numCache>
                <c:formatCode>General</c:formatCode>
                <c:ptCount val="14"/>
                <c:pt idx="0">
                  <c:v>6249.2110893278559</c:v>
                </c:pt>
                <c:pt idx="1">
                  <c:v>6529.1374481700695</c:v>
                </c:pt>
                <c:pt idx="2">
                  <c:v>6598.000313581706</c:v>
                </c:pt>
                <c:pt idx="3">
                  <c:v>6696.0591663305922</c:v>
                </c:pt>
                <c:pt idx="4">
                  <c:v>6714.2257658413764</c:v>
                </c:pt>
                <c:pt idx="5">
                  <c:v>6712.3588225649446</c:v>
                </c:pt>
                <c:pt idx="6">
                  <c:v>6745.6463733134697</c:v>
                </c:pt>
                <c:pt idx="7">
                  <c:v>6775.6192122522652</c:v>
                </c:pt>
                <c:pt idx="8">
                  <c:v>6765.1704089122186</c:v>
                </c:pt>
                <c:pt idx="9">
                  <c:v>6828.4991154183308</c:v>
                </c:pt>
                <c:pt idx="10">
                  <c:v>6738.6338293883991</c:v>
                </c:pt>
                <c:pt idx="11">
                  <c:v>7262.3075144435679</c:v>
                </c:pt>
                <c:pt idx="12">
                  <c:v>7110.2627509282574</c:v>
                </c:pt>
                <c:pt idx="13">
                  <c:v>7060.6562887915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851-448C-A265-5F738B78E1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0352592"/>
        <c:axId val="300349064"/>
      </c:lineChart>
      <c:catAx>
        <c:axId val="3003525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0349064"/>
        <c:crosses val="autoZero"/>
        <c:auto val="1"/>
        <c:lblAlgn val="ctr"/>
        <c:lblOffset val="100"/>
        <c:noMultiLvlLbl val="0"/>
      </c:catAx>
      <c:valAx>
        <c:axId val="300349064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0352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ayout>
        <c:manualLayout>
          <c:xMode val="edge"/>
          <c:yMode val="edge"/>
          <c:x val="6.2657614561094963E-2"/>
          <c:y val="0.57407646055458172"/>
          <c:w val="0.71517626800064349"/>
          <c:h val="0.1106498656749382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15873107172338E-2"/>
          <c:y val="3.9247139343385737E-2"/>
          <c:w val="0.89141998119028387"/>
          <c:h val="0.6528865909552730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0 – 4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26</c:v>
                </c:pt>
                <c:pt idx="1">
                  <c:v>18</c:v>
                </c:pt>
                <c:pt idx="2">
                  <c:v>12</c:v>
                </c:pt>
                <c:pt idx="3">
                  <c:v>20</c:v>
                </c:pt>
                <c:pt idx="4">
                  <c:v>19</c:v>
                </c:pt>
                <c:pt idx="5">
                  <c:v>13</c:v>
                </c:pt>
                <c:pt idx="6">
                  <c:v>9</c:v>
                </c:pt>
                <c:pt idx="7">
                  <c:v>10</c:v>
                </c:pt>
                <c:pt idx="8">
                  <c:v>10</c:v>
                </c:pt>
                <c:pt idx="9">
                  <c:v>7</c:v>
                </c:pt>
                <c:pt idx="10">
                  <c:v>8</c:v>
                </c:pt>
                <c:pt idx="11">
                  <c:v>3</c:v>
                </c:pt>
                <c:pt idx="12">
                  <c:v>6</c:v>
                </c:pt>
                <c:pt idx="13">
                  <c:v>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C39-49B7-8EFA-5AD266D4389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5 – 9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68</c:v>
                </c:pt>
                <c:pt idx="1">
                  <c:v>76</c:v>
                </c:pt>
                <c:pt idx="2">
                  <c:v>79</c:v>
                </c:pt>
                <c:pt idx="3">
                  <c:v>101</c:v>
                </c:pt>
                <c:pt idx="4">
                  <c:v>90</c:v>
                </c:pt>
                <c:pt idx="5">
                  <c:v>115</c:v>
                </c:pt>
                <c:pt idx="6">
                  <c:v>98</c:v>
                </c:pt>
                <c:pt idx="7">
                  <c:v>89</c:v>
                </c:pt>
                <c:pt idx="8">
                  <c:v>66</c:v>
                </c:pt>
                <c:pt idx="9">
                  <c:v>72</c:v>
                </c:pt>
                <c:pt idx="10">
                  <c:v>66</c:v>
                </c:pt>
                <c:pt idx="11">
                  <c:v>50</c:v>
                </c:pt>
                <c:pt idx="12">
                  <c:v>56</c:v>
                </c:pt>
                <c:pt idx="13">
                  <c:v>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C39-49B7-8EFA-5AD266D4389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 10 – 14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D$2:$D$15</c:f>
              <c:numCache>
                <c:formatCode>General</c:formatCode>
                <c:ptCount val="14"/>
                <c:pt idx="0">
                  <c:v>195</c:v>
                </c:pt>
                <c:pt idx="1">
                  <c:v>217</c:v>
                </c:pt>
                <c:pt idx="2">
                  <c:v>241</c:v>
                </c:pt>
                <c:pt idx="3">
                  <c:v>232</c:v>
                </c:pt>
                <c:pt idx="4">
                  <c:v>252</c:v>
                </c:pt>
                <c:pt idx="5">
                  <c:v>269</c:v>
                </c:pt>
                <c:pt idx="6">
                  <c:v>267</c:v>
                </c:pt>
                <c:pt idx="7">
                  <c:v>267</c:v>
                </c:pt>
                <c:pt idx="8">
                  <c:v>318</c:v>
                </c:pt>
                <c:pt idx="9">
                  <c:v>344</c:v>
                </c:pt>
                <c:pt idx="10">
                  <c:v>305</c:v>
                </c:pt>
                <c:pt idx="11">
                  <c:v>390</c:v>
                </c:pt>
                <c:pt idx="12">
                  <c:v>499</c:v>
                </c:pt>
                <c:pt idx="13">
                  <c:v>5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C39-49B7-8EFA-5AD266D4389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 15 – 19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E$2:$E$15</c:f>
              <c:numCache>
                <c:formatCode>General</c:formatCode>
                <c:ptCount val="14"/>
                <c:pt idx="0">
                  <c:v>809</c:v>
                </c:pt>
                <c:pt idx="1">
                  <c:v>828</c:v>
                </c:pt>
                <c:pt idx="2">
                  <c:v>794</c:v>
                </c:pt>
                <c:pt idx="3">
                  <c:v>796</c:v>
                </c:pt>
                <c:pt idx="4">
                  <c:v>763</c:v>
                </c:pt>
                <c:pt idx="5">
                  <c:v>856</c:v>
                </c:pt>
                <c:pt idx="6">
                  <c:v>876</c:v>
                </c:pt>
                <c:pt idx="7">
                  <c:v>990</c:v>
                </c:pt>
                <c:pt idx="8">
                  <c:v>1094</c:v>
                </c:pt>
                <c:pt idx="9">
                  <c:v>1224</c:v>
                </c:pt>
                <c:pt idx="10">
                  <c:v>1237</c:v>
                </c:pt>
                <c:pt idx="11">
                  <c:v>1575</c:v>
                </c:pt>
                <c:pt idx="12">
                  <c:v>2027</c:v>
                </c:pt>
                <c:pt idx="13">
                  <c:v>22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C39-49B7-8EFA-5AD266D438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0838112"/>
        <c:axId val="450840464"/>
      </c:lineChart>
      <c:catAx>
        <c:axId val="450838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40464"/>
        <c:crosses val="autoZero"/>
        <c:auto val="1"/>
        <c:lblAlgn val="ctr"/>
        <c:lblOffset val="100"/>
        <c:noMultiLvlLbl val="0"/>
      </c:catAx>
      <c:valAx>
        <c:axId val="45084046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38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3493520616735377"/>
          <c:y val="0.88671208776873589"/>
          <c:w val="0.86506479383264623"/>
          <c:h val="0.11328771435141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15873107172338E-2"/>
          <c:y val="3.9247139343385737E-2"/>
          <c:w val="0.89141998119028387"/>
          <c:h val="0.6528865909552730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0 – 4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73B-4B0D-939C-D708C1975E4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5 – 9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0</c:v>
                </c:pt>
                <c:pt idx="1">
                  <c:v>2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1</c:v>
                </c:pt>
                <c:pt idx="7">
                  <c:v>4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73B-4B0D-939C-D708C1975E4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 10 – 14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D$2:$D$15</c:f>
              <c:numCache>
                <c:formatCode>General</c:formatCode>
                <c:ptCount val="14"/>
                <c:pt idx="0">
                  <c:v>2</c:v>
                </c:pt>
                <c:pt idx="1">
                  <c:v>5</c:v>
                </c:pt>
                <c:pt idx="2">
                  <c:v>10</c:v>
                </c:pt>
                <c:pt idx="3">
                  <c:v>14</c:v>
                </c:pt>
                <c:pt idx="4">
                  <c:v>14</c:v>
                </c:pt>
                <c:pt idx="5">
                  <c:v>8</c:v>
                </c:pt>
                <c:pt idx="6">
                  <c:v>13</c:v>
                </c:pt>
                <c:pt idx="7">
                  <c:v>26</c:v>
                </c:pt>
                <c:pt idx="8">
                  <c:v>31</c:v>
                </c:pt>
                <c:pt idx="9">
                  <c:v>28</c:v>
                </c:pt>
                <c:pt idx="10">
                  <c:v>13</c:v>
                </c:pt>
                <c:pt idx="11">
                  <c:v>29</c:v>
                </c:pt>
                <c:pt idx="12">
                  <c:v>32</c:v>
                </c:pt>
                <c:pt idx="13">
                  <c:v>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73B-4B0D-939C-D708C1975E4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 15 – 19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E$2:$E$15</c:f>
              <c:numCache>
                <c:formatCode>General</c:formatCode>
                <c:ptCount val="14"/>
                <c:pt idx="0">
                  <c:v>154</c:v>
                </c:pt>
                <c:pt idx="1">
                  <c:v>170</c:v>
                </c:pt>
                <c:pt idx="2">
                  <c:v>140</c:v>
                </c:pt>
                <c:pt idx="3">
                  <c:v>132</c:v>
                </c:pt>
                <c:pt idx="4">
                  <c:v>135</c:v>
                </c:pt>
                <c:pt idx="5">
                  <c:v>142</c:v>
                </c:pt>
                <c:pt idx="6">
                  <c:v>156</c:v>
                </c:pt>
                <c:pt idx="7">
                  <c:v>196</c:v>
                </c:pt>
                <c:pt idx="8">
                  <c:v>229</c:v>
                </c:pt>
                <c:pt idx="9">
                  <c:v>259</c:v>
                </c:pt>
                <c:pt idx="10">
                  <c:v>231</c:v>
                </c:pt>
                <c:pt idx="11">
                  <c:v>268</c:v>
                </c:pt>
                <c:pt idx="12">
                  <c:v>332</c:v>
                </c:pt>
                <c:pt idx="13">
                  <c:v>3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73B-4B0D-939C-D708C1975E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0838112"/>
        <c:axId val="450840464"/>
      </c:lineChart>
      <c:catAx>
        <c:axId val="450838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40464"/>
        <c:crosses val="autoZero"/>
        <c:auto val="1"/>
        <c:lblAlgn val="ctr"/>
        <c:lblOffset val="100"/>
        <c:noMultiLvlLbl val="0"/>
      </c:catAx>
      <c:valAx>
        <c:axId val="45084046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38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3493520616735377"/>
          <c:y val="0.88671208776873589"/>
          <c:w val="0.86506492964713311"/>
          <c:h val="0.11328771435141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15873107172338E-2"/>
          <c:y val="3.9247139343385737E-2"/>
          <c:w val="0.89141998119028387"/>
          <c:h val="0.6528865909552730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0 – 4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2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973-49FC-A4C2-66BDA5BD59C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5 – 9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8</c:v>
                </c:pt>
                <c:pt idx="1">
                  <c:v>7</c:v>
                </c:pt>
                <c:pt idx="2">
                  <c:v>5</c:v>
                </c:pt>
                <c:pt idx="3">
                  <c:v>9</c:v>
                </c:pt>
                <c:pt idx="4">
                  <c:v>8</c:v>
                </c:pt>
                <c:pt idx="5">
                  <c:v>13</c:v>
                </c:pt>
                <c:pt idx="6">
                  <c:v>11</c:v>
                </c:pt>
                <c:pt idx="7">
                  <c:v>15</c:v>
                </c:pt>
                <c:pt idx="8">
                  <c:v>9</c:v>
                </c:pt>
                <c:pt idx="9">
                  <c:v>15</c:v>
                </c:pt>
                <c:pt idx="10">
                  <c:v>17</c:v>
                </c:pt>
                <c:pt idx="11">
                  <c:v>13</c:v>
                </c:pt>
                <c:pt idx="12">
                  <c:v>16</c:v>
                </c:pt>
                <c:pt idx="13">
                  <c:v>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973-49FC-A4C2-66BDA5BD59C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 10 – 14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D$2:$D$15</c:f>
              <c:numCache>
                <c:formatCode>General</c:formatCode>
                <c:ptCount val="14"/>
                <c:pt idx="0">
                  <c:v>17</c:v>
                </c:pt>
                <c:pt idx="1">
                  <c:v>27</c:v>
                </c:pt>
                <c:pt idx="2">
                  <c:v>31</c:v>
                </c:pt>
                <c:pt idx="3">
                  <c:v>23</c:v>
                </c:pt>
                <c:pt idx="4">
                  <c:v>42</c:v>
                </c:pt>
                <c:pt idx="5">
                  <c:v>42</c:v>
                </c:pt>
                <c:pt idx="6">
                  <c:v>53</c:v>
                </c:pt>
                <c:pt idx="7">
                  <c:v>59</c:v>
                </c:pt>
                <c:pt idx="8">
                  <c:v>70</c:v>
                </c:pt>
                <c:pt idx="9">
                  <c:v>61</c:v>
                </c:pt>
                <c:pt idx="10">
                  <c:v>55</c:v>
                </c:pt>
                <c:pt idx="11">
                  <c:v>64</c:v>
                </c:pt>
                <c:pt idx="12">
                  <c:v>72</c:v>
                </c:pt>
                <c:pt idx="13">
                  <c:v>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973-49FC-A4C2-66BDA5BD59C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 15 – 19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E$2:$E$15</c:f>
              <c:numCache>
                <c:formatCode>General</c:formatCode>
                <c:ptCount val="14"/>
                <c:pt idx="0">
                  <c:v>51</c:v>
                </c:pt>
                <c:pt idx="1">
                  <c:v>59</c:v>
                </c:pt>
                <c:pt idx="2">
                  <c:v>55</c:v>
                </c:pt>
                <c:pt idx="3">
                  <c:v>56</c:v>
                </c:pt>
                <c:pt idx="4">
                  <c:v>63</c:v>
                </c:pt>
                <c:pt idx="5">
                  <c:v>65</c:v>
                </c:pt>
                <c:pt idx="6">
                  <c:v>80</c:v>
                </c:pt>
                <c:pt idx="7">
                  <c:v>90</c:v>
                </c:pt>
                <c:pt idx="8">
                  <c:v>82</c:v>
                </c:pt>
                <c:pt idx="9">
                  <c:v>100</c:v>
                </c:pt>
                <c:pt idx="10">
                  <c:v>127</c:v>
                </c:pt>
                <c:pt idx="11">
                  <c:v>144</c:v>
                </c:pt>
                <c:pt idx="12">
                  <c:v>169</c:v>
                </c:pt>
                <c:pt idx="13">
                  <c:v>1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973-49FC-A4C2-66BDA5BD59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0838112"/>
        <c:axId val="450840464"/>
      </c:lineChart>
      <c:catAx>
        <c:axId val="450838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40464"/>
        <c:crosses val="autoZero"/>
        <c:auto val="1"/>
        <c:lblAlgn val="ctr"/>
        <c:lblOffset val="100"/>
        <c:noMultiLvlLbl val="0"/>
      </c:catAx>
      <c:valAx>
        <c:axId val="45084046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38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3493520616735377"/>
          <c:y val="0.88671208776873589"/>
          <c:w val="0.86506479383264623"/>
          <c:h val="0.11328771435141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15873107172338E-2"/>
          <c:y val="3.9247139343385737E-2"/>
          <c:w val="0.89141998119028387"/>
          <c:h val="0.6528865909552730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0 – 4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1</c:v>
                </c:pt>
                <c:pt idx="9">
                  <c:v>1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881-4632-B4DD-5A226A9E627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5 – 9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3</c:v>
                </c:pt>
                <c:pt idx="1">
                  <c:v>3</c:v>
                </c:pt>
                <c:pt idx="2">
                  <c:v>0</c:v>
                </c:pt>
                <c:pt idx="3">
                  <c:v>2</c:v>
                </c:pt>
                <c:pt idx="4">
                  <c:v>3</c:v>
                </c:pt>
                <c:pt idx="5">
                  <c:v>4</c:v>
                </c:pt>
                <c:pt idx="6">
                  <c:v>1</c:v>
                </c:pt>
                <c:pt idx="7">
                  <c:v>2</c:v>
                </c:pt>
                <c:pt idx="8">
                  <c:v>2</c:v>
                </c:pt>
                <c:pt idx="9">
                  <c:v>5</c:v>
                </c:pt>
                <c:pt idx="10">
                  <c:v>4</c:v>
                </c:pt>
                <c:pt idx="11">
                  <c:v>2</c:v>
                </c:pt>
                <c:pt idx="12">
                  <c:v>1</c:v>
                </c:pt>
                <c:pt idx="13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881-4632-B4DD-5A226A9E627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 10 – 14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D$2:$D$15</c:f>
              <c:numCache>
                <c:formatCode>General</c:formatCode>
                <c:ptCount val="14"/>
                <c:pt idx="0">
                  <c:v>9</c:v>
                </c:pt>
                <c:pt idx="1">
                  <c:v>4</c:v>
                </c:pt>
                <c:pt idx="2">
                  <c:v>8</c:v>
                </c:pt>
                <c:pt idx="3">
                  <c:v>4</c:v>
                </c:pt>
                <c:pt idx="4">
                  <c:v>11</c:v>
                </c:pt>
                <c:pt idx="5">
                  <c:v>6</c:v>
                </c:pt>
                <c:pt idx="6">
                  <c:v>10</c:v>
                </c:pt>
                <c:pt idx="7">
                  <c:v>16</c:v>
                </c:pt>
                <c:pt idx="8">
                  <c:v>29</c:v>
                </c:pt>
                <c:pt idx="9">
                  <c:v>23</c:v>
                </c:pt>
                <c:pt idx="10">
                  <c:v>20</c:v>
                </c:pt>
                <c:pt idx="11">
                  <c:v>23</c:v>
                </c:pt>
                <c:pt idx="12">
                  <c:v>18</c:v>
                </c:pt>
                <c:pt idx="13">
                  <c:v>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881-4632-B4DD-5A226A9E627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 15 – 19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E$2:$E$15</c:f>
              <c:numCache>
                <c:formatCode>General</c:formatCode>
                <c:ptCount val="14"/>
                <c:pt idx="0">
                  <c:v>35</c:v>
                </c:pt>
                <c:pt idx="1">
                  <c:v>36</c:v>
                </c:pt>
                <c:pt idx="2">
                  <c:v>34</c:v>
                </c:pt>
                <c:pt idx="3">
                  <c:v>35</c:v>
                </c:pt>
                <c:pt idx="4">
                  <c:v>47</c:v>
                </c:pt>
                <c:pt idx="5">
                  <c:v>56</c:v>
                </c:pt>
                <c:pt idx="6">
                  <c:v>57</c:v>
                </c:pt>
                <c:pt idx="7">
                  <c:v>44</c:v>
                </c:pt>
                <c:pt idx="8">
                  <c:v>61</c:v>
                </c:pt>
                <c:pt idx="9">
                  <c:v>82</c:v>
                </c:pt>
                <c:pt idx="10">
                  <c:v>104</c:v>
                </c:pt>
                <c:pt idx="11">
                  <c:v>135</c:v>
                </c:pt>
                <c:pt idx="12">
                  <c:v>198</c:v>
                </c:pt>
                <c:pt idx="13">
                  <c:v>2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881-4632-B4DD-5A226A9E62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0838112"/>
        <c:axId val="450840464"/>
      </c:lineChart>
      <c:catAx>
        <c:axId val="450838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40464"/>
        <c:crosses val="autoZero"/>
        <c:auto val="1"/>
        <c:lblAlgn val="ctr"/>
        <c:lblOffset val="100"/>
        <c:noMultiLvlLbl val="0"/>
      </c:catAx>
      <c:valAx>
        <c:axId val="45084046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38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3493520616735377"/>
          <c:y val="0.88671208776873589"/>
          <c:w val="0.86506492964713311"/>
          <c:h val="0.11328771435141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15873107172338E-2"/>
          <c:y val="3.9247139343385737E-2"/>
          <c:w val="0.89141998119028387"/>
          <c:h val="0.6528865909552730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0 – 4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5</c:v>
                </c:pt>
                <c:pt idx="1">
                  <c:v>6</c:v>
                </c:pt>
                <c:pt idx="2">
                  <c:v>11</c:v>
                </c:pt>
                <c:pt idx="3">
                  <c:v>8</c:v>
                </c:pt>
                <c:pt idx="4">
                  <c:v>12</c:v>
                </c:pt>
                <c:pt idx="5">
                  <c:v>7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2</c:v>
                </c:pt>
                <c:pt idx="10">
                  <c:v>3</c:v>
                </c:pt>
                <c:pt idx="11">
                  <c:v>2</c:v>
                </c:pt>
                <c:pt idx="12">
                  <c:v>3</c:v>
                </c:pt>
                <c:pt idx="13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29A-435A-ABF1-5D1985845F1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5 – 9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15</c:v>
                </c:pt>
                <c:pt idx="1">
                  <c:v>14</c:v>
                </c:pt>
                <c:pt idx="2">
                  <c:v>15</c:v>
                </c:pt>
                <c:pt idx="3">
                  <c:v>14</c:v>
                </c:pt>
                <c:pt idx="4">
                  <c:v>14</c:v>
                </c:pt>
                <c:pt idx="5">
                  <c:v>16</c:v>
                </c:pt>
                <c:pt idx="6">
                  <c:v>11</c:v>
                </c:pt>
                <c:pt idx="7">
                  <c:v>12</c:v>
                </c:pt>
                <c:pt idx="8">
                  <c:v>8</c:v>
                </c:pt>
                <c:pt idx="9">
                  <c:v>10</c:v>
                </c:pt>
                <c:pt idx="10">
                  <c:v>13</c:v>
                </c:pt>
                <c:pt idx="11">
                  <c:v>6</c:v>
                </c:pt>
                <c:pt idx="12">
                  <c:v>9</c:v>
                </c:pt>
                <c:pt idx="1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9A-435A-ABF1-5D1985845F1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 10 – 14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D$2:$D$15</c:f>
              <c:numCache>
                <c:formatCode>General</c:formatCode>
                <c:ptCount val="14"/>
                <c:pt idx="0">
                  <c:v>24</c:v>
                </c:pt>
                <c:pt idx="1">
                  <c:v>31</c:v>
                </c:pt>
                <c:pt idx="2">
                  <c:v>41</c:v>
                </c:pt>
                <c:pt idx="3">
                  <c:v>39</c:v>
                </c:pt>
                <c:pt idx="4">
                  <c:v>42</c:v>
                </c:pt>
                <c:pt idx="5">
                  <c:v>48</c:v>
                </c:pt>
                <c:pt idx="6">
                  <c:v>46</c:v>
                </c:pt>
                <c:pt idx="7">
                  <c:v>55</c:v>
                </c:pt>
                <c:pt idx="8">
                  <c:v>71</c:v>
                </c:pt>
                <c:pt idx="9">
                  <c:v>65</c:v>
                </c:pt>
                <c:pt idx="10">
                  <c:v>77</c:v>
                </c:pt>
                <c:pt idx="11">
                  <c:v>115</c:v>
                </c:pt>
                <c:pt idx="12">
                  <c:v>105</c:v>
                </c:pt>
                <c:pt idx="13">
                  <c:v>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9A-435A-ABF1-5D1985845F1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 15 – 19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E$2:$E$15</c:f>
              <c:numCache>
                <c:formatCode>General</c:formatCode>
                <c:ptCount val="14"/>
                <c:pt idx="0">
                  <c:v>197</c:v>
                </c:pt>
                <c:pt idx="1">
                  <c:v>182</c:v>
                </c:pt>
                <c:pt idx="2">
                  <c:v>164</c:v>
                </c:pt>
                <c:pt idx="3">
                  <c:v>159</c:v>
                </c:pt>
                <c:pt idx="4">
                  <c:v>176</c:v>
                </c:pt>
                <c:pt idx="5">
                  <c:v>172</c:v>
                </c:pt>
                <c:pt idx="6">
                  <c:v>177</c:v>
                </c:pt>
                <c:pt idx="7">
                  <c:v>177</c:v>
                </c:pt>
                <c:pt idx="8">
                  <c:v>185</c:v>
                </c:pt>
                <c:pt idx="9">
                  <c:v>224</c:v>
                </c:pt>
                <c:pt idx="10">
                  <c:v>188</c:v>
                </c:pt>
                <c:pt idx="11">
                  <c:v>281</c:v>
                </c:pt>
                <c:pt idx="12">
                  <c:v>321</c:v>
                </c:pt>
                <c:pt idx="13">
                  <c:v>3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29A-435A-ABF1-5D1985845F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0838112"/>
        <c:axId val="450840464"/>
      </c:lineChart>
      <c:catAx>
        <c:axId val="450838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40464"/>
        <c:crosses val="autoZero"/>
        <c:auto val="1"/>
        <c:lblAlgn val="ctr"/>
        <c:lblOffset val="100"/>
        <c:noMultiLvlLbl val="0"/>
      </c:catAx>
      <c:valAx>
        <c:axId val="45084046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38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3493520616735377"/>
          <c:y val="0.88671208776873589"/>
          <c:w val="0.86506479383264623"/>
          <c:h val="0.11328771435141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15873107172338E-2"/>
          <c:y val="3.9247139343385737E-2"/>
          <c:w val="0.89141998119028387"/>
          <c:h val="0.6528865909552730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0 – 4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33</c:v>
                </c:pt>
                <c:pt idx="1">
                  <c:v>48</c:v>
                </c:pt>
                <c:pt idx="2">
                  <c:v>73</c:v>
                </c:pt>
                <c:pt idx="3">
                  <c:v>60</c:v>
                </c:pt>
                <c:pt idx="4">
                  <c:v>46</c:v>
                </c:pt>
                <c:pt idx="5">
                  <c:v>49</c:v>
                </c:pt>
                <c:pt idx="6">
                  <c:v>49</c:v>
                </c:pt>
                <c:pt idx="7">
                  <c:v>72</c:v>
                </c:pt>
                <c:pt idx="8">
                  <c:v>87</c:v>
                </c:pt>
                <c:pt idx="9">
                  <c:v>98</c:v>
                </c:pt>
                <c:pt idx="10">
                  <c:v>87</c:v>
                </c:pt>
                <c:pt idx="11">
                  <c:v>87</c:v>
                </c:pt>
                <c:pt idx="12">
                  <c:v>89</c:v>
                </c:pt>
                <c:pt idx="13">
                  <c:v>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753-41D6-88E6-68A838C1783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5 – 9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83</c:v>
                </c:pt>
                <c:pt idx="1">
                  <c:v>100</c:v>
                </c:pt>
                <c:pt idx="2">
                  <c:v>125</c:v>
                </c:pt>
                <c:pt idx="3">
                  <c:v>197</c:v>
                </c:pt>
                <c:pt idx="4">
                  <c:v>210</c:v>
                </c:pt>
                <c:pt idx="5">
                  <c:v>210</c:v>
                </c:pt>
                <c:pt idx="6">
                  <c:v>217</c:v>
                </c:pt>
                <c:pt idx="7">
                  <c:v>253</c:v>
                </c:pt>
                <c:pt idx="8">
                  <c:v>228</c:v>
                </c:pt>
                <c:pt idx="9">
                  <c:v>270</c:v>
                </c:pt>
                <c:pt idx="10">
                  <c:v>277</c:v>
                </c:pt>
                <c:pt idx="11">
                  <c:v>282</c:v>
                </c:pt>
                <c:pt idx="12">
                  <c:v>277</c:v>
                </c:pt>
                <c:pt idx="13">
                  <c:v>3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753-41D6-88E6-68A838C1783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 10 – 14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D$2:$D$15</c:f>
              <c:numCache>
                <c:formatCode>General</c:formatCode>
                <c:ptCount val="14"/>
                <c:pt idx="0">
                  <c:v>94</c:v>
                </c:pt>
                <c:pt idx="1">
                  <c:v>104</c:v>
                </c:pt>
                <c:pt idx="2">
                  <c:v>128</c:v>
                </c:pt>
                <c:pt idx="3">
                  <c:v>126</c:v>
                </c:pt>
                <c:pt idx="4">
                  <c:v>150</c:v>
                </c:pt>
                <c:pt idx="5">
                  <c:v>175</c:v>
                </c:pt>
                <c:pt idx="6">
                  <c:v>189</c:v>
                </c:pt>
                <c:pt idx="7">
                  <c:v>225</c:v>
                </c:pt>
                <c:pt idx="8">
                  <c:v>271</c:v>
                </c:pt>
                <c:pt idx="9">
                  <c:v>283</c:v>
                </c:pt>
                <c:pt idx="10">
                  <c:v>273</c:v>
                </c:pt>
                <c:pt idx="11">
                  <c:v>273</c:v>
                </c:pt>
                <c:pt idx="12">
                  <c:v>315</c:v>
                </c:pt>
                <c:pt idx="13">
                  <c:v>2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753-41D6-88E6-68A838C1783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 15 – 19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E$2:$E$15</c:f>
              <c:numCache>
                <c:formatCode>General</c:formatCode>
                <c:ptCount val="14"/>
                <c:pt idx="0">
                  <c:v>57</c:v>
                </c:pt>
                <c:pt idx="1">
                  <c:v>55</c:v>
                </c:pt>
                <c:pt idx="2">
                  <c:v>81</c:v>
                </c:pt>
                <c:pt idx="3">
                  <c:v>98</c:v>
                </c:pt>
                <c:pt idx="4">
                  <c:v>102</c:v>
                </c:pt>
                <c:pt idx="5">
                  <c:v>123</c:v>
                </c:pt>
                <c:pt idx="6">
                  <c:v>137</c:v>
                </c:pt>
                <c:pt idx="7">
                  <c:v>143</c:v>
                </c:pt>
                <c:pt idx="8">
                  <c:v>145</c:v>
                </c:pt>
                <c:pt idx="9">
                  <c:v>179</c:v>
                </c:pt>
                <c:pt idx="10">
                  <c:v>206</c:v>
                </c:pt>
                <c:pt idx="11">
                  <c:v>230</c:v>
                </c:pt>
                <c:pt idx="12">
                  <c:v>270</c:v>
                </c:pt>
                <c:pt idx="13">
                  <c:v>3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753-41D6-88E6-68A838C178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0838112"/>
        <c:axId val="450840464"/>
      </c:lineChart>
      <c:catAx>
        <c:axId val="450838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40464"/>
        <c:crosses val="autoZero"/>
        <c:auto val="1"/>
        <c:lblAlgn val="ctr"/>
        <c:lblOffset val="100"/>
        <c:noMultiLvlLbl val="0"/>
      </c:catAx>
      <c:valAx>
        <c:axId val="45084046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38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3493520616735377"/>
          <c:y val="0.88671208776873589"/>
          <c:w val="0.86506479383264623"/>
          <c:h val="0.11328771435141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4131074023507296"/>
          <c:y val="0.15573556917754688"/>
          <c:w val="0.61189273984018855"/>
          <c:h val="0.821541244989106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rgbClr val="4472C4">
                <a:lumMod val="75000"/>
              </a:srgbClr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29B-4F15-9CD7-4B1BF5807B30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229B-4F15-9CD7-4B1BF5807B30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Moravskoslezský kraj</c:v>
                </c:pt>
                <c:pt idx="1">
                  <c:v>Plzeňský kraj</c:v>
                </c:pt>
                <c:pt idx="2">
                  <c:v>Jihomoravský kraj</c:v>
                </c:pt>
                <c:pt idx="3">
                  <c:v>Vysočina</c:v>
                </c:pt>
                <c:pt idx="4">
                  <c:v>Pardubický kraj</c:v>
                </c:pt>
                <c:pt idx="5">
                  <c:v>Zlínský kraj</c:v>
                </c:pt>
                <c:pt idx="6">
                  <c:v>Hl. m. Praha</c:v>
                </c:pt>
                <c:pt idx="7">
                  <c:v>Česká republika</c:v>
                </c:pt>
                <c:pt idx="8">
                  <c:v>Liberecký kraj</c:v>
                </c:pt>
                <c:pt idx="9">
                  <c:v>Královéhradecký kraj</c:v>
                </c:pt>
                <c:pt idx="10">
                  <c:v>Olomoucký kraj</c:v>
                </c:pt>
                <c:pt idx="11">
                  <c:v>Jihočeský kraj</c:v>
                </c:pt>
                <c:pt idx="12">
                  <c:v>Ústecký kraj</c:v>
                </c:pt>
                <c:pt idx="13">
                  <c:v>Středočeský kraj</c:v>
                </c:pt>
                <c:pt idx="14">
                  <c:v>Karlovarský kraj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3.2878784142562405</c:v>
                </c:pt>
                <c:pt idx="1">
                  <c:v>3.1572383636033559</c:v>
                </c:pt>
                <c:pt idx="2">
                  <c:v>3.0532952689189812</c:v>
                </c:pt>
                <c:pt idx="3">
                  <c:v>2.7603974972396026</c:v>
                </c:pt>
                <c:pt idx="4">
                  <c:v>2.6464594782946214</c:v>
                </c:pt>
                <c:pt idx="5">
                  <c:v>2.5365259740259742</c:v>
                </c:pt>
                <c:pt idx="6">
                  <c:v>2.0786059482773553</c:v>
                </c:pt>
                <c:pt idx="7">
                  <c:v>2.0715630072362288</c:v>
                </c:pt>
                <c:pt idx="8">
                  <c:v>2.0635575732562939</c:v>
                </c:pt>
                <c:pt idx="9">
                  <c:v>1.7154129856763016</c:v>
                </c:pt>
                <c:pt idx="10">
                  <c:v>1.5151859511958605</c:v>
                </c:pt>
                <c:pt idx="11">
                  <c:v>1.4484566694187344</c:v>
                </c:pt>
                <c:pt idx="12">
                  <c:v>1.1544011544011543</c:v>
                </c:pt>
                <c:pt idx="13">
                  <c:v>0.88383206012414905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29B-4F15-9CD7-4B1BF5807B3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Řada 2</c:v>
                </c:pt>
              </c:strCache>
            </c:strRef>
          </c:tx>
          <c:spPr>
            <a:solidFill>
              <a:srgbClr val="2E5980"/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229B-4F15-9CD7-4B1BF5807B30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229B-4F15-9CD7-4B1BF5807B30}"/>
              </c:ext>
            </c:extLst>
          </c:dPt>
          <c:dLbls>
            <c:delete val="1"/>
          </c:dLbls>
          <c:cat>
            <c:strRef>
              <c:f>List1!$A$2:$A$16</c:f>
              <c:strCache>
                <c:ptCount val="15"/>
                <c:pt idx="0">
                  <c:v>Moravskoslezský kraj</c:v>
                </c:pt>
                <c:pt idx="1">
                  <c:v>Plzeňský kraj</c:v>
                </c:pt>
                <c:pt idx="2">
                  <c:v>Jihomoravský kraj</c:v>
                </c:pt>
                <c:pt idx="3">
                  <c:v>Vysočina</c:v>
                </c:pt>
                <c:pt idx="4">
                  <c:v>Pardubický kraj</c:v>
                </c:pt>
                <c:pt idx="5">
                  <c:v>Zlínský kraj</c:v>
                </c:pt>
                <c:pt idx="6">
                  <c:v>Hl. m. Praha</c:v>
                </c:pt>
                <c:pt idx="7">
                  <c:v>Česká republika</c:v>
                </c:pt>
                <c:pt idx="8">
                  <c:v>Liberecký kraj</c:v>
                </c:pt>
                <c:pt idx="9">
                  <c:v>Královéhradecký kraj</c:v>
                </c:pt>
                <c:pt idx="10">
                  <c:v>Olomoucký kraj</c:v>
                </c:pt>
                <c:pt idx="11">
                  <c:v>Jihočeský kraj</c:v>
                </c:pt>
                <c:pt idx="12">
                  <c:v>Ústecký kraj</c:v>
                </c:pt>
                <c:pt idx="13">
                  <c:v>Středočeský kraj</c:v>
                </c:pt>
                <c:pt idx="14">
                  <c:v>Karlovarský kraj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</c:numCache>
            </c:numRef>
          </c:val>
          <c:extLst>
            <c:ext xmlns:c16="http://schemas.microsoft.com/office/drawing/2014/chart" uri="{C3380CC4-5D6E-409C-BE32-E72D297353CC}">
              <c16:uniqueId val="{00000005-229B-4F15-9CD7-4B1BF5807B30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Řada 3</c:v>
                </c:pt>
              </c:strCache>
            </c:strRef>
          </c:tx>
          <c:spPr>
            <a:solidFill>
              <a:srgbClr val="FFC121"/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229B-4F15-9CD7-4B1BF5807B30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229B-4F15-9CD7-4B1BF5807B30}"/>
              </c:ext>
            </c:extLst>
          </c:dPt>
          <c:dLbls>
            <c:delete val="1"/>
          </c:dLbls>
          <c:cat>
            <c:strRef>
              <c:f>List1!$A$2:$A$16</c:f>
              <c:strCache>
                <c:ptCount val="15"/>
                <c:pt idx="0">
                  <c:v>Moravskoslezský kraj</c:v>
                </c:pt>
                <c:pt idx="1">
                  <c:v>Plzeňský kraj</c:v>
                </c:pt>
                <c:pt idx="2">
                  <c:v>Jihomoravský kraj</c:v>
                </c:pt>
                <c:pt idx="3">
                  <c:v>Vysočina</c:v>
                </c:pt>
                <c:pt idx="4">
                  <c:v>Pardubický kraj</c:v>
                </c:pt>
                <c:pt idx="5">
                  <c:v>Zlínský kraj</c:v>
                </c:pt>
                <c:pt idx="6">
                  <c:v>Hl. m. Praha</c:v>
                </c:pt>
                <c:pt idx="7">
                  <c:v>Česká republika</c:v>
                </c:pt>
                <c:pt idx="8">
                  <c:v>Liberecký kraj</c:v>
                </c:pt>
                <c:pt idx="9">
                  <c:v>Královéhradecký kraj</c:v>
                </c:pt>
                <c:pt idx="10">
                  <c:v>Olomoucký kraj</c:v>
                </c:pt>
                <c:pt idx="11">
                  <c:v>Jihočeský kraj</c:v>
                </c:pt>
                <c:pt idx="12">
                  <c:v>Ústecký kraj</c:v>
                </c:pt>
                <c:pt idx="13">
                  <c:v>Středočeský kraj</c:v>
                </c:pt>
                <c:pt idx="14">
                  <c:v>Karlovarský kraj</c:v>
                </c:pt>
              </c:strCache>
            </c:strRef>
          </c:cat>
          <c:val>
            <c:numRef>
              <c:f>List1!$D$2:$D$16</c:f>
              <c:numCache>
                <c:formatCode>General</c:formatCode>
                <c:ptCount val="15"/>
                <c:pt idx="7">
                  <c:v>2.07156300723622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29B-4F15-9CD7-4B1BF5807B3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593864360"/>
        <c:axId val="593863184"/>
      </c:barChart>
      <c:catAx>
        <c:axId val="59386436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93863184"/>
        <c:crosses val="autoZero"/>
        <c:auto val="1"/>
        <c:lblAlgn val="ctr"/>
        <c:lblOffset val="100"/>
        <c:tickLblSkip val="1"/>
        <c:noMultiLvlLbl val="0"/>
      </c:catAx>
      <c:valAx>
        <c:axId val="593863184"/>
        <c:scaling>
          <c:orientation val="minMax"/>
        </c:scaling>
        <c:delete val="0"/>
        <c:axPos val="t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938643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2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29879136124037"/>
          <c:y val="6.5393325144959685E-2"/>
          <c:w val="0.84184599831277318"/>
          <c:h val="0.61265647339595886"/>
        </c:manualLayout>
      </c:layout>
      <c:areaChart>
        <c:grouping val="stacked"/>
        <c:varyColors val="0"/>
        <c:ser>
          <c:idx val="0"/>
          <c:order val="0"/>
          <c:tx>
            <c:strRef>
              <c:f>List1!$A$2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2:$O$2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80334190231362457</c:v>
                </c:pt>
                <c:pt idx="4">
                  <c:v>0.44363800913007023</c:v>
                </c:pt>
                <c:pt idx="5">
                  <c:v>0</c:v>
                </c:pt>
                <c:pt idx="6">
                  <c:v>0</c:v>
                </c:pt>
                <c:pt idx="7">
                  <c:v>0.41078221148711375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32-480B-A0A6-326AA72C5D34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Rozsah hodnot krajů</c:v>
                </c:pt>
              </c:strCache>
            </c:strRef>
          </c:tx>
          <c:spPr>
            <a:solidFill>
              <a:srgbClr val="FFDC85"/>
            </a:solidFill>
            <a:ln>
              <a:noFill/>
            </a:ln>
            <a:effectLst/>
          </c:spP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3:$O$3</c:f>
              <c:numCache>
                <c:formatCode>General</c:formatCode>
                <c:ptCount val="14"/>
                <c:pt idx="0">
                  <c:v>3.7476694180806307</c:v>
                </c:pt>
                <c:pt idx="1">
                  <c:v>6.6472314281101923</c:v>
                </c:pt>
                <c:pt idx="2">
                  <c:v>5.5005068324152724</c:v>
                </c:pt>
                <c:pt idx="3">
                  <c:v>5.9448656050672266</c:v>
                </c:pt>
                <c:pt idx="4">
                  <c:v>4.0480691764785002</c:v>
                </c:pt>
                <c:pt idx="5">
                  <c:v>4.5422336888388228</c:v>
                </c:pt>
                <c:pt idx="6">
                  <c:v>4.1485906644856936</c:v>
                </c:pt>
                <c:pt idx="7">
                  <c:v>5.5189504563984428</c:v>
                </c:pt>
                <c:pt idx="8">
                  <c:v>4.6290224276136618</c:v>
                </c:pt>
                <c:pt idx="9">
                  <c:v>3.7605648368384932</c:v>
                </c:pt>
                <c:pt idx="10">
                  <c:v>2.2731405710129113</c:v>
                </c:pt>
                <c:pt idx="11">
                  <c:v>3.0408307549622555</c:v>
                </c:pt>
                <c:pt idx="12">
                  <c:v>3.5840367005358131</c:v>
                </c:pt>
                <c:pt idx="13">
                  <c:v>3.28787841425624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32-480B-A0A6-326AA72C5D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00352592"/>
        <c:axId val="300349064"/>
      </c:areaChart>
      <c:lineChart>
        <c:grouping val="standard"/>
        <c:varyColors val="0"/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D7144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D71440"/>
              </a:solidFill>
              <a:ln w="9525">
                <a:solidFill>
                  <a:srgbClr val="D71440"/>
                </a:solidFill>
              </a:ln>
              <a:effectLst/>
            </c:spPr>
          </c:marke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4:$O$4</c:f>
              <c:numCache>
                <c:formatCode>General</c:formatCode>
                <c:ptCount val="1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E32-480B-A0A6-326AA72C5D34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ČR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9525">
                <a:solidFill>
                  <a:schemeClr val="tx1"/>
                </a:solidFill>
              </a:ln>
              <a:effectLst/>
            </c:spPr>
          </c:marke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5:$O$5</c:f>
              <c:numCache>
                <c:formatCode>General</c:formatCode>
                <c:ptCount val="14"/>
                <c:pt idx="0">
                  <c:v>2.0899634256400512</c:v>
                </c:pt>
                <c:pt idx="1">
                  <c:v>2.1988727431080877</c:v>
                </c:pt>
                <c:pt idx="2">
                  <c:v>1.7337908614773343</c:v>
                </c:pt>
                <c:pt idx="3">
                  <c:v>2.3260558476317117</c:v>
                </c:pt>
                <c:pt idx="4">
                  <c:v>1.7470113973082437</c:v>
                </c:pt>
                <c:pt idx="5">
                  <c:v>1.3508825846629475</c:v>
                </c:pt>
                <c:pt idx="6">
                  <c:v>1.7671861238635083</c:v>
                </c:pt>
                <c:pt idx="7">
                  <c:v>2.1709561929357086</c:v>
                </c:pt>
                <c:pt idx="8">
                  <c:v>1.9102730758657962</c:v>
                </c:pt>
                <c:pt idx="9">
                  <c:v>1.5639431975830638</c:v>
                </c:pt>
                <c:pt idx="10">
                  <c:v>1.273088366882243</c:v>
                </c:pt>
                <c:pt idx="11">
                  <c:v>1.6031623522514125</c:v>
                </c:pt>
                <c:pt idx="12">
                  <c:v>1.8452794675753643</c:v>
                </c:pt>
                <c:pt idx="13">
                  <c:v>2.07156300723622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E32-480B-A0A6-326AA72C5D34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Praha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0000"/>
              </a:solidFill>
              <a:ln w="9525">
                <a:solidFill>
                  <a:srgbClr val="FF0000"/>
                </a:solidFill>
              </a:ln>
              <a:effectLst/>
            </c:spPr>
          </c:marke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6:$O$6</c:f>
              <c:numCache>
                <c:formatCode>General</c:formatCode>
                <c:ptCount val="14"/>
                <c:pt idx="0">
                  <c:v>2.8009373803766326</c:v>
                </c:pt>
                <c:pt idx="1">
                  <c:v>0.46671178213894016</c:v>
                </c:pt>
                <c:pt idx="2">
                  <c:v>0.92511216985059441</c:v>
                </c:pt>
                <c:pt idx="3">
                  <c:v>1.8278361162138204</c:v>
                </c:pt>
                <c:pt idx="4">
                  <c:v>1.3420176788462226</c:v>
                </c:pt>
                <c:pt idx="5">
                  <c:v>2.1737051238577179</c:v>
                </c:pt>
                <c:pt idx="6">
                  <c:v>0.8460594779813021</c:v>
                </c:pt>
                <c:pt idx="7">
                  <c:v>0.41078221148711375</c:v>
                </c:pt>
                <c:pt idx="8">
                  <c:v>0.79824704947934333</c:v>
                </c:pt>
                <c:pt idx="9">
                  <c:v>1.5547867998600691</c:v>
                </c:pt>
                <c:pt idx="10">
                  <c:v>1.9046820895124394</c:v>
                </c:pt>
                <c:pt idx="11">
                  <c:v>1.5711289346960258</c:v>
                </c:pt>
                <c:pt idx="12">
                  <c:v>3.2450440965436673</c:v>
                </c:pt>
                <c:pt idx="13">
                  <c:v>2.07860594827735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851-448C-A265-5F738B78E1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0352592"/>
        <c:axId val="300349064"/>
      </c:lineChart>
      <c:catAx>
        <c:axId val="3003525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0349064"/>
        <c:crosses val="autoZero"/>
        <c:auto val="1"/>
        <c:lblAlgn val="ctr"/>
        <c:lblOffset val="100"/>
        <c:noMultiLvlLbl val="0"/>
      </c:catAx>
      <c:valAx>
        <c:axId val="300349064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0352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ayout>
        <c:manualLayout>
          <c:xMode val="edge"/>
          <c:yMode val="edge"/>
          <c:x val="0.13586805259694393"/>
          <c:y val="0.88306021647870281"/>
          <c:w val="0.71517626800064349"/>
          <c:h val="0.1106498656749382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4131074023507296"/>
          <c:y val="0.15573556917754688"/>
          <c:w val="0.61189273984018855"/>
          <c:h val="0.821541244989106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rgbClr val="4472C4">
                <a:lumMod val="75000"/>
              </a:srgbClr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29B-4F15-9CD7-4B1BF5807B30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229B-4F15-9CD7-4B1BF5807B30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Královéhradecký kraj</c:v>
                </c:pt>
                <c:pt idx="1">
                  <c:v>Vysočina</c:v>
                </c:pt>
                <c:pt idx="2">
                  <c:v>Karlovarský kraj</c:v>
                </c:pt>
                <c:pt idx="3">
                  <c:v>Liberecký kraj</c:v>
                </c:pt>
                <c:pt idx="4">
                  <c:v>Jihomoravský kraj</c:v>
                </c:pt>
                <c:pt idx="5">
                  <c:v>Plzeňský kraj</c:v>
                </c:pt>
                <c:pt idx="6">
                  <c:v>Jihočeský kraj</c:v>
                </c:pt>
                <c:pt idx="7">
                  <c:v>Pardubický kraj</c:v>
                </c:pt>
                <c:pt idx="8">
                  <c:v>Hl. m. Praha</c:v>
                </c:pt>
                <c:pt idx="9">
                  <c:v>Česká republika</c:v>
                </c:pt>
                <c:pt idx="10">
                  <c:v>Moravskoslezský kraj</c:v>
                </c:pt>
                <c:pt idx="11">
                  <c:v>Ústecký kraj</c:v>
                </c:pt>
                <c:pt idx="12">
                  <c:v>Středočeský kraj</c:v>
                </c:pt>
                <c:pt idx="13">
                  <c:v>Zlínský kraj</c:v>
                </c:pt>
                <c:pt idx="14">
                  <c:v>Olomoucký kraj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18.059405940594061</c:v>
                </c:pt>
                <c:pt idx="1">
                  <c:v>16.764009682891992</c:v>
                </c:pt>
                <c:pt idx="2">
                  <c:v>15.054311323158164</c:v>
                </c:pt>
                <c:pt idx="3">
                  <c:v>14.999019294892257</c:v>
                </c:pt>
                <c:pt idx="4">
                  <c:v>14.893895048622948</c:v>
                </c:pt>
                <c:pt idx="5">
                  <c:v>14.234001401072295</c:v>
                </c:pt>
                <c:pt idx="6">
                  <c:v>14.092334036177416</c:v>
                </c:pt>
                <c:pt idx="7">
                  <c:v>13.722082097256891</c:v>
                </c:pt>
                <c:pt idx="8">
                  <c:v>13.383378326402513</c:v>
                </c:pt>
                <c:pt idx="9">
                  <c:v>13.161576340220121</c:v>
                </c:pt>
                <c:pt idx="10">
                  <c:v>13.081290879033997</c:v>
                </c:pt>
                <c:pt idx="11">
                  <c:v>12.902570784349392</c:v>
                </c:pt>
                <c:pt idx="12">
                  <c:v>11.54193052471758</c:v>
                </c:pt>
                <c:pt idx="13">
                  <c:v>8.040165091389877</c:v>
                </c:pt>
                <c:pt idx="14">
                  <c:v>6.32189436939103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29B-4F15-9CD7-4B1BF5807B3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Řada 2</c:v>
                </c:pt>
              </c:strCache>
            </c:strRef>
          </c:tx>
          <c:spPr>
            <a:solidFill>
              <a:srgbClr val="2E5980"/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229B-4F15-9CD7-4B1BF5807B30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229B-4F15-9CD7-4B1BF5807B30}"/>
              </c:ext>
            </c:extLst>
          </c:dPt>
          <c:dLbls>
            <c:delete val="1"/>
          </c:dLbls>
          <c:cat>
            <c:strRef>
              <c:f>List1!$A$2:$A$16</c:f>
              <c:strCache>
                <c:ptCount val="15"/>
                <c:pt idx="0">
                  <c:v>Královéhradecký kraj</c:v>
                </c:pt>
                <c:pt idx="1">
                  <c:v>Vysočina</c:v>
                </c:pt>
                <c:pt idx="2">
                  <c:v>Karlovarský kraj</c:v>
                </c:pt>
                <c:pt idx="3">
                  <c:v>Liberecký kraj</c:v>
                </c:pt>
                <c:pt idx="4">
                  <c:v>Jihomoravský kraj</c:v>
                </c:pt>
                <c:pt idx="5">
                  <c:v>Plzeňský kraj</c:v>
                </c:pt>
                <c:pt idx="6">
                  <c:v>Jihočeský kraj</c:v>
                </c:pt>
                <c:pt idx="7">
                  <c:v>Pardubický kraj</c:v>
                </c:pt>
                <c:pt idx="8">
                  <c:v>Hl. m. Praha</c:v>
                </c:pt>
                <c:pt idx="9">
                  <c:v>Česká republika</c:v>
                </c:pt>
                <c:pt idx="10">
                  <c:v>Moravskoslezský kraj</c:v>
                </c:pt>
                <c:pt idx="11">
                  <c:v>Ústecký kraj</c:v>
                </c:pt>
                <c:pt idx="12">
                  <c:v>Středočeský kraj</c:v>
                </c:pt>
                <c:pt idx="13">
                  <c:v>Zlínský kraj</c:v>
                </c:pt>
                <c:pt idx="14">
                  <c:v>Olomoucký kraj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</c:numCache>
            </c:numRef>
          </c:val>
          <c:extLst>
            <c:ext xmlns:c16="http://schemas.microsoft.com/office/drawing/2014/chart" uri="{C3380CC4-5D6E-409C-BE32-E72D297353CC}">
              <c16:uniqueId val="{00000005-229B-4F15-9CD7-4B1BF5807B30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Řada 3</c:v>
                </c:pt>
              </c:strCache>
            </c:strRef>
          </c:tx>
          <c:spPr>
            <a:solidFill>
              <a:srgbClr val="FFC121"/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229B-4F15-9CD7-4B1BF5807B30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229B-4F15-9CD7-4B1BF5807B30}"/>
              </c:ext>
            </c:extLst>
          </c:dPt>
          <c:dLbls>
            <c:delete val="1"/>
          </c:dLbls>
          <c:cat>
            <c:strRef>
              <c:f>List1!$A$2:$A$16</c:f>
              <c:strCache>
                <c:ptCount val="15"/>
                <c:pt idx="0">
                  <c:v>Královéhradecký kraj</c:v>
                </c:pt>
                <c:pt idx="1">
                  <c:v>Vysočina</c:v>
                </c:pt>
                <c:pt idx="2">
                  <c:v>Karlovarský kraj</c:v>
                </c:pt>
                <c:pt idx="3">
                  <c:v>Liberecký kraj</c:v>
                </c:pt>
                <c:pt idx="4">
                  <c:v>Jihomoravský kraj</c:v>
                </c:pt>
                <c:pt idx="5">
                  <c:v>Plzeňský kraj</c:v>
                </c:pt>
                <c:pt idx="6">
                  <c:v>Jihočeský kraj</c:v>
                </c:pt>
                <c:pt idx="7">
                  <c:v>Pardubický kraj</c:v>
                </c:pt>
                <c:pt idx="8">
                  <c:v>Hl. m. Praha</c:v>
                </c:pt>
                <c:pt idx="9">
                  <c:v>Česká republika</c:v>
                </c:pt>
                <c:pt idx="10">
                  <c:v>Moravskoslezský kraj</c:v>
                </c:pt>
                <c:pt idx="11">
                  <c:v>Ústecký kraj</c:v>
                </c:pt>
                <c:pt idx="12">
                  <c:v>Středočeský kraj</c:v>
                </c:pt>
                <c:pt idx="13">
                  <c:v>Zlínský kraj</c:v>
                </c:pt>
                <c:pt idx="14">
                  <c:v>Olomoucký kraj</c:v>
                </c:pt>
              </c:strCache>
            </c:strRef>
          </c:cat>
          <c:val>
            <c:numRef>
              <c:f>List1!$D$2:$D$16</c:f>
              <c:numCache>
                <c:formatCode>General</c:formatCode>
                <c:ptCount val="15"/>
                <c:pt idx="9">
                  <c:v>13.1615763402201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29B-4F15-9CD7-4B1BF5807B3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593864360"/>
        <c:axId val="593863184"/>
      </c:barChart>
      <c:catAx>
        <c:axId val="59386436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93863184"/>
        <c:crosses val="autoZero"/>
        <c:auto val="1"/>
        <c:lblAlgn val="ctr"/>
        <c:lblOffset val="100"/>
        <c:tickLblSkip val="1"/>
        <c:noMultiLvlLbl val="0"/>
      </c:catAx>
      <c:valAx>
        <c:axId val="593863184"/>
        <c:scaling>
          <c:orientation val="minMax"/>
        </c:scaling>
        <c:delete val="0"/>
        <c:axPos val="t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938643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2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29879136124037"/>
          <c:y val="6.5393325144959685E-2"/>
          <c:w val="0.84184599831277318"/>
          <c:h val="0.61265647339595886"/>
        </c:manualLayout>
      </c:layout>
      <c:areaChart>
        <c:grouping val="stacked"/>
        <c:varyColors val="0"/>
        <c:ser>
          <c:idx val="0"/>
          <c:order val="0"/>
          <c:tx>
            <c:strRef>
              <c:f>List1!$A$2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2:$O$2</c:f>
              <c:numCache>
                <c:formatCode>General</c:formatCode>
                <c:ptCount val="14"/>
                <c:pt idx="0">
                  <c:v>11.61834352995851</c:v>
                </c:pt>
                <c:pt idx="1">
                  <c:v>12.536724426444858</c:v>
                </c:pt>
                <c:pt idx="2">
                  <c:v>13.989796774885516</c:v>
                </c:pt>
                <c:pt idx="3">
                  <c:v>12.695235926024113</c:v>
                </c:pt>
                <c:pt idx="4">
                  <c:v>13.070186903672724</c:v>
                </c:pt>
                <c:pt idx="5">
                  <c:v>12.618608057804199</c:v>
                </c:pt>
                <c:pt idx="6">
                  <c:v>11.402760203631228</c:v>
                </c:pt>
                <c:pt idx="7">
                  <c:v>11.505714504870753</c:v>
                </c:pt>
                <c:pt idx="8">
                  <c:v>7.8459833469003462</c:v>
                </c:pt>
                <c:pt idx="9">
                  <c:v>7.7192739623565618</c:v>
                </c:pt>
                <c:pt idx="10">
                  <c:v>7.2612852474888063</c:v>
                </c:pt>
                <c:pt idx="11">
                  <c:v>6.8339708146733891</c:v>
                </c:pt>
                <c:pt idx="12">
                  <c:v>8.7922232785101588</c:v>
                </c:pt>
                <c:pt idx="13">
                  <c:v>6.32189436939103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32-480B-A0A6-326AA72C5D34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Rozsah hodnot krajů</c:v>
                </c:pt>
              </c:strCache>
            </c:strRef>
          </c:tx>
          <c:spPr>
            <a:solidFill>
              <a:srgbClr val="FFDC85"/>
            </a:solidFill>
            <a:ln>
              <a:noFill/>
            </a:ln>
            <a:effectLst/>
          </c:spP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3:$O$3</c:f>
              <c:numCache>
                <c:formatCode>General</c:formatCode>
                <c:ptCount val="14"/>
                <c:pt idx="0">
                  <c:v>10.069327557995576</c:v>
                </c:pt>
                <c:pt idx="1">
                  <c:v>9.7855984688176587</c:v>
                </c:pt>
                <c:pt idx="2">
                  <c:v>8.1331767040182434</c:v>
                </c:pt>
                <c:pt idx="3">
                  <c:v>10.707160479367799</c:v>
                </c:pt>
                <c:pt idx="4">
                  <c:v>6.5098464827944618</c:v>
                </c:pt>
                <c:pt idx="5">
                  <c:v>11.937775534260886</c:v>
                </c:pt>
                <c:pt idx="6">
                  <c:v>9.1034830153269795</c:v>
                </c:pt>
                <c:pt idx="7">
                  <c:v>9.2273305763085425</c:v>
                </c:pt>
                <c:pt idx="8">
                  <c:v>12.807677095757835</c:v>
                </c:pt>
                <c:pt idx="9">
                  <c:v>7.7710429759822954</c:v>
                </c:pt>
                <c:pt idx="10">
                  <c:v>10.854656781496701</c:v>
                </c:pt>
                <c:pt idx="11">
                  <c:v>12.89720683767522</c:v>
                </c:pt>
                <c:pt idx="12">
                  <c:v>9.762588796033798</c:v>
                </c:pt>
                <c:pt idx="13">
                  <c:v>11.7375115712030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32-480B-A0A6-326AA72C5D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00352592"/>
        <c:axId val="300349064"/>
      </c:areaChart>
      <c:lineChart>
        <c:grouping val="standard"/>
        <c:varyColors val="0"/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D7144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D71440"/>
              </a:solidFill>
              <a:ln w="9525">
                <a:solidFill>
                  <a:srgbClr val="D71440"/>
                </a:solidFill>
              </a:ln>
              <a:effectLst/>
            </c:spPr>
          </c:marke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4:$O$4</c:f>
              <c:numCache>
                <c:formatCode>General</c:formatCode>
                <c:ptCount val="1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E32-480B-A0A6-326AA72C5D34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ČR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9525">
                <a:solidFill>
                  <a:schemeClr val="tx1"/>
                </a:solidFill>
              </a:ln>
              <a:effectLst/>
            </c:spPr>
          </c:marke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5:$O$5</c:f>
              <c:numCache>
                <c:formatCode>General</c:formatCode>
                <c:ptCount val="14"/>
                <c:pt idx="0">
                  <c:v>16.865066663370179</c:v>
                </c:pt>
                <c:pt idx="1">
                  <c:v>18.23182207166947</c:v>
                </c:pt>
                <c:pt idx="2">
                  <c:v>18.436842394406906</c:v>
                </c:pt>
                <c:pt idx="3">
                  <c:v>17.681868011170248</c:v>
                </c:pt>
                <c:pt idx="4">
                  <c:v>16.169435108910751</c:v>
                </c:pt>
                <c:pt idx="5">
                  <c:v>14.913672836976646</c:v>
                </c:pt>
                <c:pt idx="6">
                  <c:v>14.160318456654299</c:v>
                </c:pt>
                <c:pt idx="7">
                  <c:v>15.286572117075627</c:v>
                </c:pt>
                <c:pt idx="8">
                  <c:v>14.212056031030903</c:v>
                </c:pt>
                <c:pt idx="9">
                  <c:v>12.260207640630297</c:v>
                </c:pt>
                <c:pt idx="10">
                  <c:v>12.666188655720877</c:v>
                </c:pt>
                <c:pt idx="11">
                  <c:v>12.69932005047249</c:v>
                </c:pt>
                <c:pt idx="12">
                  <c:v>13.407399007534385</c:v>
                </c:pt>
                <c:pt idx="13">
                  <c:v>13.1615763402201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E32-480B-A0A6-326AA72C5D34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Praha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0000"/>
              </a:solidFill>
              <a:ln w="9525">
                <a:solidFill>
                  <a:srgbClr val="FF0000"/>
                </a:solidFill>
              </a:ln>
              <a:effectLst/>
            </c:spPr>
          </c:marke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6:$O$6</c:f>
              <c:numCache>
                <c:formatCode>General</c:formatCode>
                <c:ptCount val="14"/>
                <c:pt idx="0">
                  <c:v>14.861458843946293</c:v>
                </c:pt>
                <c:pt idx="1">
                  <c:v>17.075223114201304</c:v>
                </c:pt>
                <c:pt idx="2">
                  <c:v>17.019198395755559</c:v>
                </c:pt>
                <c:pt idx="3">
                  <c:v>12.695235926024113</c:v>
                </c:pt>
                <c:pt idx="4">
                  <c:v>15.370945913015442</c:v>
                </c:pt>
                <c:pt idx="5">
                  <c:v>13.981718902534936</c:v>
                </c:pt>
                <c:pt idx="6">
                  <c:v>13.493236515196758</c:v>
                </c:pt>
                <c:pt idx="7">
                  <c:v>13.335593321734274</c:v>
                </c:pt>
                <c:pt idx="8">
                  <c:v>12.787168138846297</c:v>
                </c:pt>
                <c:pt idx="9">
                  <c:v>11.123140581666098</c:v>
                </c:pt>
                <c:pt idx="10">
                  <c:v>12.175429491349911</c:v>
                </c:pt>
                <c:pt idx="11">
                  <c:v>13.654458180595963</c:v>
                </c:pt>
                <c:pt idx="12">
                  <c:v>15.123267022352685</c:v>
                </c:pt>
                <c:pt idx="13">
                  <c:v>13.3833783264025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851-448C-A265-5F738B78E1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0352592"/>
        <c:axId val="300349064"/>
      </c:lineChart>
      <c:catAx>
        <c:axId val="3003525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0349064"/>
        <c:crosses val="autoZero"/>
        <c:auto val="1"/>
        <c:lblAlgn val="ctr"/>
        <c:lblOffset val="100"/>
        <c:noMultiLvlLbl val="0"/>
      </c:catAx>
      <c:valAx>
        <c:axId val="300349064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0352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ayout>
        <c:manualLayout>
          <c:xMode val="edge"/>
          <c:yMode val="edge"/>
          <c:x val="0.13586805259694393"/>
          <c:y val="0.88306021647870281"/>
          <c:w val="0.71517626800064349"/>
          <c:h val="0.1106498656749382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4131074023507296"/>
          <c:y val="0.15573556917754688"/>
          <c:w val="0.61189273984018855"/>
          <c:h val="0.821541244989106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rgbClr val="2E5980"/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29B-4F15-9CD7-4B1BF5807B30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229B-4F15-9CD7-4B1BF5807B30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Ústecký kraj</c:v>
                </c:pt>
                <c:pt idx="1">
                  <c:v>Liberecký kraj</c:v>
                </c:pt>
                <c:pt idx="2">
                  <c:v>Plzeňský kraj</c:v>
                </c:pt>
                <c:pt idx="3">
                  <c:v>Moravskoslezský kraj</c:v>
                </c:pt>
                <c:pt idx="4">
                  <c:v>Olomoucký kraj</c:v>
                </c:pt>
                <c:pt idx="5">
                  <c:v>Karlovarský kraj</c:v>
                </c:pt>
                <c:pt idx="6">
                  <c:v>Hl. m. Praha</c:v>
                </c:pt>
                <c:pt idx="7">
                  <c:v>Česká republika</c:v>
                </c:pt>
                <c:pt idx="8">
                  <c:v>Jihočeský kraj</c:v>
                </c:pt>
                <c:pt idx="9">
                  <c:v>Středočeský kraj</c:v>
                </c:pt>
                <c:pt idx="10">
                  <c:v>Královéhradecký kraj</c:v>
                </c:pt>
                <c:pt idx="11">
                  <c:v>Pardubický kraj</c:v>
                </c:pt>
                <c:pt idx="12">
                  <c:v>Vysočina</c:v>
                </c:pt>
                <c:pt idx="13">
                  <c:v>Jihomoravský kraj</c:v>
                </c:pt>
                <c:pt idx="14">
                  <c:v>Zlínský kraj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3549.2063492063489</c:v>
                </c:pt>
                <c:pt idx="1">
                  <c:v>3470.9038382170861</c:v>
                </c:pt>
                <c:pt idx="2">
                  <c:v>3227.4869171935311</c:v>
                </c:pt>
                <c:pt idx="3">
                  <c:v>3058.5488948618681</c:v>
                </c:pt>
                <c:pt idx="4">
                  <c:v>3055.3724705864529</c:v>
                </c:pt>
                <c:pt idx="5">
                  <c:v>3014.9074135971655</c:v>
                </c:pt>
                <c:pt idx="6">
                  <c:v>2879.2156726888502</c:v>
                </c:pt>
                <c:pt idx="7">
                  <c:v>2859.4906285510583</c:v>
                </c:pt>
                <c:pt idx="8">
                  <c:v>2736.8588768666987</c:v>
                </c:pt>
                <c:pt idx="9">
                  <c:v>2732.8087299038684</c:v>
                </c:pt>
                <c:pt idx="10">
                  <c:v>2701.7754524401748</c:v>
                </c:pt>
                <c:pt idx="11">
                  <c:v>2554.7155497137414</c:v>
                </c:pt>
                <c:pt idx="12">
                  <c:v>2516.5623849834374</c:v>
                </c:pt>
                <c:pt idx="13">
                  <c:v>2424.6981054302855</c:v>
                </c:pt>
                <c:pt idx="14">
                  <c:v>2068.95968614718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29B-4F15-9CD7-4B1BF5807B3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Řada 2</c:v>
                </c:pt>
              </c:strCache>
            </c:strRef>
          </c:tx>
          <c:spPr>
            <a:solidFill>
              <a:srgbClr val="2E5980"/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229B-4F15-9CD7-4B1BF5807B30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229B-4F15-9CD7-4B1BF5807B30}"/>
              </c:ext>
            </c:extLst>
          </c:dPt>
          <c:dLbls>
            <c:delete val="1"/>
          </c:dLbls>
          <c:cat>
            <c:strRef>
              <c:f>List1!$A$2:$A$16</c:f>
              <c:strCache>
                <c:ptCount val="15"/>
                <c:pt idx="0">
                  <c:v>Ústecký kraj</c:v>
                </c:pt>
                <c:pt idx="1">
                  <c:v>Liberecký kraj</c:v>
                </c:pt>
                <c:pt idx="2">
                  <c:v>Plzeňský kraj</c:v>
                </c:pt>
                <c:pt idx="3">
                  <c:v>Moravskoslezský kraj</c:v>
                </c:pt>
                <c:pt idx="4">
                  <c:v>Olomoucký kraj</c:v>
                </c:pt>
                <c:pt idx="5">
                  <c:v>Karlovarský kraj</c:v>
                </c:pt>
                <c:pt idx="6">
                  <c:v>Hl. m. Praha</c:v>
                </c:pt>
                <c:pt idx="7">
                  <c:v>Česká republika</c:v>
                </c:pt>
                <c:pt idx="8">
                  <c:v>Jihočeský kraj</c:v>
                </c:pt>
                <c:pt idx="9">
                  <c:v>Středočeský kraj</c:v>
                </c:pt>
                <c:pt idx="10">
                  <c:v>Královéhradecký kraj</c:v>
                </c:pt>
                <c:pt idx="11">
                  <c:v>Pardubický kraj</c:v>
                </c:pt>
                <c:pt idx="12">
                  <c:v>Vysočina</c:v>
                </c:pt>
                <c:pt idx="13">
                  <c:v>Jihomoravský kraj</c:v>
                </c:pt>
                <c:pt idx="14">
                  <c:v>Zlínský kraj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</c:numCache>
            </c:numRef>
          </c:val>
          <c:extLst>
            <c:ext xmlns:c16="http://schemas.microsoft.com/office/drawing/2014/chart" uri="{C3380CC4-5D6E-409C-BE32-E72D297353CC}">
              <c16:uniqueId val="{00000005-229B-4F15-9CD7-4B1BF5807B30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Řada 3</c:v>
                </c:pt>
              </c:strCache>
            </c:strRef>
          </c:tx>
          <c:spPr>
            <a:solidFill>
              <a:srgbClr val="FFC121"/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229B-4F15-9CD7-4B1BF5807B30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229B-4F15-9CD7-4B1BF5807B30}"/>
              </c:ext>
            </c:extLst>
          </c:dPt>
          <c:dLbls>
            <c:delete val="1"/>
          </c:dLbls>
          <c:cat>
            <c:strRef>
              <c:f>List1!$A$2:$A$16</c:f>
              <c:strCache>
                <c:ptCount val="15"/>
                <c:pt idx="0">
                  <c:v>Ústecký kraj</c:v>
                </c:pt>
                <c:pt idx="1">
                  <c:v>Liberecký kraj</c:v>
                </c:pt>
                <c:pt idx="2">
                  <c:v>Plzeňský kraj</c:v>
                </c:pt>
                <c:pt idx="3">
                  <c:v>Moravskoslezský kraj</c:v>
                </c:pt>
                <c:pt idx="4">
                  <c:v>Olomoucký kraj</c:v>
                </c:pt>
                <c:pt idx="5">
                  <c:v>Karlovarský kraj</c:v>
                </c:pt>
                <c:pt idx="6">
                  <c:v>Hl. m. Praha</c:v>
                </c:pt>
                <c:pt idx="7">
                  <c:v>Česká republika</c:v>
                </c:pt>
                <c:pt idx="8">
                  <c:v>Jihočeský kraj</c:v>
                </c:pt>
                <c:pt idx="9">
                  <c:v>Středočeský kraj</c:v>
                </c:pt>
                <c:pt idx="10">
                  <c:v>Královéhradecký kraj</c:v>
                </c:pt>
                <c:pt idx="11">
                  <c:v>Pardubický kraj</c:v>
                </c:pt>
                <c:pt idx="12">
                  <c:v>Vysočina</c:v>
                </c:pt>
                <c:pt idx="13">
                  <c:v>Jihomoravský kraj</c:v>
                </c:pt>
                <c:pt idx="14">
                  <c:v>Zlínský kraj</c:v>
                </c:pt>
              </c:strCache>
            </c:strRef>
          </c:cat>
          <c:val>
            <c:numRef>
              <c:f>List1!$D$2:$D$16</c:f>
              <c:numCache>
                <c:formatCode>General</c:formatCode>
                <c:ptCount val="15"/>
                <c:pt idx="7">
                  <c:v>2859.49062855105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29B-4F15-9CD7-4B1BF5807B3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593864360"/>
        <c:axId val="593863184"/>
      </c:barChart>
      <c:catAx>
        <c:axId val="59386436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93863184"/>
        <c:crosses val="autoZero"/>
        <c:auto val="1"/>
        <c:lblAlgn val="ctr"/>
        <c:lblOffset val="100"/>
        <c:tickLblSkip val="1"/>
        <c:noMultiLvlLbl val="0"/>
      </c:catAx>
      <c:valAx>
        <c:axId val="593863184"/>
        <c:scaling>
          <c:orientation val="minMax"/>
        </c:scaling>
        <c:delete val="0"/>
        <c:axPos val="t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938643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2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4131074023507296"/>
          <c:y val="0.15573556917754688"/>
          <c:w val="0.61189273984018855"/>
          <c:h val="0.821541244989106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rgbClr val="4472C4">
                <a:lumMod val="75000"/>
              </a:srgbClr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29B-4F15-9CD7-4B1BF5807B30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229B-4F15-9CD7-4B1BF5807B30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Plzeňský kraj</c:v>
                </c:pt>
                <c:pt idx="3">
                  <c:v>Jihomoravský kraj</c:v>
                </c:pt>
                <c:pt idx="4">
                  <c:v>Středočeský kraj</c:v>
                </c:pt>
                <c:pt idx="5">
                  <c:v>Hl. m. Praha</c:v>
                </c:pt>
                <c:pt idx="6">
                  <c:v>Královéhradecký kraj</c:v>
                </c:pt>
                <c:pt idx="7">
                  <c:v>Česká republika</c:v>
                </c:pt>
                <c:pt idx="8">
                  <c:v>Pardubický kraj</c:v>
                </c:pt>
                <c:pt idx="9">
                  <c:v>Moravskoslezský kraj</c:v>
                </c:pt>
                <c:pt idx="10">
                  <c:v>Karlovarský kraj</c:v>
                </c:pt>
                <c:pt idx="11">
                  <c:v>Vysočina</c:v>
                </c:pt>
                <c:pt idx="12">
                  <c:v>Ústecký kraj</c:v>
                </c:pt>
                <c:pt idx="13">
                  <c:v>Zlínský kraj</c:v>
                </c:pt>
                <c:pt idx="14">
                  <c:v>Olomoucký kraj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25.664880818709701</c:v>
                </c:pt>
                <c:pt idx="1">
                  <c:v>20.01300845549607</c:v>
                </c:pt>
                <c:pt idx="2">
                  <c:v>19.175761837037982</c:v>
                </c:pt>
                <c:pt idx="3">
                  <c:v>18.844397400275046</c:v>
                </c:pt>
                <c:pt idx="4">
                  <c:v>17.373047380366238</c:v>
                </c:pt>
                <c:pt idx="5">
                  <c:v>17.167917843709521</c:v>
                </c:pt>
                <c:pt idx="6">
                  <c:v>16.878586699673683</c:v>
                </c:pt>
                <c:pt idx="7">
                  <c:v>16.499394872329752</c:v>
                </c:pt>
                <c:pt idx="8">
                  <c:v>16.245047516763986</c:v>
                </c:pt>
                <c:pt idx="9">
                  <c:v>15.128894197272819</c:v>
                </c:pt>
                <c:pt idx="10">
                  <c:v>14.418455623197692</c:v>
                </c:pt>
                <c:pt idx="11">
                  <c:v>13.626329702673486</c:v>
                </c:pt>
                <c:pt idx="12">
                  <c:v>13.193245058530032</c:v>
                </c:pt>
                <c:pt idx="13">
                  <c:v>12.610340479192939</c:v>
                </c:pt>
                <c:pt idx="14">
                  <c:v>10.2206193695337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29B-4F15-9CD7-4B1BF5807B3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Řada 2</c:v>
                </c:pt>
              </c:strCache>
            </c:strRef>
          </c:tx>
          <c:spPr>
            <a:solidFill>
              <a:srgbClr val="2E5980"/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229B-4F15-9CD7-4B1BF5807B30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229B-4F15-9CD7-4B1BF5807B30}"/>
              </c:ext>
            </c:extLst>
          </c:dPt>
          <c:dLbls>
            <c:delete val="1"/>
          </c:dLbls>
          <c:cat>
            <c:strRef>
              <c:f>Lis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Plzeňský kraj</c:v>
                </c:pt>
                <c:pt idx="3">
                  <c:v>Jihomoravský kraj</c:v>
                </c:pt>
                <c:pt idx="4">
                  <c:v>Středočeský kraj</c:v>
                </c:pt>
                <c:pt idx="5">
                  <c:v>Hl. m. Praha</c:v>
                </c:pt>
                <c:pt idx="6">
                  <c:v>Královéhradecký kraj</c:v>
                </c:pt>
                <c:pt idx="7">
                  <c:v>Česká republika</c:v>
                </c:pt>
                <c:pt idx="8">
                  <c:v>Pardubický kraj</c:v>
                </c:pt>
                <c:pt idx="9">
                  <c:v>Moravskoslezský kraj</c:v>
                </c:pt>
                <c:pt idx="10">
                  <c:v>Karlovarský kraj</c:v>
                </c:pt>
                <c:pt idx="11">
                  <c:v>Vysočina</c:v>
                </c:pt>
                <c:pt idx="12">
                  <c:v>Ústecký kraj</c:v>
                </c:pt>
                <c:pt idx="13">
                  <c:v>Zlínský kraj</c:v>
                </c:pt>
                <c:pt idx="14">
                  <c:v>Olomoucký kraj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</c:numCache>
            </c:numRef>
          </c:val>
          <c:extLst>
            <c:ext xmlns:c16="http://schemas.microsoft.com/office/drawing/2014/chart" uri="{C3380CC4-5D6E-409C-BE32-E72D297353CC}">
              <c16:uniqueId val="{00000005-229B-4F15-9CD7-4B1BF5807B30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Řada 3</c:v>
                </c:pt>
              </c:strCache>
            </c:strRef>
          </c:tx>
          <c:spPr>
            <a:solidFill>
              <a:srgbClr val="FFC121"/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229B-4F15-9CD7-4B1BF5807B30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229B-4F15-9CD7-4B1BF5807B30}"/>
              </c:ext>
            </c:extLst>
          </c:dPt>
          <c:dLbls>
            <c:delete val="1"/>
          </c:dLbls>
          <c:cat>
            <c:strRef>
              <c:f>Lis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Plzeňský kraj</c:v>
                </c:pt>
                <c:pt idx="3">
                  <c:v>Jihomoravský kraj</c:v>
                </c:pt>
                <c:pt idx="4">
                  <c:v>Středočeský kraj</c:v>
                </c:pt>
                <c:pt idx="5">
                  <c:v>Hl. m. Praha</c:v>
                </c:pt>
                <c:pt idx="6">
                  <c:v>Královéhradecký kraj</c:v>
                </c:pt>
                <c:pt idx="7">
                  <c:v>Česká republika</c:v>
                </c:pt>
                <c:pt idx="8">
                  <c:v>Pardubický kraj</c:v>
                </c:pt>
                <c:pt idx="9">
                  <c:v>Moravskoslezský kraj</c:v>
                </c:pt>
                <c:pt idx="10">
                  <c:v>Karlovarský kraj</c:v>
                </c:pt>
                <c:pt idx="11">
                  <c:v>Vysočina</c:v>
                </c:pt>
                <c:pt idx="12">
                  <c:v>Ústecký kraj</c:v>
                </c:pt>
                <c:pt idx="13">
                  <c:v>Zlínský kraj</c:v>
                </c:pt>
                <c:pt idx="14">
                  <c:v>Olomoucký kraj</c:v>
                </c:pt>
              </c:strCache>
            </c:strRef>
          </c:cat>
          <c:val>
            <c:numRef>
              <c:f>List1!$D$2:$D$16</c:f>
              <c:numCache>
                <c:formatCode>General</c:formatCode>
                <c:ptCount val="15"/>
                <c:pt idx="7">
                  <c:v>16.4993948723297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29B-4F15-9CD7-4B1BF5807B3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593864360"/>
        <c:axId val="593863184"/>
      </c:barChart>
      <c:catAx>
        <c:axId val="59386436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93863184"/>
        <c:crosses val="autoZero"/>
        <c:auto val="1"/>
        <c:lblAlgn val="ctr"/>
        <c:lblOffset val="100"/>
        <c:tickLblSkip val="1"/>
        <c:noMultiLvlLbl val="0"/>
      </c:catAx>
      <c:valAx>
        <c:axId val="593863184"/>
        <c:scaling>
          <c:orientation val="minMax"/>
        </c:scaling>
        <c:delete val="0"/>
        <c:axPos val="t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938643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2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29879136124037"/>
          <c:y val="6.5393325144959685E-2"/>
          <c:w val="0.84184599831277318"/>
          <c:h val="0.61265647339595886"/>
        </c:manualLayout>
      </c:layout>
      <c:areaChart>
        <c:grouping val="stacked"/>
        <c:varyColors val="0"/>
        <c:ser>
          <c:idx val="0"/>
          <c:order val="0"/>
          <c:tx>
            <c:strRef>
              <c:f>List1!$A$2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2:$O$2</c:f>
              <c:numCache>
                <c:formatCode>General</c:formatCode>
                <c:ptCount val="14"/>
                <c:pt idx="0">
                  <c:v>11.918111737714865</c:v>
                </c:pt>
                <c:pt idx="1">
                  <c:v>11.746363966426756</c:v>
                </c:pt>
                <c:pt idx="2">
                  <c:v>11.592724406162692</c:v>
                </c:pt>
                <c:pt idx="3">
                  <c:v>13.560057494643777</c:v>
                </c:pt>
                <c:pt idx="4">
                  <c:v>10.918103307093492</c:v>
                </c:pt>
                <c:pt idx="5">
                  <c:v>11.283073509223913</c:v>
                </c:pt>
                <c:pt idx="6">
                  <c:v>11.867373623066785</c:v>
                </c:pt>
                <c:pt idx="7">
                  <c:v>11.359366671618185</c:v>
                </c:pt>
                <c:pt idx="8">
                  <c:v>12.679339503945226</c:v>
                </c:pt>
                <c:pt idx="9">
                  <c:v>9.6729573132393778</c:v>
                </c:pt>
                <c:pt idx="10">
                  <c:v>5.3066484724433325</c:v>
                </c:pt>
                <c:pt idx="11">
                  <c:v>8.468197214904027</c:v>
                </c:pt>
                <c:pt idx="12">
                  <c:v>9.5940900405350309</c:v>
                </c:pt>
                <c:pt idx="13">
                  <c:v>10.2206193695337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32-480B-A0A6-326AA72C5D34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Rozsah hodnot krajů</c:v>
                </c:pt>
              </c:strCache>
            </c:strRef>
          </c:tx>
          <c:spPr>
            <a:solidFill>
              <a:srgbClr val="FFDC85"/>
            </a:solidFill>
            <a:ln>
              <a:noFill/>
            </a:ln>
            <a:effectLst/>
          </c:spP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3:$O$3</c:f>
              <c:numCache>
                <c:formatCode>General</c:formatCode>
                <c:ptCount val="14"/>
                <c:pt idx="0">
                  <c:v>14.989058524879185</c:v>
                </c:pt>
                <c:pt idx="1">
                  <c:v>15.536284269295322</c:v>
                </c:pt>
                <c:pt idx="2">
                  <c:v>16.329548260000688</c:v>
                </c:pt>
                <c:pt idx="3">
                  <c:v>15.296798756988009</c:v>
                </c:pt>
                <c:pt idx="4">
                  <c:v>18.283524196946068</c:v>
                </c:pt>
                <c:pt idx="5">
                  <c:v>14.490122367064748</c:v>
                </c:pt>
                <c:pt idx="6">
                  <c:v>16.400533184027552</c:v>
                </c:pt>
                <c:pt idx="7">
                  <c:v>13.462448157643189</c:v>
                </c:pt>
                <c:pt idx="8">
                  <c:v>16.08803599085363</c:v>
                </c:pt>
                <c:pt idx="9">
                  <c:v>25.178082596822456</c:v>
                </c:pt>
                <c:pt idx="10">
                  <c:v>32.707995429511939</c:v>
                </c:pt>
                <c:pt idx="11">
                  <c:v>17.037635251629531</c:v>
                </c:pt>
                <c:pt idx="12">
                  <c:v>18.697120823289943</c:v>
                </c:pt>
                <c:pt idx="13">
                  <c:v>15.4442614491759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32-480B-A0A6-326AA72C5D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00352592"/>
        <c:axId val="300349064"/>
      </c:areaChart>
      <c:lineChart>
        <c:grouping val="standard"/>
        <c:varyColors val="0"/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D7144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D71440"/>
              </a:solidFill>
              <a:ln w="9525">
                <a:solidFill>
                  <a:srgbClr val="D71440"/>
                </a:solidFill>
              </a:ln>
              <a:effectLst/>
            </c:spPr>
          </c:marke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4:$O$4</c:f>
              <c:numCache>
                <c:formatCode>General</c:formatCode>
                <c:ptCount val="1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E32-480B-A0A6-326AA72C5D34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ČR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9525">
                <a:solidFill>
                  <a:schemeClr val="tx1"/>
                </a:solidFill>
              </a:ln>
              <a:effectLst/>
            </c:spPr>
          </c:marke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5:$O$5</c:f>
              <c:numCache>
                <c:formatCode>General</c:formatCode>
                <c:ptCount val="14"/>
                <c:pt idx="0">
                  <c:v>19.296947866079183</c:v>
                </c:pt>
                <c:pt idx="1">
                  <c:v>18.871146017738877</c:v>
                </c:pt>
                <c:pt idx="2">
                  <c:v>21.679379277857571</c:v>
                </c:pt>
                <c:pt idx="3">
                  <c:v>19.429269387098408</c:v>
                </c:pt>
                <c:pt idx="4">
                  <c:v>20.670501413473712</c:v>
                </c:pt>
                <c:pt idx="5">
                  <c:v>19.781957700192624</c:v>
                </c:pt>
                <c:pt idx="6">
                  <c:v>18.210504247332317</c:v>
                </c:pt>
                <c:pt idx="7">
                  <c:v>17.974207508750013</c:v>
                </c:pt>
                <c:pt idx="8">
                  <c:v>19.34026900908508</c:v>
                </c:pt>
                <c:pt idx="9">
                  <c:v>17.735061885407791</c:v>
                </c:pt>
                <c:pt idx="10">
                  <c:v>18.17947900410017</c:v>
                </c:pt>
                <c:pt idx="11">
                  <c:v>18.704959360697824</c:v>
                </c:pt>
                <c:pt idx="12">
                  <c:v>18.944620684064752</c:v>
                </c:pt>
                <c:pt idx="13">
                  <c:v>16.4993948723297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E32-480B-A0A6-326AA72C5D34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Praha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0000"/>
              </a:solidFill>
              <a:ln w="9525">
                <a:solidFill>
                  <a:srgbClr val="FF0000"/>
                </a:solidFill>
              </a:ln>
              <a:effectLst/>
            </c:spPr>
          </c:marke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6:$O$6</c:f>
              <c:numCache>
                <c:formatCode>General</c:formatCode>
                <c:ptCount val="14"/>
                <c:pt idx="0">
                  <c:v>19.19867676812429</c:v>
                </c:pt>
                <c:pt idx="1">
                  <c:v>16.218820510129607</c:v>
                </c:pt>
                <c:pt idx="2">
                  <c:v>25.847426334834942</c:v>
                </c:pt>
                <c:pt idx="3">
                  <c:v>18.429202644815327</c:v>
                </c:pt>
                <c:pt idx="4">
                  <c:v>17.156431462255849</c:v>
                </c:pt>
                <c:pt idx="5">
                  <c:v>20.739806169228174</c:v>
                </c:pt>
                <c:pt idx="6">
                  <c:v>11.867373623066785</c:v>
                </c:pt>
                <c:pt idx="7">
                  <c:v>22.845085399082873</c:v>
                </c:pt>
                <c:pt idx="8">
                  <c:v>19.176550750537555</c:v>
                </c:pt>
                <c:pt idx="9">
                  <c:v>20.48875729660891</c:v>
                </c:pt>
                <c:pt idx="10">
                  <c:v>22.253306205493388</c:v>
                </c:pt>
                <c:pt idx="11">
                  <c:v>25.505832466533558</c:v>
                </c:pt>
                <c:pt idx="12">
                  <c:v>23.970449544168499</c:v>
                </c:pt>
                <c:pt idx="13">
                  <c:v>17.1679178437095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851-448C-A265-5F738B78E1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0352592"/>
        <c:axId val="300349064"/>
      </c:lineChart>
      <c:catAx>
        <c:axId val="3003525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0349064"/>
        <c:crosses val="autoZero"/>
        <c:auto val="1"/>
        <c:lblAlgn val="ctr"/>
        <c:lblOffset val="100"/>
        <c:noMultiLvlLbl val="0"/>
      </c:catAx>
      <c:valAx>
        <c:axId val="300349064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0352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ayout>
        <c:manualLayout>
          <c:xMode val="edge"/>
          <c:yMode val="edge"/>
          <c:x val="0.13586805259694393"/>
          <c:y val="0.88306021647870281"/>
          <c:w val="0.71517626800064349"/>
          <c:h val="0.1106498656749382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4131074023507296"/>
          <c:y val="0.15573556917754688"/>
          <c:w val="0.61189273984018855"/>
          <c:h val="0.821541244989106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rgbClr val="5B9BD5">
                <a:lumMod val="75000"/>
              </a:srgbClr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29B-4F15-9CD7-4B1BF5807B30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229B-4F15-9CD7-4B1BF5807B30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Karlovarský kraj</c:v>
                </c:pt>
                <c:pt idx="1">
                  <c:v>Liberecký kraj</c:v>
                </c:pt>
                <c:pt idx="2">
                  <c:v>Pardubický kraj</c:v>
                </c:pt>
                <c:pt idx="3">
                  <c:v>Moravskoslezský kraj</c:v>
                </c:pt>
                <c:pt idx="4">
                  <c:v>Ústecký kraj</c:v>
                </c:pt>
                <c:pt idx="5">
                  <c:v>Středočeský kraj</c:v>
                </c:pt>
                <c:pt idx="6">
                  <c:v>Jihomoravský kraj</c:v>
                </c:pt>
                <c:pt idx="7">
                  <c:v>Hl. m. Praha</c:v>
                </c:pt>
                <c:pt idx="8">
                  <c:v>Česká republika</c:v>
                </c:pt>
                <c:pt idx="9">
                  <c:v>Jihočeský kraj</c:v>
                </c:pt>
                <c:pt idx="10">
                  <c:v>Královéhradecký kraj</c:v>
                </c:pt>
                <c:pt idx="11">
                  <c:v>Zlínský kraj</c:v>
                </c:pt>
                <c:pt idx="12">
                  <c:v>Olomoucký kraj</c:v>
                </c:pt>
                <c:pt idx="13">
                  <c:v>Vysočina</c:v>
                </c:pt>
                <c:pt idx="14">
                  <c:v>Plzeňský kraj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65.178153619894374</c:v>
                </c:pt>
                <c:pt idx="1">
                  <c:v>63.970284770945106</c:v>
                </c:pt>
                <c:pt idx="2">
                  <c:v>60.8685680007763</c:v>
                </c:pt>
                <c:pt idx="3">
                  <c:v>56.304917844138131</c:v>
                </c:pt>
                <c:pt idx="4">
                  <c:v>55.988455988455989</c:v>
                </c:pt>
                <c:pt idx="5">
                  <c:v>55.386809101113329</c:v>
                </c:pt>
                <c:pt idx="6">
                  <c:v>51.906019571622679</c:v>
                </c:pt>
                <c:pt idx="7">
                  <c:v>49.886542758656525</c:v>
                </c:pt>
                <c:pt idx="8">
                  <c:v>49.760669736320239</c:v>
                </c:pt>
                <c:pt idx="9">
                  <c:v>44.902156751980762</c:v>
                </c:pt>
                <c:pt idx="10">
                  <c:v>41.169911656231243</c:v>
                </c:pt>
                <c:pt idx="11">
                  <c:v>35.51136363636364</c:v>
                </c:pt>
                <c:pt idx="12">
                  <c:v>34.091683901906862</c:v>
                </c:pt>
                <c:pt idx="13">
                  <c:v>33.124769966875228</c:v>
                </c:pt>
                <c:pt idx="14">
                  <c:v>30.7830740451327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29B-4F15-9CD7-4B1BF5807B3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Řada 2</c:v>
                </c:pt>
              </c:strCache>
            </c:strRef>
          </c:tx>
          <c:spPr>
            <a:solidFill>
              <a:srgbClr val="2E5980"/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229B-4F15-9CD7-4B1BF5807B30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229B-4F15-9CD7-4B1BF5807B30}"/>
              </c:ext>
            </c:extLst>
          </c:dPt>
          <c:dLbls>
            <c:delete val="1"/>
          </c:dLbls>
          <c:cat>
            <c:strRef>
              <c:f>List1!$A$2:$A$16</c:f>
              <c:strCache>
                <c:ptCount val="15"/>
                <c:pt idx="0">
                  <c:v>Karlovarský kraj</c:v>
                </c:pt>
                <c:pt idx="1">
                  <c:v>Liberecký kraj</c:v>
                </c:pt>
                <c:pt idx="2">
                  <c:v>Pardubický kraj</c:v>
                </c:pt>
                <c:pt idx="3">
                  <c:v>Moravskoslezský kraj</c:v>
                </c:pt>
                <c:pt idx="4">
                  <c:v>Ústecký kraj</c:v>
                </c:pt>
                <c:pt idx="5">
                  <c:v>Středočeský kraj</c:v>
                </c:pt>
                <c:pt idx="6">
                  <c:v>Jihomoravský kraj</c:v>
                </c:pt>
                <c:pt idx="7">
                  <c:v>Hl. m. Praha</c:v>
                </c:pt>
                <c:pt idx="8">
                  <c:v>Česká republika</c:v>
                </c:pt>
                <c:pt idx="9">
                  <c:v>Jihočeský kraj</c:v>
                </c:pt>
                <c:pt idx="10">
                  <c:v>Královéhradecký kraj</c:v>
                </c:pt>
                <c:pt idx="11">
                  <c:v>Zlínský kraj</c:v>
                </c:pt>
                <c:pt idx="12">
                  <c:v>Olomoucký kraj</c:v>
                </c:pt>
                <c:pt idx="13">
                  <c:v>Vysočina</c:v>
                </c:pt>
                <c:pt idx="14">
                  <c:v>Plzeňský kraj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</c:numCache>
            </c:numRef>
          </c:val>
          <c:extLst>
            <c:ext xmlns:c16="http://schemas.microsoft.com/office/drawing/2014/chart" uri="{C3380CC4-5D6E-409C-BE32-E72D297353CC}">
              <c16:uniqueId val="{00000005-229B-4F15-9CD7-4B1BF5807B30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Řada 3</c:v>
                </c:pt>
              </c:strCache>
            </c:strRef>
          </c:tx>
          <c:spPr>
            <a:solidFill>
              <a:srgbClr val="FFC121"/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229B-4F15-9CD7-4B1BF5807B30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229B-4F15-9CD7-4B1BF5807B30}"/>
              </c:ext>
            </c:extLst>
          </c:dPt>
          <c:dLbls>
            <c:delete val="1"/>
          </c:dLbls>
          <c:cat>
            <c:strRef>
              <c:f>List1!$A$2:$A$16</c:f>
              <c:strCache>
                <c:ptCount val="15"/>
                <c:pt idx="0">
                  <c:v>Karlovarský kraj</c:v>
                </c:pt>
                <c:pt idx="1">
                  <c:v>Liberecký kraj</c:v>
                </c:pt>
                <c:pt idx="2">
                  <c:v>Pardubický kraj</c:v>
                </c:pt>
                <c:pt idx="3">
                  <c:v>Moravskoslezský kraj</c:v>
                </c:pt>
                <c:pt idx="4">
                  <c:v>Ústecký kraj</c:v>
                </c:pt>
                <c:pt idx="5">
                  <c:v>Středočeský kraj</c:v>
                </c:pt>
                <c:pt idx="6">
                  <c:v>Jihomoravský kraj</c:v>
                </c:pt>
                <c:pt idx="7">
                  <c:v>Hl. m. Praha</c:v>
                </c:pt>
                <c:pt idx="8">
                  <c:v>Česká republika</c:v>
                </c:pt>
                <c:pt idx="9">
                  <c:v>Jihočeský kraj</c:v>
                </c:pt>
                <c:pt idx="10">
                  <c:v>Královéhradecký kraj</c:v>
                </c:pt>
                <c:pt idx="11">
                  <c:v>Zlínský kraj</c:v>
                </c:pt>
                <c:pt idx="12">
                  <c:v>Olomoucký kraj</c:v>
                </c:pt>
                <c:pt idx="13">
                  <c:v>Vysočina</c:v>
                </c:pt>
                <c:pt idx="14">
                  <c:v>Plzeňský kraj</c:v>
                </c:pt>
              </c:strCache>
            </c:strRef>
          </c:cat>
          <c:val>
            <c:numRef>
              <c:f>List1!$D$2:$D$16</c:f>
              <c:numCache>
                <c:formatCode>General</c:formatCode>
                <c:ptCount val="15"/>
                <c:pt idx="8">
                  <c:v>49.7606697363202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29B-4F15-9CD7-4B1BF5807B3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593864360"/>
        <c:axId val="593863184"/>
      </c:barChart>
      <c:catAx>
        <c:axId val="59386436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93863184"/>
        <c:crosses val="autoZero"/>
        <c:auto val="1"/>
        <c:lblAlgn val="ctr"/>
        <c:lblOffset val="100"/>
        <c:tickLblSkip val="1"/>
        <c:noMultiLvlLbl val="0"/>
      </c:catAx>
      <c:valAx>
        <c:axId val="593863184"/>
        <c:scaling>
          <c:orientation val="minMax"/>
        </c:scaling>
        <c:delete val="0"/>
        <c:axPos val="t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938643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2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29879136124037"/>
          <c:y val="6.5393325144959685E-2"/>
          <c:w val="0.84184599831277318"/>
          <c:h val="0.61265647339595886"/>
        </c:manualLayout>
      </c:layout>
      <c:areaChart>
        <c:grouping val="stacked"/>
        <c:varyColors val="0"/>
        <c:ser>
          <c:idx val="0"/>
          <c:order val="0"/>
          <c:tx>
            <c:strRef>
              <c:f>List1!$A$2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2:$O$2</c:f>
              <c:numCache>
                <c:formatCode>General</c:formatCode>
                <c:ptCount val="14"/>
                <c:pt idx="0">
                  <c:v>11.896316988381264</c:v>
                </c:pt>
                <c:pt idx="1">
                  <c:v>11.99770329679747</c:v>
                </c:pt>
                <c:pt idx="2">
                  <c:v>14.464383865461945</c:v>
                </c:pt>
                <c:pt idx="3">
                  <c:v>11.423975726336376</c:v>
                </c:pt>
                <c:pt idx="4">
                  <c:v>19.682925956411268</c:v>
                </c:pt>
                <c:pt idx="5">
                  <c:v>15.902359512592682</c:v>
                </c:pt>
                <c:pt idx="6">
                  <c:v>15.706696637370767</c:v>
                </c:pt>
                <c:pt idx="7">
                  <c:v>19.139488592864801</c:v>
                </c:pt>
                <c:pt idx="8">
                  <c:v>18.758805662764569</c:v>
                </c:pt>
                <c:pt idx="9">
                  <c:v>21.846081249945385</c:v>
                </c:pt>
                <c:pt idx="10">
                  <c:v>15.231132434696519</c:v>
                </c:pt>
                <c:pt idx="11">
                  <c:v>19.648379435835228</c:v>
                </c:pt>
                <c:pt idx="12">
                  <c:v>36.657829004015312</c:v>
                </c:pt>
                <c:pt idx="13">
                  <c:v>30.7830740451327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32-480B-A0A6-326AA72C5D34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Rozsah hodnot krajů</c:v>
                </c:pt>
              </c:strCache>
            </c:strRef>
          </c:tx>
          <c:spPr>
            <a:solidFill>
              <a:srgbClr val="FFDC85"/>
            </a:solidFill>
            <a:ln>
              <a:noFill/>
            </a:ln>
            <a:effectLst/>
          </c:spP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3:$O$3</c:f>
              <c:numCache>
                <c:formatCode>General</c:formatCode>
                <c:ptCount val="14"/>
                <c:pt idx="0">
                  <c:v>20.353120612889832</c:v>
                </c:pt>
                <c:pt idx="1">
                  <c:v>43.428343684928237</c:v>
                </c:pt>
                <c:pt idx="2">
                  <c:v>30.241457504278586</c:v>
                </c:pt>
                <c:pt idx="3">
                  <c:v>30.316422512336398</c:v>
                </c:pt>
                <c:pt idx="4">
                  <c:v>36.463413863695862</c:v>
                </c:pt>
                <c:pt idx="5">
                  <c:v>25.600218258626661</c:v>
                </c:pt>
                <c:pt idx="6">
                  <c:v>32.298423908820823</c:v>
                </c:pt>
                <c:pt idx="7">
                  <c:v>37.452939811818219</c:v>
                </c:pt>
                <c:pt idx="8">
                  <c:v>31.076152681073193</c:v>
                </c:pt>
                <c:pt idx="9">
                  <c:v>26.728523946457933</c:v>
                </c:pt>
                <c:pt idx="10">
                  <c:v>30.488685761791118</c:v>
                </c:pt>
                <c:pt idx="11">
                  <c:v>37.872784011093358</c:v>
                </c:pt>
                <c:pt idx="12">
                  <c:v>33.474270562631119</c:v>
                </c:pt>
                <c:pt idx="13">
                  <c:v>34.3950795747616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32-480B-A0A6-326AA72C5D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00352592"/>
        <c:axId val="300349064"/>
      </c:areaChart>
      <c:lineChart>
        <c:grouping val="standard"/>
        <c:varyColors val="0"/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D7144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D71440"/>
              </a:solidFill>
              <a:ln w="9525">
                <a:solidFill>
                  <a:srgbClr val="D71440"/>
                </a:solidFill>
              </a:ln>
              <a:effectLst/>
            </c:spPr>
          </c:marke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4:$O$4</c:f>
              <c:numCache>
                <c:formatCode>General</c:formatCode>
                <c:ptCount val="1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E32-480B-A0A6-326AA72C5D34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ČR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9525">
                <a:solidFill>
                  <a:schemeClr val="tx1"/>
                </a:solidFill>
              </a:ln>
              <a:effectLst/>
            </c:spPr>
          </c:marke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5:$O$5</c:f>
              <c:numCache>
                <c:formatCode>General</c:formatCode>
                <c:ptCount val="14"/>
                <c:pt idx="0">
                  <c:v>22.609604331924192</c:v>
                </c:pt>
                <c:pt idx="1">
                  <c:v>24.617814406536198</c:v>
                </c:pt>
                <c:pt idx="2">
                  <c:v>25.669736921317199</c:v>
                </c:pt>
                <c:pt idx="3">
                  <c:v>26.55580426046204</c:v>
                </c:pt>
                <c:pt idx="4">
                  <c:v>31.446205151548387</c:v>
                </c:pt>
                <c:pt idx="5">
                  <c:v>26.776422660283423</c:v>
                </c:pt>
                <c:pt idx="6">
                  <c:v>28.370501556079027</c:v>
                </c:pt>
                <c:pt idx="7">
                  <c:v>32.23397999511063</c:v>
                </c:pt>
                <c:pt idx="8">
                  <c:v>33.406482814531117</c:v>
                </c:pt>
                <c:pt idx="9">
                  <c:v>31.738847245068058</c:v>
                </c:pt>
                <c:pt idx="10">
                  <c:v>25.052560362575569</c:v>
                </c:pt>
                <c:pt idx="11">
                  <c:v>36.872734101782491</c:v>
                </c:pt>
                <c:pt idx="12">
                  <c:v>50.613379682067141</c:v>
                </c:pt>
                <c:pt idx="13">
                  <c:v>49.7606697363202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E32-480B-A0A6-326AA72C5D34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Praha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0000"/>
              </a:solidFill>
              <a:ln w="9525">
                <a:solidFill>
                  <a:srgbClr val="FF0000"/>
                </a:solidFill>
              </a:ln>
              <a:effectLst/>
            </c:spPr>
          </c:marke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6:$O$6</c:f>
              <c:numCache>
                <c:formatCode>General</c:formatCode>
                <c:ptCount val="14"/>
                <c:pt idx="0">
                  <c:v>15.40515559207148</c:v>
                </c:pt>
                <c:pt idx="1">
                  <c:v>13.534641682029264</c:v>
                </c:pt>
                <c:pt idx="2">
                  <c:v>17.114575142235996</c:v>
                </c:pt>
                <c:pt idx="3">
                  <c:v>11.423975726336376</c:v>
                </c:pt>
                <c:pt idx="4">
                  <c:v>19.682925956411268</c:v>
                </c:pt>
                <c:pt idx="5">
                  <c:v>20.867569189034093</c:v>
                </c:pt>
                <c:pt idx="6">
                  <c:v>16.92118955962604</c:v>
                </c:pt>
                <c:pt idx="7">
                  <c:v>19.717546151381462</c:v>
                </c:pt>
                <c:pt idx="8">
                  <c:v>18.758805662764569</c:v>
                </c:pt>
                <c:pt idx="9">
                  <c:v>25.265285497726126</c:v>
                </c:pt>
                <c:pt idx="10">
                  <c:v>21.332439402539322</c:v>
                </c:pt>
                <c:pt idx="11">
                  <c:v>40.063787834748659</c:v>
                </c:pt>
                <c:pt idx="12">
                  <c:v>49.036221903326535</c:v>
                </c:pt>
                <c:pt idx="13">
                  <c:v>49.8865427586565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851-448C-A265-5F738B78E1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0352592"/>
        <c:axId val="300349064"/>
      </c:lineChart>
      <c:catAx>
        <c:axId val="3003525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0349064"/>
        <c:crosses val="autoZero"/>
        <c:auto val="1"/>
        <c:lblAlgn val="ctr"/>
        <c:lblOffset val="100"/>
        <c:noMultiLvlLbl val="0"/>
      </c:catAx>
      <c:valAx>
        <c:axId val="300349064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0352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ayout>
        <c:manualLayout>
          <c:xMode val="edge"/>
          <c:yMode val="edge"/>
          <c:x val="0.13586805259694393"/>
          <c:y val="0.88306021647870281"/>
          <c:w val="0.71517626800064349"/>
          <c:h val="0.1106498656749382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4131074023507296"/>
          <c:y val="0.15573556917754688"/>
          <c:w val="0.61189273984018855"/>
          <c:h val="0.821541244989106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rgbClr val="5B9BD5">
                <a:lumMod val="75000"/>
              </a:srgbClr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29B-4F15-9CD7-4B1BF5807B30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229B-4F15-9CD7-4B1BF5807B30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Moravskoslezský kraj</c:v>
                </c:pt>
                <c:pt idx="1">
                  <c:v>Liberecký kraj</c:v>
                </c:pt>
                <c:pt idx="2">
                  <c:v>Zlínský kraj</c:v>
                </c:pt>
                <c:pt idx="3">
                  <c:v>Královéhradecký kraj</c:v>
                </c:pt>
                <c:pt idx="4">
                  <c:v>Hl. m. Praha</c:v>
                </c:pt>
                <c:pt idx="5">
                  <c:v>Česká republika</c:v>
                </c:pt>
                <c:pt idx="6">
                  <c:v>Karlovarský kraj</c:v>
                </c:pt>
                <c:pt idx="7">
                  <c:v>Olomoucký kraj</c:v>
                </c:pt>
                <c:pt idx="8">
                  <c:v>Ústecký kraj</c:v>
                </c:pt>
                <c:pt idx="9">
                  <c:v>Středočeský kraj</c:v>
                </c:pt>
                <c:pt idx="10">
                  <c:v>Vysočina</c:v>
                </c:pt>
                <c:pt idx="11">
                  <c:v>Jihomoravský kraj</c:v>
                </c:pt>
                <c:pt idx="12">
                  <c:v>Jihočeský kraj</c:v>
                </c:pt>
                <c:pt idx="13">
                  <c:v>Pardubický kraj</c:v>
                </c:pt>
                <c:pt idx="14">
                  <c:v>Plzeňský kraj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41.831380723064761</c:v>
                </c:pt>
                <c:pt idx="1">
                  <c:v>39.612794548048782</c:v>
                </c:pt>
                <c:pt idx="2">
                  <c:v>33.054012042380606</c:v>
                </c:pt>
                <c:pt idx="3">
                  <c:v>31.683168316831683</c:v>
                </c:pt>
                <c:pt idx="4">
                  <c:v>29.66046007472989</c:v>
                </c:pt>
                <c:pt idx="5">
                  <c:v>28.390498604383687</c:v>
                </c:pt>
                <c:pt idx="6">
                  <c:v>28.371586724413461</c:v>
                </c:pt>
                <c:pt idx="7">
                  <c:v>27.211632285639681</c:v>
                </c:pt>
                <c:pt idx="8">
                  <c:v>26.228176676382372</c:v>
                </c:pt>
                <c:pt idx="9">
                  <c:v>24.868695666659526</c:v>
                </c:pt>
                <c:pt idx="10">
                  <c:v>24.810734330680152</c:v>
                </c:pt>
                <c:pt idx="11">
                  <c:v>23.886435455338688</c:v>
                </c:pt>
                <c:pt idx="12">
                  <c:v>19.144302841599508</c:v>
                </c:pt>
                <c:pt idx="13">
                  <c:v>18.949541943830944</c:v>
                </c:pt>
                <c:pt idx="14">
                  <c:v>17.58317820132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29B-4F15-9CD7-4B1BF5807B3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Řada 2</c:v>
                </c:pt>
              </c:strCache>
            </c:strRef>
          </c:tx>
          <c:spPr>
            <a:solidFill>
              <a:srgbClr val="2E5980"/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229B-4F15-9CD7-4B1BF5807B30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229B-4F15-9CD7-4B1BF5807B30}"/>
              </c:ext>
            </c:extLst>
          </c:dPt>
          <c:dLbls>
            <c:delete val="1"/>
          </c:dLbls>
          <c:cat>
            <c:strRef>
              <c:f>List1!$A$2:$A$16</c:f>
              <c:strCache>
                <c:ptCount val="15"/>
                <c:pt idx="0">
                  <c:v>Moravskoslezský kraj</c:v>
                </c:pt>
                <c:pt idx="1">
                  <c:v>Liberecký kraj</c:v>
                </c:pt>
                <c:pt idx="2">
                  <c:v>Zlínský kraj</c:v>
                </c:pt>
                <c:pt idx="3">
                  <c:v>Královéhradecký kraj</c:v>
                </c:pt>
                <c:pt idx="4">
                  <c:v>Hl. m. Praha</c:v>
                </c:pt>
                <c:pt idx="5">
                  <c:v>Česká republika</c:v>
                </c:pt>
                <c:pt idx="6">
                  <c:v>Karlovarský kraj</c:v>
                </c:pt>
                <c:pt idx="7">
                  <c:v>Olomoucký kraj</c:v>
                </c:pt>
                <c:pt idx="8">
                  <c:v>Ústecký kraj</c:v>
                </c:pt>
                <c:pt idx="9">
                  <c:v>Středočeský kraj</c:v>
                </c:pt>
                <c:pt idx="10">
                  <c:v>Vysočina</c:v>
                </c:pt>
                <c:pt idx="11">
                  <c:v>Jihomoravský kraj</c:v>
                </c:pt>
                <c:pt idx="12">
                  <c:v>Jihočeský kraj</c:v>
                </c:pt>
                <c:pt idx="13">
                  <c:v>Pardubický kraj</c:v>
                </c:pt>
                <c:pt idx="14">
                  <c:v>Plzeňský kraj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</c:numCache>
            </c:numRef>
          </c:val>
          <c:extLst>
            <c:ext xmlns:c16="http://schemas.microsoft.com/office/drawing/2014/chart" uri="{C3380CC4-5D6E-409C-BE32-E72D297353CC}">
              <c16:uniqueId val="{00000005-229B-4F15-9CD7-4B1BF5807B30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Řada 3</c:v>
                </c:pt>
              </c:strCache>
            </c:strRef>
          </c:tx>
          <c:spPr>
            <a:solidFill>
              <a:srgbClr val="FFC121"/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229B-4F15-9CD7-4B1BF5807B30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229B-4F15-9CD7-4B1BF5807B30}"/>
              </c:ext>
            </c:extLst>
          </c:dPt>
          <c:dLbls>
            <c:delete val="1"/>
          </c:dLbls>
          <c:cat>
            <c:strRef>
              <c:f>List1!$A$2:$A$16</c:f>
              <c:strCache>
                <c:ptCount val="15"/>
                <c:pt idx="0">
                  <c:v>Moravskoslezský kraj</c:v>
                </c:pt>
                <c:pt idx="1">
                  <c:v>Liberecký kraj</c:v>
                </c:pt>
                <c:pt idx="2">
                  <c:v>Zlínský kraj</c:v>
                </c:pt>
                <c:pt idx="3">
                  <c:v>Královéhradecký kraj</c:v>
                </c:pt>
                <c:pt idx="4">
                  <c:v>Hl. m. Praha</c:v>
                </c:pt>
                <c:pt idx="5">
                  <c:v>Česká republika</c:v>
                </c:pt>
                <c:pt idx="6">
                  <c:v>Karlovarský kraj</c:v>
                </c:pt>
                <c:pt idx="7">
                  <c:v>Olomoucký kraj</c:v>
                </c:pt>
                <c:pt idx="8">
                  <c:v>Ústecký kraj</c:v>
                </c:pt>
                <c:pt idx="9">
                  <c:v>Středočeský kraj</c:v>
                </c:pt>
                <c:pt idx="10">
                  <c:v>Vysočina</c:v>
                </c:pt>
                <c:pt idx="11">
                  <c:v>Jihomoravský kraj</c:v>
                </c:pt>
                <c:pt idx="12">
                  <c:v>Jihočeský kraj</c:v>
                </c:pt>
                <c:pt idx="13">
                  <c:v>Pardubický kraj</c:v>
                </c:pt>
                <c:pt idx="14">
                  <c:v>Plzeňský kraj</c:v>
                </c:pt>
              </c:strCache>
            </c:strRef>
          </c:cat>
          <c:val>
            <c:numRef>
              <c:f>List1!$D$2:$D$16</c:f>
              <c:numCache>
                <c:formatCode>General</c:formatCode>
                <c:ptCount val="15"/>
                <c:pt idx="5">
                  <c:v>28.3904986043836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29B-4F15-9CD7-4B1BF5807B3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593864360"/>
        <c:axId val="593863184"/>
      </c:barChart>
      <c:catAx>
        <c:axId val="59386436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93863184"/>
        <c:crosses val="autoZero"/>
        <c:auto val="1"/>
        <c:lblAlgn val="ctr"/>
        <c:lblOffset val="100"/>
        <c:tickLblSkip val="1"/>
        <c:noMultiLvlLbl val="0"/>
      </c:catAx>
      <c:valAx>
        <c:axId val="593863184"/>
        <c:scaling>
          <c:orientation val="minMax"/>
        </c:scaling>
        <c:delete val="0"/>
        <c:axPos val="t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938643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2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29879136124037"/>
          <c:y val="6.5393325144959685E-2"/>
          <c:w val="0.84184599831277318"/>
          <c:h val="0.61265647339595886"/>
        </c:manualLayout>
      </c:layout>
      <c:areaChart>
        <c:grouping val="stacked"/>
        <c:varyColors val="0"/>
        <c:ser>
          <c:idx val="0"/>
          <c:order val="0"/>
          <c:tx>
            <c:strRef>
              <c:f>List1!$A$2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2:$O$2</c:f>
              <c:numCache>
                <c:formatCode>General</c:formatCode>
                <c:ptCount val="14"/>
                <c:pt idx="0">
                  <c:v>15.14569618815282</c:v>
                </c:pt>
                <c:pt idx="1">
                  <c:v>17.169861714478827</c:v>
                </c:pt>
                <c:pt idx="2">
                  <c:v>21.178193071670432</c:v>
                </c:pt>
                <c:pt idx="3">
                  <c:v>22.482714720083429</c:v>
                </c:pt>
                <c:pt idx="4">
                  <c:v>24.092790263088375</c:v>
                </c:pt>
                <c:pt idx="5">
                  <c:v>16.942080048190807</c:v>
                </c:pt>
                <c:pt idx="6">
                  <c:v>17.418402700802513</c:v>
                </c:pt>
                <c:pt idx="7">
                  <c:v>16.619365395924419</c:v>
                </c:pt>
                <c:pt idx="8">
                  <c:v>14.777074974381049</c:v>
                </c:pt>
                <c:pt idx="9">
                  <c:v>18.210595144248689</c:v>
                </c:pt>
                <c:pt idx="10">
                  <c:v>16.515437076184739</c:v>
                </c:pt>
                <c:pt idx="11">
                  <c:v>17.561539687728807</c:v>
                </c:pt>
                <c:pt idx="12">
                  <c:v>17.85129075489645</c:v>
                </c:pt>
                <c:pt idx="13">
                  <c:v>17.58317820132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32-480B-A0A6-326AA72C5D34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Rozsah hodnot krajů</c:v>
                </c:pt>
              </c:strCache>
            </c:strRef>
          </c:tx>
          <c:spPr>
            <a:solidFill>
              <a:srgbClr val="FFDC85"/>
            </a:solidFill>
            <a:ln>
              <a:noFill/>
            </a:ln>
            <a:effectLst/>
          </c:spP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3:$O$3</c:f>
              <c:numCache>
                <c:formatCode>General</c:formatCode>
                <c:ptCount val="14"/>
                <c:pt idx="0">
                  <c:v>28.745234848221784</c:v>
                </c:pt>
                <c:pt idx="1">
                  <c:v>30.570350272377375</c:v>
                </c:pt>
                <c:pt idx="2">
                  <c:v>23.256839129546517</c:v>
                </c:pt>
                <c:pt idx="3">
                  <c:v>28.731619178263763</c:v>
                </c:pt>
                <c:pt idx="4">
                  <c:v>25.896159548006011</c:v>
                </c:pt>
                <c:pt idx="5">
                  <c:v>38.576700246912864</c:v>
                </c:pt>
                <c:pt idx="6">
                  <c:v>33.025832011339901</c:v>
                </c:pt>
                <c:pt idx="7">
                  <c:v>26.365551307022251</c:v>
                </c:pt>
                <c:pt idx="8">
                  <c:v>29.879488144879886</c:v>
                </c:pt>
                <c:pt idx="9">
                  <c:v>19.629257562712713</c:v>
                </c:pt>
                <c:pt idx="10">
                  <c:v>20.705328983481088</c:v>
                </c:pt>
                <c:pt idx="11">
                  <c:v>16.376375407340316</c:v>
                </c:pt>
                <c:pt idx="12">
                  <c:v>24.179742157737376</c:v>
                </c:pt>
                <c:pt idx="13">
                  <c:v>24.2482025217401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32-480B-A0A6-326AA72C5D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00352592"/>
        <c:axId val="300349064"/>
      </c:areaChart>
      <c:lineChart>
        <c:grouping val="standard"/>
        <c:varyColors val="0"/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D7144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D71440"/>
              </a:solidFill>
              <a:ln w="9525">
                <a:solidFill>
                  <a:srgbClr val="D71440"/>
                </a:solidFill>
              </a:ln>
              <a:effectLst/>
            </c:spPr>
          </c:marke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4:$O$4</c:f>
              <c:numCache>
                <c:formatCode>General</c:formatCode>
                <c:ptCount val="1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E32-480B-A0A6-326AA72C5D34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ČR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9525">
                <a:solidFill>
                  <a:schemeClr val="tx1"/>
                </a:solidFill>
              </a:ln>
              <a:effectLst/>
            </c:spPr>
          </c:marke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5:$O$5</c:f>
              <c:numCache>
                <c:formatCode>General</c:formatCode>
                <c:ptCount val="14"/>
                <c:pt idx="0">
                  <c:v>27.372621286098195</c:v>
                </c:pt>
                <c:pt idx="1">
                  <c:v>28.045530857804259</c:v>
                </c:pt>
                <c:pt idx="2">
                  <c:v>32.156241714617387</c:v>
                </c:pt>
                <c:pt idx="3">
                  <c:v>34.251101470617201</c:v>
                </c:pt>
                <c:pt idx="4">
                  <c:v>35.424524812973786</c:v>
                </c:pt>
                <c:pt idx="5">
                  <c:v>33.742375213384342</c:v>
                </c:pt>
                <c:pt idx="6">
                  <c:v>32.083411340510658</c:v>
                </c:pt>
                <c:pt idx="7">
                  <c:v>29.024352732927788</c:v>
                </c:pt>
                <c:pt idx="8">
                  <c:v>29.327948958772101</c:v>
                </c:pt>
                <c:pt idx="9">
                  <c:v>27.824251567560715</c:v>
                </c:pt>
                <c:pt idx="10">
                  <c:v>25.615596436662841</c:v>
                </c:pt>
                <c:pt idx="11">
                  <c:v>25.28496332299957</c:v>
                </c:pt>
                <c:pt idx="12">
                  <c:v>28.118957823630833</c:v>
                </c:pt>
                <c:pt idx="13">
                  <c:v>28.3904986043836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E32-480B-A0A6-326AA72C5D34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Praha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0000"/>
              </a:solidFill>
              <a:ln w="9525">
                <a:solidFill>
                  <a:srgbClr val="FF0000"/>
                </a:solidFill>
              </a:ln>
              <a:effectLst/>
            </c:spPr>
          </c:marke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6:$O$6</c:f>
              <c:numCache>
                <c:formatCode>General</c:formatCode>
                <c:ptCount val="14"/>
                <c:pt idx="0">
                  <c:v>23.850244435042843</c:v>
                </c:pt>
                <c:pt idx="1">
                  <c:v>24.322979687855092</c:v>
                </c:pt>
                <c:pt idx="2">
                  <c:v>29.845260954875691</c:v>
                </c:pt>
                <c:pt idx="3">
                  <c:v>31.862552912374245</c:v>
                </c:pt>
                <c:pt idx="4">
                  <c:v>35.490639343873056</c:v>
                </c:pt>
                <c:pt idx="5">
                  <c:v>27.089580373661438</c:v>
                </c:pt>
                <c:pt idx="6">
                  <c:v>25.487224528704985</c:v>
                </c:pt>
                <c:pt idx="7">
                  <c:v>20.564232692393976</c:v>
                </c:pt>
                <c:pt idx="8">
                  <c:v>23.339685534981594</c:v>
                </c:pt>
                <c:pt idx="9">
                  <c:v>22.246281163332196</c:v>
                </c:pt>
                <c:pt idx="10">
                  <c:v>23.244001756213464</c:v>
                </c:pt>
                <c:pt idx="11">
                  <c:v>22.451080277710673</c:v>
                </c:pt>
                <c:pt idx="12">
                  <c:v>27.519387532477833</c:v>
                </c:pt>
                <c:pt idx="13">
                  <c:v>29.660460074729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851-448C-A265-5F738B78E1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0352592"/>
        <c:axId val="300349064"/>
      </c:lineChart>
      <c:catAx>
        <c:axId val="3003525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0349064"/>
        <c:crosses val="autoZero"/>
        <c:auto val="1"/>
        <c:lblAlgn val="ctr"/>
        <c:lblOffset val="100"/>
        <c:noMultiLvlLbl val="0"/>
      </c:catAx>
      <c:valAx>
        <c:axId val="300349064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0352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ayout>
        <c:manualLayout>
          <c:xMode val="edge"/>
          <c:yMode val="edge"/>
          <c:x val="0.13586805259694393"/>
          <c:y val="0.88306021647870281"/>
          <c:w val="0.71517626800064349"/>
          <c:h val="0.1106498656749382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4131074023507296"/>
          <c:y val="0.15573556917754688"/>
          <c:w val="0.61189273984018855"/>
          <c:h val="0.821541244989106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rgbClr val="5B9BD5">
                <a:lumMod val="75000"/>
              </a:srgbClr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29B-4F15-9CD7-4B1BF5807B30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229B-4F15-9CD7-4B1BF5807B30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Hl. m. Praha</c:v>
                </c:pt>
                <c:pt idx="1">
                  <c:v>Zlínský kraj</c:v>
                </c:pt>
                <c:pt idx="2">
                  <c:v>Liberecký kraj</c:v>
                </c:pt>
                <c:pt idx="3">
                  <c:v>Královéhradecký kraj</c:v>
                </c:pt>
                <c:pt idx="4">
                  <c:v>Moravskoslezský kraj</c:v>
                </c:pt>
                <c:pt idx="5">
                  <c:v>Ústecký kraj</c:v>
                </c:pt>
                <c:pt idx="6">
                  <c:v>Česká republika</c:v>
                </c:pt>
                <c:pt idx="7">
                  <c:v>Vysočina</c:v>
                </c:pt>
                <c:pt idx="8">
                  <c:v>Jihomoravský kraj</c:v>
                </c:pt>
                <c:pt idx="9">
                  <c:v>Středočeský kraj</c:v>
                </c:pt>
                <c:pt idx="10">
                  <c:v>Karlovarský kraj</c:v>
                </c:pt>
                <c:pt idx="11">
                  <c:v>Olomoucký kraj</c:v>
                </c:pt>
                <c:pt idx="12">
                  <c:v>Plzeňský kraj</c:v>
                </c:pt>
                <c:pt idx="13">
                  <c:v>Jihočeský kraj</c:v>
                </c:pt>
                <c:pt idx="14">
                  <c:v>Pardubický kraj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24.581336912584085</c:v>
                </c:pt>
                <c:pt idx="1">
                  <c:v>24.432534678436319</c:v>
                </c:pt>
                <c:pt idx="2">
                  <c:v>23.52614075048389</c:v>
                </c:pt>
                <c:pt idx="3">
                  <c:v>20.897297818643604</c:v>
                </c:pt>
                <c:pt idx="4">
                  <c:v>19.906439733253709</c:v>
                </c:pt>
                <c:pt idx="5">
                  <c:v>17.990788716177317</c:v>
                </c:pt>
                <c:pt idx="6">
                  <c:v>17.938034207246787</c:v>
                </c:pt>
                <c:pt idx="7">
                  <c:v>17.260017623386418</c:v>
                </c:pt>
                <c:pt idx="8">
                  <c:v>16.839674272586215</c:v>
                </c:pt>
                <c:pt idx="9">
                  <c:v>16.633768768435761</c:v>
                </c:pt>
                <c:pt idx="10">
                  <c:v>16.020506247997435</c:v>
                </c:pt>
                <c:pt idx="11">
                  <c:v>14.600884813619706</c:v>
                </c:pt>
                <c:pt idx="12">
                  <c:v>11.98485114814874</c:v>
                </c:pt>
                <c:pt idx="13">
                  <c:v>11.436004831712042</c:v>
                </c:pt>
                <c:pt idx="14">
                  <c:v>4.51251319910110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29B-4F15-9CD7-4B1BF5807B3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Řada 2</c:v>
                </c:pt>
              </c:strCache>
            </c:strRef>
          </c:tx>
          <c:spPr>
            <a:solidFill>
              <a:srgbClr val="2E5980"/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229B-4F15-9CD7-4B1BF5807B30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229B-4F15-9CD7-4B1BF5807B30}"/>
              </c:ext>
            </c:extLst>
          </c:dPt>
          <c:dLbls>
            <c:delete val="1"/>
          </c:dLbls>
          <c:cat>
            <c:strRef>
              <c:f>List1!$A$2:$A$16</c:f>
              <c:strCache>
                <c:ptCount val="15"/>
                <c:pt idx="0">
                  <c:v>Hl. m. Praha</c:v>
                </c:pt>
                <c:pt idx="1">
                  <c:v>Zlínský kraj</c:v>
                </c:pt>
                <c:pt idx="2">
                  <c:v>Liberecký kraj</c:v>
                </c:pt>
                <c:pt idx="3">
                  <c:v>Královéhradecký kraj</c:v>
                </c:pt>
                <c:pt idx="4">
                  <c:v>Moravskoslezský kraj</c:v>
                </c:pt>
                <c:pt idx="5">
                  <c:v>Ústecký kraj</c:v>
                </c:pt>
                <c:pt idx="6">
                  <c:v>Česká republika</c:v>
                </c:pt>
                <c:pt idx="7">
                  <c:v>Vysočina</c:v>
                </c:pt>
                <c:pt idx="8">
                  <c:v>Jihomoravský kraj</c:v>
                </c:pt>
                <c:pt idx="9">
                  <c:v>Středočeský kraj</c:v>
                </c:pt>
                <c:pt idx="10">
                  <c:v>Karlovarský kraj</c:v>
                </c:pt>
                <c:pt idx="11">
                  <c:v>Olomoucký kraj</c:v>
                </c:pt>
                <c:pt idx="12">
                  <c:v>Plzeňský kraj</c:v>
                </c:pt>
                <c:pt idx="13">
                  <c:v>Jihočeský kraj</c:v>
                </c:pt>
                <c:pt idx="14">
                  <c:v>Pardubický kraj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</c:numCache>
            </c:numRef>
          </c:val>
          <c:extLst>
            <c:ext xmlns:c16="http://schemas.microsoft.com/office/drawing/2014/chart" uri="{C3380CC4-5D6E-409C-BE32-E72D297353CC}">
              <c16:uniqueId val="{00000005-229B-4F15-9CD7-4B1BF5807B30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Řada 3</c:v>
                </c:pt>
              </c:strCache>
            </c:strRef>
          </c:tx>
          <c:spPr>
            <a:solidFill>
              <a:srgbClr val="FFC121"/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229B-4F15-9CD7-4B1BF5807B30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229B-4F15-9CD7-4B1BF5807B30}"/>
              </c:ext>
            </c:extLst>
          </c:dPt>
          <c:dLbls>
            <c:delete val="1"/>
          </c:dLbls>
          <c:cat>
            <c:strRef>
              <c:f>List1!$A$2:$A$16</c:f>
              <c:strCache>
                <c:ptCount val="15"/>
                <c:pt idx="0">
                  <c:v>Hl. m. Praha</c:v>
                </c:pt>
                <c:pt idx="1">
                  <c:v>Zlínský kraj</c:v>
                </c:pt>
                <c:pt idx="2">
                  <c:v>Liberecký kraj</c:v>
                </c:pt>
                <c:pt idx="3">
                  <c:v>Královéhradecký kraj</c:v>
                </c:pt>
                <c:pt idx="4">
                  <c:v>Moravskoslezský kraj</c:v>
                </c:pt>
                <c:pt idx="5">
                  <c:v>Ústecký kraj</c:v>
                </c:pt>
                <c:pt idx="6">
                  <c:v>Česká republika</c:v>
                </c:pt>
                <c:pt idx="7">
                  <c:v>Vysočina</c:v>
                </c:pt>
                <c:pt idx="8">
                  <c:v>Jihomoravský kraj</c:v>
                </c:pt>
                <c:pt idx="9">
                  <c:v>Středočeský kraj</c:v>
                </c:pt>
                <c:pt idx="10">
                  <c:v>Karlovarský kraj</c:v>
                </c:pt>
                <c:pt idx="11">
                  <c:v>Olomoucký kraj</c:v>
                </c:pt>
                <c:pt idx="12">
                  <c:v>Plzeňský kraj</c:v>
                </c:pt>
                <c:pt idx="13">
                  <c:v>Jihočeský kraj</c:v>
                </c:pt>
                <c:pt idx="14">
                  <c:v>Pardubický kraj</c:v>
                </c:pt>
              </c:strCache>
            </c:strRef>
          </c:cat>
          <c:val>
            <c:numRef>
              <c:f>List1!$D$2:$D$16</c:f>
              <c:numCache>
                <c:formatCode>General</c:formatCode>
                <c:ptCount val="15"/>
                <c:pt idx="6">
                  <c:v>17.9380342072467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29B-4F15-9CD7-4B1BF5807B3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593864360"/>
        <c:axId val="593863184"/>
      </c:barChart>
      <c:catAx>
        <c:axId val="59386436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93863184"/>
        <c:crosses val="autoZero"/>
        <c:auto val="1"/>
        <c:lblAlgn val="ctr"/>
        <c:lblOffset val="100"/>
        <c:tickLblSkip val="1"/>
        <c:noMultiLvlLbl val="0"/>
      </c:catAx>
      <c:valAx>
        <c:axId val="593863184"/>
        <c:scaling>
          <c:orientation val="minMax"/>
        </c:scaling>
        <c:delete val="0"/>
        <c:axPos val="t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938643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2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29879136124037"/>
          <c:y val="6.5393325144959685E-2"/>
          <c:w val="0.84184599831277318"/>
          <c:h val="0.61265647339595886"/>
        </c:manualLayout>
      </c:layout>
      <c:areaChart>
        <c:grouping val="stacked"/>
        <c:varyColors val="0"/>
        <c:ser>
          <c:idx val="0"/>
          <c:order val="0"/>
          <c:tx>
            <c:strRef>
              <c:f>List1!$A$2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2:$O$2</c:f>
              <c:numCache>
                <c:formatCode>General</c:formatCode>
                <c:ptCount val="14"/>
                <c:pt idx="0">
                  <c:v>7.407590310871873</c:v>
                </c:pt>
                <c:pt idx="1">
                  <c:v>7.5785133988116886</c:v>
                </c:pt>
                <c:pt idx="2">
                  <c:v>8.1174478743882919</c:v>
                </c:pt>
                <c:pt idx="3">
                  <c:v>9.9440421627387696</c:v>
                </c:pt>
                <c:pt idx="4">
                  <c:v>11.987010439596364</c:v>
                </c:pt>
                <c:pt idx="5">
                  <c:v>9.4025612576865942</c:v>
                </c:pt>
                <c:pt idx="6">
                  <c:v>10.350038295141692</c:v>
                </c:pt>
                <c:pt idx="7">
                  <c:v>11.015531899978971</c:v>
                </c:pt>
                <c:pt idx="8">
                  <c:v>12.816089121112041</c:v>
                </c:pt>
                <c:pt idx="9">
                  <c:v>4.6079056300926959</c:v>
                </c:pt>
                <c:pt idx="10">
                  <c:v>8.3390190281252377</c:v>
                </c:pt>
                <c:pt idx="11">
                  <c:v>6.4973639266354795</c:v>
                </c:pt>
                <c:pt idx="12">
                  <c:v>10.881234947624989</c:v>
                </c:pt>
                <c:pt idx="13">
                  <c:v>4.51251319910110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32-480B-A0A6-326AA72C5D34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Rozsah hodnot krajů</c:v>
                </c:pt>
              </c:strCache>
            </c:strRef>
          </c:tx>
          <c:spPr>
            <a:solidFill>
              <a:srgbClr val="FFDC85"/>
            </a:solidFill>
            <a:ln>
              <a:noFill/>
            </a:ln>
            <a:effectLst/>
          </c:spP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3:$O$3</c:f>
              <c:numCache>
                <c:formatCode>General</c:formatCode>
                <c:ptCount val="14"/>
                <c:pt idx="0">
                  <c:v>13.727132982763406</c:v>
                </c:pt>
                <c:pt idx="1">
                  <c:v>32.498351973749017</c:v>
                </c:pt>
                <c:pt idx="2">
                  <c:v>27.744483689092313</c:v>
                </c:pt>
                <c:pt idx="3">
                  <c:v>25.918401135830614</c:v>
                </c:pt>
                <c:pt idx="4">
                  <c:v>24.295212156263919</c:v>
                </c:pt>
                <c:pt idx="5">
                  <c:v>28.336761275450378</c:v>
                </c:pt>
                <c:pt idx="6">
                  <c:v>24.134597891946534</c:v>
                </c:pt>
                <c:pt idx="7">
                  <c:v>15.413857581124017</c:v>
                </c:pt>
                <c:pt idx="8">
                  <c:v>20.457522345486375</c:v>
                </c:pt>
                <c:pt idx="9">
                  <c:v>17.899596870740918</c:v>
                </c:pt>
                <c:pt idx="10">
                  <c:v>14.619892719457928</c:v>
                </c:pt>
                <c:pt idx="11">
                  <c:v>15.447432718248944</c:v>
                </c:pt>
                <c:pt idx="12">
                  <c:v>17.901035173980102</c:v>
                </c:pt>
                <c:pt idx="13">
                  <c:v>20.0688237134829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32-480B-A0A6-326AA72C5D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00352592"/>
        <c:axId val="300349064"/>
      </c:areaChart>
      <c:lineChart>
        <c:grouping val="standard"/>
        <c:varyColors val="0"/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D7144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D71440"/>
              </a:solidFill>
              <a:ln w="9525">
                <a:solidFill>
                  <a:srgbClr val="D71440"/>
                </a:solidFill>
              </a:ln>
              <a:effectLst/>
            </c:spPr>
          </c:marke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4:$O$4</c:f>
              <c:numCache>
                <c:formatCode>General</c:formatCode>
                <c:ptCount val="1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E32-480B-A0A6-326AA72C5D34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ČR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9525">
                <a:solidFill>
                  <a:schemeClr val="tx1"/>
                </a:solidFill>
              </a:ln>
              <a:effectLst/>
            </c:spPr>
          </c:marke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5:$O$5</c:f>
              <c:numCache>
                <c:formatCode>General</c:formatCode>
                <c:ptCount val="14"/>
                <c:pt idx="0">
                  <c:v>11.93689403254257</c:v>
                </c:pt>
                <c:pt idx="1">
                  <c:v>15.396458814472672</c:v>
                </c:pt>
                <c:pt idx="2">
                  <c:v>17.412692930619642</c:v>
                </c:pt>
                <c:pt idx="3">
                  <c:v>17.313761545523224</c:v>
                </c:pt>
                <c:pt idx="4">
                  <c:v>20.130801637664998</c:v>
                </c:pt>
                <c:pt idx="5">
                  <c:v>18.732516973391956</c:v>
                </c:pt>
                <c:pt idx="6">
                  <c:v>18.924641668796326</c:v>
                </c:pt>
                <c:pt idx="7">
                  <c:v>17.626639960238272</c:v>
                </c:pt>
                <c:pt idx="8">
                  <c:v>18.613191226788647</c:v>
                </c:pt>
                <c:pt idx="9">
                  <c:v>16.027943629058377</c:v>
                </c:pt>
                <c:pt idx="10">
                  <c:v>15.242793934207066</c:v>
                </c:pt>
                <c:pt idx="11">
                  <c:v>15.00100701204479</c:v>
                </c:pt>
                <c:pt idx="12">
                  <c:v>18.215981426985337</c:v>
                </c:pt>
                <c:pt idx="13">
                  <c:v>17.9380342072467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E32-480B-A0A6-326AA72C5D34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Praha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0000"/>
              </a:solidFill>
              <a:ln w="9525">
                <a:solidFill>
                  <a:srgbClr val="FF0000"/>
                </a:solidFill>
              </a:ln>
              <a:effectLst/>
            </c:spPr>
          </c:marke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6:$O$6</c:f>
              <c:numCache>
                <c:formatCode>General</c:formatCode>
                <c:ptCount val="14"/>
                <c:pt idx="0">
                  <c:v>10.337749028990002</c:v>
                </c:pt>
                <c:pt idx="1">
                  <c:v>10.971555050970029</c:v>
                </c:pt>
                <c:pt idx="2">
                  <c:v>21.231814489328706</c:v>
                </c:pt>
                <c:pt idx="3">
                  <c:v>20.676666381987925</c:v>
                </c:pt>
                <c:pt idx="4">
                  <c:v>22.875241949674468</c:v>
                </c:pt>
                <c:pt idx="5">
                  <c:v>18.147330398074654</c:v>
                </c:pt>
                <c:pt idx="6">
                  <c:v>18.224895206852562</c:v>
                </c:pt>
                <c:pt idx="7">
                  <c:v>16.199242373895128</c:v>
                </c:pt>
                <c:pt idx="8">
                  <c:v>18.768539032441012</c:v>
                </c:pt>
                <c:pt idx="9">
                  <c:v>22.095718653205687</c:v>
                </c:pt>
                <c:pt idx="10">
                  <c:v>15.895218718209563</c:v>
                </c:pt>
                <c:pt idx="11">
                  <c:v>18.332317085320994</c:v>
                </c:pt>
                <c:pt idx="12">
                  <c:v>23.577491354919836</c:v>
                </c:pt>
                <c:pt idx="13">
                  <c:v>24.5813369125840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851-448C-A265-5F738B78E1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0352592"/>
        <c:axId val="300349064"/>
      </c:lineChart>
      <c:catAx>
        <c:axId val="3003525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0349064"/>
        <c:crosses val="autoZero"/>
        <c:auto val="1"/>
        <c:lblAlgn val="ctr"/>
        <c:lblOffset val="100"/>
        <c:noMultiLvlLbl val="0"/>
      </c:catAx>
      <c:valAx>
        <c:axId val="300349064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0352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ayout>
        <c:manualLayout>
          <c:xMode val="edge"/>
          <c:yMode val="edge"/>
          <c:x val="0.13586805259694393"/>
          <c:y val="0.88306021647870281"/>
          <c:w val="0.71517626800064349"/>
          <c:h val="0.1106498656749382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76367058987577"/>
          <c:y val="6.0943889887779774E-2"/>
          <c:w val="0.87396351575456055"/>
          <c:h val="0.72166623777760885"/>
        </c:manualLayout>
      </c:layout>
      <c:lineChart>
        <c:grouping val="standard"/>
        <c:varyColors val="0"/>
        <c:ser>
          <c:idx val="0"/>
          <c:order val="0"/>
          <c:tx>
            <c:strRef>
              <c:f>List3!$C$1</c:f>
              <c:strCache>
                <c:ptCount val="1"/>
                <c:pt idx="0">
                  <c:v>HMP</c:v>
                </c:pt>
              </c:strCache>
            </c:strRef>
          </c:tx>
          <c:spPr>
            <a:ln w="38100">
              <a:solidFill>
                <a:schemeClr val="tx1"/>
              </a:solidFill>
            </a:ln>
          </c:spPr>
          <c:marker>
            <c:symbol val="none"/>
          </c:marker>
          <c:cat>
            <c:strRef>
              <c:f>List3!$A$2:$A$20</c:f>
              <c:strCache>
                <c:ptCount val="19"/>
                <c:pt idx="0">
                  <c:v>   0–4 let</c:v>
                </c:pt>
                <c:pt idx="1">
                  <c:v>   5–9 let</c:v>
                </c:pt>
                <c:pt idx="2">
                  <c:v> 10–14 let</c:v>
                </c:pt>
                <c:pt idx="3">
                  <c:v> 15–19 let</c:v>
                </c:pt>
                <c:pt idx="4">
                  <c:v> 20–24 let</c:v>
                </c:pt>
                <c:pt idx="5">
                  <c:v> 25–29 let</c:v>
                </c:pt>
                <c:pt idx="6">
                  <c:v> 30–34 let</c:v>
                </c:pt>
                <c:pt idx="7">
                  <c:v> 35–39 let</c:v>
                </c:pt>
                <c:pt idx="8">
                  <c:v> 40–44 let</c:v>
                </c:pt>
                <c:pt idx="9">
                  <c:v> 45–49 let</c:v>
                </c:pt>
                <c:pt idx="10">
                  <c:v> 50–54 let</c:v>
                </c:pt>
                <c:pt idx="11">
                  <c:v> 55–59 let</c:v>
                </c:pt>
                <c:pt idx="12">
                  <c:v> 60–64 let</c:v>
                </c:pt>
                <c:pt idx="13">
                  <c:v> 65–69 let</c:v>
                </c:pt>
                <c:pt idx="14">
                  <c:v> 70–74 let</c:v>
                </c:pt>
                <c:pt idx="15">
                  <c:v> 75–79 let</c:v>
                </c:pt>
                <c:pt idx="16">
                  <c:v> 80–84 let</c:v>
                </c:pt>
                <c:pt idx="17">
                  <c:v> 85–89 let</c:v>
                </c:pt>
                <c:pt idx="18">
                  <c:v> 90+ let</c:v>
                </c:pt>
              </c:strCache>
            </c:strRef>
          </c:cat>
          <c:val>
            <c:numRef>
              <c:f>List3!$C$2:$C$20</c:f>
              <c:numCache>
                <c:formatCode>General</c:formatCode>
                <c:ptCount val="19"/>
                <c:pt idx="0">
                  <c:v>5.3017981499999998</c:v>
                </c:pt>
                <c:pt idx="1">
                  <c:v>6.1175597899999996</c:v>
                </c:pt>
                <c:pt idx="2">
                  <c:v>6.1818481500000004</c:v>
                </c:pt>
                <c:pt idx="3">
                  <c:v>5.7940574500000004</c:v>
                </c:pt>
                <c:pt idx="4">
                  <c:v>4.5336346299999999</c:v>
                </c:pt>
                <c:pt idx="5">
                  <c:v>4.6109729799999997</c:v>
                </c:pt>
                <c:pt idx="6">
                  <c:v>6.2332925799999996</c:v>
                </c:pt>
                <c:pt idx="7">
                  <c:v>6.9707542900000004</c:v>
                </c:pt>
                <c:pt idx="8">
                  <c:v>7.8210640500000004</c:v>
                </c:pt>
                <c:pt idx="9">
                  <c:v>9.2642553999999997</c:v>
                </c:pt>
                <c:pt idx="10">
                  <c:v>7.3454950099999996</c:v>
                </c:pt>
                <c:pt idx="11">
                  <c:v>5.9949585799999996</c:v>
                </c:pt>
                <c:pt idx="12">
                  <c:v>5.1175185799999996</c:v>
                </c:pt>
                <c:pt idx="13">
                  <c:v>5.4043435899999999</c:v>
                </c:pt>
                <c:pt idx="14">
                  <c:v>5.2386774200000001</c:v>
                </c:pt>
                <c:pt idx="15">
                  <c:v>4.2044315000000001</c:v>
                </c:pt>
                <c:pt idx="16">
                  <c:v>2.2632113999999999</c:v>
                </c:pt>
                <c:pt idx="17">
                  <c:v>1.0789593</c:v>
                </c:pt>
                <c:pt idx="18">
                  <c:v>0.52316715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85A-48FC-8B4B-DC5A72DE69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39629152"/>
        <c:axId val="339627584"/>
      </c:lineChart>
      <c:catAx>
        <c:axId val="3396291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39627584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339627584"/>
        <c:scaling>
          <c:orientation val="minMax"/>
        </c:scaling>
        <c:delete val="0"/>
        <c:axPos val="l"/>
        <c:numFmt formatCode="0" sourceLinked="0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39629152"/>
        <c:crosses val="autoZero"/>
        <c:crossBetween val="between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725" b="1" i="0" u="none" strike="noStrike" baseline="0">
          <a:solidFill>
            <a:schemeClr val="tx1"/>
          </a:solidFill>
          <a:latin typeface="Tahoma"/>
          <a:ea typeface="Tahoma"/>
          <a:cs typeface="Tahoma"/>
        </a:defRPr>
      </a:pPr>
      <a:endParaRPr lang="en-US"/>
    </a:p>
  </c:txPr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živě narození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List1!$A$2:$A$111</c:f>
              <c:numCache>
                <c:formatCode>General</c:formatCode>
                <c:ptCount val="110"/>
                <c:pt idx="0">
                  <c:v>1961</c:v>
                </c:pt>
                <c:pt idx="1">
                  <c:v>1962</c:v>
                </c:pt>
                <c:pt idx="2">
                  <c:v>1963</c:v>
                </c:pt>
                <c:pt idx="3">
                  <c:v>1964</c:v>
                </c:pt>
                <c:pt idx="4">
                  <c:v>1965</c:v>
                </c:pt>
                <c:pt idx="5">
                  <c:v>1966</c:v>
                </c:pt>
                <c:pt idx="6">
                  <c:v>1967</c:v>
                </c:pt>
                <c:pt idx="7">
                  <c:v>1968</c:v>
                </c:pt>
                <c:pt idx="8">
                  <c:v>1969</c:v>
                </c:pt>
                <c:pt idx="9">
                  <c:v>1970</c:v>
                </c:pt>
                <c:pt idx="10">
                  <c:v>1971</c:v>
                </c:pt>
                <c:pt idx="11">
                  <c:v>1972</c:v>
                </c:pt>
                <c:pt idx="12">
                  <c:v>1973</c:v>
                </c:pt>
                <c:pt idx="13">
                  <c:v>1974</c:v>
                </c:pt>
                <c:pt idx="14">
                  <c:v>1975</c:v>
                </c:pt>
                <c:pt idx="15">
                  <c:v>1976</c:v>
                </c:pt>
                <c:pt idx="16">
                  <c:v>1977</c:v>
                </c:pt>
                <c:pt idx="17">
                  <c:v>1978</c:v>
                </c:pt>
                <c:pt idx="18">
                  <c:v>1979</c:v>
                </c:pt>
                <c:pt idx="19">
                  <c:v>1980</c:v>
                </c:pt>
                <c:pt idx="20">
                  <c:v>1981</c:v>
                </c:pt>
                <c:pt idx="21">
                  <c:v>1982</c:v>
                </c:pt>
                <c:pt idx="22">
                  <c:v>1983</c:v>
                </c:pt>
                <c:pt idx="23">
                  <c:v>1984</c:v>
                </c:pt>
                <c:pt idx="24">
                  <c:v>1985</c:v>
                </c:pt>
                <c:pt idx="25">
                  <c:v>1986</c:v>
                </c:pt>
                <c:pt idx="26">
                  <c:v>1987</c:v>
                </c:pt>
                <c:pt idx="27">
                  <c:v>1988</c:v>
                </c:pt>
                <c:pt idx="28">
                  <c:v>1989</c:v>
                </c:pt>
                <c:pt idx="29">
                  <c:v>1990</c:v>
                </c:pt>
                <c:pt idx="30">
                  <c:v>1991</c:v>
                </c:pt>
                <c:pt idx="31">
                  <c:v>1992</c:v>
                </c:pt>
                <c:pt idx="32">
                  <c:v>1993</c:v>
                </c:pt>
                <c:pt idx="33">
                  <c:v>1994</c:v>
                </c:pt>
                <c:pt idx="34">
                  <c:v>1995</c:v>
                </c:pt>
                <c:pt idx="35">
                  <c:v>1996</c:v>
                </c:pt>
                <c:pt idx="36">
                  <c:v>1997</c:v>
                </c:pt>
                <c:pt idx="37">
                  <c:v>1998</c:v>
                </c:pt>
                <c:pt idx="38">
                  <c:v>1999</c:v>
                </c:pt>
                <c:pt idx="39">
                  <c:v>2000</c:v>
                </c:pt>
                <c:pt idx="40">
                  <c:v>2001</c:v>
                </c:pt>
                <c:pt idx="41">
                  <c:v>2002</c:v>
                </c:pt>
                <c:pt idx="42">
                  <c:v>2003</c:v>
                </c:pt>
                <c:pt idx="43">
                  <c:v>2004</c:v>
                </c:pt>
                <c:pt idx="44">
                  <c:v>2005</c:v>
                </c:pt>
                <c:pt idx="45">
                  <c:v>2006</c:v>
                </c:pt>
                <c:pt idx="46">
                  <c:v>2007</c:v>
                </c:pt>
                <c:pt idx="47">
                  <c:v>2008</c:v>
                </c:pt>
                <c:pt idx="48">
                  <c:v>2009</c:v>
                </c:pt>
                <c:pt idx="49">
                  <c:v>2010</c:v>
                </c:pt>
                <c:pt idx="50">
                  <c:v>2011</c:v>
                </c:pt>
                <c:pt idx="51">
                  <c:v>2012</c:v>
                </c:pt>
                <c:pt idx="52">
                  <c:v>2013</c:v>
                </c:pt>
                <c:pt idx="53">
                  <c:v>2014</c:v>
                </c:pt>
                <c:pt idx="54">
                  <c:v>2015</c:v>
                </c:pt>
                <c:pt idx="55">
                  <c:v>2016</c:v>
                </c:pt>
                <c:pt idx="56">
                  <c:v>2017</c:v>
                </c:pt>
                <c:pt idx="57">
                  <c:v>2018</c:v>
                </c:pt>
                <c:pt idx="58">
                  <c:v>2019</c:v>
                </c:pt>
                <c:pt idx="59">
                  <c:v>2020</c:v>
                </c:pt>
                <c:pt idx="60">
                  <c:v>2021</c:v>
                </c:pt>
                <c:pt idx="61">
                  <c:v>2022</c:v>
                </c:pt>
                <c:pt idx="62">
                  <c:v>2023</c:v>
                </c:pt>
                <c:pt idx="63">
                  <c:v>2024</c:v>
                </c:pt>
                <c:pt idx="64">
                  <c:v>2025</c:v>
                </c:pt>
                <c:pt idx="65">
                  <c:v>2026</c:v>
                </c:pt>
                <c:pt idx="66">
                  <c:v>2027</c:v>
                </c:pt>
                <c:pt idx="67">
                  <c:v>2028</c:v>
                </c:pt>
                <c:pt idx="68">
                  <c:v>2029</c:v>
                </c:pt>
                <c:pt idx="69">
                  <c:v>2030</c:v>
                </c:pt>
                <c:pt idx="70">
                  <c:v>2031</c:v>
                </c:pt>
                <c:pt idx="71">
                  <c:v>2032</c:v>
                </c:pt>
                <c:pt idx="72">
                  <c:v>2033</c:v>
                </c:pt>
                <c:pt idx="73">
                  <c:v>2034</c:v>
                </c:pt>
                <c:pt idx="74">
                  <c:v>2035</c:v>
                </c:pt>
                <c:pt idx="75">
                  <c:v>2036</c:v>
                </c:pt>
                <c:pt idx="76">
                  <c:v>2037</c:v>
                </c:pt>
                <c:pt idx="77">
                  <c:v>2038</c:v>
                </c:pt>
                <c:pt idx="78">
                  <c:v>2039</c:v>
                </c:pt>
                <c:pt idx="79">
                  <c:v>2040</c:v>
                </c:pt>
                <c:pt idx="80">
                  <c:v>2041</c:v>
                </c:pt>
                <c:pt idx="81">
                  <c:v>2042</c:v>
                </c:pt>
                <c:pt idx="82">
                  <c:v>2043</c:v>
                </c:pt>
                <c:pt idx="83">
                  <c:v>2044</c:v>
                </c:pt>
                <c:pt idx="84">
                  <c:v>2045</c:v>
                </c:pt>
                <c:pt idx="85">
                  <c:v>2046</c:v>
                </c:pt>
                <c:pt idx="86">
                  <c:v>2047</c:v>
                </c:pt>
                <c:pt idx="87">
                  <c:v>2048</c:v>
                </c:pt>
                <c:pt idx="88">
                  <c:v>2049</c:v>
                </c:pt>
                <c:pt idx="89">
                  <c:v>2050</c:v>
                </c:pt>
                <c:pt idx="90">
                  <c:v>2051</c:v>
                </c:pt>
                <c:pt idx="91">
                  <c:v>2052</c:v>
                </c:pt>
                <c:pt idx="92">
                  <c:v>2053</c:v>
                </c:pt>
                <c:pt idx="93">
                  <c:v>2054</c:v>
                </c:pt>
                <c:pt idx="94">
                  <c:v>2055</c:v>
                </c:pt>
                <c:pt idx="95">
                  <c:v>2056</c:v>
                </c:pt>
                <c:pt idx="96">
                  <c:v>2057</c:v>
                </c:pt>
                <c:pt idx="97">
                  <c:v>2058</c:v>
                </c:pt>
                <c:pt idx="98">
                  <c:v>2059</c:v>
                </c:pt>
                <c:pt idx="99">
                  <c:v>2060</c:v>
                </c:pt>
                <c:pt idx="100">
                  <c:v>2061</c:v>
                </c:pt>
                <c:pt idx="101">
                  <c:v>2062</c:v>
                </c:pt>
                <c:pt idx="102">
                  <c:v>2063</c:v>
                </c:pt>
                <c:pt idx="103">
                  <c:v>2064</c:v>
                </c:pt>
                <c:pt idx="104">
                  <c:v>2065</c:v>
                </c:pt>
                <c:pt idx="105">
                  <c:v>2066</c:v>
                </c:pt>
                <c:pt idx="106">
                  <c:v>2067</c:v>
                </c:pt>
                <c:pt idx="107">
                  <c:v>2068</c:v>
                </c:pt>
                <c:pt idx="108">
                  <c:v>2069</c:v>
                </c:pt>
                <c:pt idx="109">
                  <c:v>2070</c:v>
                </c:pt>
              </c:numCache>
            </c:numRef>
          </c:cat>
          <c:val>
            <c:numRef>
              <c:f>List1!$B$2:$B$111</c:f>
              <c:numCache>
                <c:formatCode>0</c:formatCode>
                <c:ptCount val="110"/>
                <c:pt idx="0">
                  <c:v>8498</c:v>
                </c:pt>
                <c:pt idx="1">
                  <c:v>9262</c:v>
                </c:pt>
                <c:pt idx="2">
                  <c:v>10995</c:v>
                </c:pt>
                <c:pt idx="3">
                  <c:v>11707</c:v>
                </c:pt>
                <c:pt idx="4">
                  <c:v>11562</c:v>
                </c:pt>
                <c:pt idx="5">
                  <c:v>10704</c:v>
                </c:pt>
                <c:pt idx="6">
                  <c:v>10760</c:v>
                </c:pt>
                <c:pt idx="7">
                  <c:v>11437</c:v>
                </c:pt>
                <c:pt idx="8">
                  <c:v>11620</c:v>
                </c:pt>
                <c:pt idx="9">
                  <c:v>12609</c:v>
                </c:pt>
                <c:pt idx="10">
                  <c:v>13360</c:v>
                </c:pt>
                <c:pt idx="11">
                  <c:v>14231</c:v>
                </c:pt>
                <c:pt idx="12">
                  <c:v>16396</c:v>
                </c:pt>
                <c:pt idx="13">
                  <c:v>18983</c:v>
                </c:pt>
                <c:pt idx="14">
                  <c:v>19204</c:v>
                </c:pt>
                <c:pt idx="15">
                  <c:v>18697</c:v>
                </c:pt>
                <c:pt idx="16">
                  <c:v>18976</c:v>
                </c:pt>
                <c:pt idx="17">
                  <c:v>18127</c:v>
                </c:pt>
                <c:pt idx="18">
                  <c:v>17505</c:v>
                </c:pt>
                <c:pt idx="19">
                  <c:v>15239</c:v>
                </c:pt>
                <c:pt idx="20">
                  <c:v>13928</c:v>
                </c:pt>
                <c:pt idx="21">
                  <c:v>13445</c:v>
                </c:pt>
                <c:pt idx="22">
                  <c:v>12828</c:v>
                </c:pt>
                <c:pt idx="23">
                  <c:v>13247</c:v>
                </c:pt>
                <c:pt idx="24">
                  <c:v>12910</c:v>
                </c:pt>
                <c:pt idx="25">
                  <c:v>12901</c:v>
                </c:pt>
                <c:pt idx="26">
                  <c:v>13033</c:v>
                </c:pt>
                <c:pt idx="27">
                  <c:v>13231</c:v>
                </c:pt>
                <c:pt idx="28">
                  <c:v>12722</c:v>
                </c:pt>
                <c:pt idx="29">
                  <c:v>13010</c:v>
                </c:pt>
                <c:pt idx="30">
                  <c:v>12946</c:v>
                </c:pt>
                <c:pt idx="31">
                  <c:v>11944</c:v>
                </c:pt>
                <c:pt idx="32">
                  <c:v>11557</c:v>
                </c:pt>
                <c:pt idx="33">
                  <c:v>10329</c:v>
                </c:pt>
                <c:pt idx="34">
                  <c:v>9470</c:v>
                </c:pt>
                <c:pt idx="35">
                  <c:v>8842</c:v>
                </c:pt>
                <c:pt idx="36">
                  <c:v>8967</c:v>
                </c:pt>
                <c:pt idx="37">
                  <c:v>9026</c:v>
                </c:pt>
                <c:pt idx="38">
                  <c:v>9057</c:v>
                </c:pt>
                <c:pt idx="39">
                  <c:v>9453</c:v>
                </c:pt>
                <c:pt idx="40">
                  <c:v>9681</c:v>
                </c:pt>
                <c:pt idx="41">
                  <c:v>9690</c:v>
                </c:pt>
                <c:pt idx="42">
                  <c:v>10057</c:v>
                </c:pt>
                <c:pt idx="43">
                  <c:v>11131</c:v>
                </c:pt>
                <c:pt idx="44">
                  <c:v>11943</c:v>
                </c:pt>
                <c:pt idx="45">
                  <c:v>12530</c:v>
                </c:pt>
                <c:pt idx="46">
                  <c:v>13195</c:v>
                </c:pt>
                <c:pt idx="47">
                  <c:v>14339</c:v>
                </c:pt>
                <c:pt idx="48">
                  <c:v>14488</c:v>
                </c:pt>
                <c:pt idx="49">
                  <c:v>14792</c:v>
                </c:pt>
                <c:pt idx="50">
                  <c:v>13968</c:v>
                </c:pt>
                <c:pt idx="51">
                  <c:v>14176</c:v>
                </c:pt>
                <c:pt idx="52">
                  <c:v>13867</c:v>
                </c:pt>
                <c:pt idx="53">
                  <c:v>14624</c:v>
                </c:pt>
                <c:pt idx="54">
                  <c:v>14759</c:v>
                </c:pt>
                <c:pt idx="55">
                  <c:v>14929</c:v>
                </c:pt>
                <c:pt idx="56">
                  <c:v>15324</c:v>
                </c:pt>
                <c:pt idx="57">
                  <c:v>15460</c:v>
                </c:pt>
                <c:pt idx="58">
                  <c:v>14933</c:v>
                </c:pt>
                <c:pt idx="59">
                  <c:v>14713</c:v>
                </c:pt>
                <c:pt idx="60">
                  <c:v>15157</c:v>
                </c:pt>
                <c:pt idx="61">
                  <c:v>13528</c:v>
                </c:pt>
                <c:pt idx="62">
                  <c:v>125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6E-42B9-BAD7-6B712BB20DE0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Projekc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val>
            <c:numRef>
              <c:f>List1!$C$2:$C$111</c:f>
              <c:numCache>
                <c:formatCode>General</c:formatCode>
                <c:ptCount val="110"/>
                <c:pt idx="58" formatCode="0">
                  <c:v>15425.249336043629</c:v>
                </c:pt>
                <c:pt idx="59" formatCode="0">
                  <c:v>15321.320136522805</c:v>
                </c:pt>
                <c:pt idx="60" formatCode="0">
                  <c:v>15177.642436500586</c:v>
                </c:pt>
                <c:pt idx="61" formatCode="0">
                  <c:v>15007.370105225</c:v>
                </c:pt>
                <c:pt idx="62" formatCode="0">
                  <c:v>14816.645852677762</c:v>
                </c:pt>
                <c:pt idx="63" formatCode="0">
                  <c:v>14609.161384907164</c:v>
                </c:pt>
                <c:pt idx="64" formatCode="0">
                  <c:v>14395.084315975446</c:v>
                </c:pt>
                <c:pt idx="65" formatCode="0">
                  <c:v>14187.415071997162</c:v>
                </c:pt>
                <c:pt idx="66" formatCode="0">
                  <c:v>13995.327049749158</c:v>
                </c:pt>
                <c:pt idx="67" formatCode="0">
                  <c:v>13829.287036880673</c:v>
                </c:pt>
                <c:pt idx="68" formatCode="0">
                  <c:v>13698.377795644656</c:v>
                </c:pt>
                <c:pt idx="69" formatCode="0">
                  <c:v>13609.02744257459</c:v>
                </c:pt>
                <c:pt idx="70" formatCode="0">
                  <c:v>13566.372376008545</c:v>
                </c:pt>
                <c:pt idx="71" formatCode="0">
                  <c:v>13578.263760586809</c:v>
                </c:pt>
                <c:pt idx="72" formatCode="0">
                  <c:v>13650.68272290628</c:v>
                </c:pt>
                <c:pt idx="73" formatCode="0">
                  <c:v>13786.968409131199</c:v>
                </c:pt>
                <c:pt idx="74" formatCode="0">
                  <c:v>13987.256991201384</c:v>
                </c:pt>
                <c:pt idx="75" formatCode="0">
                  <c:v>14243.592782273663</c:v>
                </c:pt>
                <c:pt idx="76" formatCode="0">
                  <c:v>14541.952203148898</c:v>
                </c:pt>
                <c:pt idx="77" formatCode="0">
                  <c:v>14864.700140755944</c:v>
                </c:pt>
                <c:pt idx="78" formatCode="0">
                  <c:v>15191.628102416664</c:v>
                </c:pt>
                <c:pt idx="79" formatCode="0">
                  <c:v>15503.84911758361</c:v>
                </c:pt>
                <c:pt idx="80" formatCode="0">
                  <c:v>15787.437215206486</c:v>
                </c:pt>
                <c:pt idx="81" formatCode="0">
                  <c:v>16036.080366689444</c:v>
                </c:pt>
                <c:pt idx="82" formatCode="0">
                  <c:v>16247.738371252963</c:v>
                </c:pt>
                <c:pt idx="83" formatCode="0">
                  <c:v>16423.73198971698</c:v>
                </c:pt>
                <c:pt idx="84" formatCode="0">
                  <c:v>16566.726923555339</c:v>
                </c:pt>
                <c:pt idx="85" formatCode="0">
                  <c:v>16679.19930814992</c:v>
                </c:pt>
                <c:pt idx="86" formatCode="0">
                  <c:v>16764.498122118777</c:v>
                </c:pt>
                <c:pt idx="87" formatCode="0">
                  <c:v>16823.57758869696</c:v>
                </c:pt>
                <c:pt idx="88" formatCode="0">
                  <c:v>16857.598489463584</c:v>
                </c:pt>
                <c:pt idx="89" formatCode="0">
                  <c:v>16866.20535371772</c:v>
                </c:pt>
                <c:pt idx="90" formatCode="0">
                  <c:v>16848.955805917165</c:v>
                </c:pt>
                <c:pt idx="91" formatCode="0">
                  <c:v>16808.948987335832</c:v>
                </c:pt>
                <c:pt idx="92" formatCode="0">
                  <c:v>16747.504723504444</c:v>
                </c:pt>
                <c:pt idx="93" formatCode="0">
                  <c:v>16666.956148347075</c:v>
                </c:pt>
                <c:pt idx="94" formatCode="0">
                  <c:v>16569.348337915253</c:v>
                </c:pt>
                <c:pt idx="95" formatCode="0">
                  <c:v>16459.175133965902</c:v>
                </c:pt>
                <c:pt idx="96" formatCode="0">
                  <c:v>16341.506304027047</c:v>
                </c:pt>
                <c:pt idx="97" formatCode="0">
                  <c:v>16221.856871925267</c:v>
                </c:pt>
                <c:pt idx="98" formatCode="0">
                  <c:v>16105.794367521499</c:v>
                </c:pt>
                <c:pt idx="99" formatCode="0">
                  <c:v>15999.12969143496</c:v>
                </c:pt>
                <c:pt idx="100" formatCode="0">
                  <c:v>15907.543604873512</c:v>
                </c:pt>
                <c:pt idx="101" formatCode="0">
                  <c:v>15835.690477545262</c:v>
                </c:pt>
                <c:pt idx="102" formatCode="0">
                  <c:v>15787.387074513326</c:v>
                </c:pt>
                <c:pt idx="103" formatCode="0">
                  <c:v>15765.177183736409</c:v>
                </c:pt>
                <c:pt idx="104" formatCode="0">
                  <c:v>15770.359791872232</c:v>
                </c:pt>
                <c:pt idx="105" formatCode="0">
                  <c:v>15803.117125392699</c:v>
                </c:pt>
                <c:pt idx="106" formatCode="0">
                  <c:v>15862.18943697561</c:v>
                </c:pt>
                <c:pt idx="107" formatCode="0">
                  <c:v>15944.985268414415</c:v>
                </c:pt>
                <c:pt idx="108" formatCode="0">
                  <c:v>16047.713111697074</c:v>
                </c:pt>
                <c:pt idx="109" formatCode="0">
                  <c:v>16165.7814279246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82-4EF2-A97F-62CCF89F52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891114607"/>
        <c:axId val="736467199"/>
        <c:extLst/>
      </c:barChart>
      <c:catAx>
        <c:axId val="8911146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6467199"/>
        <c:crosses val="autoZero"/>
        <c:auto val="1"/>
        <c:lblAlgn val="ctr"/>
        <c:lblOffset val="100"/>
        <c:noMultiLvlLbl val="0"/>
      </c:catAx>
      <c:valAx>
        <c:axId val="736467199"/>
        <c:scaling>
          <c:orientation val="minMax"/>
          <c:max val="2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600" dirty="0">
                    <a:solidFill>
                      <a:schemeClr val="tx1"/>
                    </a:solidFill>
                  </a:rPr>
                  <a:t>Počet</a:t>
                </a:r>
                <a:r>
                  <a:rPr lang="cs-CZ" sz="1600" baseline="0" dirty="0">
                    <a:solidFill>
                      <a:schemeClr val="tx1"/>
                    </a:solidFill>
                  </a:rPr>
                  <a:t> živě narozených</a:t>
                </a:r>
                <a:endParaRPr lang="cs-CZ" sz="1600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6.0804800519956613E-3"/>
              <c:y val="0.2823774672542155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911146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29879136124037"/>
          <c:y val="6.5393325144959685E-2"/>
          <c:w val="0.84184599831277318"/>
          <c:h val="0.61265647339595886"/>
        </c:manualLayout>
      </c:layout>
      <c:areaChart>
        <c:grouping val="stacked"/>
        <c:varyColors val="0"/>
        <c:ser>
          <c:idx val="0"/>
          <c:order val="0"/>
          <c:tx>
            <c:strRef>
              <c:f>List1!$A$2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2:$O$2</c:f>
              <c:numCache>
                <c:formatCode>General</c:formatCode>
                <c:ptCount val="14"/>
                <c:pt idx="0">
                  <c:v>1488.7616763325307</c:v>
                </c:pt>
                <c:pt idx="1">
                  <c:v>1450.995660307482</c:v>
                </c:pt>
                <c:pt idx="2">
                  <c:v>1557.3319961814027</c:v>
                </c:pt>
                <c:pt idx="3">
                  <c:v>1546.017803223403</c:v>
                </c:pt>
                <c:pt idx="4">
                  <c:v>1677.3067924977199</c:v>
                </c:pt>
                <c:pt idx="5">
                  <c:v>1869.5211401991769</c:v>
                </c:pt>
                <c:pt idx="6">
                  <c:v>1932.4054877141468</c:v>
                </c:pt>
                <c:pt idx="7">
                  <c:v>2098.1370756535061</c:v>
                </c:pt>
                <c:pt idx="8">
                  <c:v>2157.1851943049605</c:v>
                </c:pt>
                <c:pt idx="9">
                  <c:v>2168.8789464945776</c:v>
                </c:pt>
                <c:pt idx="10">
                  <c:v>1960.2151786059833</c:v>
                </c:pt>
                <c:pt idx="11">
                  <c:v>2049.1605207960793</c:v>
                </c:pt>
                <c:pt idx="12">
                  <c:v>2213.9623703122734</c:v>
                </c:pt>
                <c:pt idx="13">
                  <c:v>2068.95968614718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EB-4246-A524-6B068BB2851D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Rozsah hodnot krajů</c:v>
                </c:pt>
              </c:strCache>
            </c:strRef>
          </c:tx>
          <c:spPr>
            <a:solidFill>
              <a:srgbClr val="FFDC85"/>
            </a:solidFill>
            <a:ln>
              <a:noFill/>
            </a:ln>
            <a:effectLst/>
          </c:spP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3:$O$3</c:f>
              <c:numCache>
                <c:formatCode>General</c:formatCode>
                <c:ptCount val="14"/>
                <c:pt idx="0">
                  <c:v>918.50262042171948</c:v>
                </c:pt>
                <c:pt idx="1">
                  <c:v>1110.7016107071126</c:v>
                </c:pt>
                <c:pt idx="2">
                  <c:v>1083.7282371334136</c:v>
                </c:pt>
                <c:pt idx="3">
                  <c:v>1318.7844589886031</c:v>
                </c:pt>
                <c:pt idx="4">
                  <c:v>1448.2497524711134</c:v>
                </c:pt>
                <c:pt idx="5">
                  <c:v>1317.0449585921051</c:v>
                </c:pt>
                <c:pt idx="6">
                  <c:v>1558.9298843551703</c:v>
                </c:pt>
                <c:pt idx="7">
                  <c:v>1555.6115832238415</c:v>
                </c:pt>
                <c:pt idx="8">
                  <c:v>1573.9874515795514</c:v>
                </c:pt>
                <c:pt idx="9">
                  <c:v>1418.6016451537021</c:v>
                </c:pt>
                <c:pt idx="10">
                  <c:v>1203.6207181145085</c:v>
                </c:pt>
                <c:pt idx="11">
                  <c:v>1277.6984752658605</c:v>
                </c:pt>
                <c:pt idx="12">
                  <c:v>1232.3941397299363</c:v>
                </c:pt>
                <c:pt idx="13">
                  <c:v>1480.2466630591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AEB-4246-A524-6B068BB285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00352592"/>
        <c:axId val="300349064"/>
      </c:areaChart>
      <c:lineChart>
        <c:grouping val="standard"/>
        <c:varyColors val="0"/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D7144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D71440"/>
              </a:solidFill>
              <a:ln w="9525">
                <a:solidFill>
                  <a:srgbClr val="D71440"/>
                </a:solidFill>
              </a:ln>
              <a:effectLst/>
            </c:spPr>
          </c:marke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4:$O$4</c:f>
              <c:numCache>
                <c:formatCode>General</c:formatCode>
                <c:ptCount val="1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AEB-4246-A524-6B068BB2851D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ČR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9525">
                <a:solidFill>
                  <a:schemeClr val="tx1"/>
                </a:solidFill>
              </a:ln>
              <a:effectLst/>
            </c:spPr>
          </c:marke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5:$O$5</c:f>
              <c:numCache>
                <c:formatCode>General</c:formatCode>
                <c:ptCount val="14"/>
                <c:pt idx="0">
                  <c:v>1982.8528000759986</c:v>
                </c:pt>
                <c:pt idx="1">
                  <c:v>2124.780291981619</c:v>
                </c:pt>
                <c:pt idx="2">
                  <c:v>2177.5450003010051</c:v>
                </c:pt>
                <c:pt idx="3">
                  <c:v>2286.3190602346699</c:v>
                </c:pt>
                <c:pt idx="4">
                  <c:v>2348.3715427372367</c:v>
                </c:pt>
                <c:pt idx="5">
                  <c:v>2434.8693672417726</c:v>
                </c:pt>
                <c:pt idx="6">
                  <c:v>2576.7006539543895</c:v>
                </c:pt>
                <c:pt idx="7">
                  <c:v>2697.0827068236931</c:v>
                </c:pt>
                <c:pt idx="8">
                  <c:v>2737.6542778468893</c:v>
                </c:pt>
                <c:pt idx="9">
                  <c:v>2743.7083485127819</c:v>
                </c:pt>
                <c:pt idx="10">
                  <c:v>2523.2156757189314</c:v>
                </c:pt>
                <c:pt idx="11">
                  <c:v>2723.177376172885</c:v>
                </c:pt>
                <c:pt idx="12">
                  <c:v>2801.8371953860983</c:v>
                </c:pt>
                <c:pt idx="13">
                  <c:v>2859.49062855105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AEB-4246-A524-6B068BB2851D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Praha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0000"/>
              </a:solidFill>
              <a:ln w="9525">
                <a:solidFill>
                  <a:srgbClr val="FF0000"/>
                </a:solidFill>
              </a:ln>
              <a:effectLst/>
            </c:spPr>
          </c:marke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6:$O$6</c:f>
              <c:numCache>
                <c:formatCode>General</c:formatCode>
                <c:ptCount val="14"/>
                <c:pt idx="0">
                  <c:v>1969.9926241982316</c:v>
                </c:pt>
                <c:pt idx="1">
                  <c:v>2041.3973350757242</c:v>
                </c:pt>
                <c:pt idx="2">
                  <c:v>2039.4097784356354</c:v>
                </c:pt>
                <c:pt idx="3">
                  <c:v>2165.0718796552701</c:v>
                </c:pt>
                <c:pt idx="4">
                  <c:v>2125.308664066135</c:v>
                </c:pt>
                <c:pt idx="5">
                  <c:v>2191.5295058733514</c:v>
                </c:pt>
                <c:pt idx="6">
                  <c:v>2260.6709251660395</c:v>
                </c:pt>
                <c:pt idx="7">
                  <c:v>2403.8975016225895</c:v>
                </c:pt>
                <c:pt idx="8">
                  <c:v>2459.3991594458566</c:v>
                </c:pt>
                <c:pt idx="9">
                  <c:v>2558.0129824697788</c:v>
                </c:pt>
                <c:pt idx="10">
                  <c:v>2387.7094674127943</c:v>
                </c:pt>
                <c:pt idx="11">
                  <c:v>2723.944790529235</c:v>
                </c:pt>
                <c:pt idx="12">
                  <c:v>2817.4193967102465</c:v>
                </c:pt>
                <c:pt idx="13">
                  <c:v>2879.21567268885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AEB-4246-A524-6B068BB285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0352592"/>
        <c:axId val="300349064"/>
      </c:lineChart>
      <c:catAx>
        <c:axId val="3003525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0349064"/>
        <c:crosses val="autoZero"/>
        <c:auto val="1"/>
        <c:lblAlgn val="ctr"/>
        <c:lblOffset val="100"/>
        <c:noMultiLvlLbl val="0"/>
      </c:catAx>
      <c:valAx>
        <c:axId val="300349064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0352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ayout>
        <c:manualLayout>
          <c:xMode val="edge"/>
          <c:yMode val="edge"/>
          <c:x val="6.2657614561094963E-2"/>
          <c:y val="0.57407646055458172"/>
          <c:w val="0.71517626800064349"/>
          <c:h val="0.1106498656749382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35095376597345"/>
          <c:y val="3.1740106224167522E-2"/>
          <c:w val="0.77214067528681585"/>
          <c:h val="0.8709975525789318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Náklady související s F diagnózami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7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List1!$B$2:$B$7</c:f>
              <c:numCache>
                <c:formatCode>#,##0</c:formatCode>
                <c:ptCount val="6"/>
                <c:pt idx="0">
                  <c:v>562474595.04999995</c:v>
                </c:pt>
                <c:pt idx="1">
                  <c:v>615940208.51999998</c:v>
                </c:pt>
                <c:pt idx="2">
                  <c:v>636807230.70249999</c:v>
                </c:pt>
                <c:pt idx="3">
                  <c:v>747286498.505</c:v>
                </c:pt>
                <c:pt idx="4">
                  <c:v>907459605.98199999</c:v>
                </c:pt>
                <c:pt idx="5">
                  <c:v>1077045802.696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237-41FE-9D28-35744118619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14004000"/>
        <c:axId val="1678534831"/>
      </c:barChart>
      <c:catAx>
        <c:axId val="214004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dk1"/>
            </a:solidFill>
            <a:prstDash val="solid"/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78534831"/>
        <c:crosses val="autoZero"/>
        <c:auto val="1"/>
        <c:lblAlgn val="ctr"/>
        <c:lblOffset val="100"/>
        <c:noMultiLvlLbl val="0"/>
      </c:catAx>
      <c:valAx>
        <c:axId val="1678534831"/>
        <c:scaling>
          <c:orientation val="minMax"/>
          <c:min val="0"/>
        </c:scaling>
        <c:delete val="0"/>
        <c:axPos val="l"/>
        <c:numFmt formatCode="#,##0" sourceLinked="0"/>
        <c:majorTickMark val="in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004000"/>
        <c:crosses val="autoZero"/>
        <c:crossBetween val="between"/>
        <c:dispUnits>
          <c:builtInUnit val="millions"/>
          <c:dispUnitsLbl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33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cs-CZ" dirty="0"/>
                    <a:t>Miliony Kč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35095376597345"/>
          <c:y val="3.1740106224167522E-2"/>
          <c:w val="0.77214067528681585"/>
          <c:h val="0.8709975525789318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Náklady související s F diagnózami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7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List1!$B$2:$B$7</c:f>
              <c:numCache>
                <c:formatCode>#,##0</c:formatCode>
                <c:ptCount val="6"/>
                <c:pt idx="0">
                  <c:v>3695400698.4699998</c:v>
                </c:pt>
                <c:pt idx="1">
                  <c:v>3908222336</c:v>
                </c:pt>
                <c:pt idx="2">
                  <c:v>4151900684.2075</c:v>
                </c:pt>
                <c:pt idx="3">
                  <c:v>4137818651.6199999</c:v>
                </c:pt>
                <c:pt idx="4">
                  <c:v>4675599157.0719995</c:v>
                </c:pt>
                <c:pt idx="5">
                  <c:v>5658251949.1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1C7-4706-A3F4-AF947A28154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14004000"/>
        <c:axId val="1678534831"/>
      </c:barChart>
      <c:catAx>
        <c:axId val="214004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dk1"/>
            </a:solidFill>
            <a:prstDash val="solid"/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78534831"/>
        <c:crosses val="autoZero"/>
        <c:auto val="1"/>
        <c:lblAlgn val="ctr"/>
        <c:lblOffset val="100"/>
        <c:noMultiLvlLbl val="0"/>
      </c:catAx>
      <c:valAx>
        <c:axId val="1678534831"/>
        <c:scaling>
          <c:orientation val="minMax"/>
          <c:min val="0"/>
        </c:scaling>
        <c:delete val="0"/>
        <c:axPos val="l"/>
        <c:numFmt formatCode="#,##0" sourceLinked="0"/>
        <c:majorTickMark val="in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004000"/>
        <c:crosses val="autoZero"/>
        <c:crossBetween val="between"/>
        <c:dispUnits>
          <c:builtInUnit val="millions"/>
          <c:dispUnitsLbl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33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cs-CZ" dirty="0"/>
                    <a:t>Miliony Kč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35095376597345"/>
          <c:y val="3.1740106224167522E-2"/>
          <c:w val="0.77214067528681585"/>
          <c:h val="0.8709975525789318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Náklady související s F diagnózami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7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List1!$B$2:$B$7</c:f>
              <c:numCache>
                <c:formatCode>#,##0</c:formatCode>
                <c:ptCount val="6"/>
                <c:pt idx="0">
                  <c:v>73928311.150000006</c:v>
                </c:pt>
                <c:pt idx="1">
                  <c:v>86939633.409999996</c:v>
                </c:pt>
                <c:pt idx="2">
                  <c:v>96495057.057500005</c:v>
                </c:pt>
                <c:pt idx="3">
                  <c:v>118230753.5825</c:v>
                </c:pt>
                <c:pt idx="4">
                  <c:v>148020408.27149999</c:v>
                </c:pt>
                <c:pt idx="5">
                  <c:v>190262306.9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237-41FE-9D28-35744118619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14004000"/>
        <c:axId val="1678534831"/>
      </c:barChart>
      <c:catAx>
        <c:axId val="214004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dk1"/>
            </a:solidFill>
            <a:prstDash val="solid"/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78534831"/>
        <c:crosses val="autoZero"/>
        <c:auto val="1"/>
        <c:lblAlgn val="ctr"/>
        <c:lblOffset val="100"/>
        <c:noMultiLvlLbl val="0"/>
      </c:catAx>
      <c:valAx>
        <c:axId val="1678534831"/>
        <c:scaling>
          <c:orientation val="minMax"/>
          <c:min val="0"/>
        </c:scaling>
        <c:delete val="0"/>
        <c:axPos val="l"/>
        <c:numFmt formatCode="#,##0" sourceLinked="0"/>
        <c:majorTickMark val="in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004000"/>
        <c:crosses val="autoZero"/>
        <c:crossBetween val="between"/>
        <c:dispUnits>
          <c:builtInUnit val="millions"/>
          <c:dispUnitsLbl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33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cs-CZ" dirty="0"/>
                    <a:t>Miliony Kč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35095376597345"/>
          <c:y val="3.1740106224167522E-2"/>
          <c:w val="0.77214067528681585"/>
          <c:h val="0.8709975525789318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Náklady související s F diagnózami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7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List1!$B$2:$B$7</c:f>
              <c:numCache>
                <c:formatCode>#,##0</c:formatCode>
                <c:ptCount val="6"/>
                <c:pt idx="0">
                  <c:v>487746984.70999998</c:v>
                </c:pt>
                <c:pt idx="1">
                  <c:v>527682874.64999998</c:v>
                </c:pt>
                <c:pt idx="2">
                  <c:v>552800196.85000002</c:v>
                </c:pt>
                <c:pt idx="3">
                  <c:v>548084933.83500004</c:v>
                </c:pt>
                <c:pt idx="4">
                  <c:v>640502834.75450003</c:v>
                </c:pt>
                <c:pt idx="5">
                  <c:v>793192215.7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1C7-4706-A3F4-AF947A28154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14004000"/>
        <c:axId val="1678534831"/>
      </c:barChart>
      <c:catAx>
        <c:axId val="214004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dk1"/>
            </a:solidFill>
            <a:prstDash val="solid"/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78534831"/>
        <c:crosses val="autoZero"/>
        <c:auto val="1"/>
        <c:lblAlgn val="ctr"/>
        <c:lblOffset val="100"/>
        <c:noMultiLvlLbl val="0"/>
      </c:catAx>
      <c:valAx>
        <c:axId val="1678534831"/>
        <c:scaling>
          <c:orientation val="minMax"/>
          <c:min val="0"/>
        </c:scaling>
        <c:delete val="0"/>
        <c:axPos val="l"/>
        <c:numFmt formatCode="#,##0" sourceLinked="0"/>
        <c:majorTickMark val="in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004000"/>
        <c:crosses val="autoZero"/>
        <c:crossBetween val="between"/>
        <c:dispUnits>
          <c:builtInUnit val="millions"/>
          <c:dispUnitsLbl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33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cs-CZ" dirty="0"/>
                    <a:t>Miliony Kč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174583780299493E-2"/>
          <c:y val="3.0469739903702168E-2"/>
          <c:w val="0.89141998119028387"/>
          <c:h val="0.7379938719561361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acienti v péči psychiatra *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5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Sheet1!$B$2:$B$15</c:f>
              <c:numCache>
                <c:formatCode>###0</c:formatCode>
                <c:ptCount val="14"/>
                <c:pt idx="0">
                  <c:v>2005</c:v>
                </c:pt>
                <c:pt idx="1">
                  <c:v>2203</c:v>
                </c:pt>
                <c:pt idx="2">
                  <c:v>2361</c:v>
                </c:pt>
                <c:pt idx="3">
                  <c:v>2627</c:v>
                </c:pt>
                <c:pt idx="4">
                  <c:v>2704</c:v>
                </c:pt>
                <c:pt idx="5">
                  <c:v>2897</c:v>
                </c:pt>
                <c:pt idx="6">
                  <c:v>3084</c:v>
                </c:pt>
                <c:pt idx="7">
                  <c:v>3339</c:v>
                </c:pt>
                <c:pt idx="8">
                  <c:v>3467</c:v>
                </c:pt>
                <c:pt idx="9">
                  <c:v>3605</c:v>
                </c:pt>
                <c:pt idx="10">
                  <c:v>3330</c:v>
                </c:pt>
                <c:pt idx="11">
                  <c:v>3306</c:v>
                </c:pt>
                <c:pt idx="12">
                  <c:v>3399</c:v>
                </c:pt>
                <c:pt idx="13">
                  <c:v>34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B17-4E3C-9B27-3E84A8C6D99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cienti pouze v péči praktického lékaře **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5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Sheet1!$C$2:$C$15</c:f>
              <c:numCache>
                <c:formatCode>###0</c:formatCode>
                <c:ptCount val="14"/>
                <c:pt idx="0">
                  <c:v>190</c:v>
                </c:pt>
                <c:pt idx="1">
                  <c:v>218</c:v>
                </c:pt>
                <c:pt idx="2">
                  <c:v>244</c:v>
                </c:pt>
                <c:pt idx="3">
                  <c:v>268</c:v>
                </c:pt>
                <c:pt idx="4">
                  <c:v>286</c:v>
                </c:pt>
                <c:pt idx="5">
                  <c:v>311</c:v>
                </c:pt>
                <c:pt idx="6">
                  <c:v>357</c:v>
                </c:pt>
                <c:pt idx="7">
                  <c:v>510</c:v>
                </c:pt>
                <c:pt idx="8">
                  <c:v>468</c:v>
                </c:pt>
                <c:pt idx="9">
                  <c:v>429</c:v>
                </c:pt>
                <c:pt idx="10">
                  <c:v>1044</c:v>
                </c:pt>
                <c:pt idx="11">
                  <c:v>1649</c:v>
                </c:pt>
                <c:pt idx="12">
                  <c:v>1367</c:v>
                </c:pt>
                <c:pt idx="13">
                  <c:v>14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B17-4E3C-9B27-3E84A8C6D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50838112"/>
        <c:axId val="450840464"/>
      </c:barChart>
      <c:catAx>
        <c:axId val="450838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40464"/>
        <c:crosses val="autoZero"/>
        <c:auto val="1"/>
        <c:lblAlgn val="ctr"/>
        <c:lblOffset val="100"/>
        <c:noMultiLvlLbl val="0"/>
      </c:catAx>
      <c:valAx>
        <c:axId val="45084046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38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5.732101650040871E-2"/>
          <c:y val="0.87415396724838867"/>
          <c:w val="0.94267891958009198"/>
          <c:h val="0.112910360080171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174583780299493E-2"/>
          <c:y val="3.0469739903702168E-2"/>
          <c:w val="0.89141998119028387"/>
          <c:h val="0.7379938719561361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acienti v péči psychiatra *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5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2070</c:v>
                </c:pt>
                <c:pt idx="1">
                  <c:v>2047</c:v>
                </c:pt>
                <c:pt idx="2">
                  <c:v>1929</c:v>
                </c:pt>
                <c:pt idx="3">
                  <c:v>1986</c:v>
                </c:pt>
                <c:pt idx="4">
                  <c:v>1920</c:v>
                </c:pt>
                <c:pt idx="5">
                  <c:v>2020</c:v>
                </c:pt>
                <c:pt idx="6">
                  <c:v>2137</c:v>
                </c:pt>
                <c:pt idx="7">
                  <c:v>2369</c:v>
                </c:pt>
                <c:pt idx="8">
                  <c:v>2544</c:v>
                </c:pt>
                <c:pt idx="9">
                  <c:v>2843</c:v>
                </c:pt>
                <c:pt idx="10">
                  <c:v>2858</c:v>
                </c:pt>
                <c:pt idx="11">
                  <c:v>3453</c:v>
                </c:pt>
                <c:pt idx="12">
                  <c:v>4269</c:v>
                </c:pt>
                <c:pt idx="13">
                  <c:v>47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FC-4D5F-B708-690DA9AFABC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cienti pouze v péči praktického lékaře **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5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77</c:v>
                </c:pt>
                <c:pt idx="1">
                  <c:v>65</c:v>
                </c:pt>
                <c:pt idx="2">
                  <c:v>57</c:v>
                </c:pt>
                <c:pt idx="3">
                  <c:v>60</c:v>
                </c:pt>
                <c:pt idx="4">
                  <c:v>50</c:v>
                </c:pt>
                <c:pt idx="5">
                  <c:v>88</c:v>
                </c:pt>
                <c:pt idx="6">
                  <c:v>95</c:v>
                </c:pt>
                <c:pt idx="7">
                  <c:v>84</c:v>
                </c:pt>
                <c:pt idx="8">
                  <c:v>80</c:v>
                </c:pt>
                <c:pt idx="9">
                  <c:v>93</c:v>
                </c:pt>
                <c:pt idx="10">
                  <c:v>131</c:v>
                </c:pt>
                <c:pt idx="11">
                  <c:v>223</c:v>
                </c:pt>
                <c:pt idx="12">
                  <c:v>235</c:v>
                </c:pt>
                <c:pt idx="13">
                  <c:v>3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6FC-4D5F-B708-690DA9AFAB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50838112"/>
        <c:axId val="450840464"/>
      </c:barChart>
      <c:catAx>
        <c:axId val="450838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40464"/>
        <c:crosses val="autoZero"/>
        <c:auto val="1"/>
        <c:lblAlgn val="ctr"/>
        <c:lblOffset val="100"/>
        <c:noMultiLvlLbl val="0"/>
      </c:catAx>
      <c:valAx>
        <c:axId val="45084046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38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5.732101650040871E-2"/>
          <c:y val="0.87415396724838867"/>
          <c:w val="0.94267891958009198"/>
          <c:h val="0.112910360080171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174583780299493E-2"/>
          <c:y val="3.0469739903702168E-2"/>
          <c:w val="0.89141998119028387"/>
          <c:h val="0.7379938719561361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acienti v péči psychiatra *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5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Sheet1!$B$2:$B$15</c:f>
              <c:numCache>
                <c:formatCode>###0</c:formatCode>
                <c:ptCount val="14"/>
                <c:pt idx="0">
                  <c:v>2005</c:v>
                </c:pt>
                <c:pt idx="1">
                  <c:v>2203</c:v>
                </c:pt>
                <c:pt idx="2">
                  <c:v>2361</c:v>
                </c:pt>
                <c:pt idx="3">
                  <c:v>2627</c:v>
                </c:pt>
                <c:pt idx="4">
                  <c:v>2704</c:v>
                </c:pt>
                <c:pt idx="5">
                  <c:v>2897</c:v>
                </c:pt>
                <c:pt idx="6">
                  <c:v>3084</c:v>
                </c:pt>
                <c:pt idx="7">
                  <c:v>3339</c:v>
                </c:pt>
                <c:pt idx="8">
                  <c:v>3467</c:v>
                </c:pt>
                <c:pt idx="9">
                  <c:v>3605</c:v>
                </c:pt>
                <c:pt idx="10">
                  <c:v>3330</c:v>
                </c:pt>
                <c:pt idx="11">
                  <c:v>3306</c:v>
                </c:pt>
                <c:pt idx="12">
                  <c:v>3399</c:v>
                </c:pt>
                <c:pt idx="13">
                  <c:v>34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B17-4E3C-9B27-3E84A8C6D99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cienti pouze v péči klinického psychologa **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5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Sheet1!$C$2:$C$15</c:f>
              <c:numCache>
                <c:formatCode>###0</c:formatCode>
                <c:ptCount val="14"/>
                <c:pt idx="0">
                  <c:v>3559</c:v>
                </c:pt>
                <c:pt idx="1">
                  <c:v>3656</c:v>
                </c:pt>
                <c:pt idx="2">
                  <c:v>3745</c:v>
                </c:pt>
                <c:pt idx="3">
                  <c:v>3686</c:v>
                </c:pt>
                <c:pt idx="4">
                  <c:v>3853</c:v>
                </c:pt>
                <c:pt idx="5">
                  <c:v>3944</c:v>
                </c:pt>
                <c:pt idx="6">
                  <c:v>4087</c:v>
                </c:pt>
                <c:pt idx="7">
                  <c:v>3990</c:v>
                </c:pt>
                <c:pt idx="8">
                  <c:v>3936</c:v>
                </c:pt>
                <c:pt idx="9">
                  <c:v>3802</c:v>
                </c:pt>
                <c:pt idx="10">
                  <c:v>3142</c:v>
                </c:pt>
                <c:pt idx="11">
                  <c:v>3397</c:v>
                </c:pt>
                <c:pt idx="12">
                  <c:v>3490</c:v>
                </c:pt>
                <c:pt idx="13">
                  <c:v>36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B17-4E3C-9B27-3E84A8C6D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50838112"/>
        <c:axId val="450840464"/>
      </c:barChart>
      <c:catAx>
        <c:axId val="450838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40464"/>
        <c:crosses val="autoZero"/>
        <c:auto val="1"/>
        <c:lblAlgn val="ctr"/>
        <c:lblOffset val="100"/>
        <c:noMultiLvlLbl val="0"/>
      </c:catAx>
      <c:valAx>
        <c:axId val="45084046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38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6.2356543126079821E-2"/>
          <c:y val="0.87415396724838867"/>
          <c:w val="0.93764345687392014"/>
          <c:h val="0.112910360080171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174583780299493E-2"/>
          <c:y val="3.0469739903702168E-2"/>
          <c:w val="0.89141998119028387"/>
          <c:h val="0.7379938719561361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acienti v péči psychiatra *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5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2070</c:v>
                </c:pt>
                <c:pt idx="1">
                  <c:v>2047</c:v>
                </c:pt>
                <c:pt idx="2">
                  <c:v>1929</c:v>
                </c:pt>
                <c:pt idx="3">
                  <c:v>1986</c:v>
                </c:pt>
                <c:pt idx="4">
                  <c:v>1920</c:v>
                </c:pt>
                <c:pt idx="5">
                  <c:v>2020</c:v>
                </c:pt>
                <c:pt idx="6">
                  <c:v>2137</c:v>
                </c:pt>
                <c:pt idx="7">
                  <c:v>2369</c:v>
                </c:pt>
                <c:pt idx="8">
                  <c:v>2544</c:v>
                </c:pt>
                <c:pt idx="9">
                  <c:v>2843</c:v>
                </c:pt>
                <c:pt idx="10">
                  <c:v>2858</c:v>
                </c:pt>
                <c:pt idx="11">
                  <c:v>3453</c:v>
                </c:pt>
                <c:pt idx="12">
                  <c:v>4269</c:v>
                </c:pt>
                <c:pt idx="13">
                  <c:v>47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FC-4D5F-B708-690DA9AFABC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cienti pouze v péči klinického psychologa **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5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1011</c:v>
                </c:pt>
                <c:pt idx="1">
                  <c:v>939</c:v>
                </c:pt>
                <c:pt idx="2">
                  <c:v>884</c:v>
                </c:pt>
                <c:pt idx="3">
                  <c:v>784</c:v>
                </c:pt>
                <c:pt idx="4">
                  <c:v>861</c:v>
                </c:pt>
                <c:pt idx="5">
                  <c:v>850</c:v>
                </c:pt>
                <c:pt idx="6">
                  <c:v>868</c:v>
                </c:pt>
                <c:pt idx="7">
                  <c:v>870</c:v>
                </c:pt>
                <c:pt idx="8">
                  <c:v>855</c:v>
                </c:pt>
                <c:pt idx="9">
                  <c:v>854</c:v>
                </c:pt>
                <c:pt idx="10">
                  <c:v>773</c:v>
                </c:pt>
                <c:pt idx="11">
                  <c:v>981</c:v>
                </c:pt>
                <c:pt idx="12">
                  <c:v>1082</c:v>
                </c:pt>
                <c:pt idx="13">
                  <c:v>11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6FC-4D5F-B708-690DA9AFAB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50838112"/>
        <c:axId val="450840464"/>
      </c:barChart>
      <c:catAx>
        <c:axId val="450838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40464"/>
        <c:crosses val="autoZero"/>
        <c:auto val="1"/>
        <c:lblAlgn val="ctr"/>
        <c:lblOffset val="100"/>
        <c:noMultiLvlLbl val="0"/>
      </c:catAx>
      <c:valAx>
        <c:axId val="45084046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38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5.732101650040871E-2"/>
          <c:y val="0.87415396724838867"/>
          <c:w val="0.90221826282723194"/>
          <c:h val="0.1258460616951183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celkem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CA4-472F-B66F-3FAB00D3122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CA4-472F-B66F-3FAB00D3122F}"/>
              </c:ext>
            </c:extLst>
          </c:dPt>
          <c:dPt>
            <c:idx val="6"/>
            <c:invertIfNegative val="0"/>
            <c:bubble3D val="0"/>
            <c:spPr>
              <a:solidFill>
                <a:srgbClr val="FF99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CCA4-472F-B66F-3FAB00D3122F}"/>
              </c:ext>
            </c:extLst>
          </c:dPt>
          <c:dPt>
            <c:idx val="7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CCA4-472F-B66F-3FAB00D3122F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CCA4-472F-B66F-3FAB00D3122F}"/>
              </c:ext>
            </c:extLst>
          </c:dPt>
          <c:dPt>
            <c:idx val="1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CCA4-472F-B66F-3FAB00D3122F}"/>
              </c:ext>
            </c:extLst>
          </c:dPt>
          <c:dPt>
            <c:idx val="1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CCA4-472F-B66F-3FAB00D3122F}"/>
              </c:ext>
            </c:extLst>
          </c:dPt>
          <c:dPt>
            <c:idx val="1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D-CCA4-472F-B66F-3FAB00D3122F}"/>
              </c:ext>
            </c:extLst>
          </c:dPt>
          <c:dPt>
            <c:idx val="1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F-CCA4-472F-B66F-3FAB00D3122F}"/>
              </c:ext>
            </c:extLst>
          </c:dPt>
          <c:cat>
            <c:strRef>
              <c:f>List1!$A$2:$A$10</c:f>
              <c:strCache>
                <c:ptCount val="9"/>
                <c:pt idx="0">
                  <c:v>Pod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 a více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47</c:v>
                </c:pt>
                <c:pt idx="1">
                  <c:v>110</c:v>
                </c:pt>
                <c:pt idx="2">
                  <c:v>190</c:v>
                </c:pt>
                <c:pt idx="3">
                  <c:v>203</c:v>
                </c:pt>
                <c:pt idx="4">
                  <c:v>271</c:v>
                </c:pt>
                <c:pt idx="5">
                  <c:v>197</c:v>
                </c:pt>
                <c:pt idx="6">
                  <c:v>85</c:v>
                </c:pt>
                <c:pt idx="7">
                  <c:v>106</c:v>
                </c:pt>
                <c:pt idx="8">
                  <c:v>1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CCA4-472F-B66F-3FAB00D312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axId val="49080576"/>
        <c:axId val="49086464"/>
      </c:barChart>
      <c:catAx>
        <c:axId val="4908057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2700000"/>
          <a:lstStyle/>
          <a:p>
            <a:pPr>
              <a:defRPr b="1"/>
            </a:pPr>
            <a:endParaRPr lang="en-US"/>
          </a:p>
        </c:txPr>
        <c:crossAx val="49086464"/>
        <c:crosses val="autoZero"/>
        <c:auto val="1"/>
        <c:lblAlgn val="ctr"/>
        <c:lblOffset val="100"/>
        <c:tickLblSkip val="1"/>
        <c:noMultiLvlLbl val="0"/>
      </c:catAx>
      <c:valAx>
        <c:axId val="49086464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490805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1240330677900869E-2"/>
          <c:y val="6.8407839162545878E-2"/>
          <c:w val="0.86147475865381351"/>
          <c:h val="0.7340769148259785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</c:v>
                </c:pt>
              </c:strCache>
            </c:strRef>
          </c:tx>
          <c:spPr>
            <a:solidFill>
              <a:srgbClr val="00CCFF"/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DA7-471C-9568-35CAE6AE0AB4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1DA7-471C-9568-35CAE6AE0AB4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1DA7-471C-9568-35CAE6AE0AB4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1DA7-471C-9568-35CAE6AE0AB4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1DA7-471C-9568-35CAE6AE0AB4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1DA7-471C-9568-35CAE6AE0AB4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1DA7-471C-9568-35CAE6AE0AB4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1DA7-471C-9568-35CAE6AE0AB4}"/>
              </c:ext>
            </c:extLst>
          </c:dPt>
          <c:cat>
            <c:strRef>
              <c:f>List1!$A$2:$A$10</c:f>
              <c:strCache>
                <c:ptCount val="9"/>
                <c:pt idx="0">
                  <c:v>Pod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 a více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19</c:v>
                </c:pt>
                <c:pt idx="1">
                  <c:v>34</c:v>
                </c:pt>
                <c:pt idx="2">
                  <c:v>44</c:v>
                </c:pt>
                <c:pt idx="3">
                  <c:v>71</c:v>
                </c:pt>
                <c:pt idx="4">
                  <c:v>100</c:v>
                </c:pt>
                <c:pt idx="5">
                  <c:v>60</c:v>
                </c:pt>
                <c:pt idx="6">
                  <c:v>36</c:v>
                </c:pt>
                <c:pt idx="7">
                  <c:v>39</c:v>
                </c:pt>
                <c:pt idx="8">
                  <c:v>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DA7-471C-9568-35CAE6AE0AB4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ž</c:v>
                </c:pt>
              </c:strCache>
            </c:strRef>
          </c:tx>
          <c:spPr>
            <a:solidFill>
              <a:srgbClr val="FF99FF"/>
            </a:solidFill>
          </c:spPr>
          <c:invertIfNegative val="0"/>
          <c:cat>
            <c:strRef>
              <c:f>List1!$A$2:$A$10</c:f>
              <c:strCache>
                <c:ptCount val="9"/>
                <c:pt idx="0">
                  <c:v>Pod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 a více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28</c:v>
                </c:pt>
                <c:pt idx="1">
                  <c:v>76</c:v>
                </c:pt>
                <c:pt idx="2">
                  <c:v>146</c:v>
                </c:pt>
                <c:pt idx="3">
                  <c:v>132</c:v>
                </c:pt>
                <c:pt idx="4">
                  <c:v>171</c:v>
                </c:pt>
                <c:pt idx="5">
                  <c:v>137</c:v>
                </c:pt>
                <c:pt idx="6">
                  <c:v>49</c:v>
                </c:pt>
                <c:pt idx="7">
                  <c:v>67</c:v>
                </c:pt>
                <c:pt idx="8">
                  <c:v>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1DA7-471C-9568-35CAE6AE0A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49080576"/>
        <c:axId val="49086464"/>
      </c:barChart>
      <c:catAx>
        <c:axId val="4908057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2700000"/>
          <a:lstStyle/>
          <a:p>
            <a:pPr>
              <a:defRPr b="1"/>
            </a:pPr>
            <a:endParaRPr lang="en-US"/>
          </a:p>
        </c:txPr>
        <c:crossAx val="49086464"/>
        <c:crosses val="autoZero"/>
        <c:auto val="1"/>
        <c:lblAlgn val="ctr"/>
        <c:lblOffset val="100"/>
        <c:noMultiLvlLbl val="0"/>
      </c:catAx>
      <c:valAx>
        <c:axId val="49086464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490805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4131074023507296"/>
          <c:y val="0.15573556917754688"/>
          <c:w val="0.61189273984018855"/>
          <c:h val="0.821541244989106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rgbClr val="2E5980"/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29B-4F15-9CD7-4B1BF5807B30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229B-4F15-9CD7-4B1BF5807B30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Olomoucký kraj</c:v>
                </c:pt>
                <c:pt idx="1">
                  <c:v>Hl. m. Praha</c:v>
                </c:pt>
                <c:pt idx="2">
                  <c:v>Plzeňský kraj</c:v>
                </c:pt>
                <c:pt idx="3">
                  <c:v>Pardubický kraj</c:v>
                </c:pt>
                <c:pt idx="4">
                  <c:v>Ústecký kraj</c:v>
                </c:pt>
                <c:pt idx="5">
                  <c:v>Česká republika</c:v>
                </c:pt>
                <c:pt idx="6">
                  <c:v>Středočeský kraj</c:v>
                </c:pt>
                <c:pt idx="7">
                  <c:v>Jihomoravský kraj</c:v>
                </c:pt>
                <c:pt idx="8">
                  <c:v>Jihočeský kraj</c:v>
                </c:pt>
                <c:pt idx="9">
                  <c:v>Královéhradecký kraj</c:v>
                </c:pt>
                <c:pt idx="10">
                  <c:v>Vysočina</c:v>
                </c:pt>
                <c:pt idx="11">
                  <c:v>Moravskoslezský kraj</c:v>
                </c:pt>
                <c:pt idx="12">
                  <c:v>Zlínský kraj</c:v>
                </c:pt>
                <c:pt idx="13">
                  <c:v>Karlovarský kraj</c:v>
                </c:pt>
                <c:pt idx="14">
                  <c:v>Liberecký kraj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7617.332985171035</c:v>
                </c:pt>
                <c:pt idx="1">
                  <c:v>7392.0859622829876</c:v>
                </c:pt>
                <c:pt idx="2">
                  <c:v>6746.3584679748919</c:v>
                </c:pt>
                <c:pt idx="3">
                  <c:v>6634.2999777832947</c:v>
                </c:pt>
                <c:pt idx="4">
                  <c:v>6632.9789709247962</c:v>
                </c:pt>
                <c:pt idx="5">
                  <c:v>6520.14076258552</c:v>
                </c:pt>
                <c:pt idx="6">
                  <c:v>6377.214087342667</c:v>
                </c:pt>
                <c:pt idx="7">
                  <c:v>6258.3865977425903</c:v>
                </c:pt>
                <c:pt idx="8">
                  <c:v>6246.360588261884</c:v>
                </c:pt>
                <c:pt idx="9">
                  <c:v>6202.6138613861385</c:v>
                </c:pt>
                <c:pt idx="10">
                  <c:v>6054.8250172669304</c:v>
                </c:pt>
                <c:pt idx="11">
                  <c:v>6047.4376482426505</c:v>
                </c:pt>
                <c:pt idx="12">
                  <c:v>5802.0213570607539</c:v>
                </c:pt>
                <c:pt idx="13">
                  <c:v>5756.5370451860945</c:v>
                </c:pt>
                <c:pt idx="14">
                  <c:v>5237.73445582404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29B-4F15-9CD7-4B1BF5807B3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Řada 2</c:v>
                </c:pt>
              </c:strCache>
            </c:strRef>
          </c:tx>
          <c:spPr>
            <a:solidFill>
              <a:srgbClr val="2E5980"/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229B-4F15-9CD7-4B1BF5807B30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229B-4F15-9CD7-4B1BF5807B30}"/>
              </c:ext>
            </c:extLst>
          </c:dPt>
          <c:dLbls>
            <c:delete val="1"/>
          </c:dLbls>
          <c:cat>
            <c:strRef>
              <c:f>List1!$A$2:$A$16</c:f>
              <c:strCache>
                <c:ptCount val="15"/>
                <c:pt idx="0">
                  <c:v>Olomoucký kraj</c:v>
                </c:pt>
                <c:pt idx="1">
                  <c:v>Hl. m. Praha</c:v>
                </c:pt>
                <c:pt idx="2">
                  <c:v>Plzeňský kraj</c:v>
                </c:pt>
                <c:pt idx="3">
                  <c:v>Pardubický kraj</c:v>
                </c:pt>
                <c:pt idx="4">
                  <c:v>Ústecký kraj</c:v>
                </c:pt>
                <c:pt idx="5">
                  <c:v>Česká republika</c:v>
                </c:pt>
                <c:pt idx="6">
                  <c:v>Středočeský kraj</c:v>
                </c:pt>
                <c:pt idx="7">
                  <c:v>Jihomoravský kraj</c:v>
                </c:pt>
                <c:pt idx="8">
                  <c:v>Jihočeský kraj</c:v>
                </c:pt>
                <c:pt idx="9">
                  <c:v>Královéhradecký kraj</c:v>
                </c:pt>
                <c:pt idx="10">
                  <c:v>Vysočina</c:v>
                </c:pt>
                <c:pt idx="11">
                  <c:v>Moravskoslezský kraj</c:v>
                </c:pt>
                <c:pt idx="12">
                  <c:v>Zlínský kraj</c:v>
                </c:pt>
                <c:pt idx="13">
                  <c:v>Karlovarský kraj</c:v>
                </c:pt>
                <c:pt idx="14">
                  <c:v>Liberecký kraj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</c:numCache>
            </c:numRef>
          </c:val>
          <c:extLst>
            <c:ext xmlns:c16="http://schemas.microsoft.com/office/drawing/2014/chart" uri="{C3380CC4-5D6E-409C-BE32-E72D297353CC}">
              <c16:uniqueId val="{00000005-229B-4F15-9CD7-4B1BF5807B30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Řada 3</c:v>
                </c:pt>
              </c:strCache>
            </c:strRef>
          </c:tx>
          <c:spPr>
            <a:solidFill>
              <a:srgbClr val="FFC121"/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229B-4F15-9CD7-4B1BF5807B30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229B-4F15-9CD7-4B1BF5807B30}"/>
              </c:ext>
            </c:extLst>
          </c:dPt>
          <c:dLbls>
            <c:delete val="1"/>
          </c:dLbls>
          <c:cat>
            <c:strRef>
              <c:f>List1!$A$2:$A$16</c:f>
              <c:strCache>
                <c:ptCount val="15"/>
                <c:pt idx="0">
                  <c:v>Olomoucký kraj</c:v>
                </c:pt>
                <c:pt idx="1">
                  <c:v>Hl. m. Praha</c:v>
                </c:pt>
                <c:pt idx="2">
                  <c:v>Plzeňský kraj</c:v>
                </c:pt>
                <c:pt idx="3">
                  <c:v>Pardubický kraj</c:v>
                </c:pt>
                <c:pt idx="4">
                  <c:v>Ústecký kraj</c:v>
                </c:pt>
                <c:pt idx="5">
                  <c:v>Česká republika</c:v>
                </c:pt>
                <c:pt idx="6">
                  <c:v>Středočeský kraj</c:v>
                </c:pt>
                <c:pt idx="7">
                  <c:v>Jihomoravský kraj</c:v>
                </c:pt>
                <c:pt idx="8">
                  <c:v>Jihočeský kraj</c:v>
                </c:pt>
                <c:pt idx="9">
                  <c:v>Královéhradecký kraj</c:v>
                </c:pt>
                <c:pt idx="10">
                  <c:v>Vysočina</c:v>
                </c:pt>
                <c:pt idx="11">
                  <c:v>Moravskoslezský kraj</c:v>
                </c:pt>
                <c:pt idx="12">
                  <c:v>Zlínský kraj</c:v>
                </c:pt>
                <c:pt idx="13">
                  <c:v>Karlovarský kraj</c:v>
                </c:pt>
                <c:pt idx="14">
                  <c:v>Liberecký kraj</c:v>
                </c:pt>
              </c:strCache>
            </c:strRef>
          </c:cat>
          <c:val>
            <c:numRef>
              <c:f>List1!$D$2:$D$16</c:f>
              <c:numCache>
                <c:formatCode>General</c:formatCode>
                <c:ptCount val="15"/>
                <c:pt idx="5">
                  <c:v>6520.140762585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29B-4F15-9CD7-4B1BF5807B3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593864360"/>
        <c:axId val="593863184"/>
      </c:barChart>
      <c:catAx>
        <c:axId val="59386436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93863184"/>
        <c:crosses val="autoZero"/>
        <c:auto val="1"/>
        <c:lblAlgn val="ctr"/>
        <c:lblOffset val="100"/>
        <c:tickLblSkip val="1"/>
        <c:noMultiLvlLbl val="0"/>
      </c:catAx>
      <c:valAx>
        <c:axId val="593863184"/>
        <c:scaling>
          <c:orientation val="minMax"/>
        </c:scaling>
        <c:delete val="0"/>
        <c:axPos val="t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938643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2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celkem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DB3-4729-ACDA-7B8686E2F944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5DB3-4729-ACDA-7B8686E2F944}"/>
              </c:ext>
            </c:extLst>
          </c:dPt>
          <c:dPt>
            <c:idx val="6"/>
            <c:invertIfNegative val="0"/>
            <c:bubble3D val="0"/>
            <c:spPr>
              <a:solidFill>
                <a:srgbClr val="FF99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DB3-4729-ACDA-7B8686E2F944}"/>
              </c:ext>
            </c:extLst>
          </c:dPt>
          <c:dPt>
            <c:idx val="7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5DB3-4729-ACDA-7B8686E2F944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5DB3-4729-ACDA-7B8686E2F944}"/>
              </c:ext>
            </c:extLst>
          </c:dPt>
          <c:dPt>
            <c:idx val="1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5DB3-4729-ACDA-7B8686E2F944}"/>
              </c:ext>
            </c:extLst>
          </c:dPt>
          <c:dPt>
            <c:idx val="1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5DB3-4729-ACDA-7B8686E2F944}"/>
              </c:ext>
            </c:extLst>
          </c:dPt>
          <c:dPt>
            <c:idx val="1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D-5DB3-4729-ACDA-7B8686E2F944}"/>
              </c:ext>
            </c:extLst>
          </c:dPt>
          <c:dPt>
            <c:idx val="1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F-5DB3-4729-ACDA-7B8686E2F944}"/>
              </c:ext>
            </c:extLst>
          </c:dPt>
          <c:cat>
            <c:strRef>
              <c:f>List1!$A$2:$A$10</c:f>
              <c:strCache>
                <c:ptCount val="9"/>
                <c:pt idx="0">
                  <c:v>Pod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 a více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4</c:v>
                </c:pt>
                <c:pt idx="1">
                  <c:v>9</c:v>
                </c:pt>
                <c:pt idx="2">
                  <c:v>20</c:v>
                </c:pt>
                <c:pt idx="3">
                  <c:v>15</c:v>
                </c:pt>
                <c:pt idx="4">
                  <c:v>25</c:v>
                </c:pt>
                <c:pt idx="5">
                  <c:v>27</c:v>
                </c:pt>
                <c:pt idx="6">
                  <c:v>17</c:v>
                </c:pt>
                <c:pt idx="7">
                  <c:v>16</c:v>
                </c:pt>
                <c:pt idx="8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5DB3-4729-ACDA-7B8686E2F9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axId val="49080576"/>
        <c:axId val="49086464"/>
      </c:barChart>
      <c:catAx>
        <c:axId val="4908057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2700000"/>
          <a:lstStyle/>
          <a:p>
            <a:pPr>
              <a:defRPr b="1"/>
            </a:pPr>
            <a:endParaRPr lang="en-US"/>
          </a:p>
        </c:txPr>
        <c:crossAx val="49086464"/>
        <c:crosses val="autoZero"/>
        <c:auto val="1"/>
        <c:lblAlgn val="ctr"/>
        <c:lblOffset val="100"/>
        <c:tickLblSkip val="1"/>
        <c:noMultiLvlLbl val="0"/>
      </c:catAx>
      <c:valAx>
        <c:axId val="49086464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490805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</c:v>
                </c:pt>
              </c:strCache>
            </c:strRef>
          </c:tx>
          <c:spPr>
            <a:solidFill>
              <a:srgbClr val="00CCFF"/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4AD-499A-9DEF-CE5894196438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24AD-499A-9DEF-CE5894196438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24AD-499A-9DEF-CE5894196438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24AD-499A-9DEF-CE5894196438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24AD-499A-9DEF-CE5894196438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24AD-499A-9DEF-CE5894196438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24AD-499A-9DEF-CE5894196438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24AD-499A-9DEF-CE5894196438}"/>
              </c:ext>
            </c:extLst>
          </c:dPt>
          <c:cat>
            <c:strRef>
              <c:f>List1!$A$2:$A$10</c:f>
              <c:strCache>
                <c:ptCount val="9"/>
                <c:pt idx="0">
                  <c:v>Pod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 a více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0</c:v>
                </c:pt>
                <c:pt idx="1">
                  <c:v>3</c:v>
                </c:pt>
                <c:pt idx="2">
                  <c:v>5</c:v>
                </c:pt>
                <c:pt idx="3">
                  <c:v>4</c:v>
                </c:pt>
                <c:pt idx="4">
                  <c:v>6</c:v>
                </c:pt>
                <c:pt idx="5">
                  <c:v>5</c:v>
                </c:pt>
                <c:pt idx="6">
                  <c:v>2</c:v>
                </c:pt>
                <c:pt idx="7">
                  <c:v>3</c:v>
                </c:pt>
                <c:pt idx="8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4AD-499A-9DEF-CE5894196438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ž</c:v>
                </c:pt>
              </c:strCache>
            </c:strRef>
          </c:tx>
          <c:spPr>
            <a:solidFill>
              <a:srgbClr val="FF99FF"/>
            </a:solidFill>
          </c:spPr>
          <c:invertIfNegative val="0"/>
          <c:cat>
            <c:strRef>
              <c:f>List1!$A$2:$A$10</c:f>
              <c:strCache>
                <c:ptCount val="9"/>
                <c:pt idx="0">
                  <c:v>Pod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 a více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4</c:v>
                </c:pt>
                <c:pt idx="1">
                  <c:v>6</c:v>
                </c:pt>
                <c:pt idx="2">
                  <c:v>15</c:v>
                </c:pt>
                <c:pt idx="3">
                  <c:v>11</c:v>
                </c:pt>
                <c:pt idx="4">
                  <c:v>19</c:v>
                </c:pt>
                <c:pt idx="5">
                  <c:v>22</c:v>
                </c:pt>
                <c:pt idx="6">
                  <c:v>15</c:v>
                </c:pt>
                <c:pt idx="7">
                  <c:v>13</c:v>
                </c:pt>
                <c:pt idx="8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24AD-499A-9DEF-CE58941964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49080576"/>
        <c:axId val="49086464"/>
      </c:barChart>
      <c:catAx>
        <c:axId val="4908057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2700000"/>
          <a:lstStyle/>
          <a:p>
            <a:pPr>
              <a:defRPr b="1"/>
            </a:pPr>
            <a:endParaRPr lang="en-US"/>
          </a:p>
        </c:txPr>
        <c:crossAx val="49086464"/>
        <c:crosses val="autoZero"/>
        <c:auto val="1"/>
        <c:lblAlgn val="ctr"/>
        <c:lblOffset val="100"/>
        <c:noMultiLvlLbl val="0"/>
      </c:catAx>
      <c:valAx>
        <c:axId val="49086464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490805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celkem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FF993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7CE-4C38-BCAE-62AD60025E67}"/>
              </c:ext>
            </c:extLst>
          </c:dPt>
          <c:dPt>
            <c:idx val="7"/>
            <c:invertIfNegative val="0"/>
            <c:bubble3D val="0"/>
            <c:spPr>
              <a:solidFill>
                <a:srgbClr val="FF66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7CE-4C38-BCAE-62AD60025E67}"/>
              </c:ext>
            </c:extLst>
          </c:dPt>
          <c:dPt>
            <c:idx val="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57CE-4C38-BCAE-62AD60025E67}"/>
              </c:ext>
            </c:extLst>
          </c:dPt>
          <c:dPt>
            <c:idx val="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825B-499E-A9A8-DA819C9BCE9D}"/>
              </c:ext>
            </c:extLst>
          </c:dPt>
          <c:cat>
            <c:strRef>
              <c:f>List1!$A$2:$A$11</c:f>
              <c:strCache>
                <c:ptCount val="10"/>
                <c:pt idx="0">
                  <c:v>do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 a více</c:v>
                </c:pt>
                <c:pt idx="9">
                  <c:v>75 a více</c:v>
                </c:pt>
              </c:strCache>
            </c:strRef>
          </c:cat>
          <c:val>
            <c:numRef>
              <c:f>List1!$B$2:$B$11</c:f>
              <c:numCache>
                <c:formatCode>0</c:formatCode>
                <c:ptCount val="10"/>
                <c:pt idx="0">
                  <c:v>33</c:v>
                </c:pt>
                <c:pt idx="1">
                  <c:v>40</c:v>
                </c:pt>
                <c:pt idx="2">
                  <c:v>43</c:v>
                </c:pt>
                <c:pt idx="3">
                  <c:v>43</c:v>
                </c:pt>
                <c:pt idx="4">
                  <c:v>60</c:v>
                </c:pt>
                <c:pt idx="5">
                  <c:v>62</c:v>
                </c:pt>
                <c:pt idx="6">
                  <c:v>34</c:v>
                </c:pt>
                <c:pt idx="7">
                  <c:v>35</c:v>
                </c:pt>
                <c:pt idx="8">
                  <c:v>68</c:v>
                </c:pt>
                <c:pt idx="9" formatCode="General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57CE-4C38-BCAE-62AD60025E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axId val="46452096"/>
        <c:axId val="46471040"/>
      </c:barChart>
      <c:catAx>
        <c:axId val="4645209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2700000"/>
          <a:lstStyle/>
          <a:p>
            <a:pPr>
              <a:defRPr/>
            </a:pPr>
            <a:endParaRPr lang="en-US"/>
          </a:p>
        </c:txPr>
        <c:crossAx val="46471040"/>
        <c:crosses val="autoZero"/>
        <c:auto val="1"/>
        <c:lblAlgn val="ctr"/>
        <c:lblOffset val="100"/>
        <c:tickLblSkip val="1"/>
        <c:noMultiLvlLbl val="0"/>
      </c:catAx>
      <c:valAx>
        <c:axId val="4647104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464520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2">
    <c:autoUpdate val="0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</c:spPr>
          <c:invertIfNegative val="0"/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8BB-455D-8A0B-B59E9956B440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8BB-455D-8A0B-B59E9956B440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8BB-455D-8A0B-B59E9956B440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8BB-455D-8A0B-B59E9956B440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E8BB-455D-8A0B-B59E9956B440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E8BB-455D-8A0B-B59E9956B440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E8BB-455D-8A0B-B59E9956B440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E8BB-455D-8A0B-B59E9956B44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A$2:$A$11</c:f>
              <c:strCache>
                <c:ptCount val="10"/>
                <c:pt idx="0">
                  <c:v>do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 a více</c:v>
                </c:pt>
                <c:pt idx="9">
                  <c:v>75 a více</c:v>
                </c:pt>
              </c:strCache>
            </c:strRef>
          </c:cat>
          <c:val>
            <c:numRef>
              <c:f>List1!$B$2:$B$11</c:f>
              <c:numCache>
                <c:formatCode>0</c:formatCode>
                <c:ptCount val="10"/>
                <c:pt idx="0">
                  <c:v>7</c:v>
                </c:pt>
                <c:pt idx="1">
                  <c:v>16</c:v>
                </c:pt>
                <c:pt idx="2">
                  <c:v>11</c:v>
                </c:pt>
                <c:pt idx="3">
                  <c:v>10</c:v>
                </c:pt>
                <c:pt idx="4">
                  <c:v>21</c:v>
                </c:pt>
                <c:pt idx="5">
                  <c:v>18</c:v>
                </c:pt>
                <c:pt idx="6">
                  <c:v>16</c:v>
                </c:pt>
                <c:pt idx="7">
                  <c:v>15</c:v>
                </c:pt>
                <c:pt idx="8">
                  <c:v>34</c:v>
                </c:pt>
                <c:pt idx="9" formatCode="General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8BB-455D-8A0B-B59E9956B44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ž</c:v>
                </c:pt>
              </c:strCache>
            </c:strRef>
          </c:tx>
          <c:spPr>
            <a:solidFill>
              <a:srgbClr val="FF99F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A$2:$A$11</c:f>
              <c:strCache>
                <c:ptCount val="10"/>
                <c:pt idx="0">
                  <c:v>do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 a více</c:v>
                </c:pt>
                <c:pt idx="9">
                  <c:v>75 a více</c:v>
                </c:pt>
              </c:strCache>
            </c:strRef>
          </c:cat>
          <c:val>
            <c:numRef>
              <c:f>List1!$C$2:$C$11</c:f>
              <c:numCache>
                <c:formatCode>0</c:formatCode>
                <c:ptCount val="10"/>
                <c:pt idx="0">
                  <c:v>26</c:v>
                </c:pt>
                <c:pt idx="1">
                  <c:v>24</c:v>
                </c:pt>
                <c:pt idx="2">
                  <c:v>32</c:v>
                </c:pt>
                <c:pt idx="3">
                  <c:v>33</c:v>
                </c:pt>
                <c:pt idx="4">
                  <c:v>39</c:v>
                </c:pt>
                <c:pt idx="5">
                  <c:v>44</c:v>
                </c:pt>
                <c:pt idx="6">
                  <c:v>18</c:v>
                </c:pt>
                <c:pt idx="7">
                  <c:v>20</c:v>
                </c:pt>
                <c:pt idx="8">
                  <c:v>34</c:v>
                </c:pt>
                <c:pt idx="9" formatCode="General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8BB-455D-8A0B-B59E9956B4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71256704"/>
        <c:axId val="71561984"/>
      </c:barChart>
      <c:catAx>
        <c:axId val="7125670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2700000"/>
          <a:lstStyle/>
          <a:p>
            <a:pPr>
              <a:defRPr/>
            </a:pPr>
            <a:endParaRPr lang="en-US"/>
          </a:p>
        </c:txPr>
        <c:crossAx val="71561984"/>
        <c:crosses val="autoZero"/>
        <c:auto val="1"/>
        <c:lblAlgn val="ctr"/>
        <c:lblOffset val="100"/>
        <c:noMultiLvlLbl val="0"/>
      </c:catAx>
      <c:valAx>
        <c:axId val="71561984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712567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celkem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FF993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7CE-4C38-BCAE-62AD60025E67}"/>
              </c:ext>
            </c:extLst>
          </c:dPt>
          <c:dPt>
            <c:idx val="7"/>
            <c:invertIfNegative val="0"/>
            <c:bubble3D val="0"/>
            <c:spPr>
              <a:solidFill>
                <a:srgbClr val="FF66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7CE-4C38-BCAE-62AD60025E67}"/>
              </c:ext>
            </c:extLst>
          </c:dPt>
          <c:dPt>
            <c:idx val="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57CE-4C38-BCAE-62AD60025E67}"/>
              </c:ext>
            </c:extLst>
          </c:dPt>
          <c:dPt>
            <c:idx val="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5D98-4171-B14C-22C71010DF17}"/>
              </c:ext>
            </c:extLst>
          </c:dPt>
          <c:cat>
            <c:strRef>
              <c:f>List1!$A$2:$A$11</c:f>
              <c:strCache>
                <c:ptCount val="10"/>
                <c:pt idx="0">
                  <c:v>do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 a více</c:v>
                </c:pt>
                <c:pt idx="9">
                  <c:v>75 a více</c:v>
                </c:pt>
              </c:strCache>
            </c:strRef>
          </c:cat>
          <c:val>
            <c:numRef>
              <c:f>List1!$B$2:$B$11</c:f>
              <c:numCache>
                <c:formatCode>0</c:formatCode>
                <c:ptCount val="10"/>
                <c:pt idx="0">
                  <c:v>1</c:v>
                </c:pt>
                <c:pt idx="1">
                  <c:v>6</c:v>
                </c:pt>
                <c:pt idx="2">
                  <c:v>10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6</c:v>
                </c:pt>
                <c:pt idx="7">
                  <c:v>3</c:v>
                </c:pt>
                <c:pt idx="8">
                  <c:v>15</c:v>
                </c:pt>
                <c:pt idx="9" formatCode="General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57CE-4C38-BCAE-62AD60025E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axId val="46452096"/>
        <c:axId val="46471040"/>
      </c:barChart>
      <c:catAx>
        <c:axId val="4645209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2700000"/>
          <a:lstStyle/>
          <a:p>
            <a:pPr>
              <a:defRPr/>
            </a:pPr>
            <a:endParaRPr lang="en-US"/>
          </a:p>
        </c:txPr>
        <c:crossAx val="46471040"/>
        <c:crosses val="autoZero"/>
        <c:auto val="1"/>
        <c:lblAlgn val="ctr"/>
        <c:lblOffset val="100"/>
        <c:tickLblSkip val="1"/>
        <c:noMultiLvlLbl val="0"/>
      </c:catAx>
      <c:valAx>
        <c:axId val="4647104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464520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2">
    <c:autoUpdate val="0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</c:spPr>
          <c:invertIfNegative val="0"/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8BB-455D-8A0B-B59E9956B440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8BB-455D-8A0B-B59E9956B440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8BB-455D-8A0B-B59E9956B440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8BB-455D-8A0B-B59E9956B440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E8BB-455D-8A0B-B59E9956B440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E8BB-455D-8A0B-B59E9956B440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E8BB-455D-8A0B-B59E9956B440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E8BB-455D-8A0B-B59E9956B44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A$2:$A$11</c:f>
              <c:strCache>
                <c:ptCount val="10"/>
                <c:pt idx="0">
                  <c:v>do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 a více</c:v>
                </c:pt>
                <c:pt idx="9">
                  <c:v>75 a více</c:v>
                </c:pt>
              </c:strCache>
            </c:strRef>
          </c:cat>
          <c:val>
            <c:numRef>
              <c:f>List1!$B$2:$B$11</c:f>
              <c:numCache>
                <c:formatCode>0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2</c:v>
                </c:pt>
                <c:pt idx="3">
                  <c:v>0</c:v>
                </c:pt>
                <c:pt idx="4">
                  <c:v>4</c:v>
                </c:pt>
                <c:pt idx="5">
                  <c:v>1</c:v>
                </c:pt>
                <c:pt idx="6">
                  <c:v>3</c:v>
                </c:pt>
                <c:pt idx="7">
                  <c:v>1</c:v>
                </c:pt>
                <c:pt idx="8">
                  <c:v>2</c:v>
                </c:pt>
                <c:pt idx="9" formatCode="General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8BB-455D-8A0B-B59E9956B44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ž</c:v>
                </c:pt>
              </c:strCache>
            </c:strRef>
          </c:tx>
          <c:spPr>
            <a:solidFill>
              <a:srgbClr val="FF99F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A$2:$A$11</c:f>
              <c:strCache>
                <c:ptCount val="10"/>
                <c:pt idx="0">
                  <c:v>do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 a více</c:v>
                </c:pt>
                <c:pt idx="9">
                  <c:v>75 a více</c:v>
                </c:pt>
              </c:strCache>
            </c:strRef>
          </c:cat>
          <c:val>
            <c:numRef>
              <c:f>List1!$C$2:$C$11</c:f>
              <c:numCache>
                <c:formatCode>0</c:formatCode>
                <c:ptCount val="10"/>
                <c:pt idx="0">
                  <c:v>1</c:v>
                </c:pt>
                <c:pt idx="1">
                  <c:v>6</c:v>
                </c:pt>
                <c:pt idx="2">
                  <c:v>8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3</c:v>
                </c:pt>
                <c:pt idx="7">
                  <c:v>2</c:v>
                </c:pt>
                <c:pt idx="8">
                  <c:v>13</c:v>
                </c:pt>
                <c:pt idx="9" formatCode="General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8BB-455D-8A0B-B59E9956B4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71256704"/>
        <c:axId val="71561984"/>
      </c:barChart>
      <c:catAx>
        <c:axId val="7125670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2700000"/>
          <a:lstStyle/>
          <a:p>
            <a:pPr>
              <a:defRPr/>
            </a:pPr>
            <a:endParaRPr lang="en-US"/>
          </a:p>
        </c:txPr>
        <c:crossAx val="71561984"/>
        <c:crosses val="autoZero"/>
        <c:auto val="1"/>
        <c:lblAlgn val="ctr"/>
        <c:lblOffset val="100"/>
        <c:noMultiLvlLbl val="0"/>
      </c:catAx>
      <c:valAx>
        <c:axId val="71561984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712567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4131074023507296"/>
          <c:y val="0.15573556917754688"/>
          <c:w val="0.61189273984018855"/>
          <c:h val="0.821541244989106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psychiatrie</c:v>
                </c:pt>
              </c:strCache>
            </c:strRef>
          </c:tx>
          <c:spPr>
            <a:solidFill>
              <a:srgbClr val="4472C4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8FC-4330-8F76-6101954E0170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P$1</c:f>
              <c:strCache>
                <c:ptCount val="15"/>
                <c:pt idx="0">
                  <c:v>Hlavní město Praha</c:v>
                </c:pt>
                <c:pt idx="1">
                  <c:v>Plzeňský kraj</c:v>
                </c:pt>
                <c:pt idx="2">
                  <c:v>Olomoucký kraj</c:v>
                </c:pt>
                <c:pt idx="3">
                  <c:v>ČR</c:v>
                </c:pt>
                <c:pt idx="4">
                  <c:v>Jihomoravský kraj</c:v>
                </c:pt>
                <c:pt idx="5">
                  <c:v>Kraj Vysočina</c:v>
                </c:pt>
                <c:pt idx="6">
                  <c:v>Karlovarský kraj</c:v>
                </c:pt>
                <c:pt idx="7">
                  <c:v>Jihočeský kraj</c:v>
                </c:pt>
                <c:pt idx="8">
                  <c:v>Moravskoslezský kraj</c:v>
                </c:pt>
                <c:pt idx="9">
                  <c:v>Ústecký kraj</c:v>
                </c:pt>
                <c:pt idx="10">
                  <c:v>Královéhradecký kraj</c:v>
                </c:pt>
                <c:pt idx="11">
                  <c:v>Zlínský kraj</c:v>
                </c:pt>
                <c:pt idx="12">
                  <c:v>Středočeský kraj</c:v>
                </c:pt>
                <c:pt idx="13">
                  <c:v>Pardubický kraj</c:v>
                </c:pt>
                <c:pt idx="14">
                  <c:v>Liberecký kraj</c:v>
                </c:pt>
              </c:strCache>
            </c:strRef>
          </c:cat>
          <c:val>
            <c:numRef>
              <c:f>List1!$B$2:$P$2</c:f>
              <c:numCache>
                <c:formatCode>General</c:formatCode>
                <c:ptCount val="15"/>
                <c:pt idx="0">
                  <c:v>15.045022345405599</c:v>
                </c:pt>
                <c:pt idx="1">
                  <c:v>9.3609387698467756</c:v>
                </c:pt>
                <c:pt idx="2">
                  <c:v>8.2367577183991187</c:v>
                </c:pt>
                <c:pt idx="3">
                  <c:v>6.9843267101847522</c:v>
                </c:pt>
                <c:pt idx="4">
                  <c:v>6.5338481761419649</c:v>
                </c:pt>
                <c:pt idx="5">
                  <c:v>6.2881597274159491</c:v>
                </c:pt>
                <c:pt idx="6">
                  <c:v>6.1615490727021927</c:v>
                </c:pt>
                <c:pt idx="7">
                  <c:v>5.5204406541131954</c:v>
                </c:pt>
                <c:pt idx="8">
                  <c:v>5.2384098500933867</c:v>
                </c:pt>
                <c:pt idx="9">
                  <c:v>5.2379738950706409</c:v>
                </c:pt>
                <c:pt idx="10">
                  <c:v>5.2029023875000675</c:v>
                </c:pt>
                <c:pt idx="11">
                  <c:v>5.0849997674542786</c:v>
                </c:pt>
                <c:pt idx="12">
                  <c:v>5.0076733840909107</c:v>
                </c:pt>
                <c:pt idx="13">
                  <c:v>4.4140925673413882</c:v>
                </c:pt>
                <c:pt idx="14">
                  <c:v>4.14313288525458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8FC-4330-8F76-6101954E0170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</c:strCache>
            </c:strRef>
          </c:tx>
          <c:spPr>
            <a:solidFill>
              <a:srgbClr val="FFC000"/>
            </a:solidFill>
          </c:spPr>
          <c:invertIfNegative val="0"/>
          <c:dLbls>
            <c:delete val="1"/>
          </c:dLbls>
          <c:cat>
            <c:strRef>
              <c:f>List1!$B$1:$P$1</c:f>
              <c:strCache>
                <c:ptCount val="15"/>
                <c:pt idx="0">
                  <c:v>Hlavní město Praha</c:v>
                </c:pt>
                <c:pt idx="1">
                  <c:v>Plzeňský kraj</c:v>
                </c:pt>
                <c:pt idx="2">
                  <c:v>Olomoucký kraj</c:v>
                </c:pt>
                <c:pt idx="3">
                  <c:v>ČR</c:v>
                </c:pt>
                <c:pt idx="4">
                  <c:v>Jihomoravský kraj</c:v>
                </c:pt>
                <c:pt idx="5">
                  <c:v>Kraj Vysočina</c:v>
                </c:pt>
                <c:pt idx="6">
                  <c:v>Karlovarský kraj</c:v>
                </c:pt>
                <c:pt idx="7">
                  <c:v>Jihočeský kraj</c:v>
                </c:pt>
                <c:pt idx="8">
                  <c:v>Moravskoslezský kraj</c:v>
                </c:pt>
                <c:pt idx="9">
                  <c:v>Ústecký kraj</c:v>
                </c:pt>
                <c:pt idx="10">
                  <c:v>Královéhradecký kraj</c:v>
                </c:pt>
                <c:pt idx="11">
                  <c:v>Zlínský kraj</c:v>
                </c:pt>
                <c:pt idx="12">
                  <c:v>Středočeský kraj</c:v>
                </c:pt>
                <c:pt idx="13">
                  <c:v>Pardubický kraj</c:v>
                </c:pt>
                <c:pt idx="14">
                  <c:v>Liberecký kraj</c:v>
                </c:pt>
              </c:strCache>
            </c:strRef>
          </c:cat>
          <c:val>
            <c:numRef>
              <c:f>List1!$B$3:$P$3</c:f>
              <c:numCache>
                <c:formatCode>General</c:formatCode>
                <c:ptCount val="15"/>
                <c:pt idx="3">
                  <c:v>6.98432671018475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C8F1-48AF-8A8C-849331385CB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593864360"/>
        <c:axId val="593863184"/>
      </c:barChart>
      <c:catAx>
        <c:axId val="59386436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93863184"/>
        <c:crosses val="autoZero"/>
        <c:auto val="1"/>
        <c:lblAlgn val="ctr"/>
        <c:lblOffset val="100"/>
        <c:tickLblSkip val="1"/>
        <c:noMultiLvlLbl val="0"/>
      </c:catAx>
      <c:valAx>
        <c:axId val="593863184"/>
        <c:scaling>
          <c:orientation val="minMax"/>
        </c:scaling>
        <c:delete val="0"/>
        <c:axPos val="t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938643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2">
    <c:autoUpdate val="0"/>
  </c:externalData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4131074023507296"/>
          <c:y val="0.15573556917754688"/>
          <c:w val="0.61189273984018855"/>
          <c:h val="0.821541244989106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dětská a dorostová psychiatrie</c:v>
                </c:pt>
              </c:strCache>
            </c:strRef>
          </c:tx>
          <c:spPr>
            <a:solidFill>
              <a:srgbClr val="4472C4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C95-4D8F-AF74-4D00ACB16118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P$1</c:f>
              <c:strCache>
                <c:ptCount val="15"/>
                <c:pt idx="0">
                  <c:v>Hlavní město Praha</c:v>
                </c:pt>
                <c:pt idx="1">
                  <c:v>Jihočeský kraj</c:v>
                </c:pt>
                <c:pt idx="2">
                  <c:v>Olomoucký kraj</c:v>
                </c:pt>
                <c:pt idx="3">
                  <c:v>Jihomoravský kraj</c:v>
                </c:pt>
                <c:pt idx="4">
                  <c:v>ČR</c:v>
                </c:pt>
                <c:pt idx="5">
                  <c:v>Karlovarský kraj</c:v>
                </c:pt>
                <c:pt idx="6">
                  <c:v>Liberecký kraj</c:v>
                </c:pt>
                <c:pt idx="7">
                  <c:v>Plzeňský kraj</c:v>
                </c:pt>
                <c:pt idx="8">
                  <c:v>Ústecký kraj</c:v>
                </c:pt>
                <c:pt idx="9">
                  <c:v>Kraj Vysočina</c:v>
                </c:pt>
                <c:pt idx="10">
                  <c:v>Moravskoslezský kraj</c:v>
                </c:pt>
                <c:pt idx="11">
                  <c:v>Královéhradecký kraj</c:v>
                </c:pt>
                <c:pt idx="12">
                  <c:v>Zlínský kraj</c:v>
                </c:pt>
                <c:pt idx="13">
                  <c:v>Středočeský kraj</c:v>
                </c:pt>
                <c:pt idx="14">
                  <c:v>Pardubický kraj</c:v>
                </c:pt>
              </c:strCache>
            </c:strRef>
          </c:cat>
          <c:val>
            <c:numRef>
              <c:f>List1!$B$2:$P$2</c:f>
              <c:numCache>
                <c:formatCode>General</c:formatCode>
                <c:ptCount val="15"/>
                <c:pt idx="0">
                  <c:v>1.8138604874584294</c:v>
                </c:pt>
                <c:pt idx="1">
                  <c:v>0.98727125277670047</c:v>
                </c:pt>
                <c:pt idx="2">
                  <c:v>0.96232680491673017</c:v>
                </c:pt>
                <c:pt idx="3">
                  <c:v>0.87824515280972726</c:v>
                </c:pt>
                <c:pt idx="4">
                  <c:v>0.7883608531549533</c:v>
                </c:pt>
                <c:pt idx="5">
                  <c:v>0.72889524685365903</c:v>
                </c:pt>
                <c:pt idx="6">
                  <c:v>0.72577180042611267</c:v>
                </c:pt>
                <c:pt idx="7">
                  <c:v>0.72019927715778975</c:v>
                </c:pt>
                <c:pt idx="8">
                  <c:v>0.67952093773889399</c:v>
                </c:pt>
                <c:pt idx="9">
                  <c:v>0.58277661977904993</c:v>
                </c:pt>
                <c:pt idx="10">
                  <c:v>0.50181814513892042</c:v>
                </c:pt>
                <c:pt idx="11">
                  <c:v>0.48805349498529532</c:v>
                </c:pt>
                <c:pt idx="12">
                  <c:v>0.45475607676420382</c:v>
                </c:pt>
                <c:pt idx="13">
                  <c:v>0.40642188258784445</c:v>
                </c:pt>
                <c:pt idx="14">
                  <c:v>0.393372431022711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C95-4D8F-AF74-4D00ACB16118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</c:strCache>
            </c:strRef>
          </c:tx>
          <c:spPr>
            <a:solidFill>
              <a:srgbClr val="FFC000"/>
            </a:solidFill>
          </c:spPr>
          <c:invertIfNegative val="0"/>
          <c:dLbls>
            <c:delete val="1"/>
          </c:dLbls>
          <c:cat>
            <c:strRef>
              <c:f>List1!$B$1:$P$1</c:f>
              <c:strCache>
                <c:ptCount val="15"/>
                <c:pt idx="0">
                  <c:v>Hlavní město Praha</c:v>
                </c:pt>
                <c:pt idx="1">
                  <c:v>Jihočeský kraj</c:v>
                </c:pt>
                <c:pt idx="2">
                  <c:v>Olomoucký kraj</c:v>
                </c:pt>
                <c:pt idx="3">
                  <c:v>Jihomoravský kraj</c:v>
                </c:pt>
                <c:pt idx="4">
                  <c:v>ČR</c:v>
                </c:pt>
                <c:pt idx="5">
                  <c:v>Karlovarský kraj</c:v>
                </c:pt>
                <c:pt idx="6">
                  <c:v>Liberecký kraj</c:v>
                </c:pt>
                <c:pt idx="7">
                  <c:v>Plzeňský kraj</c:v>
                </c:pt>
                <c:pt idx="8">
                  <c:v>Ústecký kraj</c:v>
                </c:pt>
                <c:pt idx="9">
                  <c:v>Kraj Vysočina</c:v>
                </c:pt>
                <c:pt idx="10">
                  <c:v>Moravskoslezský kraj</c:v>
                </c:pt>
                <c:pt idx="11">
                  <c:v>Královéhradecký kraj</c:v>
                </c:pt>
                <c:pt idx="12">
                  <c:v>Zlínský kraj</c:v>
                </c:pt>
                <c:pt idx="13">
                  <c:v>Středočeský kraj</c:v>
                </c:pt>
                <c:pt idx="14">
                  <c:v>Pardubický kraj</c:v>
                </c:pt>
              </c:strCache>
            </c:strRef>
          </c:cat>
          <c:val>
            <c:numRef>
              <c:f>List1!$B$3:$P$3</c:f>
              <c:numCache>
                <c:formatCode>General</c:formatCode>
                <c:ptCount val="15"/>
                <c:pt idx="4">
                  <c:v>0.78836085315495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95-4D8F-AF74-4D00ACB1611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593864360"/>
        <c:axId val="593863184"/>
      </c:barChart>
      <c:catAx>
        <c:axId val="59386436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93863184"/>
        <c:crosses val="autoZero"/>
        <c:auto val="1"/>
        <c:lblAlgn val="ctr"/>
        <c:lblOffset val="100"/>
        <c:tickLblSkip val="1"/>
        <c:noMultiLvlLbl val="0"/>
      </c:catAx>
      <c:valAx>
        <c:axId val="593863184"/>
        <c:scaling>
          <c:orientation val="minMax"/>
        </c:scaling>
        <c:delete val="0"/>
        <c:axPos val="t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938643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2">
    <c:autoUpdate val="0"/>
  </c:externalData>
</c:chartSpace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4131074023507296"/>
          <c:y val="0.15573556917754688"/>
          <c:w val="0.61189273984018855"/>
          <c:h val="0.821541244989106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§ 22 Psycholog ve zdravotnictví</c:v>
                </c:pt>
              </c:strCache>
            </c:strRef>
          </c:tx>
          <c:spPr>
            <a:solidFill>
              <a:srgbClr val="4472C4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58D-495B-8381-FE2D77B32D42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P$1</c:f>
              <c:strCache>
                <c:ptCount val="15"/>
                <c:pt idx="0">
                  <c:v>Hlavní město Praha</c:v>
                </c:pt>
                <c:pt idx="1">
                  <c:v>Jihomoravský kraj</c:v>
                </c:pt>
                <c:pt idx="2">
                  <c:v>Olomoucký kraj</c:v>
                </c:pt>
                <c:pt idx="3">
                  <c:v>ČR</c:v>
                </c:pt>
                <c:pt idx="4">
                  <c:v>Plzeňský kraj</c:v>
                </c:pt>
                <c:pt idx="5">
                  <c:v>Kraj Vysočina</c:v>
                </c:pt>
                <c:pt idx="6">
                  <c:v>Moravskoslezský kraj</c:v>
                </c:pt>
                <c:pt idx="7">
                  <c:v>Královéhradecký kraj</c:v>
                </c:pt>
                <c:pt idx="8">
                  <c:v>Zlínský kraj</c:v>
                </c:pt>
                <c:pt idx="9">
                  <c:v>Pardubický kraj</c:v>
                </c:pt>
                <c:pt idx="10">
                  <c:v>Karlovarský kraj</c:v>
                </c:pt>
                <c:pt idx="11">
                  <c:v>Jihočeský kraj</c:v>
                </c:pt>
                <c:pt idx="12">
                  <c:v>Ústecký kraj</c:v>
                </c:pt>
                <c:pt idx="13">
                  <c:v>Liberecký kraj</c:v>
                </c:pt>
                <c:pt idx="14">
                  <c:v>Středočeský kraj</c:v>
                </c:pt>
              </c:strCache>
            </c:strRef>
          </c:cat>
          <c:val>
            <c:numRef>
              <c:f>List1!$B$2:$P$2</c:f>
              <c:numCache>
                <c:formatCode>#,##0</c:formatCode>
                <c:ptCount val="15"/>
                <c:pt idx="0" formatCode="#\ ##0.0">
                  <c:v>42.657400000000003</c:v>
                </c:pt>
                <c:pt idx="1">
                  <c:v>17.334869999999999</c:v>
                </c:pt>
                <c:pt idx="2" formatCode="General">
                  <c:v>16.935690000000001</c:v>
                </c:pt>
                <c:pt idx="3" formatCode="General">
                  <c:v>15.29435</c:v>
                </c:pt>
                <c:pt idx="4" formatCode="General">
                  <c:v>14.8665</c:v>
                </c:pt>
                <c:pt idx="5" formatCode="General">
                  <c:v>12.82109</c:v>
                </c:pt>
                <c:pt idx="6" formatCode="General">
                  <c:v>12.692550000000001</c:v>
                </c:pt>
                <c:pt idx="7" formatCode="General">
                  <c:v>11.70608</c:v>
                </c:pt>
                <c:pt idx="8" formatCode="General">
                  <c:v>11.54116</c:v>
                </c:pt>
                <c:pt idx="9" formatCode="General">
                  <c:v>11.5364</c:v>
                </c:pt>
                <c:pt idx="10" formatCode="General">
                  <c:v>9.5369469999999996</c:v>
                </c:pt>
                <c:pt idx="11" formatCode="General">
                  <c:v>8.73827</c:v>
                </c:pt>
                <c:pt idx="12" formatCode="General">
                  <c:v>8.6171129999999998</c:v>
                </c:pt>
                <c:pt idx="13" formatCode="General">
                  <c:v>7.7920290000000003</c:v>
                </c:pt>
                <c:pt idx="14" formatCode="General">
                  <c:v>7.7115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58D-495B-8381-FE2D77B32D4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</c:strCache>
            </c:strRef>
          </c:tx>
          <c:spPr>
            <a:solidFill>
              <a:srgbClr val="FFC000"/>
            </a:solidFill>
          </c:spPr>
          <c:invertIfNegative val="0"/>
          <c:dLbls>
            <c:delete val="1"/>
          </c:dLbls>
          <c:cat>
            <c:strRef>
              <c:f>List1!$B$1:$P$1</c:f>
              <c:strCache>
                <c:ptCount val="15"/>
                <c:pt idx="0">
                  <c:v>Hlavní město Praha</c:v>
                </c:pt>
                <c:pt idx="1">
                  <c:v>Jihomoravský kraj</c:v>
                </c:pt>
                <c:pt idx="2">
                  <c:v>Olomoucký kraj</c:v>
                </c:pt>
                <c:pt idx="3">
                  <c:v>ČR</c:v>
                </c:pt>
                <c:pt idx="4">
                  <c:v>Plzeňský kraj</c:v>
                </c:pt>
                <c:pt idx="5">
                  <c:v>Kraj Vysočina</c:v>
                </c:pt>
                <c:pt idx="6">
                  <c:v>Moravskoslezský kraj</c:v>
                </c:pt>
                <c:pt idx="7">
                  <c:v>Královéhradecký kraj</c:v>
                </c:pt>
                <c:pt idx="8">
                  <c:v>Zlínský kraj</c:v>
                </c:pt>
                <c:pt idx="9">
                  <c:v>Pardubický kraj</c:v>
                </c:pt>
                <c:pt idx="10">
                  <c:v>Karlovarský kraj</c:v>
                </c:pt>
                <c:pt idx="11">
                  <c:v>Jihočeský kraj</c:v>
                </c:pt>
                <c:pt idx="12">
                  <c:v>Ústecký kraj</c:v>
                </c:pt>
                <c:pt idx="13">
                  <c:v>Liberecký kraj</c:v>
                </c:pt>
                <c:pt idx="14">
                  <c:v>Středočeský kraj</c:v>
                </c:pt>
              </c:strCache>
            </c:strRef>
          </c:cat>
          <c:val>
            <c:numRef>
              <c:f>List1!$B$3:$P$3</c:f>
              <c:numCache>
                <c:formatCode>General</c:formatCode>
                <c:ptCount val="15"/>
                <c:pt idx="3">
                  <c:v>15.294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58D-495B-8381-FE2D77B32D4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593864360"/>
        <c:axId val="593863184"/>
      </c:barChart>
      <c:catAx>
        <c:axId val="59386436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93863184"/>
        <c:crosses val="autoZero"/>
        <c:auto val="1"/>
        <c:lblAlgn val="ctr"/>
        <c:lblOffset val="100"/>
        <c:tickLblSkip val="1"/>
        <c:noMultiLvlLbl val="0"/>
      </c:catAx>
      <c:valAx>
        <c:axId val="593863184"/>
        <c:scaling>
          <c:orientation val="minMax"/>
        </c:scaling>
        <c:delete val="0"/>
        <c:axPos val="t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938643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2">
    <c:autoUpdate val="0"/>
  </c:externalData>
</c:chartSpace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4131074023507296"/>
          <c:y val="0.15573556917754688"/>
          <c:w val="0.61189273984018855"/>
          <c:h val="0.821541244989106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gerontopsychiatrie</c:v>
                </c:pt>
              </c:strCache>
            </c:strRef>
          </c:tx>
          <c:spPr>
            <a:solidFill>
              <a:srgbClr val="4472C4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6CD-4982-BDA9-2777F7AC8EFB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P$1</c:f>
              <c:strCache>
                <c:ptCount val="15"/>
                <c:pt idx="0">
                  <c:v>Kraj Vysočina</c:v>
                </c:pt>
                <c:pt idx="1">
                  <c:v>Olomoucký kraj</c:v>
                </c:pt>
                <c:pt idx="2">
                  <c:v>Moravskoslezský kraj</c:v>
                </c:pt>
                <c:pt idx="3">
                  <c:v>Jihomoravský kraj</c:v>
                </c:pt>
                <c:pt idx="4">
                  <c:v>ČR</c:v>
                </c:pt>
                <c:pt idx="5">
                  <c:v>Hlavní město Praha</c:v>
                </c:pt>
                <c:pt idx="6">
                  <c:v>Středočeský kraj</c:v>
                </c:pt>
                <c:pt idx="7">
                  <c:v>Jihočeský kraj</c:v>
                </c:pt>
                <c:pt idx="8">
                  <c:v>Plzeňský kraj</c:v>
                </c:pt>
                <c:pt idx="9">
                  <c:v>Karlovarský kraj</c:v>
                </c:pt>
                <c:pt idx="10">
                  <c:v>Ústecký kraj</c:v>
                </c:pt>
                <c:pt idx="11">
                  <c:v>Liberecký kraj</c:v>
                </c:pt>
                <c:pt idx="12">
                  <c:v>Královéhradecký kraj</c:v>
                </c:pt>
                <c:pt idx="13">
                  <c:v>Pardubický kraj</c:v>
                </c:pt>
                <c:pt idx="14">
                  <c:v>Zlínský kraj</c:v>
                </c:pt>
              </c:strCache>
            </c:strRef>
          </c:cat>
          <c:val>
            <c:numRef>
              <c:f>List1!$B$2:$P$2</c:f>
              <c:numCache>
                <c:formatCode>General</c:formatCode>
                <c:ptCount val="15"/>
                <c:pt idx="0">
                  <c:v>1.7794112790586993</c:v>
                </c:pt>
                <c:pt idx="1">
                  <c:v>1.008227261072298</c:v>
                </c:pt>
                <c:pt idx="2">
                  <c:v>0.74474183683933581</c:v>
                </c:pt>
                <c:pt idx="3">
                  <c:v>0.5471574104502136</c:v>
                </c:pt>
                <c:pt idx="4">
                  <c:v>0.28815438868831472</c:v>
                </c:pt>
                <c:pt idx="5">
                  <c:v>1.105114025665168E-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6CD-4982-BDA9-2777F7AC8EFB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</c:strCache>
            </c:strRef>
          </c:tx>
          <c:spPr>
            <a:solidFill>
              <a:srgbClr val="FFC000"/>
            </a:solidFill>
          </c:spPr>
          <c:invertIfNegative val="0"/>
          <c:dLbls>
            <c:delete val="1"/>
          </c:dLbls>
          <c:cat>
            <c:strRef>
              <c:f>List1!$B$1:$P$1</c:f>
              <c:strCache>
                <c:ptCount val="15"/>
                <c:pt idx="0">
                  <c:v>Kraj Vysočina</c:v>
                </c:pt>
                <c:pt idx="1">
                  <c:v>Olomoucký kraj</c:v>
                </c:pt>
                <c:pt idx="2">
                  <c:v>Moravskoslezský kraj</c:v>
                </c:pt>
                <c:pt idx="3">
                  <c:v>Jihomoravský kraj</c:v>
                </c:pt>
                <c:pt idx="4">
                  <c:v>ČR</c:v>
                </c:pt>
                <c:pt idx="5">
                  <c:v>Hlavní město Praha</c:v>
                </c:pt>
                <c:pt idx="6">
                  <c:v>Středočeský kraj</c:v>
                </c:pt>
                <c:pt idx="7">
                  <c:v>Jihočeský kraj</c:v>
                </c:pt>
                <c:pt idx="8">
                  <c:v>Plzeňský kraj</c:v>
                </c:pt>
                <c:pt idx="9">
                  <c:v>Karlovarský kraj</c:v>
                </c:pt>
                <c:pt idx="10">
                  <c:v>Ústecký kraj</c:v>
                </c:pt>
                <c:pt idx="11">
                  <c:v>Liberecký kraj</c:v>
                </c:pt>
                <c:pt idx="12">
                  <c:v>Královéhradecký kraj</c:v>
                </c:pt>
                <c:pt idx="13">
                  <c:v>Pardubický kraj</c:v>
                </c:pt>
                <c:pt idx="14">
                  <c:v>Zlínský kraj</c:v>
                </c:pt>
              </c:strCache>
            </c:strRef>
          </c:cat>
          <c:val>
            <c:numRef>
              <c:f>List1!$B$3:$P$3</c:f>
              <c:numCache>
                <c:formatCode>General</c:formatCode>
                <c:ptCount val="15"/>
                <c:pt idx="4">
                  <c:v>0.288154388688314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6CD-4982-BDA9-2777F7AC8EF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593864360"/>
        <c:axId val="593863184"/>
      </c:barChart>
      <c:catAx>
        <c:axId val="59386436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93863184"/>
        <c:crosses val="autoZero"/>
        <c:auto val="1"/>
        <c:lblAlgn val="ctr"/>
        <c:lblOffset val="100"/>
        <c:tickLblSkip val="1"/>
        <c:noMultiLvlLbl val="0"/>
      </c:catAx>
      <c:valAx>
        <c:axId val="593863184"/>
        <c:scaling>
          <c:orientation val="minMax"/>
        </c:scaling>
        <c:delete val="0"/>
        <c:axPos val="t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938643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29879136124037"/>
          <c:y val="6.5393325144959685E-2"/>
          <c:w val="0.84184599831277318"/>
          <c:h val="0.61265647339595886"/>
        </c:manualLayout>
      </c:layout>
      <c:areaChart>
        <c:grouping val="stacked"/>
        <c:varyColors val="0"/>
        <c:ser>
          <c:idx val="0"/>
          <c:order val="0"/>
          <c:tx>
            <c:strRef>
              <c:f>List1!$A$2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2:$O$2</c:f>
              <c:numCache>
                <c:formatCode>General</c:formatCode>
                <c:ptCount val="14"/>
                <c:pt idx="0">
                  <c:v>3893.8238477383702</c:v>
                </c:pt>
                <c:pt idx="1">
                  <c:v>4073.1542567509227</c:v>
                </c:pt>
                <c:pt idx="2">
                  <c:v>4112.8217230039963</c:v>
                </c:pt>
                <c:pt idx="3">
                  <c:v>4312.2815776335501</c:v>
                </c:pt>
                <c:pt idx="4">
                  <c:v>4395.3441870744364</c:v>
                </c:pt>
                <c:pt idx="5">
                  <c:v>4548.2693087911857</c:v>
                </c:pt>
                <c:pt idx="6">
                  <c:v>4618.0883262277475</c:v>
                </c:pt>
                <c:pt idx="7">
                  <c:v>4792.2671237028753</c:v>
                </c:pt>
                <c:pt idx="8">
                  <c:v>4949.6218147310838</c:v>
                </c:pt>
                <c:pt idx="9">
                  <c:v>5052.4954468234901</c:v>
                </c:pt>
                <c:pt idx="10">
                  <c:v>4899.0132593277831</c:v>
                </c:pt>
                <c:pt idx="11">
                  <c:v>5301.5949296285062</c:v>
                </c:pt>
                <c:pt idx="12">
                  <c:v>5122.2878083287915</c:v>
                </c:pt>
                <c:pt idx="13">
                  <c:v>5237.73445582404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71-4ED3-9553-489CC6CBEA88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Rozsah hodnot krajů</c:v>
                </c:pt>
              </c:strCache>
            </c:strRef>
          </c:tx>
          <c:spPr>
            <a:solidFill>
              <a:srgbClr val="FFDC85"/>
            </a:solidFill>
            <a:ln>
              <a:noFill/>
            </a:ln>
            <a:effectLst/>
          </c:spP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3:$O$3</c:f>
              <c:numCache>
                <c:formatCode>General</c:formatCode>
                <c:ptCount val="14"/>
                <c:pt idx="0">
                  <c:v>2743.9748346255119</c:v>
                </c:pt>
                <c:pt idx="1">
                  <c:v>2862.580254240484</c:v>
                </c:pt>
                <c:pt idx="2">
                  <c:v>2865.7895844034256</c:v>
                </c:pt>
                <c:pt idx="3">
                  <c:v>2748.0120805982533</c:v>
                </c:pt>
                <c:pt idx="4">
                  <c:v>2693.7860548242625</c:v>
                </c:pt>
                <c:pt idx="5">
                  <c:v>2485.4091566152956</c:v>
                </c:pt>
                <c:pt idx="6">
                  <c:v>2419.8838901987683</c:v>
                </c:pt>
                <c:pt idx="7">
                  <c:v>2185.8625032494811</c:v>
                </c:pt>
                <c:pt idx="8">
                  <c:v>2054.3747521179475</c:v>
                </c:pt>
                <c:pt idx="9">
                  <c:v>2100.6096976733324</c:v>
                </c:pt>
                <c:pt idx="10">
                  <c:v>2172.6717622543711</c:v>
                </c:pt>
                <c:pt idx="11">
                  <c:v>2354.2234450708338</c:v>
                </c:pt>
                <c:pt idx="12">
                  <c:v>2325.2748225242194</c:v>
                </c:pt>
                <c:pt idx="13">
                  <c:v>2379.59852934699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171-4ED3-9553-489CC6CBEA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00352592"/>
        <c:axId val="300349064"/>
      </c:areaChart>
      <c:lineChart>
        <c:grouping val="standard"/>
        <c:varyColors val="0"/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D7144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D71440"/>
              </a:solidFill>
              <a:ln w="9525">
                <a:solidFill>
                  <a:srgbClr val="D71440"/>
                </a:solidFill>
              </a:ln>
              <a:effectLst/>
            </c:spPr>
          </c:marke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4:$O$4</c:f>
              <c:numCache>
                <c:formatCode>General</c:formatCode>
                <c:ptCount val="1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171-4ED3-9553-489CC6CBEA88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ČR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9525">
                <a:solidFill>
                  <a:schemeClr val="tx1"/>
                </a:solidFill>
              </a:ln>
              <a:effectLst/>
            </c:spPr>
          </c:marke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5:$O$5</c:f>
              <c:numCache>
                <c:formatCode>General</c:formatCode>
                <c:ptCount val="14"/>
                <c:pt idx="0">
                  <c:v>5271.8932773872275</c:v>
                </c:pt>
                <c:pt idx="1">
                  <c:v>5456.4369318515865</c:v>
                </c:pt>
                <c:pt idx="2">
                  <c:v>5521.7074038776191</c:v>
                </c:pt>
                <c:pt idx="3">
                  <c:v>5653.792332173738</c:v>
                </c:pt>
                <c:pt idx="4">
                  <c:v>5761.32552461044</c:v>
                </c:pt>
                <c:pt idx="5">
                  <c:v>5828.8391739379076</c:v>
                </c:pt>
                <c:pt idx="6">
                  <c:v>5918.0762608404384</c:v>
                </c:pt>
                <c:pt idx="7">
                  <c:v>5994.0709163750162</c:v>
                </c:pt>
                <c:pt idx="8">
                  <c:v>6054.9747884047702</c:v>
                </c:pt>
                <c:pt idx="9">
                  <c:v>6167.1662870908467</c:v>
                </c:pt>
                <c:pt idx="10">
                  <c:v>6117.5960423588822</c:v>
                </c:pt>
                <c:pt idx="11">
                  <c:v>6578.2640256844561</c:v>
                </c:pt>
                <c:pt idx="12">
                  <c:v>6465.7062430925253</c:v>
                </c:pt>
                <c:pt idx="13">
                  <c:v>6520.140762585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171-4ED3-9553-489CC6CBEA88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Praha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0000"/>
              </a:solidFill>
              <a:ln w="9525">
                <a:solidFill>
                  <a:srgbClr val="FF0000"/>
                </a:solidFill>
              </a:ln>
              <a:effectLst/>
            </c:spPr>
          </c:marke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6:$O$6</c:f>
              <c:numCache>
                <c:formatCode>General</c:formatCode>
                <c:ptCount val="14"/>
                <c:pt idx="0">
                  <c:v>6637.7986823638821</c:v>
                </c:pt>
                <c:pt idx="1">
                  <c:v>6935.7345109914068</c:v>
                </c:pt>
                <c:pt idx="2">
                  <c:v>6978.6113074074219</c:v>
                </c:pt>
                <c:pt idx="3">
                  <c:v>7060.2936582318034</c:v>
                </c:pt>
                <c:pt idx="4">
                  <c:v>7089.1302418986988</c:v>
                </c:pt>
                <c:pt idx="5">
                  <c:v>7033.6784654064813</c:v>
                </c:pt>
                <c:pt idx="6">
                  <c:v>7037.9722164265158</c:v>
                </c:pt>
                <c:pt idx="7">
                  <c:v>6978.1296269523564</c:v>
                </c:pt>
                <c:pt idx="8">
                  <c:v>6960.5646217543253</c:v>
                </c:pt>
                <c:pt idx="9">
                  <c:v>7005.1067574314939</c:v>
                </c:pt>
                <c:pt idx="10">
                  <c:v>6954.998874695154</c:v>
                </c:pt>
                <c:pt idx="11">
                  <c:v>7655.81837469934</c:v>
                </c:pt>
                <c:pt idx="12">
                  <c:v>7437.672306075091</c:v>
                </c:pt>
                <c:pt idx="13">
                  <c:v>7392.08596228298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171-4ED3-9553-489CC6CBEA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0352592"/>
        <c:axId val="300349064"/>
      </c:lineChart>
      <c:catAx>
        <c:axId val="3003525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0349064"/>
        <c:crosses val="autoZero"/>
        <c:auto val="1"/>
        <c:lblAlgn val="ctr"/>
        <c:lblOffset val="100"/>
        <c:noMultiLvlLbl val="0"/>
      </c:catAx>
      <c:valAx>
        <c:axId val="300349064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0352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ayout>
        <c:manualLayout>
          <c:xMode val="edge"/>
          <c:yMode val="edge"/>
          <c:x val="6.2657614561094963E-2"/>
          <c:y val="0.57407646055458172"/>
          <c:w val="0.71517626800064349"/>
          <c:h val="0.1106498656749382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4B7-4095-B95E-167203704D51}"/>
              </c:ext>
            </c:extLst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4B7-4095-B95E-167203704D51}"/>
              </c:ext>
            </c:extLst>
          </c:dPt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4B7-4095-B95E-167203704D51}"/>
              </c:ext>
            </c:extLst>
          </c:dPt>
          <c:dPt>
            <c:idx val="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4B7-4095-B95E-167203704D51}"/>
              </c:ext>
            </c:extLst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4B7-4095-B95E-167203704D51}"/>
              </c:ext>
            </c:extLst>
          </c:dPt>
          <c:dPt>
            <c:idx val="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14B7-4095-B95E-167203704D51}"/>
              </c:ext>
            </c:extLst>
          </c:dPt>
          <c:dPt>
            <c:idx val="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14B7-4095-B95E-167203704D51}"/>
              </c:ext>
            </c:extLst>
          </c:dPt>
          <c:dPt>
            <c:idx val="7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14B7-4095-B95E-167203704D51}"/>
              </c:ext>
            </c:extLst>
          </c:dPt>
          <c:dPt>
            <c:idx val="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14B7-4095-B95E-167203704D51}"/>
              </c:ext>
            </c:extLst>
          </c:dPt>
          <c:dPt>
            <c:idx val="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14B7-4095-B95E-167203704D51}"/>
              </c:ext>
            </c:extLst>
          </c:dPt>
          <c:dPt>
            <c:idx val="1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14B7-4095-B95E-167203704D51}"/>
              </c:ext>
            </c:extLst>
          </c:dPt>
          <c:dPt>
            <c:idx val="1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14B7-4095-B95E-167203704D51}"/>
              </c:ext>
            </c:extLst>
          </c:dPt>
          <c:dPt>
            <c:idx val="1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14B7-4095-B95E-167203704D51}"/>
              </c:ext>
            </c:extLst>
          </c:dPt>
          <c:dPt>
            <c:idx val="1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B-14B7-4095-B95E-167203704D51}"/>
              </c:ext>
            </c:extLst>
          </c:dPt>
          <c:dPt>
            <c:idx val="1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D-14B7-4095-B95E-167203704D51}"/>
              </c:ext>
            </c:extLst>
          </c:dPt>
          <c:dPt>
            <c:idx val="1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F-14B7-4095-B95E-167203704D51}"/>
              </c:ext>
            </c:extLst>
          </c:dPt>
          <c:dPt>
            <c:idx val="17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1-14B7-4095-B95E-167203704D51}"/>
              </c:ext>
            </c:extLst>
          </c:dPt>
          <c:dPt>
            <c:idx val="1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3-14B7-4095-B95E-167203704D51}"/>
              </c:ext>
            </c:extLst>
          </c:dPt>
          <c:dPt>
            <c:idx val="1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5-14B7-4095-B95E-167203704D51}"/>
              </c:ext>
            </c:extLst>
          </c:dPt>
          <c:dPt>
            <c:idx val="20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7-14B7-4095-B95E-167203704D5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2</c:f>
              <c:strCache>
                <c:ptCount val="21"/>
                <c:pt idx="0">
                  <c:v>Hlavní město Praha</c:v>
                </c:pt>
                <c:pt idx="1">
                  <c:v>Olomoucký kraj</c:v>
                </c:pt>
                <c:pt idx="2">
                  <c:v>Plzeňský kraj</c:v>
                </c:pt>
                <c:pt idx="3">
                  <c:v>Středočeský kraj</c:v>
                </c:pt>
                <c:pt idx="4">
                  <c:v>Královéhradecký kraj</c:v>
                </c:pt>
                <c:pt idx="5">
                  <c:v>Ústecký kraj</c:v>
                </c:pt>
                <c:pt idx="6">
                  <c:v>Karlovarský kraj</c:v>
                </c:pt>
                <c:pt idx="7">
                  <c:v>Liberecký kraj</c:v>
                </c:pt>
                <c:pt idx="8">
                  <c:v>Zlínský kraj</c:v>
                </c:pt>
                <c:pt idx="9">
                  <c:v>Jihočeský kraj</c:v>
                </c:pt>
                <c:pt idx="10">
                  <c:v>Moravskoslezský kraj</c:v>
                </c:pt>
                <c:pt idx="11">
                  <c:v>Pardubický kraj</c:v>
                </c:pt>
                <c:pt idx="12">
                  <c:v>Jihomoravský kraj</c:v>
                </c:pt>
                <c:pt idx="13">
                  <c:v>Kraj Vysočina</c:v>
                </c:pt>
                <c:pt idx="15">
                  <c:v>≤ 2000</c:v>
                </c:pt>
                <c:pt idx="16">
                  <c:v>2001 - 5000</c:v>
                </c:pt>
                <c:pt idx="17">
                  <c:v>5001 - 10000</c:v>
                </c:pt>
                <c:pt idx="18">
                  <c:v>10001 - 50000</c:v>
                </c:pt>
                <c:pt idx="19">
                  <c:v>50001 - 100000</c:v>
                </c:pt>
                <c:pt idx="20">
                  <c:v>&gt; 100 000 </c:v>
                </c:pt>
              </c:strCache>
            </c:strRef>
          </c:cat>
          <c:val>
            <c:numRef>
              <c:f>Sheet1!$B$2:$B$22</c:f>
              <c:numCache>
                <c:formatCode>General</c:formatCode>
                <c:ptCount val="21"/>
                <c:pt idx="0">
                  <c:v>22</c:v>
                </c:pt>
                <c:pt idx="1">
                  <c:v>11</c:v>
                </c:pt>
                <c:pt idx="2">
                  <c:v>9</c:v>
                </c:pt>
                <c:pt idx="3">
                  <c:v>2</c:v>
                </c:pt>
                <c:pt idx="4">
                  <c:v>1</c:v>
                </c:pt>
                <c:pt idx="5">
                  <c:v>1</c:v>
                </c:pt>
                <c:pt idx="6">
                  <c:v>-1</c:v>
                </c:pt>
                <c:pt idx="7">
                  <c:v>-1</c:v>
                </c:pt>
                <c:pt idx="8">
                  <c:v>-1</c:v>
                </c:pt>
                <c:pt idx="9">
                  <c:v>-2</c:v>
                </c:pt>
                <c:pt idx="10">
                  <c:v>-3</c:v>
                </c:pt>
                <c:pt idx="11">
                  <c:v>-3</c:v>
                </c:pt>
                <c:pt idx="12">
                  <c:v>-5</c:v>
                </c:pt>
                <c:pt idx="13">
                  <c:v>-7</c:v>
                </c:pt>
                <c:pt idx="15">
                  <c:v>1</c:v>
                </c:pt>
                <c:pt idx="16">
                  <c:v>-5</c:v>
                </c:pt>
                <c:pt idx="17">
                  <c:v>8</c:v>
                </c:pt>
                <c:pt idx="18">
                  <c:v>-6</c:v>
                </c:pt>
                <c:pt idx="19">
                  <c:v>-1</c:v>
                </c:pt>
                <c:pt idx="20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8-14B7-4095-B95E-167203704D5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22</c:f>
              <c:strCache>
                <c:ptCount val="21"/>
                <c:pt idx="0">
                  <c:v>Hlavní město Praha</c:v>
                </c:pt>
                <c:pt idx="1">
                  <c:v>Olomoucký kraj</c:v>
                </c:pt>
                <c:pt idx="2">
                  <c:v>Plzeňský kraj</c:v>
                </c:pt>
                <c:pt idx="3">
                  <c:v>Středočeský kraj</c:v>
                </c:pt>
                <c:pt idx="4">
                  <c:v>Královéhradecký kraj</c:v>
                </c:pt>
                <c:pt idx="5">
                  <c:v>Ústecký kraj</c:v>
                </c:pt>
                <c:pt idx="6">
                  <c:v>Karlovarský kraj</c:v>
                </c:pt>
                <c:pt idx="7">
                  <c:v>Liberecký kraj</c:v>
                </c:pt>
                <c:pt idx="8">
                  <c:v>Zlínský kraj</c:v>
                </c:pt>
                <c:pt idx="9">
                  <c:v>Jihočeský kraj</c:v>
                </c:pt>
                <c:pt idx="10">
                  <c:v>Moravskoslezský kraj</c:v>
                </c:pt>
                <c:pt idx="11">
                  <c:v>Pardubický kraj</c:v>
                </c:pt>
                <c:pt idx="12">
                  <c:v>Jihomoravský kraj</c:v>
                </c:pt>
                <c:pt idx="13">
                  <c:v>Kraj Vysočina</c:v>
                </c:pt>
                <c:pt idx="15">
                  <c:v>≤ 2000</c:v>
                </c:pt>
                <c:pt idx="16">
                  <c:v>2001 - 5000</c:v>
                </c:pt>
                <c:pt idx="17">
                  <c:v>5001 - 10000</c:v>
                </c:pt>
                <c:pt idx="18">
                  <c:v>10001 - 50000</c:v>
                </c:pt>
                <c:pt idx="19">
                  <c:v>50001 - 100000</c:v>
                </c:pt>
                <c:pt idx="20">
                  <c:v>&gt; 100 000 </c:v>
                </c:pt>
              </c:strCache>
            </c:strRef>
          </c:cat>
          <c:val>
            <c:numRef>
              <c:f>Sheet1!$C$2:$C$22</c:f>
              <c:numCache>
                <c:formatCode>General</c:formatCode>
                <c:ptCount val="21"/>
                <c:pt idx="0">
                  <c:v>22</c:v>
                </c:pt>
                <c:pt idx="1">
                  <c:v>11</c:v>
                </c:pt>
                <c:pt idx="2">
                  <c:v>9</c:v>
                </c:pt>
                <c:pt idx="3">
                  <c:v>2</c:v>
                </c:pt>
                <c:pt idx="4">
                  <c:v>1</c:v>
                </c:pt>
                <c:pt idx="5">
                  <c:v>1</c:v>
                </c:pt>
                <c:pt idx="15">
                  <c:v>1</c:v>
                </c:pt>
                <c:pt idx="17">
                  <c:v>8</c:v>
                </c:pt>
                <c:pt idx="20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9-14B7-4095-B95E-167203704D5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22</c:f>
              <c:strCache>
                <c:ptCount val="21"/>
                <c:pt idx="0">
                  <c:v>Hlavní město Praha</c:v>
                </c:pt>
                <c:pt idx="1">
                  <c:v>Olomoucký kraj</c:v>
                </c:pt>
                <c:pt idx="2">
                  <c:v>Plzeňský kraj</c:v>
                </c:pt>
                <c:pt idx="3">
                  <c:v>Středočeský kraj</c:v>
                </c:pt>
                <c:pt idx="4">
                  <c:v>Královéhradecký kraj</c:v>
                </c:pt>
                <c:pt idx="5">
                  <c:v>Ústecký kraj</c:v>
                </c:pt>
                <c:pt idx="6">
                  <c:v>Karlovarský kraj</c:v>
                </c:pt>
                <c:pt idx="7">
                  <c:v>Liberecký kraj</c:v>
                </c:pt>
                <c:pt idx="8">
                  <c:v>Zlínský kraj</c:v>
                </c:pt>
                <c:pt idx="9">
                  <c:v>Jihočeský kraj</c:v>
                </c:pt>
                <c:pt idx="10">
                  <c:v>Moravskoslezský kraj</c:v>
                </c:pt>
                <c:pt idx="11">
                  <c:v>Pardubický kraj</c:v>
                </c:pt>
                <c:pt idx="12">
                  <c:v>Jihomoravský kraj</c:v>
                </c:pt>
                <c:pt idx="13">
                  <c:v>Kraj Vysočina</c:v>
                </c:pt>
                <c:pt idx="15">
                  <c:v>≤ 2000</c:v>
                </c:pt>
                <c:pt idx="16">
                  <c:v>2001 - 5000</c:v>
                </c:pt>
                <c:pt idx="17">
                  <c:v>5001 - 10000</c:v>
                </c:pt>
                <c:pt idx="18">
                  <c:v>10001 - 50000</c:v>
                </c:pt>
                <c:pt idx="19">
                  <c:v>50001 - 100000</c:v>
                </c:pt>
                <c:pt idx="20">
                  <c:v>&gt; 100 000 </c:v>
                </c:pt>
              </c:strCache>
            </c:strRef>
          </c:cat>
          <c:val>
            <c:numRef>
              <c:f>Sheet1!$D$2:$D$22</c:f>
              <c:numCache>
                <c:formatCode>General</c:formatCode>
                <c:ptCount val="21"/>
                <c:pt idx="6">
                  <c:v>-1</c:v>
                </c:pt>
                <c:pt idx="7">
                  <c:v>-1</c:v>
                </c:pt>
                <c:pt idx="8">
                  <c:v>-1</c:v>
                </c:pt>
                <c:pt idx="9">
                  <c:v>-2</c:v>
                </c:pt>
                <c:pt idx="10">
                  <c:v>-3</c:v>
                </c:pt>
                <c:pt idx="11">
                  <c:v>-3</c:v>
                </c:pt>
                <c:pt idx="12">
                  <c:v>-5</c:v>
                </c:pt>
                <c:pt idx="13">
                  <c:v>-7</c:v>
                </c:pt>
                <c:pt idx="16">
                  <c:v>-5</c:v>
                </c:pt>
                <c:pt idx="18">
                  <c:v>-6</c:v>
                </c:pt>
                <c:pt idx="19">
                  <c:v>-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A-14B7-4095-B95E-167203704D5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411669192"/>
        <c:axId val="411666448"/>
      </c:barChart>
      <c:catAx>
        <c:axId val="41166919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1666448"/>
        <c:crosses val="autoZero"/>
        <c:auto val="1"/>
        <c:lblAlgn val="ctr"/>
        <c:lblOffset val="100"/>
        <c:noMultiLvlLbl val="0"/>
      </c:catAx>
      <c:valAx>
        <c:axId val="411666448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16691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429-404C-98AC-2A2A343F70E4}"/>
              </c:ext>
            </c:extLst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429-404C-98AC-2A2A343F70E4}"/>
              </c:ext>
            </c:extLst>
          </c:dPt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429-404C-98AC-2A2A343F70E4}"/>
              </c:ext>
            </c:extLst>
          </c:dPt>
          <c:dPt>
            <c:idx val="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429-404C-98AC-2A2A343F70E4}"/>
              </c:ext>
            </c:extLst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429-404C-98AC-2A2A343F70E4}"/>
              </c:ext>
            </c:extLst>
          </c:dPt>
          <c:dPt>
            <c:idx val="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429-404C-98AC-2A2A343F70E4}"/>
              </c:ext>
            </c:extLst>
          </c:dPt>
          <c:dPt>
            <c:idx val="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429-404C-98AC-2A2A343F70E4}"/>
              </c:ext>
            </c:extLst>
          </c:dPt>
          <c:dPt>
            <c:idx val="7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429-404C-98AC-2A2A343F70E4}"/>
              </c:ext>
            </c:extLst>
          </c:dPt>
          <c:dPt>
            <c:idx val="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429-404C-98AC-2A2A343F70E4}"/>
              </c:ext>
            </c:extLst>
          </c:dPt>
          <c:dPt>
            <c:idx val="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8429-404C-98AC-2A2A343F70E4}"/>
              </c:ext>
            </c:extLst>
          </c:dPt>
          <c:dPt>
            <c:idx val="1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8429-404C-98AC-2A2A343F70E4}"/>
              </c:ext>
            </c:extLst>
          </c:dPt>
          <c:dPt>
            <c:idx val="1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8429-404C-98AC-2A2A343F70E4}"/>
              </c:ext>
            </c:extLst>
          </c:dPt>
          <c:dPt>
            <c:idx val="1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8429-404C-98AC-2A2A343F70E4}"/>
              </c:ext>
            </c:extLst>
          </c:dPt>
          <c:dPt>
            <c:idx val="1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B-8429-404C-98AC-2A2A343F70E4}"/>
              </c:ext>
            </c:extLst>
          </c:dPt>
          <c:dPt>
            <c:idx val="1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D-8429-404C-98AC-2A2A343F70E4}"/>
              </c:ext>
            </c:extLst>
          </c:dPt>
          <c:dPt>
            <c:idx val="1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F-8429-404C-98AC-2A2A343F70E4}"/>
              </c:ext>
            </c:extLst>
          </c:dPt>
          <c:dPt>
            <c:idx val="17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1-8429-404C-98AC-2A2A343F70E4}"/>
              </c:ext>
            </c:extLst>
          </c:dPt>
          <c:dPt>
            <c:idx val="1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3-8429-404C-98AC-2A2A343F70E4}"/>
              </c:ext>
            </c:extLst>
          </c:dPt>
          <c:dPt>
            <c:idx val="1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5-8429-404C-98AC-2A2A343F70E4}"/>
              </c:ext>
            </c:extLst>
          </c:dPt>
          <c:dPt>
            <c:idx val="20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7-8429-404C-98AC-2A2A343F70E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2</c:f>
              <c:strCache>
                <c:ptCount val="21"/>
                <c:pt idx="0">
                  <c:v>Praha 8</c:v>
                </c:pt>
                <c:pt idx="1">
                  <c:v>Praha 3</c:v>
                </c:pt>
                <c:pt idx="2">
                  <c:v>Praha 17</c:v>
                </c:pt>
                <c:pt idx="3">
                  <c:v>Praha 1</c:v>
                </c:pt>
                <c:pt idx="4">
                  <c:v>Praha 5</c:v>
                </c:pt>
                <c:pt idx="5">
                  <c:v>Praha-Zbraslav</c:v>
                </c:pt>
                <c:pt idx="6">
                  <c:v>Praha 10</c:v>
                </c:pt>
                <c:pt idx="7">
                  <c:v>Praha 11</c:v>
                </c:pt>
                <c:pt idx="8">
                  <c:v>Praha 13</c:v>
                </c:pt>
                <c:pt idx="9">
                  <c:v>Praha 14</c:v>
                </c:pt>
                <c:pt idx="10">
                  <c:v>Praha 15</c:v>
                </c:pt>
                <c:pt idx="11">
                  <c:v>Praha 7</c:v>
                </c:pt>
                <c:pt idx="12">
                  <c:v>Praha 20</c:v>
                </c:pt>
                <c:pt idx="13">
                  <c:v>Praha 9</c:v>
                </c:pt>
                <c:pt idx="14">
                  <c:v>Praha-Klánovice</c:v>
                </c:pt>
                <c:pt idx="15">
                  <c:v>Praha-Řeporyje</c:v>
                </c:pt>
                <c:pt idx="16">
                  <c:v>Praha 12</c:v>
                </c:pt>
                <c:pt idx="17">
                  <c:v>Praha 4</c:v>
                </c:pt>
                <c:pt idx="18">
                  <c:v>Praha 6</c:v>
                </c:pt>
                <c:pt idx="19">
                  <c:v>Praha-Kunratice</c:v>
                </c:pt>
                <c:pt idx="20">
                  <c:v>Praha 2</c:v>
                </c:pt>
              </c:strCache>
            </c:strRef>
          </c:cat>
          <c:val>
            <c:numRef>
              <c:f>Sheet1!$B$2:$B$22</c:f>
              <c:numCache>
                <c:formatCode>General</c:formatCode>
                <c:ptCount val="21"/>
                <c:pt idx="0">
                  <c:v>7</c:v>
                </c:pt>
                <c:pt idx="1">
                  <c:v>6</c:v>
                </c:pt>
                <c:pt idx="2">
                  <c:v>3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-1</c:v>
                </c:pt>
                <c:pt idx="17">
                  <c:v>-1</c:v>
                </c:pt>
                <c:pt idx="18">
                  <c:v>-1</c:v>
                </c:pt>
                <c:pt idx="19">
                  <c:v>-1</c:v>
                </c:pt>
                <c:pt idx="20">
                  <c:v>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8-8429-404C-98AC-2A2A343F70E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22</c:f>
              <c:strCache>
                <c:ptCount val="21"/>
                <c:pt idx="0">
                  <c:v>Praha 8</c:v>
                </c:pt>
                <c:pt idx="1">
                  <c:v>Praha 3</c:v>
                </c:pt>
                <c:pt idx="2">
                  <c:v>Praha 17</c:v>
                </c:pt>
                <c:pt idx="3">
                  <c:v>Praha 1</c:v>
                </c:pt>
                <c:pt idx="4">
                  <c:v>Praha 5</c:v>
                </c:pt>
                <c:pt idx="5">
                  <c:v>Praha-Zbraslav</c:v>
                </c:pt>
                <c:pt idx="6">
                  <c:v>Praha 10</c:v>
                </c:pt>
                <c:pt idx="7">
                  <c:v>Praha 11</c:v>
                </c:pt>
                <c:pt idx="8">
                  <c:v>Praha 13</c:v>
                </c:pt>
                <c:pt idx="9">
                  <c:v>Praha 14</c:v>
                </c:pt>
                <c:pt idx="10">
                  <c:v>Praha 15</c:v>
                </c:pt>
                <c:pt idx="11">
                  <c:v>Praha 7</c:v>
                </c:pt>
                <c:pt idx="12">
                  <c:v>Praha 20</c:v>
                </c:pt>
                <c:pt idx="13">
                  <c:v>Praha 9</c:v>
                </c:pt>
                <c:pt idx="14">
                  <c:v>Praha-Klánovice</c:v>
                </c:pt>
                <c:pt idx="15">
                  <c:v>Praha-Řeporyje</c:v>
                </c:pt>
                <c:pt idx="16">
                  <c:v>Praha 12</c:v>
                </c:pt>
                <c:pt idx="17">
                  <c:v>Praha 4</c:v>
                </c:pt>
                <c:pt idx="18">
                  <c:v>Praha 6</c:v>
                </c:pt>
                <c:pt idx="19">
                  <c:v>Praha-Kunratice</c:v>
                </c:pt>
                <c:pt idx="20">
                  <c:v>Praha 2</c:v>
                </c:pt>
              </c:strCache>
            </c:strRef>
          </c:cat>
          <c:val>
            <c:numRef>
              <c:f>Sheet1!$C$2:$C$22</c:f>
              <c:numCache>
                <c:formatCode>General</c:formatCode>
                <c:ptCount val="21"/>
                <c:pt idx="0">
                  <c:v>7</c:v>
                </c:pt>
                <c:pt idx="1">
                  <c:v>6</c:v>
                </c:pt>
                <c:pt idx="2">
                  <c:v>3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9-8429-404C-98AC-2A2A343F70E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22</c:f>
              <c:strCache>
                <c:ptCount val="21"/>
                <c:pt idx="0">
                  <c:v>Praha 8</c:v>
                </c:pt>
                <c:pt idx="1">
                  <c:v>Praha 3</c:v>
                </c:pt>
                <c:pt idx="2">
                  <c:v>Praha 17</c:v>
                </c:pt>
                <c:pt idx="3">
                  <c:v>Praha 1</c:v>
                </c:pt>
                <c:pt idx="4">
                  <c:v>Praha 5</c:v>
                </c:pt>
                <c:pt idx="5">
                  <c:v>Praha-Zbraslav</c:v>
                </c:pt>
                <c:pt idx="6">
                  <c:v>Praha 10</c:v>
                </c:pt>
                <c:pt idx="7">
                  <c:v>Praha 11</c:v>
                </c:pt>
                <c:pt idx="8">
                  <c:v>Praha 13</c:v>
                </c:pt>
                <c:pt idx="9">
                  <c:v>Praha 14</c:v>
                </c:pt>
                <c:pt idx="10">
                  <c:v>Praha 15</c:v>
                </c:pt>
                <c:pt idx="11">
                  <c:v>Praha 7</c:v>
                </c:pt>
                <c:pt idx="12">
                  <c:v>Praha 20</c:v>
                </c:pt>
                <c:pt idx="13">
                  <c:v>Praha 9</c:v>
                </c:pt>
                <c:pt idx="14">
                  <c:v>Praha-Klánovice</c:v>
                </c:pt>
                <c:pt idx="15">
                  <c:v>Praha-Řeporyje</c:v>
                </c:pt>
                <c:pt idx="16">
                  <c:v>Praha 12</c:v>
                </c:pt>
                <c:pt idx="17">
                  <c:v>Praha 4</c:v>
                </c:pt>
                <c:pt idx="18">
                  <c:v>Praha 6</c:v>
                </c:pt>
                <c:pt idx="19">
                  <c:v>Praha-Kunratice</c:v>
                </c:pt>
                <c:pt idx="20">
                  <c:v>Praha 2</c:v>
                </c:pt>
              </c:strCache>
            </c:strRef>
          </c:cat>
          <c:val>
            <c:numRef>
              <c:f>Sheet1!$D$2:$D$22</c:f>
              <c:numCache>
                <c:formatCode>General</c:formatCode>
                <c:ptCount val="21"/>
                <c:pt idx="16">
                  <c:v>-1</c:v>
                </c:pt>
                <c:pt idx="17">
                  <c:v>-1</c:v>
                </c:pt>
                <c:pt idx="18">
                  <c:v>-1</c:v>
                </c:pt>
                <c:pt idx="19">
                  <c:v>-1</c:v>
                </c:pt>
                <c:pt idx="20">
                  <c:v>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A-8429-404C-98AC-2A2A343F70E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411669192"/>
        <c:axId val="411666448"/>
      </c:barChart>
      <c:catAx>
        <c:axId val="41166919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1666448"/>
        <c:crosses val="autoZero"/>
        <c:auto val="1"/>
        <c:lblAlgn val="ctr"/>
        <c:lblOffset val="100"/>
        <c:tickLblSkip val="1"/>
        <c:noMultiLvlLbl val="0"/>
      </c:catAx>
      <c:valAx>
        <c:axId val="411666448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16691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List1!$A$2:$A$16</c:f>
              <c:strCache>
                <c:ptCount val="15"/>
                <c:pt idx="0">
                  <c:v>Hlavní město Praha</c:v>
                </c:pt>
                <c:pt idx="1">
                  <c:v>Plzeňský kraj</c:v>
                </c:pt>
                <c:pt idx="2">
                  <c:v>Královéhradecký kraj</c:v>
                </c:pt>
                <c:pt idx="3">
                  <c:v>Pardubický kraj</c:v>
                </c:pt>
                <c:pt idx="4">
                  <c:v>Jihomoravský kraj</c:v>
                </c:pt>
                <c:pt idx="5">
                  <c:v>ČR</c:v>
                </c:pt>
                <c:pt idx="6">
                  <c:v>Olomoucký kraj</c:v>
                </c:pt>
                <c:pt idx="7">
                  <c:v>Kraj Vysočina</c:v>
                </c:pt>
                <c:pt idx="8">
                  <c:v>Karlovarský kraj</c:v>
                </c:pt>
                <c:pt idx="9">
                  <c:v>Liberecký kraj</c:v>
                </c:pt>
                <c:pt idx="10">
                  <c:v>Jihočeský kraj</c:v>
                </c:pt>
                <c:pt idx="11">
                  <c:v>Moravskoslezský kraj</c:v>
                </c:pt>
                <c:pt idx="12">
                  <c:v>Ústecký kraj</c:v>
                </c:pt>
                <c:pt idx="13">
                  <c:v>Středočeský kraj</c:v>
                </c:pt>
                <c:pt idx="14">
                  <c:v>Zlínský kraj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3.2212886235982201</c:v>
                </c:pt>
                <c:pt idx="1">
                  <c:v>1.56676124624666</c:v>
                </c:pt>
                <c:pt idx="2">
                  <c:v>2.01419371462686</c:v>
                </c:pt>
                <c:pt idx="3">
                  <c:v>1.54339744220459</c:v>
                </c:pt>
                <c:pt idx="4">
                  <c:v>1.4705795351109301</c:v>
                </c:pt>
                <c:pt idx="5">
                  <c:v>1.30159551482061</c:v>
                </c:pt>
                <c:pt idx="6">
                  <c:v>1.3582278600962101</c:v>
                </c:pt>
                <c:pt idx="7">
                  <c:v>0</c:v>
                </c:pt>
                <c:pt idx="8">
                  <c:v>1.7586223223284201</c:v>
                </c:pt>
                <c:pt idx="9">
                  <c:v>1.72218445501926</c:v>
                </c:pt>
                <c:pt idx="10">
                  <c:v>1.0153140600691</c:v>
                </c:pt>
                <c:pt idx="11">
                  <c:v>0.72975389050043005</c:v>
                </c:pt>
                <c:pt idx="12">
                  <c:v>1.04740098406976</c:v>
                </c:pt>
                <c:pt idx="13">
                  <c:v>0.40656566589912002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7B-47C8-B335-E4838D492099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4472C4"/>
            </a:solidFill>
            <a:ln>
              <a:noFill/>
            </a:ln>
            <a:effectLst/>
          </c:spPr>
          <c:invertIfNegative val="0"/>
          <c:cat>
            <c:strRef>
              <c:f>List1!$A$2:$A$16</c:f>
              <c:strCache>
                <c:ptCount val="15"/>
                <c:pt idx="0">
                  <c:v>Hlavní město Praha</c:v>
                </c:pt>
                <c:pt idx="1">
                  <c:v>Plzeňský kraj</c:v>
                </c:pt>
                <c:pt idx="2">
                  <c:v>Královéhradecký kraj</c:v>
                </c:pt>
                <c:pt idx="3">
                  <c:v>Pardubický kraj</c:v>
                </c:pt>
                <c:pt idx="4">
                  <c:v>Jihomoravský kraj</c:v>
                </c:pt>
                <c:pt idx="5">
                  <c:v>ČR</c:v>
                </c:pt>
                <c:pt idx="6">
                  <c:v>Olomoucký kraj</c:v>
                </c:pt>
                <c:pt idx="7">
                  <c:v>Kraj Vysočina</c:v>
                </c:pt>
                <c:pt idx="8">
                  <c:v>Karlovarský kraj</c:v>
                </c:pt>
                <c:pt idx="9">
                  <c:v>Liberecký kraj</c:v>
                </c:pt>
                <c:pt idx="10">
                  <c:v>Jihočeský kraj</c:v>
                </c:pt>
                <c:pt idx="11">
                  <c:v>Moravskoslezský kraj</c:v>
                </c:pt>
                <c:pt idx="12">
                  <c:v>Ústecký kraj</c:v>
                </c:pt>
                <c:pt idx="13">
                  <c:v>Středočeský kraj</c:v>
                </c:pt>
                <c:pt idx="14">
                  <c:v>Zlínský kraj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  <c:pt idx="0">
                  <c:v>3.6837134188838898</c:v>
                </c:pt>
                <c:pt idx="1">
                  <c:v>2.72552478740907</c:v>
                </c:pt>
                <c:pt idx="2">
                  <c:v>1.9990383004932799</c:v>
                </c:pt>
                <c:pt idx="3">
                  <c:v>1.9857742912204199</c:v>
                </c:pt>
                <c:pt idx="4">
                  <c:v>1.9635228393033199</c:v>
                </c:pt>
                <c:pt idx="5">
                  <c:v>1.82590136678461</c:v>
                </c:pt>
                <c:pt idx="6">
                  <c:v>1.80436275921887</c:v>
                </c:pt>
                <c:pt idx="7">
                  <c:v>1.78718163398909</c:v>
                </c:pt>
                <c:pt idx="8">
                  <c:v>1.77114732880328</c:v>
                </c:pt>
                <c:pt idx="9">
                  <c:v>1.6919833384167</c:v>
                </c:pt>
                <c:pt idx="10">
                  <c:v>1.65567228726527</c:v>
                </c:pt>
                <c:pt idx="11">
                  <c:v>1.57185918159092</c:v>
                </c:pt>
                <c:pt idx="12">
                  <c:v>1.5510804013605199</c:v>
                </c:pt>
                <c:pt idx="13">
                  <c:v>0.53494846084212</c:v>
                </c:pt>
                <c:pt idx="14">
                  <c:v>0.43064022420852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7B-47C8-B335-E4838D4920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7"/>
        <c:axId val="1255962911"/>
        <c:axId val="1255948991"/>
      </c:barChart>
      <c:catAx>
        <c:axId val="1255962911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5948991"/>
        <c:crosses val="autoZero"/>
        <c:auto val="1"/>
        <c:lblAlgn val="ctr"/>
        <c:lblOffset val="100"/>
        <c:noMultiLvlLbl val="0"/>
      </c:catAx>
      <c:valAx>
        <c:axId val="1255948991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596291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6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List1!$A$2:$A$16</c:f>
              <c:strCache>
                <c:ptCount val="15"/>
                <c:pt idx="0">
                  <c:v>Kraj Vysočina</c:v>
                </c:pt>
                <c:pt idx="1">
                  <c:v>Plzeňský kraj</c:v>
                </c:pt>
                <c:pt idx="2">
                  <c:v>Zlínský kraj</c:v>
                </c:pt>
                <c:pt idx="3">
                  <c:v>Olomoucký kraj</c:v>
                </c:pt>
                <c:pt idx="4">
                  <c:v>Ústecký kraj</c:v>
                </c:pt>
                <c:pt idx="5">
                  <c:v>ČR</c:v>
                </c:pt>
                <c:pt idx="6">
                  <c:v>Hlavní město Praha</c:v>
                </c:pt>
                <c:pt idx="7">
                  <c:v>Moravskoslezský kraj</c:v>
                </c:pt>
                <c:pt idx="8">
                  <c:v>Jihomoravský kraj</c:v>
                </c:pt>
                <c:pt idx="9">
                  <c:v>Jihočeský kraj</c:v>
                </c:pt>
                <c:pt idx="10">
                  <c:v>Středočeský kraj</c:v>
                </c:pt>
                <c:pt idx="11">
                  <c:v>Královéhradecký kraj</c:v>
                </c:pt>
                <c:pt idx="12">
                  <c:v>Karlovarský kraj</c:v>
                </c:pt>
                <c:pt idx="13">
                  <c:v>Pardubický kraj</c:v>
                </c:pt>
                <c:pt idx="14">
                  <c:v>Liberecký kraj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26.035730847526899</c:v>
                </c:pt>
                <c:pt idx="1">
                  <c:v>20.832759428114901</c:v>
                </c:pt>
                <c:pt idx="2">
                  <c:v>15.4187590900359</c:v>
                </c:pt>
                <c:pt idx="3">
                  <c:v>10.2972623811945</c:v>
                </c:pt>
                <c:pt idx="4">
                  <c:v>8.7324012276513905</c:v>
                </c:pt>
                <c:pt idx="5">
                  <c:v>8.0386011194098401</c:v>
                </c:pt>
                <c:pt idx="6">
                  <c:v>8.3660805260356597</c:v>
                </c:pt>
                <c:pt idx="7">
                  <c:v>7.1565637216121596</c:v>
                </c:pt>
                <c:pt idx="8">
                  <c:v>6.0344470578690004</c:v>
                </c:pt>
                <c:pt idx="9">
                  <c:v>5.9200619810183097</c:v>
                </c:pt>
                <c:pt idx="10">
                  <c:v>4.3983012947268403</c:v>
                </c:pt>
                <c:pt idx="11">
                  <c:v>1.01616980197391</c:v>
                </c:pt>
                <c:pt idx="12">
                  <c:v>0</c:v>
                </c:pt>
                <c:pt idx="13">
                  <c:v>0.69452884899207001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61-47A8-8C72-448AEA36E323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4472C4"/>
            </a:solidFill>
            <a:ln>
              <a:noFill/>
            </a:ln>
            <a:effectLst/>
          </c:spPr>
          <c:invertIfNegative val="0"/>
          <c:cat>
            <c:strRef>
              <c:f>List1!$A$2:$A$16</c:f>
              <c:strCache>
                <c:ptCount val="15"/>
                <c:pt idx="0">
                  <c:v>Kraj Vysočina</c:v>
                </c:pt>
                <c:pt idx="1">
                  <c:v>Plzeňský kraj</c:v>
                </c:pt>
                <c:pt idx="2">
                  <c:v>Zlínský kraj</c:v>
                </c:pt>
                <c:pt idx="3">
                  <c:v>Olomoucký kraj</c:v>
                </c:pt>
                <c:pt idx="4">
                  <c:v>Ústecký kraj</c:v>
                </c:pt>
                <c:pt idx="5">
                  <c:v>ČR</c:v>
                </c:pt>
                <c:pt idx="6">
                  <c:v>Hlavní město Praha</c:v>
                </c:pt>
                <c:pt idx="7">
                  <c:v>Moravskoslezský kraj</c:v>
                </c:pt>
                <c:pt idx="8">
                  <c:v>Jihomoravský kraj</c:v>
                </c:pt>
                <c:pt idx="9">
                  <c:v>Jihočeský kraj</c:v>
                </c:pt>
                <c:pt idx="10">
                  <c:v>Středočeský kraj</c:v>
                </c:pt>
                <c:pt idx="11">
                  <c:v>Královéhradecký kraj</c:v>
                </c:pt>
                <c:pt idx="12">
                  <c:v>Karlovarský kraj</c:v>
                </c:pt>
                <c:pt idx="13">
                  <c:v>Pardubický kraj</c:v>
                </c:pt>
                <c:pt idx="14">
                  <c:v>Liberecký kraj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  <c:pt idx="0">
                  <c:v>21.912400903692198</c:v>
                </c:pt>
                <c:pt idx="1">
                  <c:v>18.004981928944702</c:v>
                </c:pt>
                <c:pt idx="2">
                  <c:v>13.7632615657045</c:v>
                </c:pt>
                <c:pt idx="3">
                  <c:v>9.4333351271442591</c:v>
                </c:pt>
                <c:pt idx="4">
                  <c:v>7.0291024537845699</c:v>
                </c:pt>
                <c:pt idx="5">
                  <c:v>6.8399724443130099</c:v>
                </c:pt>
                <c:pt idx="6">
                  <c:v>6.7338281297197602</c:v>
                </c:pt>
                <c:pt idx="7">
                  <c:v>5.9428044993838602</c:v>
                </c:pt>
                <c:pt idx="8">
                  <c:v>5.16759776536313</c:v>
                </c:pt>
                <c:pt idx="9">
                  <c:v>5.0589986555327799</c:v>
                </c:pt>
                <c:pt idx="10">
                  <c:v>3.7168496954614798</c:v>
                </c:pt>
                <c:pt idx="11">
                  <c:v>1.0085238272758901</c:v>
                </c:pt>
                <c:pt idx="12">
                  <c:v>0.85151313884772994</c:v>
                </c:pt>
                <c:pt idx="13">
                  <c:v>0.49171553877839003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061-47A8-8C72-448AEA36E3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7"/>
        <c:axId val="1255962911"/>
        <c:axId val="1255948991"/>
      </c:barChart>
      <c:catAx>
        <c:axId val="1255962911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5948991"/>
        <c:crosses val="autoZero"/>
        <c:auto val="1"/>
        <c:lblAlgn val="ctr"/>
        <c:lblOffset val="100"/>
        <c:noMultiLvlLbl val="0"/>
      </c:catAx>
      <c:valAx>
        <c:axId val="1255948991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596291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6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0-19 le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EF0D-438C-82B9-F97D4377F25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F0D-438C-82B9-F97D4377F25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EF0D-438C-82B9-F97D4377F251}"/>
              </c:ext>
            </c:extLst>
          </c:dPt>
          <c:cat>
            <c:strRef>
              <c:f>List1!$A$2:$A$8</c:f>
              <c:strCache>
                <c:ptCount val="7"/>
                <c:pt idx="0">
                  <c:v>0-30 dní</c:v>
                </c:pt>
                <c:pt idx="1">
                  <c:v>31-60 dní</c:v>
                </c:pt>
                <c:pt idx="2">
                  <c:v>61-90 dní</c:v>
                </c:pt>
                <c:pt idx="3">
                  <c:v>91-180 dní</c:v>
                </c:pt>
                <c:pt idx="4">
                  <c:v>181-365 dní</c:v>
                </c:pt>
                <c:pt idx="5">
                  <c:v>1-2 roky</c:v>
                </c:pt>
                <c:pt idx="6">
                  <c:v>2+ let</c:v>
                </c:pt>
              </c:strCache>
            </c:strRef>
          </c:cat>
          <c:val>
            <c:numRef>
              <c:f>List1!$B$2:$B$8</c:f>
              <c:numCache>
                <c:formatCode>General</c:formatCode>
                <c:ptCount val="7"/>
                <c:pt idx="0">
                  <c:v>1819</c:v>
                </c:pt>
                <c:pt idx="1">
                  <c:v>1273</c:v>
                </c:pt>
                <c:pt idx="2">
                  <c:v>504</c:v>
                </c:pt>
                <c:pt idx="3">
                  <c:v>181</c:v>
                </c:pt>
                <c:pt idx="4">
                  <c:v>27</c:v>
                </c:pt>
                <c:pt idx="5">
                  <c:v>18</c:v>
                </c:pt>
                <c:pt idx="6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43-4C71-BB92-C5A29EE83F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-100"/>
        <c:axId val="6158847"/>
        <c:axId val="240726576"/>
      </c:barChart>
      <c:catAx>
        <c:axId val="61588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0726576"/>
        <c:crosses val="autoZero"/>
        <c:auto val="1"/>
        <c:lblAlgn val="ctr"/>
        <c:lblOffset val="100"/>
        <c:noMultiLvlLbl val="0"/>
      </c:catAx>
      <c:valAx>
        <c:axId val="240726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588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C$1</c:f>
              <c:strCache>
                <c:ptCount val="1"/>
                <c:pt idx="0">
                  <c:v>20-64 le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4EAE-4388-8942-9E607ADF3F0C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EAE-4388-8942-9E607ADF3F0C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4EAE-4388-8942-9E607ADF3F0C}"/>
              </c:ext>
            </c:extLst>
          </c:dPt>
          <c:cat>
            <c:strRef>
              <c:f>List1!$A$2:$A$8</c:f>
              <c:strCache>
                <c:ptCount val="7"/>
                <c:pt idx="0">
                  <c:v>0-30 dní</c:v>
                </c:pt>
                <c:pt idx="1">
                  <c:v>31-60 dní</c:v>
                </c:pt>
                <c:pt idx="2">
                  <c:v>61-90 dní</c:v>
                </c:pt>
                <c:pt idx="3">
                  <c:v>91-180 dní</c:v>
                </c:pt>
                <c:pt idx="4">
                  <c:v>181-365 dní</c:v>
                </c:pt>
                <c:pt idx="5">
                  <c:v>1-2 roky</c:v>
                </c:pt>
                <c:pt idx="6">
                  <c:v>2+ let</c:v>
                </c:pt>
              </c:strCache>
            </c:strRef>
          </c:cat>
          <c:val>
            <c:numRef>
              <c:f>List1!$C$2:$C$8</c:f>
              <c:numCache>
                <c:formatCode>General</c:formatCode>
                <c:ptCount val="7"/>
                <c:pt idx="0">
                  <c:v>9601</c:v>
                </c:pt>
                <c:pt idx="1">
                  <c:v>5196</c:v>
                </c:pt>
                <c:pt idx="2">
                  <c:v>3850</c:v>
                </c:pt>
                <c:pt idx="3">
                  <c:v>2991</c:v>
                </c:pt>
                <c:pt idx="4">
                  <c:v>1072</c:v>
                </c:pt>
                <c:pt idx="5">
                  <c:v>672</c:v>
                </c:pt>
                <c:pt idx="6">
                  <c:v>9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455-4713-9E7A-B42E27803E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-100"/>
        <c:axId val="6158847"/>
        <c:axId val="240726576"/>
      </c:barChart>
      <c:catAx>
        <c:axId val="61588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0726576"/>
        <c:crosses val="autoZero"/>
        <c:auto val="1"/>
        <c:lblAlgn val="ctr"/>
        <c:lblOffset val="100"/>
        <c:noMultiLvlLbl val="0"/>
      </c:catAx>
      <c:valAx>
        <c:axId val="240726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588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6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D$1</c:f>
              <c:strCache>
                <c:ptCount val="1"/>
                <c:pt idx="0">
                  <c:v>65+ le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7A60-4BD9-B0D2-37562C414E3C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A60-4BD9-B0D2-37562C414E3C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7A60-4BD9-B0D2-37562C414E3C}"/>
              </c:ext>
            </c:extLst>
          </c:dPt>
          <c:cat>
            <c:strRef>
              <c:f>List1!$A$2:$A$8</c:f>
              <c:strCache>
                <c:ptCount val="7"/>
                <c:pt idx="0">
                  <c:v>0-30 dní</c:v>
                </c:pt>
                <c:pt idx="1">
                  <c:v>31-60 dní</c:v>
                </c:pt>
                <c:pt idx="2">
                  <c:v>61-90 dní</c:v>
                </c:pt>
                <c:pt idx="3">
                  <c:v>91-180 dní</c:v>
                </c:pt>
                <c:pt idx="4">
                  <c:v>181-365 dní</c:v>
                </c:pt>
                <c:pt idx="5">
                  <c:v>1-2 roky</c:v>
                </c:pt>
                <c:pt idx="6">
                  <c:v>2+ let</c:v>
                </c:pt>
              </c:strCache>
            </c:strRef>
          </c:cat>
          <c:val>
            <c:numRef>
              <c:f>List1!$D$2:$D$8</c:f>
              <c:numCache>
                <c:formatCode>General</c:formatCode>
                <c:ptCount val="7"/>
                <c:pt idx="0">
                  <c:v>2697</c:v>
                </c:pt>
                <c:pt idx="1">
                  <c:v>1847</c:v>
                </c:pt>
                <c:pt idx="2">
                  <c:v>1010</c:v>
                </c:pt>
                <c:pt idx="3">
                  <c:v>1104</c:v>
                </c:pt>
                <c:pt idx="4">
                  <c:v>560</c:v>
                </c:pt>
                <c:pt idx="5">
                  <c:v>317</c:v>
                </c:pt>
                <c:pt idx="6">
                  <c:v>2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66-4CBD-8FA1-CBD4A0EF5A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-100"/>
        <c:axId val="6158847"/>
        <c:axId val="240726576"/>
      </c:barChart>
      <c:catAx>
        <c:axId val="61588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0726576"/>
        <c:crosses val="autoZero"/>
        <c:auto val="1"/>
        <c:lblAlgn val="ctr"/>
        <c:lblOffset val="100"/>
        <c:noMultiLvlLbl val="0"/>
      </c:catAx>
      <c:valAx>
        <c:axId val="240726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588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6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0-19 le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Pt>
            <c:idx val="0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5049-444E-81F8-9BF93917A53C}"/>
              </c:ext>
            </c:extLst>
          </c:dPt>
          <c:dPt>
            <c:idx val="1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5049-444E-81F8-9BF93917A53C}"/>
              </c:ext>
            </c:extLst>
          </c:dPt>
          <c:dPt>
            <c:idx val="2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5049-444E-81F8-9BF93917A53C}"/>
              </c:ext>
            </c:extLst>
          </c:dPt>
          <c:cat>
            <c:strRef>
              <c:f>Lis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*</c:v>
                </c:pt>
              </c:strCache>
            </c:strRef>
          </c:cat>
          <c:val>
            <c:numRef>
              <c:f>List1!$B$2:$B$15</c:f>
              <c:numCache>
                <c:formatCode>General</c:formatCode>
                <c:ptCount val="14"/>
                <c:pt idx="0">
                  <c:v>0.89590771765998301</c:v>
                </c:pt>
                <c:pt idx="1">
                  <c:v>0.88156257775566005</c:v>
                </c:pt>
                <c:pt idx="2">
                  <c:v>0.89571201694017899</c:v>
                </c:pt>
                <c:pt idx="3">
                  <c:v>0.89765580331618</c:v>
                </c:pt>
                <c:pt idx="4">
                  <c:v>0.90326177864510704</c:v>
                </c:pt>
                <c:pt idx="5">
                  <c:v>0.90616086708499699</c:v>
                </c:pt>
                <c:pt idx="6">
                  <c:v>0.91987968280010901</c:v>
                </c:pt>
                <c:pt idx="7">
                  <c:v>0.92255125284738004</c:v>
                </c:pt>
                <c:pt idx="8">
                  <c:v>0.92249368155012601</c:v>
                </c:pt>
                <c:pt idx="9">
                  <c:v>0.92956959195081001</c:v>
                </c:pt>
                <c:pt idx="10">
                  <c:v>0.88982456140350796</c:v>
                </c:pt>
                <c:pt idx="11">
                  <c:v>0.92629546186031497</c:v>
                </c:pt>
                <c:pt idx="12">
                  <c:v>0.94719066625729098</c:v>
                </c:pt>
                <c:pt idx="13">
                  <c:v>0.935240572171651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5049-444E-81F8-9BF93917A5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158847"/>
        <c:axId val="240726576"/>
      </c:lineChart>
      <c:catAx>
        <c:axId val="61588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0726576"/>
        <c:crosses val="autoZero"/>
        <c:auto val="1"/>
        <c:lblAlgn val="ctr"/>
        <c:lblOffset val="100"/>
        <c:noMultiLvlLbl val="0"/>
      </c:catAx>
      <c:valAx>
        <c:axId val="240726576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588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6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C$1</c:f>
              <c:strCache>
                <c:ptCount val="1"/>
                <c:pt idx="0">
                  <c:v>20-64 le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Pt>
            <c:idx val="0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E541-404D-934B-21CF3C031420}"/>
              </c:ext>
            </c:extLst>
          </c:dPt>
          <c:dPt>
            <c:idx val="1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E541-404D-934B-21CF3C031420}"/>
              </c:ext>
            </c:extLst>
          </c:dPt>
          <c:dPt>
            <c:idx val="2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E541-404D-934B-21CF3C031420}"/>
              </c:ext>
            </c:extLst>
          </c:dPt>
          <c:cat>
            <c:strRef>
              <c:f>Lis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*</c:v>
                </c:pt>
              </c:strCache>
            </c:strRef>
          </c:cat>
          <c:val>
            <c:numRef>
              <c:f>List1!$C$2:$C$15</c:f>
              <c:numCache>
                <c:formatCode>General</c:formatCode>
                <c:ptCount val="14"/>
                <c:pt idx="0">
                  <c:v>0.89711713999999998</c:v>
                </c:pt>
                <c:pt idx="1">
                  <c:v>0.86230094999999995</c:v>
                </c:pt>
                <c:pt idx="2">
                  <c:v>0.85018262499999997</c:v>
                </c:pt>
                <c:pt idx="3">
                  <c:v>0.84101462299999996</c:v>
                </c:pt>
                <c:pt idx="4">
                  <c:v>0.84603881400000003</c:v>
                </c:pt>
                <c:pt idx="5">
                  <c:v>0.83927247000000005</c:v>
                </c:pt>
                <c:pt idx="6">
                  <c:v>0.83410521699999995</c:v>
                </c:pt>
                <c:pt idx="7">
                  <c:v>0.83232465700000002</c:v>
                </c:pt>
                <c:pt idx="8">
                  <c:v>0.83091824599999997</c:v>
                </c:pt>
                <c:pt idx="9">
                  <c:v>0.83006971100000004</c:v>
                </c:pt>
                <c:pt idx="10">
                  <c:v>0.79975762100000003</c:v>
                </c:pt>
                <c:pt idx="11">
                  <c:v>0.80733682699999998</c:v>
                </c:pt>
                <c:pt idx="12">
                  <c:v>0.81172309200000003</c:v>
                </c:pt>
                <c:pt idx="13">
                  <c:v>0.7659792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541-404D-934B-21CF3C031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158847"/>
        <c:axId val="240726576"/>
      </c:lineChart>
      <c:catAx>
        <c:axId val="61588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0726576"/>
        <c:crosses val="autoZero"/>
        <c:auto val="1"/>
        <c:lblAlgn val="ctr"/>
        <c:lblOffset val="100"/>
        <c:noMultiLvlLbl val="0"/>
      </c:catAx>
      <c:valAx>
        <c:axId val="240726576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588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  <c:pt idx="0">
                  <c:v>65+ le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Pt>
            <c:idx val="0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0966-4568-86EA-B25339FE18A5}"/>
              </c:ext>
            </c:extLst>
          </c:dPt>
          <c:dPt>
            <c:idx val="1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0966-4568-86EA-B25339FE18A5}"/>
              </c:ext>
            </c:extLst>
          </c:dPt>
          <c:dPt>
            <c:idx val="2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0966-4568-86EA-B25339FE18A5}"/>
              </c:ext>
            </c:extLst>
          </c:dPt>
          <c:cat>
            <c:strRef>
              <c:f>Lis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*</c:v>
                </c:pt>
              </c:strCache>
            </c:strRef>
          </c:cat>
          <c:val>
            <c:numRef>
              <c:f>List1!$D$2:$D$15</c:f>
              <c:numCache>
                <c:formatCode>General</c:formatCode>
                <c:ptCount val="14"/>
                <c:pt idx="0">
                  <c:v>0.84145709099999999</c:v>
                </c:pt>
                <c:pt idx="1">
                  <c:v>0.79453950699999998</c:v>
                </c:pt>
                <c:pt idx="2">
                  <c:v>0.78905257799999995</c:v>
                </c:pt>
                <c:pt idx="3">
                  <c:v>0.76771499399999998</c:v>
                </c:pt>
                <c:pt idx="4">
                  <c:v>0.77569104600000005</c:v>
                </c:pt>
                <c:pt idx="5">
                  <c:v>0.76648648600000002</c:v>
                </c:pt>
                <c:pt idx="6">
                  <c:v>0.75589899299999996</c:v>
                </c:pt>
                <c:pt idx="7">
                  <c:v>0.75905668400000004</c:v>
                </c:pt>
                <c:pt idx="8">
                  <c:v>0.75468681900000001</c:v>
                </c:pt>
                <c:pt idx="9">
                  <c:v>0.74827685200000005</c:v>
                </c:pt>
                <c:pt idx="10">
                  <c:v>0.72319973900000001</c:v>
                </c:pt>
                <c:pt idx="11">
                  <c:v>0.75785054600000001</c:v>
                </c:pt>
                <c:pt idx="12">
                  <c:v>0.774023405</c:v>
                </c:pt>
                <c:pt idx="13">
                  <c:v>0.710775531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0966-4568-86EA-B25339FE18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158847"/>
        <c:axId val="240726576"/>
      </c:lineChart>
      <c:catAx>
        <c:axId val="61588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0726576"/>
        <c:crosses val="autoZero"/>
        <c:auto val="1"/>
        <c:lblAlgn val="ctr"/>
        <c:lblOffset val="100"/>
        <c:noMultiLvlLbl val="0"/>
      </c:catAx>
      <c:valAx>
        <c:axId val="240726576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588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4131074023507296"/>
          <c:y val="0.15573556917754688"/>
          <c:w val="0.61189273984018855"/>
          <c:h val="0.821541244989106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rgbClr val="2E5980"/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29B-4F15-9CD7-4B1BF5807B30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229B-4F15-9CD7-4B1BF5807B30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Hl. m. Praha</c:v>
                </c:pt>
                <c:pt idx="1">
                  <c:v>Plzeňský kraj</c:v>
                </c:pt>
                <c:pt idx="2">
                  <c:v>Pardubický kraj</c:v>
                </c:pt>
                <c:pt idx="3">
                  <c:v>Olomoucký kraj</c:v>
                </c:pt>
                <c:pt idx="4">
                  <c:v>Vysočina</c:v>
                </c:pt>
                <c:pt idx="5">
                  <c:v>Jihočeský kraj</c:v>
                </c:pt>
                <c:pt idx="6">
                  <c:v>Česká republika</c:v>
                </c:pt>
                <c:pt idx="7">
                  <c:v>Středočeský kraj</c:v>
                </c:pt>
                <c:pt idx="8">
                  <c:v>Ústecký kraj</c:v>
                </c:pt>
                <c:pt idx="9">
                  <c:v>Jihomoravský kraj</c:v>
                </c:pt>
                <c:pt idx="10">
                  <c:v>Královéhradecký kraj</c:v>
                </c:pt>
                <c:pt idx="11">
                  <c:v>Zlínský kraj</c:v>
                </c:pt>
                <c:pt idx="12">
                  <c:v>Moravskoslezský kraj</c:v>
                </c:pt>
                <c:pt idx="13">
                  <c:v>Karlovarský kraj</c:v>
                </c:pt>
                <c:pt idx="14">
                  <c:v>Liberecký kraj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10697.563716385997</c:v>
                </c:pt>
                <c:pt idx="1">
                  <c:v>10458.780101951133</c:v>
                </c:pt>
                <c:pt idx="2">
                  <c:v>10381.487865852007</c:v>
                </c:pt>
                <c:pt idx="3">
                  <c:v>10155.645432113186</c:v>
                </c:pt>
                <c:pt idx="4">
                  <c:v>10045.330256810894</c:v>
                </c:pt>
                <c:pt idx="5">
                  <c:v>9375.3797110979285</c:v>
                </c:pt>
                <c:pt idx="6">
                  <c:v>9319.3707391549069</c:v>
                </c:pt>
                <c:pt idx="7">
                  <c:v>9208.4543902060377</c:v>
                </c:pt>
                <c:pt idx="8">
                  <c:v>8845.4711187871799</c:v>
                </c:pt>
                <c:pt idx="9">
                  <c:v>8762.2438465023606</c:v>
                </c:pt>
                <c:pt idx="10">
                  <c:v>8698.0983458985029</c:v>
                </c:pt>
                <c:pt idx="11">
                  <c:v>8450.5044136191664</c:v>
                </c:pt>
                <c:pt idx="12">
                  <c:v>8233.7016024683999</c:v>
                </c:pt>
                <c:pt idx="13">
                  <c:v>8221.7238064722842</c:v>
                </c:pt>
                <c:pt idx="14">
                  <c:v>7101.68639654379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29B-4F15-9CD7-4B1BF5807B3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Řada 2</c:v>
                </c:pt>
              </c:strCache>
            </c:strRef>
          </c:tx>
          <c:spPr>
            <a:solidFill>
              <a:srgbClr val="2E5980"/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229B-4F15-9CD7-4B1BF5807B30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229B-4F15-9CD7-4B1BF5807B30}"/>
              </c:ext>
            </c:extLst>
          </c:dPt>
          <c:dLbls>
            <c:delete val="1"/>
          </c:dLbls>
          <c:cat>
            <c:strRef>
              <c:f>List1!$A$2:$A$16</c:f>
              <c:strCache>
                <c:ptCount val="15"/>
                <c:pt idx="0">
                  <c:v>Hl. m. Praha</c:v>
                </c:pt>
                <c:pt idx="1">
                  <c:v>Plzeňský kraj</c:v>
                </c:pt>
                <c:pt idx="2">
                  <c:v>Pardubický kraj</c:v>
                </c:pt>
                <c:pt idx="3">
                  <c:v>Olomoucký kraj</c:v>
                </c:pt>
                <c:pt idx="4">
                  <c:v>Vysočina</c:v>
                </c:pt>
                <c:pt idx="5">
                  <c:v>Jihočeský kraj</c:v>
                </c:pt>
                <c:pt idx="6">
                  <c:v>Česká republika</c:v>
                </c:pt>
                <c:pt idx="7">
                  <c:v>Středočeský kraj</c:v>
                </c:pt>
                <c:pt idx="8">
                  <c:v>Ústecký kraj</c:v>
                </c:pt>
                <c:pt idx="9">
                  <c:v>Jihomoravský kraj</c:v>
                </c:pt>
                <c:pt idx="10">
                  <c:v>Královéhradecký kraj</c:v>
                </c:pt>
                <c:pt idx="11">
                  <c:v>Zlínský kraj</c:v>
                </c:pt>
                <c:pt idx="12">
                  <c:v>Moravskoslezský kraj</c:v>
                </c:pt>
                <c:pt idx="13">
                  <c:v>Karlovarský kraj</c:v>
                </c:pt>
                <c:pt idx="14">
                  <c:v>Liberecký kraj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</c:numCache>
            </c:numRef>
          </c:val>
          <c:extLst>
            <c:ext xmlns:c16="http://schemas.microsoft.com/office/drawing/2014/chart" uri="{C3380CC4-5D6E-409C-BE32-E72D297353CC}">
              <c16:uniqueId val="{00000005-229B-4F15-9CD7-4B1BF5807B30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Řada 3</c:v>
                </c:pt>
              </c:strCache>
            </c:strRef>
          </c:tx>
          <c:spPr>
            <a:solidFill>
              <a:srgbClr val="FFC121"/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229B-4F15-9CD7-4B1BF5807B30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229B-4F15-9CD7-4B1BF5807B30}"/>
              </c:ext>
            </c:extLst>
          </c:dPt>
          <c:dLbls>
            <c:delete val="1"/>
          </c:dLbls>
          <c:cat>
            <c:strRef>
              <c:f>List1!$A$2:$A$16</c:f>
              <c:strCache>
                <c:ptCount val="15"/>
                <c:pt idx="0">
                  <c:v>Hl. m. Praha</c:v>
                </c:pt>
                <c:pt idx="1">
                  <c:v>Plzeňský kraj</c:v>
                </c:pt>
                <c:pt idx="2">
                  <c:v>Pardubický kraj</c:v>
                </c:pt>
                <c:pt idx="3">
                  <c:v>Olomoucký kraj</c:v>
                </c:pt>
                <c:pt idx="4">
                  <c:v>Vysočina</c:v>
                </c:pt>
                <c:pt idx="5">
                  <c:v>Jihočeský kraj</c:v>
                </c:pt>
                <c:pt idx="6">
                  <c:v>Česká republika</c:v>
                </c:pt>
                <c:pt idx="7">
                  <c:v>Středočeský kraj</c:v>
                </c:pt>
                <c:pt idx="8">
                  <c:v>Ústecký kraj</c:v>
                </c:pt>
                <c:pt idx="9">
                  <c:v>Jihomoravský kraj</c:v>
                </c:pt>
                <c:pt idx="10">
                  <c:v>Královéhradecký kraj</c:v>
                </c:pt>
                <c:pt idx="11">
                  <c:v>Zlínský kraj</c:v>
                </c:pt>
                <c:pt idx="12">
                  <c:v>Moravskoslezský kraj</c:v>
                </c:pt>
                <c:pt idx="13">
                  <c:v>Karlovarský kraj</c:v>
                </c:pt>
                <c:pt idx="14">
                  <c:v>Liberecký kraj</c:v>
                </c:pt>
              </c:strCache>
            </c:strRef>
          </c:cat>
          <c:val>
            <c:numRef>
              <c:f>List1!$D$2:$D$16</c:f>
              <c:numCache>
                <c:formatCode>General</c:formatCode>
                <c:ptCount val="15"/>
                <c:pt idx="6">
                  <c:v>9319.37073915490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29B-4F15-9CD7-4B1BF5807B3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593864360"/>
        <c:axId val="593863184"/>
      </c:barChart>
      <c:catAx>
        <c:axId val="59386436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93863184"/>
        <c:crosses val="autoZero"/>
        <c:auto val="1"/>
        <c:lblAlgn val="ctr"/>
        <c:lblOffset val="100"/>
        <c:tickLblSkip val="1"/>
        <c:noMultiLvlLbl val="0"/>
      </c:catAx>
      <c:valAx>
        <c:axId val="593863184"/>
        <c:scaling>
          <c:orientation val="minMax"/>
        </c:scaling>
        <c:delete val="0"/>
        <c:axPos val="t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938643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2">
    <c:autoUpdate val="0"/>
  </c:externalData>
</c:chartSpace>
</file>

<file path=ppt/charts/chart7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0-19 le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EF0D-438C-82B9-F97D4377F25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F0D-438C-82B9-F97D4377F25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EF0D-438C-82B9-F97D4377F251}"/>
              </c:ext>
            </c:extLst>
          </c:dPt>
          <c:cat>
            <c:strRef>
              <c:f>List1!$A$2:$A$8</c:f>
              <c:strCache>
                <c:ptCount val="7"/>
                <c:pt idx="0">
                  <c:v>0-30 dní</c:v>
                </c:pt>
                <c:pt idx="1">
                  <c:v>31-60 dní</c:v>
                </c:pt>
                <c:pt idx="2">
                  <c:v>61-90 dní</c:v>
                </c:pt>
                <c:pt idx="3">
                  <c:v>91-180 dní</c:v>
                </c:pt>
                <c:pt idx="4">
                  <c:v>181-365 dní</c:v>
                </c:pt>
                <c:pt idx="5">
                  <c:v>1-2 roky</c:v>
                </c:pt>
                <c:pt idx="6">
                  <c:v>2+ let</c:v>
                </c:pt>
              </c:strCache>
            </c:strRef>
          </c:cat>
          <c:val>
            <c:numRef>
              <c:f>List1!$B$2:$B$8</c:f>
              <c:numCache>
                <c:formatCode>General</c:formatCode>
                <c:ptCount val="7"/>
                <c:pt idx="0">
                  <c:v>447</c:v>
                </c:pt>
                <c:pt idx="1">
                  <c:v>185</c:v>
                </c:pt>
                <c:pt idx="2">
                  <c:v>41</c:v>
                </c:pt>
                <c:pt idx="3">
                  <c:v>13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43-4C71-BB92-C5A29EE83F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-100"/>
        <c:axId val="6158847"/>
        <c:axId val="240726576"/>
      </c:barChart>
      <c:catAx>
        <c:axId val="61588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0726576"/>
        <c:crosses val="autoZero"/>
        <c:auto val="1"/>
        <c:lblAlgn val="ctr"/>
        <c:lblOffset val="100"/>
        <c:noMultiLvlLbl val="0"/>
      </c:catAx>
      <c:valAx>
        <c:axId val="240726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588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C$1</c:f>
              <c:strCache>
                <c:ptCount val="1"/>
                <c:pt idx="0">
                  <c:v>20-64 le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4EAE-4388-8942-9E607ADF3F0C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EAE-4388-8942-9E607ADF3F0C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4EAE-4388-8942-9E607ADF3F0C}"/>
              </c:ext>
            </c:extLst>
          </c:dPt>
          <c:cat>
            <c:strRef>
              <c:f>List1!$A$2:$A$8</c:f>
              <c:strCache>
                <c:ptCount val="7"/>
                <c:pt idx="0">
                  <c:v>0-30 dní</c:v>
                </c:pt>
                <c:pt idx="1">
                  <c:v>31-60 dní</c:v>
                </c:pt>
                <c:pt idx="2">
                  <c:v>61-90 dní</c:v>
                </c:pt>
                <c:pt idx="3">
                  <c:v>91-180 dní</c:v>
                </c:pt>
                <c:pt idx="4">
                  <c:v>181-365 dní</c:v>
                </c:pt>
                <c:pt idx="5">
                  <c:v>1-2 roky</c:v>
                </c:pt>
                <c:pt idx="6">
                  <c:v>2+ let</c:v>
                </c:pt>
              </c:strCache>
            </c:strRef>
          </c:cat>
          <c:val>
            <c:numRef>
              <c:f>List1!$C$2:$C$8</c:f>
              <c:numCache>
                <c:formatCode>General</c:formatCode>
                <c:ptCount val="7"/>
                <c:pt idx="0">
                  <c:v>2004</c:v>
                </c:pt>
                <c:pt idx="1">
                  <c:v>694</c:v>
                </c:pt>
                <c:pt idx="2">
                  <c:v>635</c:v>
                </c:pt>
                <c:pt idx="3">
                  <c:v>401</c:v>
                </c:pt>
                <c:pt idx="4">
                  <c:v>147</c:v>
                </c:pt>
                <c:pt idx="5">
                  <c:v>85</c:v>
                </c:pt>
                <c:pt idx="6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455-4713-9E7A-B42E27803E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-100"/>
        <c:axId val="6158847"/>
        <c:axId val="240726576"/>
      </c:barChart>
      <c:catAx>
        <c:axId val="61588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0726576"/>
        <c:crosses val="autoZero"/>
        <c:auto val="1"/>
        <c:lblAlgn val="ctr"/>
        <c:lblOffset val="100"/>
        <c:noMultiLvlLbl val="0"/>
      </c:catAx>
      <c:valAx>
        <c:axId val="240726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588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7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D$1</c:f>
              <c:strCache>
                <c:ptCount val="1"/>
                <c:pt idx="0">
                  <c:v>65+ le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7A60-4BD9-B0D2-37562C414E3C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A60-4BD9-B0D2-37562C414E3C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7A60-4BD9-B0D2-37562C414E3C}"/>
              </c:ext>
            </c:extLst>
          </c:dPt>
          <c:cat>
            <c:strRef>
              <c:f>List1!$A$2:$A$8</c:f>
              <c:strCache>
                <c:ptCount val="7"/>
                <c:pt idx="0">
                  <c:v>0-30 dní</c:v>
                </c:pt>
                <c:pt idx="1">
                  <c:v>31-60 dní</c:v>
                </c:pt>
                <c:pt idx="2">
                  <c:v>61-90 dní</c:v>
                </c:pt>
                <c:pt idx="3">
                  <c:v>91-180 dní</c:v>
                </c:pt>
                <c:pt idx="4">
                  <c:v>181-365 dní</c:v>
                </c:pt>
                <c:pt idx="5">
                  <c:v>1-2 roky</c:v>
                </c:pt>
                <c:pt idx="6">
                  <c:v>2+ let</c:v>
                </c:pt>
              </c:strCache>
            </c:strRef>
          </c:cat>
          <c:val>
            <c:numRef>
              <c:f>List1!$D$2:$D$8</c:f>
              <c:numCache>
                <c:formatCode>General</c:formatCode>
                <c:ptCount val="7"/>
                <c:pt idx="0">
                  <c:v>683</c:v>
                </c:pt>
                <c:pt idx="1">
                  <c:v>357</c:v>
                </c:pt>
                <c:pt idx="2">
                  <c:v>169</c:v>
                </c:pt>
                <c:pt idx="3">
                  <c:v>211</c:v>
                </c:pt>
                <c:pt idx="4">
                  <c:v>72</c:v>
                </c:pt>
                <c:pt idx="5">
                  <c:v>25</c:v>
                </c:pt>
                <c:pt idx="6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66-4CBD-8FA1-CBD4A0EF5A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-100"/>
        <c:axId val="6158847"/>
        <c:axId val="240726576"/>
      </c:barChart>
      <c:catAx>
        <c:axId val="61588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0726576"/>
        <c:crosses val="autoZero"/>
        <c:auto val="1"/>
        <c:lblAlgn val="ctr"/>
        <c:lblOffset val="100"/>
        <c:noMultiLvlLbl val="0"/>
      </c:catAx>
      <c:valAx>
        <c:axId val="240726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588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7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0-19 le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Pt>
            <c:idx val="0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5049-444E-81F8-9BF93917A53C}"/>
              </c:ext>
            </c:extLst>
          </c:dPt>
          <c:dPt>
            <c:idx val="1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5049-444E-81F8-9BF93917A53C}"/>
              </c:ext>
            </c:extLst>
          </c:dPt>
          <c:dPt>
            <c:idx val="2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5049-444E-81F8-9BF93917A53C}"/>
              </c:ext>
            </c:extLst>
          </c:dPt>
          <c:cat>
            <c:numRef>
              <c:f>List1!$A$2:$A$15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List1!$B$2:$B$15</c:f>
              <c:numCache>
                <c:formatCode>General</c:formatCode>
                <c:ptCount val="14"/>
                <c:pt idx="0">
                  <c:v>0.947791164658634</c:v>
                </c:pt>
                <c:pt idx="1">
                  <c:v>0.94453781512604995</c:v>
                </c:pt>
                <c:pt idx="2">
                  <c:v>0.96013864818024197</c:v>
                </c:pt>
                <c:pt idx="3">
                  <c:v>0.96050269299820401</c:v>
                </c:pt>
                <c:pt idx="4">
                  <c:v>0.964349376114081</c:v>
                </c:pt>
                <c:pt idx="5">
                  <c:v>0.96417445482866004</c:v>
                </c:pt>
                <c:pt idx="6">
                  <c:v>0.97607655502392299</c:v>
                </c:pt>
                <c:pt idx="7">
                  <c:v>0.98664688427299696</c:v>
                </c:pt>
                <c:pt idx="8">
                  <c:v>0.97415185783521796</c:v>
                </c:pt>
                <c:pt idx="9">
                  <c:v>0.95934959349593396</c:v>
                </c:pt>
                <c:pt idx="10">
                  <c:v>0.952853598014888</c:v>
                </c:pt>
                <c:pt idx="11">
                  <c:v>0.96069868995633101</c:v>
                </c:pt>
                <c:pt idx="12">
                  <c:v>0.96390658174097599</c:v>
                </c:pt>
                <c:pt idx="13">
                  <c:v>0.9753623188405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5049-444E-81F8-9BF93917A5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158847"/>
        <c:axId val="240726576"/>
      </c:lineChart>
      <c:catAx>
        <c:axId val="61588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0726576"/>
        <c:crosses val="autoZero"/>
        <c:auto val="1"/>
        <c:lblAlgn val="ctr"/>
        <c:lblOffset val="100"/>
        <c:noMultiLvlLbl val="0"/>
      </c:catAx>
      <c:valAx>
        <c:axId val="240726576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588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7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C$1</c:f>
              <c:strCache>
                <c:ptCount val="1"/>
                <c:pt idx="0">
                  <c:v>20-64 le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Pt>
            <c:idx val="0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E541-404D-934B-21CF3C031420}"/>
              </c:ext>
            </c:extLst>
          </c:dPt>
          <c:dPt>
            <c:idx val="1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E541-404D-934B-21CF3C031420}"/>
              </c:ext>
            </c:extLst>
          </c:dPt>
          <c:dPt>
            <c:idx val="2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E541-404D-934B-21CF3C031420}"/>
              </c:ext>
            </c:extLst>
          </c:dPt>
          <c:cat>
            <c:numRef>
              <c:f>List1!$A$2:$A$15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List1!$C$2:$C$15</c:f>
              <c:numCache>
                <c:formatCode>General</c:formatCode>
                <c:ptCount val="14"/>
                <c:pt idx="0">
                  <c:v>0.91528812943101201</c:v>
                </c:pt>
                <c:pt idx="1">
                  <c:v>0.89434628975264996</c:v>
                </c:pt>
                <c:pt idx="2">
                  <c:v>0.89472723955482503</c:v>
                </c:pt>
                <c:pt idx="3">
                  <c:v>0.89305652477320296</c:v>
                </c:pt>
                <c:pt idx="4">
                  <c:v>0.89472762305132203</c:v>
                </c:pt>
                <c:pt idx="5">
                  <c:v>0.90334017540585898</c:v>
                </c:pt>
                <c:pt idx="6">
                  <c:v>0.88688212927756604</c:v>
                </c:pt>
                <c:pt idx="7">
                  <c:v>0.892961590953402</c:v>
                </c:pt>
                <c:pt idx="8">
                  <c:v>0.89034825870646706</c:v>
                </c:pt>
                <c:pt idx="9">
                  <c:v>0.88264878457669704</c:v>
                </c:pt>
                <c:pt idx="10">
                  <c:v>0.85782115536797598</c:v>
                </c:pt>
                <c:pt idx="11">
                  <c:v>0.86524822695035397</c:v>
                </c:pt>
                <c:pt idx="12">
                  <c:v>0.86318840579710099</c:v>
                </c:pt>
                <c:pt idx="13">
                  <c:v>0.832833583208394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541-404D-934B-21CF3C031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158847"/>
        <c:axId val="240726576"/>
      </c:lineChart>
      <c:catAx>
        <c:axId val="61588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0726576"/>
        <c:crosses val="autoZero"/>
        <c:auto val="1"/>
        <c:lblAlgn val="ctr"/>
        <c:lblOffset val="100"/>
        <c:noMultiLvlLbl val="0"/>
      </c:catAx>
      <c:valAx>
        <c:axId val="240726576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588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  <c:pt idx="0">
                  <c:v>65+ le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Pt>
            <c:idx val="0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0966-4568-86EA-B25339FE18A5}"/>
              </c:ext>
            </c:extLst>
          </c:dPt>
          <c:dPt>
            <c:idx val="1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0966-4568-86EA-B25339FE18A5}"/>
              </c:ext>
            </c:extLst>
          </c:dPt>
          <c:dPt>
            <c:idx val="2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0966-4568-86EA-B25339FE18A5}"/>
              </c:ext>
            </c:extLst>
          </c:dPt>
          <c:cat>
            <c:strRef>
              <c:f>Lis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*</c:v>
                </c:pt>
              </c:strCache>
            </c:strRef>
          </c:cat>
          <c:val>
            <c:numRef>
              <c:f>List1!$D$2:$D$15</c:f>
              <c:numCache>
                <c:formatCode>General</c:formatCode>
                <c:ptCount val="14"/>
                <c:pt idx="0">
                  <c:v>0.82501861504095297</c:v>
                </c:pt>
                <c:pt idx="1">
                  <c:v>0.79708130646282105</c:v>
                </c:pt>
                <c:pt idx="2">
                  <c:v>0.77911646586345296</c:v>
                </c:pt>
                <c:pt idx="3">
                  <c:v>0.79300699300699296</c:v>
                </c:pt>
                <c:pt idx="4">
                  <c:v>0.83333333333333304</c:v>
                </c:pt>
                <c:pt idx="5">
                  <c:v>0.80459016393442595</c:v>
                </c:pt>
                <c:pt idx="6">
                  <c:v>0.80013280212483295</c:v>
                </c:pt>
                <c:pt idx="7">
                  <c:v>0.80709979906229001</c:v>
                </c:pt>
                <c:pt idx="8">
                  <c:v>0.8</c:v>
                </c:pt>
                <c:pt idx="9">
                  <c:v>0.83333333333333304</c:v>
                </c:pt>
                <c:pt idx="10">
                  <c:v>0.80362318840579705</c:v>
                </c:pt>
                <c:pt idx="11">
                  <c:v>0.86134137151469403</c:v>
                </c:pt>
                <c:pt idx="12">
                  <c:v>0.84871406959152695</c:v>
                </c:pt>
                <c:pt idx="13">
                  <c:v>0.792786885245901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0966-4568-86EA-B25339FE18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158847"/>
        <c:axId val="240726576"/>
      </c:lineChart>
      <c:catAx>
        <c:axId val="61588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0726576"/>
        <c:crosses val="autoZero"/>
        <c:auto val="1"/>
        <c:lblAlgn val="ctr"/>
        <c:lblOffset val="100"/>
        <c:noMultiLvlLbl val="0"/>
      </c:catAx>
      <c:valAx>
        <c:axId val="240726576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588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0-19 le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List1!$A$2:$A$8</c:f>
              <c:strCache>
                <c:ptCount val="7"/>
                <c:pt idx="0">
                  <c:v>0-30 dní</c:v>
                </c:pt>
                <c:pt idx="1">
                  <c:v>31-60 dní</c:v>
                </c:pt>
                <c:pt idx="2">
                  <c:v>61-90 dní</c:v>
                </c:pt>
                <c:pt idx="3">
                  <c:v>91-180 dní</c:v>
                </c:pt>
                <c:pt idx="4">
                  <c:v>181-365 dní</c:v>
                </c:pt>
                <c:pt idx="5">
                  <c:v>1-2 roky</c:v>
                </c:pt>
                <c:pt idx="6">
                  <c:v>2+ let</c:v>
                </c:pt>
              </c:strCache>
            </c:strRef>
          </c:cat>
          <c:val>
            <c:numRef>
              <c:f>List1!$B$2:$B$8</c:f>
              <c:numCache>
                <c:formatCode>General</c:formatCode>
                <c:ptCount val="7"/>
                <c:pt idx="0">
                  <c:v>3824</c:v>
                </c:pt>
                <c:pt idx="1">
                  <c:v>578</c:v>
                </c:pt>
                <c:pt idx="2">
                  <c:v>61</c:v>
                </c:pt>
                <c:pt idx="3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43-4C71-BB92-C5A29EE83F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-100"/>
        <c:axId val="6158847"/>
        <c:axId val="240726576"/>
      </c:barChart>
      <c:catAx>
        <c:axId val="61588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0726576"/>
        <c:crosses val="autoZero"/>
        <c:auto val="1"/>
        <c:lblAlgn val="ctr"/>
        <c:lblOffset val="100"/>
        <c:noMultiLvlLbl val="0"/>
      </c:catAx>
      <c:valAx>
        <c:axId val="240726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588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7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C$1</c:f>
              <c:strCache>
                <c:ptCount val="1"/>
                <c:pt idx="0">
                  <c:v>20-64 le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List1!$A$2:$A$8</c:f>
              <c:strCache>
                <c:ptCount val="7"/>
                <c:pt idx="0">
                  <c:v>0-30 dní</c:v>
                </c:pt>
                <c:pt idx="1">
                  <c:v>31-60 dní</c:v>
                </c:pt>
                <c:pt idx="2">
                  <c:v>61-90 dní</c:v>
                </c:pt>
                <c:pt idx="3">
                  <c:v>91-180 dní</c:v>
                </c:pt>
                <c:pt idx="4">
                  <c:v>181-365 dní</c:v>
                </c:pt>
                <c:pt idx="5">
                  <c:v>1-2 roky</c:v>
                </c:pt>
                <c:pt idx="6">
                  <c:v>2+ let</c:v>
                </c:pt>
              </c:strCache>
            </c:strRef>
          </c:cat>
          <c:val>
            <c:numRef>
              <c:f>List1!$C$2:$C$8</c:f>
              <c:numCache>
                <c:formatCode>General</c:formatCode>
                <c:ptCount val="7"/>
                <c:pt idx="0">
                  <c:v>22219</c:v>
                </c:pt>
                <c:pt idx="1">
                  <c:v>2337</c:v>
                </c:pt>
                <c:pt idx="2">
                  <c:v>157</c:v>
                </c:pt>
                <c:pt idx="3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455-4713-9E7A-B42E27803E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-100"/>
        <c:axId val="6158847"/>
        <c:axId val="240726576"/>
      </c:barChart>
      <c:catAx>
        <c:axId val="61588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0726576"/>
        <c:crosses val="autoZero"/>
        <c:auto val="1"/>
        <c:lblAlgn val="ctr"/>
        <c:lblOffset val="100"/>
        <c:noMultiLvlLbl val="0"/>
      </c:catAx>
      <c:valAx>
        <c:axId val="240726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588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7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D$1</c:f>
              <c:strCache>
                <c:ptCount val="1"/>
                <c:pt idx="0">
                  <c:v>65+ le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List1!$A$2:$A$8</c:f>
              <c:strCache>
                <c:ptCount val="7"/>
                <c:pt idx="0">
                  <c:v>0-30 dní</c:v>
                </c:pt>
                <c:pt idx="1">
                  <c:v>31-60 dní</c:v>
                </c:pt>
                <c:pt idx="2">
                  <c:v>61-90 dní</c:v>
                </c:pt>
                <c:pt idx="3">
                  <c:v>91-180 dní</c:v>
                </c:pt>
                <c:pt idx="4">
                  <c:v>181-365 dní</c:v>
                </c:pt>
                <c:pt idx="5">
                  <c:v>1-2 roky</c:v>
                </c:pt>
                <c:pt idx="6">
                  <c:v>2+ let</c:v>
                </c:pt>
              </c:strCache>
            </c:strRef>
          </c:cat>
          <c:val>
            <c:numRef>
              <c:f>List1!$D$2:$D$8</c:f>
              <c:numCache>
                <c:formatCode>General</c:formatCode>
                <c:ptCount val="7"/>
                <c:pt idx="0">
                  <c:v>3476</c:v>
                </c:pt>
                <c:pt idx="1">
                  <c:v>385</c:v>
                </c:pt>
                <c:pt idx="2">
                  <c:v>34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66-4CBD-8FA1-CBD4A0EF5A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-100"/>
        <c:axId val="6158847"/>
        <c:axId val="240726576"/>
      </c:barChart>
      <c:catAx>
        <c:axId val="61588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0726576"/>
        <c:crosses val="autoZero"/>
        <c:auto val="1"/>
        <c:lblAlgn val="ctr"/>
        <c:lblOffset val="100"/>
        <c:noMultiLvlLbl val="0"/>
      </c:catAx>
      <c:valAx>
        <c:axId val="240726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588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7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0-19 le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List1!$A$2:$A$8</c:f>
              <c:strCache>
                <c:ptCount val="7"/>
                <c:pt idx="0">
                  <c:v>0-30 dní</c:v>
                </c:pt>
                <c:pt idx="1">
                  <c:v>31-60 dní</c:v>
                </c:pt>
                <c:pt idx="2">
                  <c:v>61-90 dní</c:v>
                </c:pt>
                <c:pt idx="3">
                  <c:v>91-180 dní</c:v>
                </c:pt>
                <c:pt idx="4">
                  <c:v>181-365 dní</c:v>
                </c:pt>
                <c:pt idx="5">
                  <c:v>1-2 roky</c:v>
                </c:pt>
                <c:pt idx="6">
                  <c:v>2+ let</c:v>
                </c:pt>
              </c:strCache>
            </c:strRef>
          </c:cat>
          <c:val>
            <c:numRef>
              <c:f>List1!$B$2:$B$8</c:f>
              <c:numCache>
                <c:formatCode>General</c:formatCode>
                <c:ptCount val="7"/>
                <c:pt idx="0">
                  <c:v>1719</c:v>
                </c:pt>
                <c:pt idx="1">
                  <c:v>291</c:v>
                </c:pt>
                <c:pt idx="2">
                  <c:v>48</c:v>
                </c:pt>
                <c:pt idx="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43-4C71-BB92-C5A29EE83F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-100"/>
        <c:axId val="6158847"/>
        <c:axId val="240726576"/>
      </c:barChart>
      <c:catAx>
        <c:axId val="61588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0726576"/>
        <c:crosses val="autoZero"/>
        <c:auto val="1"/>
        <c:lblAlgn val="ctr"/>
        <c:lblOffset val="100"/>
        <c:noMultiLvlLbl val="0"/>
      </c:catAx>
      <c:valAx>
        <c:axId val="240726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588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29879136124037"/>
          <c:y val="6.5393325144959685E-2"/>
          <c:w val="0.84184599831277318"/>
          <c:h val="0.61265647339595886"/>
        </c:manualLayout>
      </c:layout>
      <c:areaChart>
        <c:grouping val="stacked"/>
        <c:varyColors val="0"/>
        <c:ser>
          <c:idx val="0"/>
          <c:order val="0"/>
          <c:tx>
            <c:strRef>
              <c:f>List1!$A$2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2:$O$2</c:f>
              <c:numCache>
                <c:formatCode>General</c:formatCode>
                <c:ptCount val="14"/>
                <c:pt idx="0">
                  <c:v>5403.1815688425677</c:v>
                </c:pt>
                <c:pt idx="1">
                  <c:v>5351.5029706031755</c:v>
                </c:pt>
                <c:pt idx="2">
                  <c:v>5643.3360830847987</c:v>
                </c:pt>
                <c:pt idx="3">
                  <c:v>5795.3717938344525</c:v>
                </c:pt>
                <c:pt idx="4">
                  <c:v>5970.7594369926219</c:v>
                </c:pt>
                <c:pt idx="5">
                  <c:v>6258.3447731161968</c:v>
                </c:pt>
                <c:pt idx="6">
                  <c:v>6366.952828647658</c:v>
                </c:pt>
                <c:pt idx="7">
                  <c:v>6662.8842948831607</c:v>
                </c:pt>
                <c:pt idx="8">
                  <c:v>6537.0984074380922</c:v>
                </c:pt>
                <c:pt idx="9">
                  <c:v>6458.6846543001693</c:v>
                </c:pt>
                <c:pt idx="10">
                  <c:v>6532.179532577903</c:v>
                </c:pt>
                <c:pt idx="11">
                  <c:v>6427.505377288091</c:v>
                </c:pt>
                <c:pt idx="12">
                  <c:v>6837.3945996134871</c:v>
                </c:pt>
                <c:pt idx="13">
                  <c:v>7101.68639654379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216-427A-A163-B2255CA2B95C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Rozsah hodnot krajů</c:v>
                </c:pt>
              </c:strCache>
            </c:strRef>
          </c:tx>
          <c:spPr>
            <a:solidFill>
              <a:srgbClr val="FFDC85"/>
            </a:solidFill>
            <a:ln>
              <a:noFill/>
            </a:ln>
            <a:effectLst/>
          </c:spP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3:$O$3</c:f>
              <c:numCache>
                <c:formatCode>General</c:formatCode>
                <c:ptCount val="14"/>
                <c:pt idx="0">
                  <c:v>3762.4636297652823</c:v>
                </c:pt>
                <c:pt idx="1">
                  <c:v>4185.6405134856841</c:v>
                </c:pt>
                <c:pt idx="2">
                  <c:v>4078.9887082895448</c:v>
                </c:pt>
                <c:pt idx="3">
                  <c:v>4042.226476517455</c:v>
                </c:pt>
                <c:pt idx="4">
                  <c:v>3936.4198697115835</c:v>
                </c:pt>
                <c:pt idx="5">
                  <c:v>3835.02756257485</c:v>
                </c:pt>
                <c:pt idx="6">
                  <c:v>3880.524294870509</c:v>
                </c:pt>
                <c:pt idx="7">
                  <c:v>3858.3159443671884</c:v>
                </c:pt>
                <c:pt idx="8">
                  <c:v>3987.5638608622539</c:v>
                </c:pt>
                <c:pt idx="9">
                  <c:v>4209.5300518066842</c:v>
                </c:pt>
                <c:pt idx="10">
                  <c:v>4046.0885243905605</c:v>
                </c:pt>
                <c:pt idx="11">
                  <c:v>4245.0913954270454</c:v>
                </c:pt>
                <c:pt idx="12">
                  <c:v>3913.5485000407089</c:v>
                </c:pt>
                <c:pt idx="13">
                  <c:v>3595.8773198422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216-427A-A163-B2255CA2B9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00352592"/>
        <c:axId val="300349064"/>
      </c:areaChart>
      <c:lineChart>
        <c:grouping val="standard"/>
        <c:varyColors val="0"/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D7144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D71440"/>
              </a:solidFill>
              <a:ln w="9525">
                <a:solidFill>
                  <a:srgbClr val="D71440"/>
                </a:solidFill>
              </a:ln>
              <a:effectLst/>
            </c:spPr>
          </c:marke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4:$O$4</c:f>
              <c:numCache>
                <c:formatCode>General</c:formatCode>
                <c:ptCount val="1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216-427A-A163-B2255CA2B95C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ČR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9525">
                <a:solidFill>
                  <a:schemeClr val="tx1"/>
                </a:solidFill>
              </a:ln>
              <a:effectLst/>
            </c:spPr>
          </c:marke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5:$O$5</c:f>
              <c:numCache>
                <c:formatCode>General</c:formatCode>
                <c:ptCount val="14"/>
                <c:pt idx="0">
                  <c:v>7511.2132584875644</c:v>
                </c:pt>
                <c:pt idx="1">
                  <c:v>7831.2859637614083</c:v>
                </c:pt>
                <c:pt idx="2">
                  <c:v>7963.1358299598633</c:v>
                </c:pt>
                <c:pt idx="3">
                  <c:v>8118.3170133037611</c:v>
                </c:pt>
                <c:pt idx="4">
                  <c:v>8298.8555126554202</c:v>
                </c:pt>
                <c:pt idx="5">
                  <c:v>8549.6361851360361</c:v>
                </c:pt>
                <c:pt idx="6">
                  <c:v>8768.4853196300573</c:v>
                </c:pt>
                <c:pt idx="7">
                  <c:v>8901.9993574965611</c:v>
                </c:pt>
                <c:pt idx="8">
                  <c:v>9013.9225700939332</c:v>
                </c:pt>
                <c:pt idx="9">
                  <c:v>9121.3225234811744</c:v>
                </c:pt>
                <c:pt idx="10">
                  <c:v>9025.7384131459075</c:v>
                </c:pt>
                <c:pt idx="11">
                  <c:v>9089.3601653814731</c:v>
                </c:pt>
                <c:pt idx="12">
                  <c:v>9231.3584477069271</c:v>
                </c:pt>
                <c:pt idx="13">
                  <c:v>9319.37073915490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216-427A-A163-B2255CA2B95C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Praha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0000"/>
              </a:solidFill>
              <a:ln w="9525">
                <a:solidFill>
                  <a:srgbClr val="FF0000"/>
                </a:solidFill>
              </a:ln>
              <a:effectLst/>
            </c:spPr>
          </c:marker>
          <c:cat>
            <c:strRef>
              <c:f>List1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List1!$B$6:$O$6</c:f>
              <c:numCache>
                <c:formatCode>General</c:formatCode>
                <c:ptCount val="14"/>
                <c:pt idx="0">
                  <c:v>9165.64519860785</c:v>
                </c:pt>
                <c:pt idx="1">
                  <c:v>9537.1434840888596</c:v>
                </c:pt>
                <c:pt idx="2">
                  <c:v>9722.3247913743435</c:v>
                </c:pt>
                <c:pt idx="3">
                  <c:v>9837.5982703519076</c:v>
                </c:pt>
                <c:pt idx="4">
                  <c:v>9907.1793067042054</c:v>
                </c:pt>
                <c:pt idx="5">
                  <c:v>10093.372335691047</c:v>
                </c:pt>
                <c:pt idx="6">
                  <c:v>10247.477123518167</c:v>
                </c:pt>
                <c:pt idx="7">
                  <c:v>10521.200239250349</c:v>
                </c:pt>
                <c:pt idx="8">
                  <c:v>10524.662268300346</c:v>
                </c:pt>
                <c:pt idx="9">
                  <c:v>10668.214706106854</c:v>
                </c:pt>
                <c:pt idx="10">
                  <c:v>10578.268056968463</c:v>
                </c:pt>
                <c:pt idx="11">
                  <c:v>10672.596772715136</c:v>
                </c:pt>
                <c:pt idx="12">
                  <c:v>10750.943099654196</c:v>
                </c:pt>
                <c:pt idx="13">
                  <c:v>10697.563716385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216-427A-A163-B2255CA2B9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0352592"/>
        <c:axId val="300349064"/>
      </c:lineChart>
      <c:catAx>
        <c:axId val="3003525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0349064"/>
        <c:crosses val="autoZero"/>
        <c:auto val="1"/>
        <c:lblAlgn val="ctr"/>
        <c:lblOffset val="100"/>
        <c:noMultiLvlLbl val="0"/>
      </c:catAx>
      <c:valAx>
        <c:axId val="300349064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0352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ayout>
        <c:manualLayout>
          <c:xMode val="edge"/>
          <c:yMode val="edge"/>
          <c:x val="6.2657614561094963E-2"/>
          <c:y val="0.57407646055458172"/>
          <c:w val="0.71517626800064349"/>
          <c:h val="0.1106498656749382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8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C$1</c:f>
              <c:strCache>
                <c:ptCount val="1"/>
                <c:pt idx="0">
                  <c:v>20-64 le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List1!$A$2:$A$8</c:f>
              <c:strCache>
                <c:ptCount val="7"/>
                <c:pt idx="0">
                  <c:v>0-30 dní</c:v>
                </c:pt>
                <c:pt idx="1">
                  <c:v>31-60 dní</c:v>
                </c:pt>
                <c:pt idx="2">
                  <c:v>61-90 dní</c:v>
                </c:pt>
                <c:pt idx="3">
                  <c:v>91-180 dní</c:v>
                </c:pt>
                <c:pt idx="4">
                  <c:v>181-365 dní</c:v>
                </c:pt>
                <c:pt idx="5">
                  <c:v>1-2 roky</c:v>
                </c:pt>
                <c:pt idx="6">
                  <c:v>2+ let</c:v>
                </c:pt>
              </c:strCache>
            </c:strRef>
          </c:cat>
          <c:val>
            <c:numRef>
              <c:f>List1!$C$2:$C$8</c:f>
              <c:numCache>
                <c:formatCode>General</c:formatCode>
                <c:ptCount val="7"/>
                <c:pt idx="0">
                  <c:v>6047</c:v>
                </c:pt>
                <c:pt idx="1">
                  <c:v>535</c:v>
                </c:pt>
                <c:pt idx="2">
                  <c:v>9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455-4713-9E7A-B42E27803E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-100"/>
        <c:axId val="6158847"/>
        <c:axId val="240726576"/>
      </c:barChart>
      <c:catAx>
        <c:axId val="61588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0726576"/>
        <c:crosses val="autoZero"/>
        <c:auto val="1"/>
        <c:lblAlgn val="ctr"/>
        <c:lblOffset val="100"/>
        <c:noMultiLvlLbl val="0"/>
      </c:catAx>
      <c:valAx>
        <c:axId val="240726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588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8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D$1</c:f>
              <c:strCache>
                <c:ptCount val="1"/>
                <c:pt idx="0">
                  <c:v>65+ le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List1!$A$2:$A$8</c:f>
              <c:strCache>
                <c:ptCount val="7"/>
                <c:pt idx="0">
                  <c:v>0-30 dní</c:v>
                </c:pt>
                <c:pt idx="1">
                  <c:v>31-60 dní</c:v>
                </c:pt>
                <c:pt idx="2">
                  <c:v>61-90 dní</c:v>
                </c:pt>
                <c:pt idx="3">
                  <c:v>91-180 dní</c:v>
                </c:pt>
                <c:pt idx="4">
                  <c:v>181-365 dní</c:v>
                </c:pt>
                <c:pt idx="5">
                  <c:v>1-2 roky</c:v>
                </c:pt>
                <c:pt idx="6">
                  <c:v>2+ let</c:v>
                </c:pt>
              </c:strCache>
            </c:strRef>
          </c:cat>
          <c:val>
            <c:numRef>
              <c:f>List1!$D$2:$D$8</c:f>
              <c:numCache>
                <c:formatCode>General</c:formatCode>
                <c:ptCount val="7"/>
                <c:pt idx="0">
                  <c:v>816</c:v>
                </c:pt>
                <c:pt idx="1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66-4CBD-8FA1-CBD4A0EF5A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-100"/>
        <c:axId val="6158847"/>
        <c:axId val="240726576"/>
      </c:barChart>
      <c:catAx>
        <c:axId val="61588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0726576"/>
        <c:crosses val="autoZero"/>
        <c:auto val="1"/>
        <c:lblAlgn val="ctr"/>
        <c:lblOffset val="100"/>
        <c:noMultiLvlLbl val="0"/>
      </c:catAx>
      <c:valAx>
        <c:axId val="240726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588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8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0-19 le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BD4-4AF4-B759-19409AA44CF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BD4-4AF4-B759-19409AA44CFF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BD4-4AF4-B759-19409AA44CFF}"/>
              </c:ext>
            </c:extLst>
          </c:dPt>
          <c:cat>
            <c:strRef>
              <c:f>List1!$A$2:$A$8</c:f>
              <c:strCache>
                <c:ptCount val="7"/>
                <c:pt idx="0">
                  <c:v>0-30 dní</c:v>
                </c:pt>
                <c:pt idx="1">
                  <c:v>31-60 dní</c:v>
                </c:pt>
                <c:pt idx="2">
                  <c:v>61-90 dní</c:v>
                </c:pt>
                <c:pt idx="3">
                  <c:v>91-180 dní</c:v>
                </c:pt>
                <c:pt idx="4">
                  <c:v>181-365 dní</c:v>
                </c:pt>
                <c:pt idx="5">
                  <c:v>1-2 roky</c:v>
                </c:pt>
                <c:pt idx="6">
                  <c:v>2+ let</c:v>
                </c:pt>
              </c:strCache>
            </c:strRef>
          </c:cat>
          <c:val>
            <c:numRef>
              <c:f>List1!$B$2:$B$8</c:f>
              <c:numCache>
                <c:formatCode>General</c:formatCode>
                <c:ptCount val="7"/>
                <c:pt idx="0">
                  <c:v>1819</c:v>
                </c:pt>
                <c:pt idx="1">
                  <c:v>1273</c:v>
                </c:pt>
                <c:pt idx="2">
                  <c:v>504</c:v>
                </c:pt>
                <c:pt idx="3">
                  <c:v>181</c:v>
                </c:pt>
                <c:pt idx="4">
                  <c:v>27</c:v>
                </c:pt>
                <c:pt idx="5">
                  <c:v>18</c:v>
                </c:pt>
                <c:pt idx="6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BD4-4AF4-B759-19409AA44C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-100"/>
        <c:axId val="6158847"/>
        <c:axId val="240726576"/>
      </c:barChart>
      <c:catAx>
        <c:axId val="61588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0726576"/>
        <c:crosses val="autoZero"/>
        <c:auto val="1"/>
        <c:lblAlgn val="ctr"/>
        <c:lblOffset val="100"/>
        <c:noMultiLvlLbl val="0"/>
      </c:catAx>
      <c:valAx>
        <c:axId val="240726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588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C$1</c:f>
              <c:strCache>
                <c:ptCount val="1"/>
                <c:pt idx="0">
                  <c:v>20-64 le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7C3-4CBE-AC36-4C96BD09E524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7C3-4CBE-AC36-4C96BD09E524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7C3-4CBE-AC36-4C96BD09E524}"/>
              </c:ext>
            </c:extLst>
          </c:dPt>
          <c:cat>
            <c:strRef>
              <c:f>List1!$A$2:$A$8</c:f>
              <c:strCache>
                <c:ptCount val="7"/>
                <c:pt idx="0">
                  <c:v>0-30 dní</c:v>
                </c:pt>
                <c:pt idx="1">
                  <c:v>31-60 dní</c:v>
                </c:pt>
                <c:pt idx="2">
                  <c:v>61-90 dní</c:v>
                </c:pt>
                <c:pt idx="3">
                  <c:v>91-180 dní</c:v>
                </c:pt>
                <c:pt idx="4">
                  <c:v>181-365 dní</c:v>
                </c:pt>
                <c:pt idx="5">
                  <c:v>1-2 roky</c:v>
                </c:pt>
                <c:pt idx="6">
                  <c:v>2+ let</c:v>
                </c:pt>
              </c:strCache>
            </c:strRef>
          </c:cat>
          <c:val>
            <c:numRef>
              <c:f>List1!$C$2:$C$8</c:f>
              <c:numCache>
                <c:formatCode>General</c:formatCode>
                <c:ptCount val="7"/>
                <c:pt idx="0">
                  <c:v>9601</c:v>
                </c:pt>
                <c:pt idx="1">
                  <c:v>5196</c:v>
                </c:pt>
                <c:pt idx="2">
                  <c:v>3850</c:v>
                </c:pt>
                <c:pt idx="3">
                  <c:v>2991</c:v>
                </c:pt>
                <c:pt idx="4">
                  <c:v>1072</c:v>
                </c:pt>
                <c:pt idx="5">
                  <c:v>672</c:v>
                </c:pt>
                <c:pt idx="6">
                  <c:v>9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7C3-4CBE-AC36-4C96BD09E5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-100"/>
        <c:axId val="6158847"/>
        <c:axId val="240726576"/>
      </c:barChart>
      <c:catAx>
        <c:axId val="61588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0726576"/>
        <c:crosses val="autoZero"/>
        <c:auto val="1"/>
        <c:lblAlgn val="ctr"/>
        <c:lblOffset val="100"/>
        <c:noMultiLvlLbl val="0"/>
      </c:catAx>
      <c:valAx>
        <c:axId val="240726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588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8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D$1</c:f>
              <c:strCache>
                <c:ptCount val="1"/>
                <c:pt idx="0">
                  <c:v>65+ le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FB1-43C1-A767-43990A996029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FB1-43C1-A767-43990A996029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FB1-43C1-A767-43990A996029}"/>
              </c:ext>
            </c:extLst>
          </c:dPt>
          <c:cat>
            <c:strRef>
              <c:f>List1!$A$2:$A$8</c:f>
              <c:strCache>
                <c:ptCount val="7"/>
                <c:pt idx="0">
                  <c:v>0-30 dní</c:v>
                </c:pt>
                <c:pt idx="1">
                  <c:v>31-60 dní</c:v>
                </c:pt>
                <c:pt idx="2">
                  <c:v>61-90 dní</c:v>
                </c:pt>
                <c:pt idx="3">
                  <c:v>91-180 dní</c:v>
                </c:pt>
                <c:pt idx="4">
                  <c:v>181-365 dní</c:v>
                </c:pt>
                <c:pt idx="5">
                  <c:v>1-2 roky</c:v>
                </c:pt>
                <c:pt idx="6">
                  <c:v>2+ let</c:v>
                </c:pt>
              </c:strCache>
            </c:strRef>
          </c:cat>
          <c:val>
            <c:numRef>
              <c:f>List1!$D$2:$D$8</c:f>
              <c:numCache>
                <c:formatCode>General</c:formatCode>
                <c:ptCount val="7"/>
                <c:pt idx="0">
                  <c:v>2697</c:v>
                </c:pt>
                <c:pt idx="1">
                  <c:v>1847</c:v>
                </c:pt>
                <c:pt idx="2">
                  <c:v>1010</c:v>
                </c:pt>
                <c:pt idx="3">
                  <c:v>1104</c:v>
                </c:pt>
                <c:pt idx="4">
                  <c:v>560</c:v>
                </c:pt>
                <c:pt idx="5">
                  <c:v>317</c:v>
                </c:pt>
                <c:pt idx="6">
                  <c:v>2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FB1-43C1-A767-43990A9960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-100"/>
        <c:axId val="6158847"/>
        <c:axId val="240726576"/>
      </c:barChart>
      <c:catAx>
        <c:axId val="61588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0726576"/>
        <c:crosses val="autoZero"/>
        <c:auto val="1"/>
        <c:lblAlgn val="ctr"/>
        <c:lblOffset val="100"/>
        <c:noMultiLvlLbl val="0"/>
      </c:catAx>
      <c:valAx>
        <c:axId val="240726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588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8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0-19 le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18F-43DF-B3F9-A6C06E2B86C6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18F-43DF-B3F9-A6C06E2B86C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18F-43DF-B3F9-A6C06E2B86C6}"/>
              </c:ext>
            </c:extLst>
          </c:dPt>
          <c:cat>
            <c:strRef>
              <c:f>List1!$A$2:$A$8</c:f>
              <c:strCache>
                <c:ptCount val="7"/>
                <c:pt idx="0">
                  <c:v>0-30 dní</c:v>
                </c:pt>
                <c:pt idx="1">
                  <c:v>31-60 dní</c:v>
                </c:pt>
                <c:pt idx="2">
                  <c:v>61-90 dní</c:v>
                </c:pt>
                <c:pt idx="3">
                  <c:v>91-180 dní</c:v>
                </c:pt>
                <c:pt idx="4">
                  <c:v>181-365 dní</c:v>
                </c:pt>
                <c:pt idx="5">
                  <c:v>1-2 roky</c:v>
                </c:pt>
                <c:pt idx="6">
                  <c:v>2+ let</c:v>
                </c:pt>
              </c:strCache>
            </c:strRef>
          </c:cat>
          <c:val>
            <c:numRef>
              <c:f>List1!$B$2:$B$8</c:f>
              <c:numCache>
                <c:formatCode>General</c:formatCode>
                <c:ptCount val="7"/>
                <c:pt idx="0">
                  <c:v>447</c:v>
                </c:pt>
                <c:pt idx="1">
                  <c:v>185</c:v>
                </c:pt>
                <c:pt idx="2">
                  <c:v>41</c:v>
                </c:pt>
                <c:pt idx="3">
                  <c:v>13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18F-43DF-B3F9-A6C06E2B86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-100"/>
        <c:axId val="6158847"/>
        <c:axId val="240726576"/>
      </c:barChart>
      <c:catAx>
        <c:axId val="61588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0726576"/>
        <c:crosses val="autoZero"/>
        <c:auto val="1"/>
        <c:lblAlgn val="ctr"/>
        <c:lblOffset val="100"/>
        <c:noMultiLvlLbl val="0"/>
      </c:catAx>
      <c:valAx>
        <c:axId val="240726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588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C$1</c:f>
              <c:strCache>
                <c:ptCount val="1"/>
                <c:pt idx="0">
                  <c:v>20-64 le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152-4BD1-A17F-D7BF63D4EF4C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152-4BD1-A17F-D7BF63D4EF4C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152-4BD1-A17F-D7BF63D4EF4C}"/>
              </c:ext>
            </c:extLst>
          </c:dPt>
          <c:cat>
            <c:strRef>
              <c:f>List1!$A$2:$A$8</c:f>
              <c:strCache>
                <c:ptCount val="7"/>
                <c:pt idx="0">
                  <c:v>0-30 dní</c:v>
                </c:pt>
                <c:pt idx="1">
                  <c:v>31-60 dní</c:v>
                </c:pt>
                <c:pt idx="2">
                  <c:v>61-90 dní</c:v>
                </c:pt>
                <c:pt idx="3">
                  <c:v>91-180 dní</c:v>
                </c:pt>
                <c:pt idx="4">
                  <c:v>181-365 dní</c:v>
                </c:pt>
                <c:pt idx="5">
                  <c:v>1-2 roky</c:v>
                </c:pt>
                <c:pt idx="6">
                  <c:v>2+ let</c:v>
                </c:pt>
              </c:strCache>
            </c:strRef>
          </c:cat>
          <c:val>
            <c:numRef>
              <c:f>List1!$C$2:$C$8</c:f>
              <c:numCache>
                <c:formatCode>General</c:formatCode>
                <c:ptCount val="7"/>
                <c:pt idx="0">
                  <c:v>2004</c:v>
                </c:pt>
                <c:pt idx="1">
                  <c:v>694</c:v>
                </c:pt>
                <c:pt idx="2">
                  <c:v>635</c:v>
                </c:pt>
                <c:pt idx="3">
                  <c:v>401</c:v>
                </c:pt>
                <c:pt idx="4">
                  <c:v>147</c:v>
                </c:pt>
                <c:pt idx="5">
                  <c:v>85</c:v>
                </c:pt>
                <c:pt idx="6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152-4BD1-A17F-D7BF63D4EF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-100"/>
        <c:axId val="6158847"/>
        <c:axId val="240726576"/>
      </c:barChart>
      <c:catAx>
        <c:axId val="61588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0726576"/>
        <c:crosses val="autoZero"/>
        <c:auto val="1"/>
        <c:lblAlgn val="ctr"/>
        <c:lblOffset val="100"/>
        <c:noMultiLvlLbl val="0"/>
      </c:catAx>
      <c:valAx>
        <c:axId val="240726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588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8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D$1</c:f>
              <c:strCache>
                <c:ptCount val="1"/>
                <c:pt idx="0">
                  <c:v>65+ le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606-48D2-853B-898158C1BDF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606-48D2-853B-898158C1BDF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606-48D2-853B-898158C1BDF0}"/>
              </c:ext>
            </c:extLst>
          </c:dPt>
          <c:cat>
            <c:strRef>
              <c:f>List1!$A$2:$A$8</c:f>
              <c:strCache>
                <c:ptCount val="7"/>
                <c:pt idx="0">
                  <c:v>0-30 dní</c:v>
                </c:pt>
                <c:pt idx="1">
                  <c:v>31-60 dní</c:v>
                </c:pt>
                <c:pt idx="2">
                  <c:v>61-90 dní</c:v>
                </c:pt>
                <c:pt idx="3">
                  <c:v>91-180 dní</c:v>
                </c:pt>
                <c:pt idx="4">
                  <c:v>181-365 dní</c:v>
                </c:pt>
                <c:pt idx="5">
                  <c:v>1-2 roky</c:v>
                </c:pt>
                <c:pt idx="6">
                  <c:v>2+ let</c:v>
                </c:pt>
              </c:strCache>
            </c:strRef>
          </c:cat>
          <c:val>
            <c:numRef>
              <c:f>List1!$D$2:$D$8</c:f>
              <c:numCache>
                <c:formatCode>General</c:formatCode>
                <c:ptCount val="7"/>
                <c:pt idx="0">
                  <c:v>683</c:v>
                </c:pt>
                <c:pt idx="1">
                  <c:v>357</c:v>
                </c:pt>
                <c:pt idx="2">
                  <c:v>169</c:v>
                </c:pt>
                <c:pt idx="3">
                  <c:v>211</c:v>
                </c:pt>
                <c:pt idx="4">
                  <c:v>72</c:v>
                </c:pt>
                <c:pt idx="5">
                  <c:v>25</c:v>
                </c:pt>
                <c:pt idx="6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606-48D2-853B-898158C1BD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-100"/>
        <c:axId val="6158847"/>
        <c:axId val="240726576"/>
      </c:barChart>
      <c:catAx>
        <c:axId val="61588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0726576"/>
        <c:crosses val="autoZero"/>
        <c:auto val="1"/>
        <c:lblAlgn val="ctr"/>
        <c:lblOffset val="100"/>
        <c:noMultiLvlLbl val="0"/>
      </c:catAx>
      <c:valAx>
        <c:axId val="240726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588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8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4131074023507296"/>
          <c:y val="0.15573556917754688"/>
          <c:w val="0.61189273984018855"/>
          <c:h val="0.821541244989106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rgbClr val="3D67BC"/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8E0-4563-9FB3-E75862551B6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27FB-4A45-8E1E-DA9630644F9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78E0-4563-9FB3-E75862551B65}"/>
              </c:ext>
            </c:extLst>
          </c:dPt>
          <c:dPt>
            <c:idx val="6"/>
            <c:invertIfNegative val="0"/>
            <c:bubble3D val="0"/>
            <c:spPr>
              <a:solidFill>
                <a:srgbClr val="C00000"/>
              </a:solidFill>
              <a:ln w="3175">
                <a:solidFill>
                  <a:schemeClr val="bg1">
                    <a:lumMod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05A3-4A85-9DFA-CE50621E3076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5A3-4A85-9DFA-CE50621E3076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E659-449B-B2B0-6A1FBCB96B64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2D52-4896-AE7D-AF7D71C95974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8A90-4EE9-9B69-1BF25D1AA29C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Plzeňský kraj</c:v>
                </c:pt>
                <c:pt idx="1">
                  <c:v>Karlovarský kraj</c:v>
                </c:pt>
                <c:pt idx="2">
                  <c:v>Kraj Vysočina</c:v>
                </c:pt>
                <c:pt idx="3">
                  <c:v>Olomoucký kraj</c:v>
                </c:pt>
                <c:pt idx="4">
                  <c:v>Ústecký kraj</c:v>
                </c:pt>
                <c:pt idx="5">
                  <c:v>Královéhradecký kraj</c:v>
                </c:pt>
                <c:pt idx="6">
                  <c:v>ČR</c:v>
                </c:pt>
                <c:pt idx="7">
                  <c:v>Středočeský kraj</c:v>
                </c:pt>
                <c:pt idx="8">
                  <c:v>Jihočeský kraj</c:v>
                </c:pt>
                <c:pt idx="9">
                  <c:v>Moravskoslezský kraj</c:v>
                </c:pt>
                <c:pt idx="10">
                  <c:v>Liberecký kraj</c:v>
                </c:pt>
                <c:pt idx="11">
                  <c:v>Jihomoravský kraj</c:v>
                </c:pt>
                <c:pt idx="12">
                  <c:v>Hlavní město Praha</c:v>
                </c:pt>
                <c:pt idx="13">
                  <c:v>Zlínský kraj</c:v>
                </c:pt>
                <c:pt idx="14">
                  <c:v>Pardubický kraj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12.7165481419167</c:v>
                </c:pt>
                <c:pt idx="1">
                  <c:v>10.8446269956655</c:v>
                </c:pt>
                <c:pt idx="2">
                  <c:v>10.618580585373399</c:v>
                </c:pt>
                <c:pt idx="3">
                  <c:v>10.4287809071143</c:v>
                </c:pt>
                <c:pt idx="4">
                  <c:v>8.5062422257260994</c:v>
                </c:pt>
                <c:pt idx="5">
                  <c:v>7.5410854494755997</c:v>
                </c:pt>
                <c:pt idx="6">
                  <c:v>7.2932066303046001</c:v>
                </c:pt>
                <c:pt idx="7">
                  <c:v>7.143151503496</c:v>
                </c:pt>
                <c:pt idx="8">
                  <c:v>6.8754249394581004</c:v>
                </c:pt>
                <c:pt idx="9">
                  <c:v>6.6430990814023003</c:v>
                </c:pt>
                <c:pt idx="10">
                  <c:v>6.2121723079107998</c:v>
                </c:pt>
                <c:pt idx="11">
                  <c:v>5.7061387455787997</c:v>
                </c:pt>
                <c:pt idx="12">
                  <c:v>5.5606427814190997</c:v>
                </c:pt>
                <c:pt idx="13">
                  <c:v>4.9935944237048</c:v>
                </c:pt>
                <c:pt idx="14">
                  <c:v>3.958082026537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8E0-4563-9FB3-E75862551B6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593864360"/>
        <c:axId val="593863184"/>
      </c:barChart>
      <c:catAx>
        <c:axId val="59386436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93863184"/>
        <c:crosses val="autoZero"/>
        <c:auto val="1"/>
        <c:lblAlgn val="ctr"/>
        <c:lblOffset val="100"/>
        <c:tickLblSkip val="1"/>
        <c:noMultiLvlLbl val="0"/>
      </c:catAx>
      <c:valAx>
        <c:axId val="593863184"/>
        <c:scaling>
          <c:orientation val="minMax"/>
        </c:scaling>
        <c:delete val="0"/>
        <c:axPos val="t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938643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2">
    <c:autoUpdate val="0"/>
  </c:externalData>
</c:chartSpace>
</file>

<file path=ppt/charts/chart8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spPr>
            <a:noFill/>
            <a:ln>
              <a:noFill/>
            </a:ln>
            <a:effectLst/>
          </c:spPr>
          <c:cat>
            <c:numRef>
              <c:f>List1!$A$2:$A$12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List1!$B$2:$B$12</c:f>
              <c:numCache>
                <c:formatCode>General</c:formatCode>
                <c:ptCount val="11"/>
                <c:pt idx="0">
                  <c:v>3.4425965150051998</c:v>
                </c:pt>
                <c:pt idx="1">
                  <c:v>2.7112236914472998</c:v>
                </c:pt>
                <c:pt idx="2">
                  <c:v>2.9061375688028002</c:v>
                </c:pt>
                <c:pt idx="3">
                  <c:v>2.7411435365549002</c:v>
                </c:pt>
                <c:pt idx="4">
                  <c:v>4.4372676463382001</c:v>
                </c:pt>
                <c:pt idx="5">
                  <c:v>3.7375434684091999</c:v>
                </c:pt>
                <c:pt idx="6">
                  <c:v>4.2092212558020003</c:v>
                </c:pt>
                <c:pt idx="7">
                  <c:v>2.6776014810961</c:v>
                </c:pt>
                <c:pt idx="8">
                  <c:v>6.5929201456094004</c:v>
                </c:pt>
                <c:pt idx="9">
                  <c:v>4.6414789077937</c:v>
                </c:pt>
                <c:pt idx="10">
                  <c:v>3.958082026537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28-4BAA-A2DB-44DD73C67216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Rozsah krajů</c:v>
                </c:pt>
              </c:strCache>
            </c:strRef>
          </c:tx>
          <c:spPr>
            <a:solidFill>
              <a:srgbClr val="FFDC85"/>
            </a:solidFill>
            <a:ln>
              <a:noFill/>
            </a:ln>
            <a:effectLst/>
          </c:spPr>
          <c:cat>
            <c:numRef>
              <c:f>List1!$A$2:$A$12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List1!$C$2:$C$12</c:f>
              <c:numCache>
                <c:formatCode>General</c:formatCode>
                <c:ptCount val="11"/>
                <c:pt idx="0">
                  <c:v>9.2828252418302011</c:v>
                </c:pt>
                <c:pt idx="1">
                  <c:v>8.5907065043542996</c:v>
                </c:pt>
                <c:pt idx="2">
                  <c:v>7.1041671566499005</c:v>
                </c:pt>
                <c:pt idx="3">
                  <c:v>8.8379511856246005</c:v>
                </c:pt>
                <c:pt idx="4">
                  <c:v>5.0387406799144001</c:v>
                </c:pt>
                <c:pt idx="5">
                  <c:v>7.3798009571832992</c:v>
                </c:pt>
                <c:pt idx="6">
                  <c:v>9.3655622264015008</c:v>
                </c:pt>
                <c:pt idx="7">
                  <c:v>11.0788542270469</c:v>
                </c:pt>
                <c:pt idx="8">
                  <c:v>12.4149715854393</c:v>
                </c:pt>
                <c:pt idx="9">
                  <c:v>10.004547080387301</c:v>
                </c:pt>
                <c:pt idx="10">
                  <c:v>8.7584661153787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428-4BAA-A2DB-44DD73C672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01765631"/>
        <c:axId val="1201759391"/>
      </c:areaChart>
      <c:lineChart>
        <c:grouping val="standard"/>
        <c:varyColors val="0"/>
        <c:ser>
          <c:idx val="2"/>
          <c:order val="2"/>
          <c:tx>
            <c:strRef>
              <c:f>List1!$D$1</c:f>
              <c:strCache>
                <c:ptCount val="1"/>
                <c:pt idx="0">
                  <c:v>ČR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9525">
                <a:solidFill>
                  <a:schemeClr val="tx1"/>
                </a:solidFill>
              </a:ln>
              <a:effectLst/>
            </c:spPr>
          </c:marker>
          <c:cat>
            <c:numRef>
              <c:f>List1!$A$2:$A$12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List1!$D$2:$D$12</c:f>
              <c:numCache>
                <c:formatCode>General</c:formatCode>
                <c:ptCount val="11"/>
                <c:pt idx="0">
                  <c:v>6.4970965683535002</c:v>
                </c:pt>
                <c:pt idx="1">
                  <c:v>6.1869866793797001</c:v>
                </c:pt>
                <c:pt idx="2">
                  <c:v>5.9030775310961001</c:v>
                </c:pt>
                <c:pt idx="3">
                  <c:v>6.8722220436684003</c:v>
                </c:pt>
                <c:pt idx="4">
                  <c:v>7.0781913948608004</c:v>
                </c:pt>
                <c:pt idx="5">
                  <c:v>7.2959116603128997</c:v>
                </c:pt>
                <c:pt idx="6">
                  <c:v>7.2190424875249004</c:v>
                </c:pt>
                <c:pt idx="7">
                  <c:v>8.4378510223115004</c:v>
                </c:pt>
                <c:pt idx="8">
                  <c:v>9.4326104169299008</c:v>
                </c:pt>
                <c:pt idx="9">
                  <c:v>7.3239240458279999</c:v>
                </c:pt>
                <c:pt idx="10">
                  <c:v>7.2932066303046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428-4BAA-A2DB-44DD73C67216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Praha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cat>
            <c:numRef>
              <c:f>List1!$A$2:$A$12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List1!$E$2:$E$12</c:f>
              <c:numCache>
                <c:formatCode>General</c:formatCode>
                <c:ptCount val="11"/>
                <c:pt idx="0">
                  <c:v>6.3545637431115001</c:v>
                </c:pt>
                <c:pt idx="1">
                  <c:v>5.9567350420425997</c:v>
                </c:pt>
                <c:pt idx="2">
                  <c:v>5.8384992216649003</c:v>
                </c:pt>
                <c:pt idx="3">
                  <c:v>6.2475205152955002</c:v>
                </c:pt>
                <c:pt idx="4">
                  <c:v>6.7206741067875999</c:v>
                </c:pt>
                <c:pt idx="5">
                  <c:v>7.1830736219197</c:v>
                </c:pt>
                <c:pt idx="6">
                  <c:v>5.4369289808702996</c:v>
                </c:pt>
                <c:pt idx="7">
                  <c:v>8.5387885706067994</c:v>
                </c:pt>
                <c:pt idx="8">
                  <c:v>7.2133893050526998</c:v>
                </c:pt>
                <c:pt idx="9">
                  <c:v>4.6414789077937</c:v>
                </c:pt>
                <c:pt idx="10">
                  <c:v>5.5606427814190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428-4BAA-A2DB-44DD73C672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01765631"/>
        <c:axId val="1201759391"/>
      </c:lineChart>
      <c:catAx>
        <c:axId val="1201765631"/>
        <c:scaling>
          <c:orientation val="minMax"/>
        </c:scaling>
        <c:delete val="0"/>
        <c:axPos val="b"/>
        <c:numFmt formatCode="General" sourceLinked="1"/>
        <c:majorTickMark val="none"/>
        <c:minorTickMark val="out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01759391"/>
        <c:crosses val="autoZero"/>
        <c:auto val="1"/>
        <c:lblAlgn val="ctr"/>
        <c:lblOffset val="100"/>
        <c:noMultiLvlLbl val="0"/>
      </c:catAx>
      <c:valAx>
        <c:axId val="12017593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0176563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131074023507296"/>
          <c:y val="0.15573556917754688"/>
          <c:w val="0.61189273984018855"/>
          <c:h val="0.821541244989106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8FB-4AB4-9BBD-DBC80499664D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88FB-4AB4-9BBD-DBC80499664D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88FB-4AB4-9BBD-DBC80499664D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88FB-4AB4-9BBD-DBC80499664D}"/>
              </c:ext>
            </c:extLst>
          </c:dPt>
          <c:dLbls>
            <c:delete val="1"/>
          </c:dLbls>
          <c:cat>
            <c:strRef>
              <c:f>List1!$A$2:$A$16</c:f>
              <c:strCache>
                <c:ptCount val="15"/>
                <c:pt idx="0">
                  <c:v>PAR</c:v>
                </c:pt>
                <c:pt idx="1">
                  <c:v>JHC</c:v>
                </c:pt>
                <c:pt idx="2">
                  <c:v>OLO</c:v>
                </c:pt>
                <c:pt idx="3">
                  <c:v>VYS</c:v>
                </c:pt>
                <c:pt idx="4">
                  <c:v>MSK</c:v>
                </c:pt>
                <c:pt idx="5">
                  <c:v>HRA</c:v>
                </c:pt>
                <c:pt idx="6">
                  <c:v>PLZ</c:v>
                </c:pt>
                <c:pt idx="7">
                  <c:v>KAR</c:v>
                </c:pt>
                <c:pt idx="8">
                  <c:v>ČR</c:v>
                </c:pt>
                <c:pt idx="9">
                  <c:v>ZLI</c:v>
                </c:pt>
                <c:pt idx="10">
                  <c:v>PHA</c:v>
                </c:pt>
                <c:pt idx="11">
                  <c:v>UST</c:v>
                </c:pt>
                <c:pt idx="12">
                  <c:v>JMK</c:v>
                </c:pt>
                <c:pt idx="13">
                  <c:v>STC</c:v>
                </c:pt>
                <c:pt idx="14">
                  <c:v>LIB</c:v>
                </c:pt>
              </c:strCache>
            </c:strRef>
          </c:cat>
          <c:val>
            <c:numRef>
              <c:f>List1!$B$2:$B$16</c:f>
              <c:numCache>
                <c:formatCode>0.0</c:formatCode>
                <c:ptCount val="15"/>
                <c:pt idx="0">
                  <c:v>1168.5553081315857</c:v>
                </c:pt>
                <c:pt idx="1">
                  <c:v>1046.4158409743554</c:v>
                </c:pt>
                <c:pt idx="2">
                  <c:v>1054.4232268430972</c:v>
                </c:pt>
                <c:pt idx="3">
                  <c:v>1028.279640570235</c:v>
                </c:pt>
                <c:pt idx="4">
                  <c:v>1001.7040250013472</c:v>
                </c:pt>
                <c:pt idx="5">
                  <c:v>990.91047249621874</c:v>
                </c:pt>
                <c:pt idx="6">
                  <c:v>991.54545363371665</c:v>
                </c:pt>
                <c:pt idx="7">
                  <c:v>954.70799387778925</c:v>
                </c:pt>
                <c:pt idx="8">
                  <c:v>942.62525529705078</c:v>
                </c:pt>
                <c:pt idx="9">
                  <c:v>945.85379748474361</c:v>
                </c:pt>
                <c:pt idx="10">
                  <c:v>907.41335644326239</c:v>
                </c:pt>
                <c:pt idx="11">
                  <c:v>879.88376844046536</c:v>
                </c:pt>
                <c:pt idx="12">
                  <c:v>840.51262588051236</c:v>
                </c:pt>
                <c:pt idx="13">
                  <c:v>820.51626950932962</c:v>
                </c:pt>
                <c:pt idx="14">
                  <c:v>626.832270336802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8FB-4AB4-9BBD-DBC80499664D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88FB-4AB4-9BBD-DBC80499664D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88FB-4AB4-9BBD-DBC80499664D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88FB-4AB4-9BBD-DBC80499664D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FB-4AB4-9BBD-DBC80499664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PAR</c:v>
                </c:pt>
                <c:pt idx="1">
                  <c:v>JHC</c:v>
                </c:pt>
                <c:pt idx="2">
                  <c:v>OLO</c:v>
                </c:pt>
                <c:pt idx="3">
                  <c:v>VYS</c:v>
                </c:pt>
                <c:pt idx="4">
                  <c:v>MSK</c:v>
                </c:pt>
                <c:pt idx="5">
                  <c:v>HRA</c:v>
                </c:pt>
                <c:pt idx="6">
                  <c:v>PLZ</c:v>
                </c:pt>
                <c:pt idx="7">
                  <c:v>KAR</c:v>
                </c:pt>
                <c:pt idx="8">
                  <c:v>ČR</c:v>
                </c:pt>
                <c:pt idx="9">
                  <c:v>ZLI</c:v>
                </c:pt>
                <c:pt idx="10">
                  <c:v>PHA</c:v>
                </c:pt>
                <c:pt idx="11">
                  <c:v>UST</c:v>
                </c:pt>
                <c:pt idx="12">
                  <c:v>JMK</c:v>
                </c:pt>
                <c:pt idx="13">
                  <c:v>STC</c:v>
                </c:pt>
                <c:pt idx="14">
                  <c:v>LIB</c:v>
                </c:pt>
              </c:strCache>
            </c:strRef>
          </c:cat>
          <c:val>
            <c:numRef>
              <c:f>List1!$C$2:$C$16</c:f>
              <c:numCache>
                <c:formatCode>0.0</c:formatCode>
                <c:ptCount val="15"/>
                <c:pt idx="0">
                  <c:v>1169.286245044678</c:v>
                </c:pt>
                <c:pt idx="1">
                  <c:v>1076.0184565143607</c:v>
                </c:pt>
                <c:pt idx="2">
                  <c:v>1063.2279271164209</c:v>
                </c:pt>
                <c:pt idx="3">
                  <c:v>1054.119867935221</c:v>
                </c:pt>
                <c:pt idx="4">
                  <c:v>998.78754065687906</c:v>
                </c:pt>
                <c:pt idx="5">
                  <c:v>995.0901222169723</c:v>
                </c:pt>
                <c:pt idx="6">
                  <c:v>993.20164943587451</c:v>
                </c:pt>
                <c:pt idx="7">
                  <c:v>985.54399858965837</c:v>
                </c:pt>
                <c:pt idx="8">
                  <c:v>946.22727141520511</c:v>
                </c:pt>
                <c:pt idx="9">
                  <c:v>941.01892365474055</c:v>
                </c:pt>
                <c:pt idx="10">
                  <c:v>883.11865965624088</c:v>
                </c:pt>
                <c:pt idx="11">
                  <c:v>878.83992637577887</c:v>
                </c:pt>
                <c:pt idx="12">
                  <c:v>840.8795837543862</c:v>
                </c:pt>
                <c:pt idx="13">
                  <c:v>822.68151979586025</c:v>
                </c:pt>
                <c:pt idx="14">
                  <c:v>646.242646242646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8FB-4AB4-9BBD-DBC80499664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593864360"/>
        <c:axId val="593863184"/>
      </c:barChart>
      <c:catAx>
        <c:axId val="59386436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3863184"/>
        <c:crosses val="autoZero"/>
        <c:auto val="1"/>
        <c:lblAlgn val="ctr"/>
        <c:lblOffset val="100"/>
        <c:noMultiLvlLbl val="0"/>
      </c:catAx>
      <c:valAx>
        <c:axId val="593863184"/>
        <c:scaling>
          <c:orientation val="minMax"/>
        </c:scaling>
        <c:delete val="0"/>
        <c:axPos val="t"/>
        <c:numFmt formatCode="#,##0" sourceLinked="0"/>
        <c:majorTickMark val="out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38643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0"/>
          <c:y val="0.4267428240740741"/>
          <c:w val="0.17554611111111112"/>
          <c:h val="0.1347550925925925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hart9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0093434658029157"/>
          <c:y val="8.3072148482041405E-2"/>
          <c:w val="0.45075848559770859"/>
          <c:h val="0.8904715854961488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raha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5</c:f>
              <c:strCache>
                <c:ptCount val="14"/>
                <c:pt idx="0">
                  <c:v>F40-F48 bez F42</c:v>
                </c:pt>
                <c:pt idx="1">
                  <c:v>F32, F33</c:v>
                </c:pt>
                <c:pt idx="2">
                  <c:v>F00-F09, G30</c:v>
                </c:pt>
                <c:pt idx="3">
                  <c:v>F20-F29</c:v>
                </c:pt>
                <c:pt idx="4">
                  <c:v>F90-F98</c:v>
                </c:pt>
                <c:pt idx="5">
                  <c:v>F60, F61</c:v>
                </c:pt>
                <c:pt idx="6">
                  <c:v>F50-F59</c:v>
                </c:pt>
                <c:pt idx="7">
                  <c:v>F11-F19</c:v>
                </c:pt>
                <c:pt idx="8">
                  <c:v>F10</c:v>
                </c:pt>
                <c:pt idx="9">
                  <c:v>F30-F39 bez F32, F33</c:v>
                </c:pt>
                <c:pt idx="10">
                  <c:v>F62-F69</c:v>
                </c:pt>
                <c:pt idx="11">
                  <c:v>F42</c:v>
                </c:pt>
                <c:pt idx="12">
                  <c:v>F80-F89</c:v>
                </c:pt>
                <c:pt idx="13">
                  <c:v>F70-F79</c:v>
                </c:pt>
              </c:strCache>
            </c:strRef>
          </c:cat>
          <c:val>
            <c:numRef>
              <c:f>List1!$B$2:$B$15</c:f>
              <c:numCache>
                <c:formatCode>General</c:formatCode>
                <c:ptCount val="14"/>
                <c:pt idx="0">
                  <c:v>62.134261804410244</c:v>
                </c:pt>
                <c:pt idx="1">
                  <c:v>64.085358229483603</c:v>
                </c:pt>
                <c:pt idx="2">
                  <c:v>63.403662168155606</c:v>
                </c:pt>
                <c:pt idx="3">
                  <c:v>63.198053743226801</c:v>
                </c:pt>
                <c:pt idx="4">
                  <c:v>52.113037893384714</c:v>
                </c:pt>
                <c:pt idx="5">
                  <c:v>58.742911153119096</c:v>
                </c:pt>
                <c:pt idx="6">
                  <c:v>58.705701078582436</c:v>
                </c:pt>
                <c:pt idx="7">
                  <c:v>56.307503578000407</c:v>
                </c:pt>
                <c:pt idx="8">
                  <c:v>58.844919786096263</c:v>
                </c:pt>
                <c:pt idx="9">
                  <c:v>65.533650577838216</c:v>
                </c:pt>
                <c:pt idx="10">
                  <c:v>34.898648648648653</c:v>
                </c:pt>
                <c:pt idx="11">
                  <c:v>61.077111383108942</c:v>
                </c:pt>
                <c:pt idx="12">
                  <c:v>52.669039145907469</c:v>
                </c:pt>
                <c:pt idx="13">
                  <c:v>43.6032582654528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A4D-491E-ABB2-53098FF75707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tředočeský kraj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5</c:f>
              <c:strCache>
                <c:ptCount val="14"/>
                <c:pt idx="0">
                  <c:v>F40-F48 bez F42</c:v>
                </c:pt>
                <c:pt idx="1">
                  <c:v>F32, F33</c:v>
                </c:pt>
                <c:pt idx="2">
                  <c:v>F00-F09, G30</c:v>
                </c:pt>
                <c:pt idx="3">
                  <c:v>F20-F29</c:v>
                </c:pt>
                <c:pt idx="4">
                  <c:v>F90-F98</c:v>
                </c:pt>
                <c:pt idx="5">
                  <c:v>F60, F61</c:v>
                </c:pt>
                <c:pt idx="6">
                  <c:v>F50-F59</c:v>
                </c:pt>
                <c:pt idx="7">
                  <c:v>F11-F19</c:v>
                </c:pt>
                <c:pt idx="8">
                  <c:v>F10</c:v>
                </c:pt>
                <c:pt idx="9">
                  <c:v>F30-F39 bez F32, F33</c:v>
                </c:pt>
                <c:pt idx="10">
                  <c:v>F62-F69</c:v>
                </c:pt>
                <c:pt idx="11">
                  <c:v>F42</c:v>
                </c:pt>
                <c:pt idx="12">
                  <c:v>F80-F89</c:v>
                </c:pt>
                <c:pt idx="13">
                  <c:v>F70-F79</c:v>
                </c:pt>
              </c:strCache>
            </c:strRef>
          </c:cat>
          <c:val>
            <c:numRef>
              <c:f>List1!$C$2:$C$15</c:f>
              <c:numCache>
                <c:formatCode>General</c:formatCode>
                <c:ptCount val="14"/>
                <c:pt idx="0">
                  <c:v>25.087044163459776</c:v>
                </c:pt>
                <c:pt idx="1">
                  <c:v>22.977535114408369</c:v>
                </c:pt>
                <c:pt idx="2">
                  <c:v>24.615092187796996</c:v>
                </c:pt>
                <c:pt idx="3">
                  <c:v>21.220833794094879</c:v>
                </c:pt>
                <c:pt idx="4">
                  <c:v>33.102119460500958</c:v>
                </c:pt>
                <c:pt idx="5">
                  <c:v>22.385003150598614</c:v>
                </c:pt>
                <c:pt idx="6">
                  <c:v>25.149803115904813</c:v>
                </c:pt>
                <c:pt idx="7">
                  <c:v>21.733796769576774</c:v>
                </c:pt>
                <c:pt idx="8">
                  <c:v>21.689839572192511</c:v>
                </c:pt>
                <c:pt idx="9">
                  <c:v>22.139134375708135</c:v>
                </c:pt>
                <c:pt idx="10">
                  <c:v>21.351351351351351</c:v>
                </c:pt>
                <c:pt idx="11">
                  <c:v>24.724602203182375</c:v>
                </c:pt>
                <c:pt idx="12">
                  <c:v>32.2508896797153</c:v>
                </c:pt>
                <c:pt idx="13">
                  <c:v>43.2678485864877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A4D-491E-ABB2-53098FF75707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Ostatní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5</c:f>
              <c:strCache>
                <c:ptCount val="14"/>
                <c:pt idx="0">
                  <c:v>F40-F48 bez F42</c:v>
                </c:pt>
                <c:pt idx="1">
                  <c:v>F32, F33</c:v>
                </c:pt>
                <c:pt idx="2">
                  <c:v>F00-F09, G30</c:v>
                </c:pt>
                <c:pt idx="3">
                  <c:v>F20-F29</c:v>
                </c:pt>
                <c:pt idx="4">
                  <c:v>F90-F98</c:v>
                </c:pt>
                <c:pt idx="5">
                  <c:v>F60, F61</c:v>
                </c:pt>
                <c:pt idx="6">
                  <c:v>F50-F59</c:v>
                </c:pt>
                <c:pt idx="7">
                  <c:v>F11-F19</c:v>
                </c:pt>
                <c:pt idx="8">
                  <c:v>F10</c:v>
                </c:pt>
                <c:pt idx="9">
                  <c:v>F30-F39 bez F32, F33</c:v>
                </c:pt>
                <c:pt idx="10">
                  <c:v>F62-F69</c:v>
                </c:pt>
                <c:pt idx="11">
                  <c:v>F42</c:v>
                </c:pt>
                <c:pt idx="12">
                  <c:v>F80-F89</c:v>
                </c:pt>
                <c:pt idx="13">
                  <c:v>F70-F79</c:v>
                </c:pt>
              </c:strCache>
            </c:strRef>
          </c:cat>
          <c:val>
            <c:numRef>
              <c:f>List1!$D$2:$D$15</c:f>
              <c:numCache>
                <c:formatCode>General</c:formatCode>
                <c:ptCount val="14"/>
                <c:pt idx="0">
                  <c:v>12.778694032129986</c:v>
                </c:pt>
                <c:pt idx="1">
                  <c:v>12.937106656108032</c:v>
                </c:pt>
                <c:pt idx="2">
                  <c:v>11.981245644047393</c:v>
                </c:pt>
                <c:pt idx="3">
                  <c:v>15.581112462678314</c:v>
                </c:pt>
                <c:pt idx="4">
                  <c:v>14.784842646114321</c:v>
                </c:pt>
                <c:pt idx="5">
                  <c:v>18.872085696282291</c:v>
                </c:pt>
                <c:pt idx="6">
                  <c:v>16.144495805512754</c:v>
                </c:pt>
                <c:pt idx="7">
                  <c:v>21.958699652422816</c:v>
                </c:pt>
                <c:pt idx="8">
                  <c:v>19.46524064171123</c:v>
                </c:pt>
                <c:pt idx="9">
                  <c:v>12.327215046453659</c:v>
                </c:pt>
                <c:pt idx="10">
                  <c:v>43.75</c:v>
                </c:pt>
                <c:pt idx="11">
                  <c:v>14.198286413708692</c:v>
                </c:pt>
                <c:pt idx="12">
                  <c:v>15.080071174377224</c:v>
                </c:pt>
                <c:pt idx="13">
                  <c:v>13.1288931480594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A4D-491E-ABB2-53098FF757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582525792"/>
        <c:axId val="582517168"/>
      </c:barChart>
      <c:catAx>
        <c:axId val="582525792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2517168"/>
        <c:crosses val="autoZero"/>
        <c:auto val="1"/>
        <c:lblAlgn val="ctr"/>
        <c:lblOffset val="100"/>
        <c:noMultiLvlLbl val="0"/>
      </c:catAx>
      <c:valAx>
        <c:axId val="582517168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25257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9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0100511807568349"/>
          <c:y val="0.11991047021230587"/>
          <c:w val="0.31206315002158469"/>
          <c:h val="0.8560184917952565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5</c:f>
              <c:strCache>
                <c:ptCount val="14"/>
                <c:pt idx="0">
                  <c:v>Neurotické‚ stresové a somatoformní poruchy (F40-F48 bez F42)</c:v>
                </c:pt>
                <c:pt idx="1">
                  <c:v>Depresivní porucha (F32, F33)</c:v>
                </c:pt>
                <c:pt idx="2">
                  <c:v>Organické duševní poruchy, Alzheimerova nemoc (F00-F09, G30)</c:v>
                </c:pt>
                <c:pt idx="3">
                  <c:v>Schizofrenie‚ poruchy schizotypální a poruchy s bludy (F20-F29)</c:v>
                </c:pt>
                <c:pt idx="4">
                  <c:v>Poruchy chování a emocí s obv. nást. v dětství a v dosp. (F90-F98)</c:v>
                </c:pt>
                <c:pt idx="5">
                  <c:v>Poruchy osobnosti a chování (F60, F61)</c:v>
                </c:pt>
                <c:pt idx="6">
                  <c:v>Syndromy poruch chování‚ spoj. s fyziolog. p. a som. faktory (F50-F59)</c:v>
                </c:pt>
                <c:pt idx="7">
                  <c:v>Poruchy duševní a poruchy chov. způs. už. psychoakt. látek (F11-F19)</c:v>
                </c:pt>
                <c:pt idx="8">
                  <c:v>Poruchy duševní a poruchy chování způs. užíváním alkoholu (F10)</c:v>
                </c:pt>
                <c:pt idx="9">
                  <c:v>Afektivní poruchy (bez deprese) (F30-F39 bez F32, F33)</c:v>
                </c:pt>
                <c:pt idx="10">
                  <c:v>Změny osobnosti a chování (F62-F69)</c:v>
                </c:pt>
                <c:pt idx="11">
                  <c:v>Obsedantně-nutkavá porucha (F42)</c:v>
                </c:pt>
                <c:pt idx="12">
                  <c:v>Poruchy psychického vývoje (F80-F89)</c:v>
                </c:pt>
                <c:pt idx="13">
                  <c:v>Mentální retardace (F70-F79)</c:v>
                </c:pt>
              </c:strCache>
            </c:strRef>
          </c:cat>
          <c:val>
            <c:numRef>
              <c:f>List1!$B$2:$B$15</c:f>
              <c:numCache>
                <c:formatCode>General</c:formatCode>
                <c:ptCount val="14"/>
                <c:pt idx="0">
                  <c:v>65484</c:v>
                </c:pt>
                <c:pt idx="1">
                  <c:v>23993</c:v>
                </c:pt>
                <c:pt idx="2">
                  <c:v>15783</c:v>
                </c:pt>
                <c:pt idx="3">
                  <c:v>9043</c:v>
                </c:pt>
                <c:pt idx="4">
                  <c:v>7785</c:v>
                </c:pt>
                <c:pt idx="5">
                  <c:v>6348</c:v>
                </c:pt>
                <c:pt idx="6">
                  <c:v>5841</c:v>
                </c:pt>
                <c:pt idx="7">
                  <c:v>4891</c:v>
                </c:pt>
                <c:pt idx="8">
                  <c:v>4675</c:v>
                </c:pt>
                <c:pt idx="9">
                  <c:v>4413</c:v>
                </c:pt>
                <c:pt idx="10">
                  <c:v>2960</c:v>
                </c:pt>
                <c:pt idx="11">
                  <c:v>2451</c:v>
                </c:pt>
                <c:pt idx="12">
                  <c:v>2248</c:v>
                </c:pt>
                <c:pt idx="13">
                  <c:v>20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03-49DB-9ED9-04A84254EE0F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5</c:f>
              <c:strCache>
                <c:ptCount val="14"/>
                <c:pt idx="0">
                  <c:v>Neurotické‚ stresové a somatoformní poruchy (F40-F48 bez F42)</c:v>
                </c:pt>
                <c:pt idx="1">
                  <c:v>Depresivní porucha (F32, F33)</c:v>
                </c:pt>
                <c:pt idx="2">
                  <c:v>Organické duševní poruchy, Alzheimerova nemoc (F00-F09, G30)</c:v>
                </c:pt>
                <c:pt idx="3">
                  <c:v>Schizofrenie‚ poruchy schizotypální a poruchy s bludy (F20-F29)</c:v>
                </c:pt>
                <c:pt idx="4">
                  <c:v>Poruchy chování a emocí s obv. nást. v dětství a v dosp. (F90-F98)</c:v>
                </c:pt>
                <c:pt idx="5">
                  <c:v>Poruchy osobnosti a chování (F60, F61)</c:v>
                </c:pt>
                <c:pt idx="6">
                  <c:v>Syndromy poruch chování‚ spoj. s fyziolog. p. a som. faktory (F50-F59)</c:v>
                </c:pt>
                <c:pt idx="7">
                  <c:v>Poruchy duševní a poruchy chov. způs. už. psychoakt. látek (F11-F19)</c:v>
                </c:pt>
                <c:pt idx="8">
                  <c:v>Poruchy duševní a poruchy chování způs. užíváním alkoholu (F10)</c:v>
                </c:pt>
                <c:pt idx="9">
                  <c:v>Afektivní poruchy (bez deprese) (F30-F39 bez F32, F33)</c:v>
                </c:pt>
                <c:pt idx="10">
                  <c:v>Změny osobnosti a chování (F62-F69)</c:v>
                </c:pt>
                <c:pt idx="11">
                  <c:v>Obsedantně-nutkavá porucha (F42)</c:v>
                </c:pt>
                <c:pt idx="12">
                  <c:v>Poruchy psychického vývoje (F80-F89)</c:v>
                </c:pt>
                <c:pt idx="13">
                  <c:v>Mentální retardace (F70-F79)</c:v>
                </c:pt>
              </c:strCache>
            </c:strRef>
          </c:cat>
          <c:val>
            <c:numRef>
              <c:f>List1!$C$2:$C$15</c:f>
              <c:numCache>
                <c:formatCode>General</c:formatCode>
                <c:ptCount val="14"/>
                <c:pt idx="0">
                  <c:v>63036</c:v>
                </c:pt>
                <c:pt idx="1">
                  <c:v>23588</c:v>
                </c:pt>
                <c:pt idx="2">
                  <c:v>15901</c:v>
                </c:pt>
                <c:pt idx="3">
                  <c:v>9086</c:v>
                </c:pt>
                <c:pt idx="4">
                  <c:v>7147</c:v>
                </c:pt>
                <c:pt idx="5">
                  <c:v>6175</c:v>
                </c:pt>
                <c:pt idx="6">
                  <c:v>5996</c:v>
                </c:pt>
                <c:pt idx="7">
                  <c:v>5018</c:v>
                </c:pt>
                <c:pt idx="8">
                  <c:v>4804</c:v>
                </c:pt>
                <c:pt idx="9">
                  <c:v>4438</c:v>
                </c:pt>
                <c:pt idx="10">
                  <c:v>2734</c:v>
                </c:pt>
                <c:pt idx="11">
                  <c:v>2389</c:v>
                </c:pt>
                <c:pt idx="12">
                  <c:v>2109</c:v>
                </c:pt>
                <c:pt idx="13">
                  <c:v>20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A03-49DB-9ED9-04A84254EE0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0"/>
        <c:axId val="683705583"/>
        <c:axId val="345638415"/>
      </c:barChart>
      <c:catAx>
        <c:axId val="683705583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5638415"/>
        <c:crosses val="autoZero"/>
        <c:auto val="1"/>
        <c:lblAlgn val="ctr"/>
        <c:lblOffset val="100"/>
        <c:noMultiLvlLbl val="0"/>
      </c:catAx>
      <c:valAx>
        <c:axId val="345638415"/>
        <c:scaling>
          <c:orientation val="minMax"/>
        </c:scaling>
        <c:delete val="0"/>
        <c:axPos val="t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37055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4173898733212542"/>
          <c:y val="0.31698336728970083"/>
          <c:w val="6.0889849298735754E-2"/>
          <c:h val="0.1110294183613877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0093434658029157"/>
          <c:y val="8.3072148482041405E-2"/>
          <c:w val="0.45075848559770859"/>
          <c:h val="0.8904715854961488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raha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5</c:f>
              <c:strCache>
                <c:ptCount val="14"/>
                <c:pt idx="0">
                  <c:v>F40-F48 bez F42</c:v>
                </c:pt>
                <c:pt idx="1">
                  <c:v>F32, F33</c:v>
                </c:pt>
                <c:pt idx="2">
                  <c:v>F00-F09, G30</c:v>
                </c:pt>
                <c:pt idx="3">
                  <c:v>F20-F29</c:v>
                </c:pt>
                <c:pt idx="4">
                  <c:v>F90-F98</c:v>
                </c:pt>
                <c:pt idx="5">
                  <c:v>F60, F61</c:v>
                </c:pt>
                <c:pt idx="6">
                  <c:v>F50-F59</c:v>
                </c:pt>
                <c:pt idx="7">
                  <c:v>F30-F39 bez F32, F33</c:v>
                </c:pt>
                <c:pt idx="8">
                  <c:v>F11-F19</c:v>
                </c:pt>
                <c:pt idx="9">
                  <c:v>F10</c:v>
                </c:pt>
                <c:pt idx="10">
                  <c:v>F42</c:v>
                </c:pt>
                <c:pt idx="11">
                  <c:v>F80-F89</c:v>
                </c:pt>
                <c:pt idx="12">
                  <c:v>F62-F69</c:v>
                </c:pt>
                <c:pt idx="13">
                  <c:v>F70-F79</c:v>
                </c:pt>
              </c:strCache>
            </c:strRef>
          </c:cat>
          <c:val>
            <c:numRef>
              <c:f>List1!$B$2:$B$15</c:f>
              <c:numCache>
                <c:formatCode>General</c:formatCode>
                <c:ptCount val="14"/>
                <c:pt idx="0">
                  <c:v>91.108175283817374</c:v>
                </c:pt>
                <c:pt idx="1">
                  <c:v>91.019949091339612</c:v>
                </c:pt>
                <c:pt idx="2">
                  <c:v>79.112973357577673</c:v>
                </c:pt>
                <c:pt idx="3">
                  <c:v>88.072122052704586</c:v>
                </c:pt>
                <c:pt idx="4">
                  <c:v>87.078772268727192</c:v>
                </c:pt>
                <c:pt idx="5">
                  <c:v>87.126168224299064</c:v>
                </c:pt>
                <c:pt idx="6">
                  <c:v>86.416330645161281</c:v>
                </c:pt>
                <c:pt idx="7">
                  <c:v>87.902735562310028</c:v>
                </c:pt>
                <c:pt idx="8">
                  <c:v>81.648384227690485</c:v>
                </c:pt>
                <c:pt idx="9">
                  <c:v>83.061594202898547</c:v>
                </c:pt>
                <c:pt idx="10">
                  <c:v>88.422917897223869</c:v>
                </c:pt>
                <c:pt idx="11">
                  <c:v>88.888888888888886</c:v>
                </c:pt>
                <c:pt idx="12">
                  <c:v>84.189079054604733</c:v>
                </c:pt>
                <c:pt idx="13">
                  <c:v>82.5771324863883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53-4017-94EC-C2686322B3BD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tředočeský kraj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5</c:f>
              <c:strCache>
                <c:ptCount val="14"/>
                <c:pt idx="0">
                  <c:v>F40-F48 bez F42</c:v>
                </c:pt>
                <c:pt idx="1">
                  <c:v>F32, F33</c:v>
                </c:pt>
                <c:pt idx="2">
                  <c:v>F00-F09, G30</c:v>
                </c:pt>
                <c:pt idx="3">
                  <c:v>F20-F29</c:v>
                </c:pt>
                <c:pt idx="4">
                  <c:v>F90-F98</c:v>
                </c:pt>
                <c:pt idx="5">
                  <c:v>F60, F61</c:v>
                </c:pt>
                <c:pt idx="6">
                  <c:v>F50-F59</c:v>
                </c:pt>
                <c:pt idx="7">
                  <c:v>F30-F39 bez F32, F33</c:v>
                </c:pt>
                <c:pt idx="8">
                  <c:v>F11-F19</c:v>
                </c:pt>
                <c:pt idx="9">
                  <c:v>F10</c:v>
                </c:pt>
                <c:pt idx="10">
                  <c:v>F42</c:v>
                </c:pt>
                <c:pt idx="11">
                  <c:v>F80-F89</c:v>
                </c:pt>
                <c:pt idx="12">
                  <c:v>F62-F69</c:v>
                </c:pt>
                <c:pt idx="13">
                  <c:v>F70-F79</c:v>
                </c:pt>
              </c:strCache>
            </c:strRef>
          </c:cat>
          <c:val>
            <c:numRef>
              <c:f>List1!$C$2:$C$15</c:f>
              <c:numCache>
                <c:formatCode>General</c:formatCode>
                <c:ptCount val="14"/>
                <c:pt idx="0">
                  <c:v>5.618128484739918</c:v>
                </c:pt>
                <c:pt idx="1">
                  <c:v>5.771621381637364</c:v>
                </c:pt>
                <c:pt idx="2">
                  <c:v>16.997391098110523</c:v>
                </c:pt>
                <c:pt idx="3">
                  <c:v>6.8269378948990598</c:v>
                </c:pt>
                <c:pt idx="4">
                  <c:v>7.1903842026185885</c:v>
                </c:pt>
                <c:pt idx="5">
                  <c:v>6.8457943925233646</c:v>
                </c:pt>
                <c:pt idx="6">
                  <c:v>7.661290322580645</c:v>
                </c:pt>
                <c:pt idx="7">
                  <c:v>8.5106382978723403</c:v>
                </c:pt>
                <c:pt idx="8">
                  <c:v>7.3228579899199522</c:v>
                </c:pt>
                <c:pt idx="9">
                  <c:v>5.6461352657004831</c:v>
                </c:pt>
                <c:pt idx="10">
                  <c:v>9.0962787950383923</c:v>
                </c:pt>
                <c:pt idx="11">
                  <c:v>6.9819819819819813</c:v>
                </c:pt>
                <c:pt idx="12">
                  <c:v>2.5264873675631621</c:v>
                </c:pt>
                <c:pt idx="13">
                  <c:v>9.07441016333938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B53-4017-94EC-C2686322B3BD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Ostatní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5</c:f>
              <c:strCache>
                <c:ptCount val="14"/>
                <c:pt idx="0">
                  <c:v>F40-F48 bez F42</c:v>
                </c:pt>
                <c:pt idx="1">
                  <c:v>F32, F33</c:v>
                </c:pt>
                <c:pt idx="2">
                  <c:v>F00-F09, G30</c:v>
                </c:pt>
                <c:pt idx="3">
                  <c:v>F20-F29</c:v>
                </c:pt>
                <c:pt idx="4">
                  <c:v>F90-F98</c:v>
                </c:pt>
                <c:pt idx="5">
                  <c:v>F60, F61</c:v>
                </c:pt>
                <c:pt idx="6">
                  <c:v>F50-F59</c:v>
                </c:pt>
                <c:pt idx="7">
                  <c:v>F30-F39 bez F32, F33</c:v>
                </c:pt>
                <c:pt idx="8">
                  <c:v>F11-F19</c:v>
                </c:pt>
                <c:pt idx="9">
                  <c:v>F10</c:v>
                </c:pt>
                <c:pt idx="10">
                  <c:v>F42</c:v>
                </c:pt>
                <c:pt idx="11">
                  <c:v>F80-F89</c:v>
                </c:pt>
                <c:pt idx="12">
                  <c:v>F62-F69</c:v>
                </c:pt>
                <c:pt idx="13">
                  <c:v>F70-F79</c:v>
                </c:pt>
              </c:strCache>
            </c:strRef>
          </c:cat>
          <c:val>
            <c:numRef>
              <c:f>List1!$D$2:$D$15</c:f>
              <c:numCache>
                <c:formatCode>General</c:formatCode>
                <c:ptCount val="14"/>
                <c:pt idx="0">
                  <c:v>3.2736962314427105</c:v>
                </c:pt>
                <c:pt idx="1">
                  <c:v>3.2084295270230276</c:v>
                </c:pt>
                <c:pt idx="2">
                  <c:v>3.8896355443118038</c:v>
                </c:pt>
                <c:pt idx="3">
                  <c:v>5.1009400523963633</c:v>
                </c:pt>
                <c:pt idx="4">
                  <c:v>5.7308435286542174</c:v>
                </c:pt>
                <c:pt idx="5">
                  <c:v>6.02803738317757</c:v>
                </c:pt>
                <c:pt idx="6">
                  <c:v>5.9223790322580649</c:v>
                </c:pt>
                <c:pt idx="7">
                  <c:v>3.5866261398176293</c:v>
                </c:pt>
                <c:pt idx="8">
                  <c:v>11.028757782389565</c:v>
                </c:pt>
                <c:pt idx="9">
                  <c:v>11.292270531400966</c:v>
                </c:pt>
                <c:pt idx="10">
                  <c:v>2.4808033077377436</c:v>
                </c:pt>
                <c:pt idx="11">
                  <c:v>4.1291291291291294</c:v>
                </c:pt>
                <c:pt idx="12">
                  <c:v>13.284433577832111</c:v>
                </c:pt>
                <c:pt idx="13">
                  <c:v>8.34845735027223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B53-4017-94EC-C2686322B3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582525792"/>
        <c:axId val="582517168"/>
      </c:barChart>
      <c:catAx>
        <c:axId val="582525792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2517168"/>
        <c:crosses val="autoZero"/>
        <c:auto val="1"/>
        <c:lblAlgn val="ctr"/>
        <c:lblOffset val="100"/>
        <c:noMultiLvlLbl val="0"/>
      </c:catAx>
      <c:valAx>
        <c:axId val="582517168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25257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9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0100511807568349"/>
          <c:y val="0.11991047021230587"/>
          <c:w val="0.31206315002158469"/>
          <c:h val="0.8560184917952565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5</c:f>
              <c:strCache>
                <c:ptCount val="14"/>
                <c:pt idx="0">
                  <c:v>Neurotické‚ stresové a somatoformní poruchy (F40-F48 bez F42)</c:v>
                </c:pt>
                <c:pt idx="1">
                  <c:v>Depresivní porucha (F32, F33)</c:v>
                </c:pt>
                <c:pt idx="2">
                  <c:v>Organické duševní poruchy, Alzheimerova nemoc (F00-F09, G30)</c:v>
                </c:pt>
                <c:pt idx="3">
                  <c:v>Schizofrenie‚ poruchy schizotypální a poruchy s bludy (F20-F29)</c:v>
                </c:pt>
                <c:pt idx="4">
                  <c:v>Poruchy chování a emocí s obv. nástupem v dětství a v dosp. (F90-F98)</c:v>
                </c:pt>
                <c:pt idx="5">
                  <c:v>Poruchy osobnosti a chování (F60, F61)</c:v>
                </c:pt>
                <c:pt idx="6">
                  <c:v>Syndromy poruch chování‚ spoj. s fyz. poruch. a somat. f. (F50-F59)</c:v>
                </c:pt>
                <c:pt idx="7">
                  <c:v>Afektivní poruchy (bez deprese) (F30-F39 bez F32, F33)</c:v>
                </c:pt>
                <c:pt idx="8">
                  <c:v>Poruchy duševní a poruchy chování způs. už. psych. látek (F11-F19)</c:v>
                </c:pt>
                <c:pt idx="9">
                  <c:v>Poruchy duševní a poruchy chování způsobené už. alkoholu (F10)</c:v>
                </c:pt>
                <c:pt idx="10">
                  <c:v>Obsedantně-nutkavá porucha (F42)</c:v>
                </c:pt>
                <c:pt idx="11">
                  <c:v>Poruchy psychického vývoje (F80-F89)</c:v>
                </c:pt>
                <c:pt idx="12">
                  <c:v>Změny osobnosti a chování (F62-F69)</c:v>
                </c:pt>
                <c:pt idx="13">
                  <c:v>Mentální retardace (F70-F79)</c:v>
                </c:pt>
              </c:strCache>
            </c:strRef>
          </c:cat>
          <c:val>
            <c:numRef>
              <c:f>List1!$B$2:$B$15</c:f>
              <c:numCache>
                <c:formatCode>General</c:formatCode>
                <c:ptCount val="14"/>
                <c:pt idx="0">
                  <c:v>44142</c:v>
                </c:pt>
                <c:pt idx="1">
                  <c:v>16714</c:v>
                </c:pt>
                <c:pt idx="2">
                  <c:v>12285</c:v>
                </c:pt>
                <c:pt idx="3">
                  <c:v>6272</c:v>
                </c:pt>
                <c:pt idx="4">
                  <c:v>4593</c:v>
                </c:pt>
                <c:pt idx="5">
                  <c:v>4164</c:v>
                </c:pt>
                <c:pt idx="6">
                  <c:v>3912</c:v>
                </c:pt>
                <c:pt idx="7">
                  <c:v>3223</c:v>
                </c:pt>
                <c:pt idx="8">
                  <c:v>3147</c:v>
                </c:pt>
                <c:pt idx="9">
                  <c:v>3133</c:v>
                </c:pt>
                <c:pt idx="10">
                  <c:v>1662</c:v>
                </c:pt>
                <c:pt idx="11">
                  <c:v>1306</c:v>
                </c:pt>
                <c:pt idx="12">
                  <c:v>1204</c:v>
                </c:pt>
                <c:pt idx="13">
                  <c:v>10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F7A-4F93-B706-890ADB25E4E5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5</c:f>
              <c:strCache>
                <c:ptCount val="14"/>
                <c:pt idx="0">
                  <c:v>Neurotické‚ stresové a somatoformní poruchy (F40-F48 bez F42)</c:v>
                </c:pt>
                <c:pt idx="1">
                  <c:v>Depresivní porucha (F32, F33)</c:v>
                </c:pt>
                <c:pt idx="2">
                  <c:v>Organické duševní poruchy, Alzheimerova nemoc (F00-F09, G30)</c:v>
                </c:pt>
                <c:pt idx="3">
                  <c:v>Schizofrenie‚ poruchy schizotypální a poruchy s bludy (F20-F29)</c:v>
                </c:pt>
                <c:pt idx="4">
                  <c:v>Poruchy chování a emocí s obv. nástupem v dětství a v dosp. (F90-F98)</c:v>
                </c:pt>
                <c:pt idx="5">
                  <c:v>Poruchy osobnosti a chování (F60, F61)</c:v>
                </c:pt>
                <c:pt idx="6">
                  <c:v>Syndromy poruch chování‚ spoj. s fyz. poruch. a somat. f. (F50-F59)</c:v>
                </c:pt>
                <c:pt idx="7">
                  <c:v>Afektivní poruchy (bez deprese) (F30-F39 bez F32, F33)</c:v>
                </c:pt>
                <c:pt idx="8">
                  <c:v>Poruchy duševní a poruchy chování způs. už. psych. látek (F11-F19)</c:v>
                </c:pt>
                <c:pt idx="9">
                  <c:v>Poruchy duševní a poruchy chování způsobené už. alkoholu (F10)</c:v>
                </c:pt>
                <c:pt idx="10">
                  <c:v>Obsedantně-nutkavá porucha (F42)</c:v>
                </c:pt>
                <c:pt idx="11">
                  <c:v>Poruchy psychického vývoje (F80-F89)</c:v>
                </c:pt>
                <c:pt idx="12">
                  <c:v>Změny osobnosti a chování (F62-F69)</c:v>
                </c:pt>
                <c:pt idx="13">
                  <c:v>Mentální retardace (F70-F79)</c:v>
                </c:pt>
              </c:strCache>
            </c:strRef>
          </c:cat>
          <c:val>
            <c:numRef>
              <c:f>List1!$C$2:$C$15</c:f>
              <c:numCache>
                <c:formatCode>General</c:formatCode>
                <c:ptCount val="14"/>
                <c:pt idx="0">
                  <c:v>42579</c:v>
                </c:pt>
                <c:pt idx="1">
                  <c:v>16631</c:v>
                </c:pt>
                <c:pt idx="2">
                  <c:v>12260</c:v>
                </c:pt>
                <c:pt idx="3">
                  <c:v>6304</c:v>
                </c:pt>
                <c:pt idx="4">
                  <c:v>4154</c:v>
                </c:pt>
                <c:pt idx="5">
                  <c:v>4087</c:v>
                </c:pt>
                <c:pt idx="6">
                  <c:v>4014</c:v>
                </c:pt>
                <c:pt idx="7">
                  <c:v>3248</c:v>
                </c:pt>
                <c:pt idx="8">
                  <c:v>3113</c:v>
                </c:pt>
                <c:pt idx="9">
                  <c:v>3143</c:v>
                </c:pt>
                <c:pt idx="10">
                  <c:v>1576</c:v>
                </c:pt>
                <c:pt idx="11">
                  <c:v>1263</c:v>
                </c:pt>
                <c:pt idx="12">
                  <c:v>1131</c:v>
                </c:pt>
                <c:pt idx="13">
                  <c:v>10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F7A-4F93-B706-890ADB25E4E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0"/>
        <c:axId val="683705583"/>
        <c:axId val="345638415"/>
      </c:barChart>
      <c:catAx>
        <c:axId val="683705583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5638415"/>
        <c:crosses val="autoZero"/>
        <c:auto val="1"/>
        <c:lblAlgn val="ctr"/>
        <c:lblOffset val="100"/>
        <c:noMultiLvlLbl val="0"/>
      </c:catAx>
      <c:valAx>
        <c:axId val="345638415"/>
        <c:scaling>
          <c:orientation val="minMax"/>
        </c:scaling>
        <c:delete val="0"/>
        <c:axPos val="t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37055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4173898733212542"/>
          <c:y val="0.31698336728970083"/>
          <c:w val="6.0889849298735754E-2"/>
          <c:h val="0.1110294183613877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842827263779529"/>
          <c:y val="0.11219059837866405"/>
          <c:w val="0.58314406988188972"/>
          <c:h val="0.73825650227288475"/>
        </c:manualLayout>
      </c:layout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Podíl</c:v>
                </c:pt>
              </c:strCache>
            </c:strRef>
          </c:tx>
          <c:dPt>
            <c:idx val="0"/>
            <c:bubble3D val="0"/>
            <c:spPr>
              <a:solidFill>
                <a:srgbClr val="66CCF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584-429B-93D3-5B3A876F85A3}"/>
              </c:ext>
            </c:extLst>
          </c:dPt>
          <c:dPt>
            <c:idx val="1"/>
            <c:bubble3D val="0"/>
            <c:spPr>
              <a:solidFill>
                <a:srgbClr val="FF999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584-429B-93D3-5B3A876F85A3}"/>
              </c:ext>
            </c:extLst>
          </c:dPt>
          <c:dLbls>
            <c:dLbl>
              <c:idx val="0"/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584-429B-93D3-5B3A876F85A3}"/>
                </c:ext>
              </c:extLst>
            </c:dLbl>
            <c:dLbl>
              <c:idx val="1"/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584-429B-93D3-5B3A876F85A3}"/>
                </c:ext>
              </c:extLst>
            </c:dLbl>
            <c:numFmt formatCode="0.0\ 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List1!$A$2:$A$3</c:f>
              <c:strCache>
                <c:ptCount val="2"/>
                <c:pt idx="0">
                  <c:v>Muži</c:v>
                </c:pt>
                <c:pt idx="1">
                  <c:v>Ženy</c:v>
                </c:pt>
              </c:strCache>
            </c:strRef>
          </c:cat>
          <c:val>
            <c:numRef>
              <c:f>List1!$B$2:$B$3</c:f>
              <c:numCache>
                <c:formatCode>0%</c:formatCode>
                <c:ptCount val="2"/>
                <c:pt idx="0">
                  <c:v>0.49109730021382464</c:v>
                </c:pt>
                <c:pt idx="1">
                  <c:v>0.508902699786175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584-429B-93D3-5B3A876F85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8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1">
    <c:autoUpdate val="0"/>
  </c:externalData>
</c:chartSpace>
</file>

<file path=ppt/charts/chart9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31642899011358"/>
          <c:y val="9.7882893668815807E-2"/>
          <c:w val="0.79949467025864385"/>
          <c:h val="0.70863285106859497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List1!$B$1</c:f>
              <c:strCache>
                <c:ptCount val="1"/>
                <c:pt idx="0">
                  <c:v>Muži</c:v>
                </c:pt>
              </c:strCache>
            </c:strRef>
          </c:tx>
          <c:spPr>
            <a:solidFill>
              <a:srgbClr val="66CCFF"/>
            </a:solidFill>
            <a:ln>
              <a:noFill/>
            </a:ln>
            <a:effectLst/>
          </c:spPr>
          <c:invertIfNegative val="0"/>
          <c:cat>
            <c:strRef>
              <c:f>List1!$A$2:$A$21</c:f>
              <c:strCache>
                <c:ptCount val="20"/>
                <c:pt idx="0">
                  <c:v>0–4</c:v>
                </c:pt>
                <c:pt idx="1">
                  <c:v>5–9</c:v>
                </c:pt>
                <c:pt idx="2">
                  <c:v>10–14</c:v>
                </c:pt>
                <c:pt idx="3">
                  <c:v>15–19</c:v>
                </c:pt>
                <c:pt idx="4">
                  <c:v>20–24</c:v>
                </c:pt>
                <c:pt idx="5">
                  <c:v>25–29</c:v>
                </c:pt>
                <c:pt idx="6">
                  <c:v>30–34</c:v>
                </c:pt>
                <c:pt idx="7">
                  <c:v>35–39</c:v>
                </c:pt>
                <c:pt idx="8">
                  <c:v>40–44</c:v>
                </c:pt>
                <c:pt idx="9">
                  <c:v>45–49</c:v>
                </c:pt>
                <c:pt idx="10">
                  <c:v>50–54</c:v>
                </c:pt>
                <c:pt idx="11">
                  <c:v>55–59</c:v>
                </c:pt>
                <c:pt idx="12">
                  <c:v>60–64</c:v>
                </c:pt>
                <c:pt idx="13">
                  <c:v>65–69</c:v>
                </c:pt>
                <c:pt idx="14">
                  <c:v>70–74</c:v>
                </c:pt>
                <c:pt idx="15">
                  <c:v>75–79</c:v>
                </c:pt>
                <c:pt idx="16">
                  <c:v>80–84</c:v>
                </c:pt>
                <c:pt idx="17">
                  <c:v>85–89</c:v>
                </c:pt>
                <c:pt idx="18">
                  <c:v>90–94</c:v>
                </c:pt>
                <c:pt idx="19">
                  <c:v>95+</c:v>
                </c:pt>
              </c:strCache>
            </c:strRef>
          </c:cat>
          <c:val>
            <c:numRef>
              <c:f>List1!$B$2:$B$21</c:f>
              <c:numCache>
                <c:formatCode>0%</c:formatCode>
                <c:ptCount val="20"/>
                <c:pt idx="0">
                  <c:v>0</c:v>
                </c:pt>
                <c:pt idx="1">
                  <c:v>3.3165625818776386E-6</c:v>
                </c:pt>
                <c:pt idx="2">
                  <c:v>1.2374303131349972E-4</c:v>
                </c:pt>
                <c:pt idx="3">
                  <c:v>1.2132568532161416E-3</c:v>
                </c:pt>
                <c:pt idx="4">
                  <c:v>3.5897455777513308E-3</c:v>
                </c:pt>
                <c:pt idx="5">
                  <c:v>5.5645941738313304E-3</c:v>
                </c:pt>
                <c:pt idx="6">
                  <c:v>6.5333531814948977E-3</c:v>
                </c:pt>
                <c:pt idx="7">
                  <c:v>7.7189408293705042E-3</c:v>
                </c:pt>
                <c:pt idx="8">
                  <c:v>8.340245360904287E-3</c:v>
                </c:pt>
                <c:pt idx="9">
                  <c:v>7.3844062028177943E-3</c:v>
                </c:pt>
                <c:pt idx="10">
                  <c:v>6.4765769393592089E-3</c:v>
                </c:pt>
                <c:pt idx="11">
                  <c:v>6.1820426657037859E-3</c:v>
                </c:pt>
                <c:pt idx="12">
                  <c:v>5.7224751306693645E-3</c:v>
                </c:pt>
                <c:pt idx="13">
                  <c:v>4.529431392824931E-3</c:v>
                </c:pt>
                <c:pt idx="14">
                  <c:v>3.5045263724831966E-3</c:v>
                </c:pt>
                <c:pt idx="15">
                  <c:v>2.4242728436268727E-3</c:v>
                </c:pt>
                <c:pt idx="16">
                  <c:v>1.6482131430455101E-3</c:v>
                </c:pt>
                <c:pt idx="17">
                  <c:v>1.1065006915629322E-3</c:v>
                </c:pt>
                <c:pt idx="18">
                  <c:v>7.9882838503528156E-4</c:v>
                </c:pt>
                <c:pt idx="19">
                  <c:v>2.241147467503361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85-4C04-B971-50976D6E6B4D}"/>
            </c:ext>
          </c:extLst>
        </c:ser>
        <c:ser>
          <c:idx val="0"/>
          <c:order val="1"/>
          <c:tx>
            <c:strRef>
              <c:f>List1!$C$1</c:f>
              <c:strCache>
                <c:ptCount val="1"/>
                <c:pt idx="0">
                  <c:v>Ženy</c:v>
                </c:pt>
              </c:strCache>
            </c:strRef>
          </c:tx>
          <c:spPr>
            <a:solidFill>
              <a:srgbClr val="FF9999"/>
            </a:solidFill>
            <a:ln>
              <a:noFill/>
            </a:ln>
            <a:effectLst/>
          </c:spPr>
          <c:invertIfNegative val="0"/>
          <c:cat>
            <c:strRef>
              <c:f>List1!$A$2:$A$21</c:f>
              <c:strCache>
                <c:ptCount val="20"/>
                <c:pt idx="0">
                  <c:v>0–4</c:v>
                </c:pt>
                <c:pt idx="1">
                  <c:v>5–9</c:v>
                </c:pt>
                <c:pt idx="2">
                  <c:v>10–14</c:v>
                </c:pt>
                <c:pt idx="3">
                  <c:v>15–19</c:v>
                </c:pt>
                <c:pt idx="4">
                  <c:v>20–24</c:v>
                </c:pt>
                <c:pt idx="5">
                  <c:v>25–29</c:v>
                </c:pt>
                <c:pt idx="6">
                  <c:v>30–34</c:v>
                </c:pt>
                <c:pt idx="7">
                  <c:v>35–39</c:v>
                </c:pt>
                <c:pt idx="8">
                  <c:v>40–44</c:v>
                </c:pt>
                <c:pt idx="9">
                  <c:v>45–49</c:v>
                </c:pt>
                <c:pt idx="10">
                  <c:v>50–54</c:v>
                </c:pt>
                <c:pt idx="11">
                  <c:v>55–59</c:v>
                </c:pt>
                <c:pt idx="12">
                  <c:v>60–64</c:v>
                </c:pt>
                <c:pt idx="13">
                  <c:v>65–69</c:v>
                </c:pt>
                <c:pt idx="14">
                  <c:v>70–74</c:v>
                </c:pt>
                <c:pt idx="15">
                  <c:v>75–79</c:v>
                </c:pt>
                <c:pt idx="16">
                  <c:v>80–84</c:v>
                </c:pt>
                <c:pt idx="17">
                  <c:v>85–89</c:v>
                </c:pt>
                <c:pt idx="18">
                  <c:v>90–94</c:v>
                </c:pt>
                <c:pt idx="19">
                  <c:v>95+</c:v>
                </c:pt>
              </c:strCache>
            </c:strRef>
          </c:cat>
          <c:val>
            <c:numRef>
              <c:f>List1!$C$2:$C$21</c:f>
              <c:numCache>
                <c:formatCode>0%</c:formatCode>
                <c:ptCount val="20"/>
                <c:pt idx="0">
                  <c:v>0</c:v>
                </c:pt>
                <c:pt idx="1">
                  <c:v>6.9614371190788626E-6</c:v>
                </c:pt>
                <c:pt idx="2">
                  <c:v>1.9059093399767887E-4</c:v>
                </c:pt>
                <c:pt idx="3">
                  <c:v>1.2213948257273747E-3</c:v>
                </c:pt>
                <c:pt idx="4">
                  <c:v>2.2055893342592336E-3</c:v>
                </c:pt>
                <c:pt idx="5">
                  <c:v>2.9143034304159902E-3</c:v>
                </c:pt>
                <c:pt idx="6">
                  <c:v>3.749750450635519E-3</c:v>
                </c:pt>
                <c:pt idx="7">
                  <c:v>4.9072510332138783E-3</c:v>
                </c:pt>
                <c:pt idx="8">
                  <c:v>5.843760262931607E-3</c:v>
                </c:pt>
                <c:pt idx="9">
                  <c:v>6.6865152405617021E-3</c:v>
                </c:pt>
                <c:pt idx="10">
                  <c:v>7.2241600396827487E-3</c:v>
                </c:pt>
                <c:pt idx="11">
                  <c:v>7.5797314309693662E-3</c:v>
                </c:pt>
                <c:pt idx="12">
                  <c:v>8.2679600273428602E-3</c:v>
                </c:pt>
                <c:pt idx="13">
                  <c:v>7.7147774829846782E-3</c:v>
                </c:pt>
                <c:pt idx="14">
                  <c:v>6.4795321637426901E-3</c:v>
                </c:pt>
                <c:pt idx="15">
                  <c:v>5.1368192146312225E-3</c:v>
                </c:pt>
                <c:pt idx="16">
                  <c:v>3.8221166262073238E-3</c:v>
                </c:pt>
                <c:pt idx="17">
                  <c:v>2.2273650814346405E-3</c:v>
                </c:pt>
                <c:pt idx="18">
                  <c:v>2.1429283364895846E-3</c:v>
                </c:pt>
                <c:pt idx="19">
                  <c:v>1.588021778584392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085-4C04-B971-50976D6E6B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10"/>
        <c:axId val="1601064272"/>
        <c:axId val="1601066352"/>
      </c:barChart>
      <c:lineChart>
        <c:grouping val="standard"/>
        <c:varyColors val="0"/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9525">
                <a:solidFill>
                  <a:schemeClr val="tx1"/>
                </a:solidFill>
              </a:ln>
              <a:effectLst/>
            </c:spPr>
          </c:marker>
          <c:cat>
            <c:strRef>
              <c:f>List1!$A$2:$A$21</c:f>
              <c:strCache>
                <c:ptCount val="20"/>
                <c:pt idx="0">
                  <c:v>0–4</c:v>
                </c:pt>
                <c:pt idx="1">
                  <c:v>5–9</c:v>
                </c:pt>
                <c:pt idx="2">
                  <c:v>10–14</c:v>
                </c:pt>
                <c:pt idx="3">
                  <c:v>15–19</c:v>
                </c:pt>
                <c:pt idx="4">
                  <c:v>20–24</c:v>
                </c:pt>
                <c:pt idx="5">
                  <c:v>25–29</c:v>
                </c:pt>
                <c:pt idx="6">
                  <c:v>30–34</c:v>
                </c:pt>
                <c:pt idx="7">
                  <c:v>35–39</c:v>
                </c:pt>
                <c:pt idx="8">
                  <c:v>40–44</c:v>
                </c:pt>
                <c:pt idx="9">
                  <c:v>45–49</c:v>
                </c:pt>
                <c:pt idx="10">
                  <c:v>50–54</c:v>
                </c:pt>
                <c:pt idx="11">
                  <c:v>55–59</c:v>
                </c:pt>
                <c:pt idx="12">
                  <c:v>60–64</c:v>
                </c:pt>
                <c:pt idx="13">
                  <c:v>65–69</c:v>
                </c:pt>
                <c:pt idx="14">
                  <c:v>70–74</c:v>
                </c:pt>
                <c:pt idx="15">
                  <c:v>75–79</c:v>
                </c:pt>
                <c:pt idx="16">
                  <c:v>80–84</c:v>
                </c:pt>
                <c:pt idx="17">
                  <c:v>85–89</c:v>
                </c:pt>
                <c:pt idx="18">
                  <c:v>90–94</c:v>
                </c:pt>
                <c:pt idx="19">
                  <c:v>95+</c:v>
                </c:pt>
              </c:strCache>
            </c:strRef>
          </c:cat>
          <c:val>
            <c:numRef>
              <c:f>List1!$D$2:$D$21</c:f>
              <c:numCache>
                <c:formatCode>0%</c:formatCode>
                <c:ptCount val="20"/>
                <c:pt idx="0">
                  <c:v>0</c:v>
                </c:pt>
                <c:pt idx="1">
                  <c:v>5.0949875512470835E-6</c:v>
                </c:pt>
                <c:pt idx="2">
                  <c:v>1.5642915506622446E-4</c:v>
                </c:pt>
                <c:pt idx="3">
                  <c:v>1.2172019634978321E-3</c:v>
                </c:pt>
                <c:pt idx="4">
                  <c:v>2.90377079569186E-3</c:v>
                </c:pt>
                <c:pt idx="5">
                  <c:v>4.2655816190259955E-3</c:v>
                </c:pt>
                <c:pt idx="6">
                  <c:v>5.1752103752662777E-3</c:v>
                </c:pt>
                <c:pt idx="7">
                  <c:v>6.341063635372692E-3</c:v>
                </c:pt>
                <c:pt idx="8">
                  <c:v>7.1163179998598863E-3</c:v>
                </c:pt>
                <c:pt idx="9">
                  <c:v>7.0410077528412435E-3</c:v>
                </c:pt>
                <c:pt idx="10">
                  <c:v>6.8462764971907696E-3</c:v>
                </c:pt>
                <c:pt idx="11">
                  <c:v>6.8806203627910503E-3</c:v>
                </c:pt>
                <c:pt idx="12">
                  <c:v>7.0176891480058304E-3</c:v>
                </c:pt>
                <c:pt idx="13">
                  <c:v>6.2223900788478982E-3</c:v>
                </c:pt>
                <c:pt idx="14">
                  <c:v>5.1641063616701304E-3</c:v>
                </c:pt>
                <c:pt idx="15">
                  <c:v>4.0252332969272888E-3</c:v>
                </c:pt>
                <c:pt idx="16">
                  <c:v>3.0137964101214533E-3</c:v>
                </c:pt>
                <c:pt idx="17">
                  <c:v>1.86830309340777E-3</c:v>
                </c:pt>
                <c:pt idx="18">
                  <c:v>1.7768430213583783E-3</c:v>
                </c:pt>
                <c:pt idx="19">
                  <c:v>1.7199239612564498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085-4C04-B971-50976D6E6B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01064272"/>
        <c:axId val="1601066352"/>
      </c:lineChart>
      <c:catAx>
        <c:axId val="16010642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1066352"/>
        <c:crosses val="autoZero"/>
        <c:auto val="1"/>
        <c:lblAlgn val="ctr"/>
        <c:lblOffset val="100"/>
        <c:noMultiLvlLbl val="0"/>
      </c:catAx>
      <c:valAx>
        <c:axId val="1601066352"/>
        <c:scaling>
          <c:orientation val="minMax"/>
          <c:max val="1.0000000000000002E-2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/>
                  <a:t>Podíl</a:t>
                </a:r>
                <a:r>
                  <a:rPr lang="cs-CZ" baseline="0" dirty="0"/>
                  <a:t> populace ČR daného věku</a:t>
                </a:r>
                <a:br>
                  <a:rPr lang="cs-CZ" baseline="0" dirty="0"/>
                </a:br>
                <a:r>
                  <a:rPr lang="cs-CZ" baseline="0" dirty="0"/>
                  <a:t>s onemocněním</a:t>
                </a:r>
                <a:endParaRPr lang="cs-CZ" dirty="0"/>
              </a:p>
            </c:rich>
          </c:tx>
          <c:layout>
            <c:manualLayout>
              <c:xMode val="edge"/>
              <c:yMode val="edge"/>
              <c:x val="0"/>
              <c:y val="0.2017679486781569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.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10642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5409318868125583"/>
          <c:y val="4.0108404585552725E-2"/>
          <c:w val="0.44000984677716692"/>
          <c:h val="6.216947954742423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9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percentStacked"/>
        <c:varyColors val="0"/>
        <c:ser>
          <c:idx val="3"/>
          <c:order val="0"/>
          <c:tx>
            <c:strRef>
              <c:f>List1!$B$1</c:f>
              <c:strCache>
                <c:ptCount val="1"/>
                <c:pt idx="0">
                  <c:v>Bez invalidního a starobního důchodu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1</c:f>
              <c:strCache>
                <c:ptCount val="10"/>
                <c:pt idx="0">
                  <c:v>20–64</c:v>
                </c:pt>
                <c:pt idx="1">
                  <c:v>20–24</c:v>
                </c:pt>
                <c:pt idx="2">
                  <c:v>25–29</c:v>
                </c:pt>
                <c:pt idx="3">
                  <c:v>30–34</c:v>
                </c:pt>
                <c:pt idx="4">
                  <c:v>35–39</c:v>
                </c:pt>
                <c:pt idx="5">
                  <c:v>40–44</c:v>
                </c:pt>
                <c:pt idx="6">
                  <c:v>45–49</c:v>
                </c:pt>
                <c:pt idx="7">
                  <c:v>50–54</c:v>
                </c:pt>
                <c:pt idx="8">
                  <c:v>55–59</c:v>
                </c:pt>
                <c:pt idx="9">
                  <c:v>60–64</c:v>
                </c:pt>
              </c:strCache>
            </c:strRef>
          </c:cat>
          <c:val>
            <c:numRef>
              <c:f>List1!$B$2:$B$11</c:f>
              <c:numCache>
                <c:formatCode>0%</c:formatCode>
                <c:ptCount val="10"/>
                <c:pt idx="0">
                  <c:v>0.26483547630704218</c:v>
                </c:pt>
                <c:pt idx="1">
                  <c:v>0.55802968960863697</c:v>
                </c:pt>
                <c:pt idx="2">
                  <c:v>0.41789164216715663</c:v>
                </c:pt>
                <c:pt idx="3">
                  <c:v>0.37493173129437468</c:v>
                </c:pt>
                <c:pt idx="4">
                  <c:v>0.31928480204342274</c:v>
                </c:pt>
                <c:pt idx="5">
                  <c:v>0.27676872513405987</c:v>
                </c:pt>
                <c:pt idx="6">
                  <c:v>0.2423876997286705</c:v>
                </c:pt>
                <c:pt idx="7">
                  <c:v>0.21068702290076335</c:v>
                </c:pt>
                <c:pt idx="8">
                  <c:v>0.17477171373964748</c:v>
                </c:pt>
                <c:pt idx="9">
                  <c:v>0.106110847939365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DB-4406-8BD0-393B0BA9B7B3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Invalidní důchod 1. stupně</c:v>
                </c:pt>
              </c:strCache>
            </c:strRef>
          </c:tx>
          <c:spPr>
            <a:solidFill>
              <a:srgbClr val="FF99C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1</c:f>
              <c:strCache>
                <c:ptCount val="10"/>
                <c:pt idx="0">
                  <c:v>20–64</c:v>
                </c:pt>
                <c:pt idx="1">
                  <c:v>20–24</c:v>
                </c:pt>
                <c:pt idx="2">
                  <c:v>25–29</c:v>
                </c:pt>
                <c:pt idx="3">
                  <c:v>30–34</c:v>
                </c:pt>
                <c:pt idx="4">
                  <c:v>35–39</c:v>
                </c:pt>
                <c:pt idx="5">
                  <c:v>40–44</c:v>
                </c:pt>
                <c:pt idx="6">
                  <c:v>45–49</c:v>
                </c:pt>
                <c:pt idx="7">
                  <c:v>50–54</c:v>
                </c:pt>
                <c:pt idx="8">
                  <c:v>55–59</c:v>
                </c:pt>
                <c:pt idx="9">
                  <c:v>60–64</c:v>
                </c:pt>
              </c:strCache>
            </c:strRef>
          </c:cat>
          <c:val>
            <c:numRef>
              <c:f>List1!$C$2:$C$11</c:f>
              <c:numCache>
                <c:formatCode>0%</c:formatCode>
                <c:ptCount val="10"/>
                <c:pt idx="0">
                  <c:v>8.4310340384962254E-2</c:v>
                </c:pt>
                <c:pt idx="1">
                  <c:v>0.11538461538461539</c:v>
                </c:pt>
                <c:pt idx="2">
                  <c:v>0.10793784124317514</c:v>
                </c:pt>
                <c:pt idx="3">
                  <c:v>9.9945385035499726E-2</c:v>
                </c:pt>
                <c:pt idx="4">
                  <c:v>9.4082588335461903E-2</c:v>
                </c:pt>
                <c:pt idx="5">
                  <c:v>9.0295796574987028E-2</c:v>
                </c:pt>
                <c:pt idx="6">
                  <c:v>8.3509195055773283E-2</c:v>
                </c:pt>
                <c:pt idx="7">
                  <c:v>8.1297709923664127E-2</c:v>
                </c:pt>
                <c:pt idx="8">
                  <c:v>7.0078572945423662E-2</c:v>
                </c:pt>
                <c:pt idx="9">
                  <c:v>4.831833254381809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1DB-4406-8BD0-393B0BA9B7B3}"/>
            </c:ext>
          </c:extLst>
        </c:ser>
        <c:ser>
          <c:idx val="1"/>
          <c:order val="2"/>
          <c:tx>
            <c:strRef>
              <c:f>List1!$D$1</c:f>
              <c:strCache>
                <c:ptCount val="1"/>
                <c:pt idx="0">
                  <c:v>Invalidní důchod 2. stupně</c:v>
                </c:pt>
              </c:strCache>
            </c:strRef>
          </c:tx>
          <c:spPr>
            <a:solidFill>
              <a:srgbClr val="FF669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1</c:f>
              <c:strCache>
                <c:ptCount val="10"/>
                <c:pt idx="0">
                  <c:v>20–64</c:v>
                </c:pt>
                <c:pt idx="1">
                  <c:v>20–24</c:v>
                </c:pt>
                <c:pt idx="2">
                  <c:v>25–29</c:v>
                </c:pt>
                <c:pt idx="3">
                  <c:v>30–34</c:v>
                </c:pt>
                <c:pt idx="4">
                  <c:v>35–39</c:v>
                </c:pt>
                <c:pt idx="5">
                  <c:v>40–44</c:v>
                </c:pt>
                <c:pt idx="6">
                  <c:v>45–49</c:v>
                </c:pt>
                <c:pt idx="7">
                  <c:v>50–54</c:v>
                </c:pt>
                <c:pt idx="8">
                  <c:v>55–59</c:v>
                </c:pt>
                <c:pt idx="9">
                  <c:v>60–64</c:v>
                </c:pt>
              </c:strCache>
            </c:strRef>
          </c:cat>
          <c:val>
            <c:numRef>
              <c:f>List1!$D$2:$D$11</c:f>
              <c:numCache>
                <c:formatCode>0%</c:formatCode>
                <c:ptCount val="10"/>
                <c:pt idx="0">
                  <c:v>9.4849132933082531E-2</c:v>
                </c:pt>
                <c:pt idx="1">
                  <c:v>7.3549257759784076E-2</c:v>
                </c:pt>
                <c:pt idx="2">
                  <c:v>0.11045779084418311</c:v>
                </c:pt>
                <c:pt idx="3">
                  <c:v>0.11387220098306935</c:v>
                </c:pt>
                <c:pt idx="4">
                  <c:v>0.11494252873563218</c:v>
                </c:pt>
                <c:pt idx="5">
                  <c:v>0.10223144784639336</c:v>
                </c:pt>
                <c:pt idx="6">
                  <c:v>0.1037081700331625</c:v>
                </c:pt>
                <c:pt idx="7">
                  <c:v>9.0648854961832059E-2</c:v>
                </c:pt>
                <c:pt idx="8">
                  <c:v>7.6661711616054368E-2</c:v>
                </c:pt>
                <c:pt idx="9">
                  <c:v>5.613453339649455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1DB-4406-8BD0-393B0BA9B7B3}"/>
            </c:ext>
          </c:extLst>
        </c:ser>
        <c:ser>
          <c:idx val="0"/>
          <c:order val="3"/>
          <c:tx>
            <c:strRef>
              <c:f>List1!$E$1</c:f>
              <c:strCache>
                <c:ptCount val="1"/>
                <c:pt idx="0">
                  <c:v>Invalidní důchod 3. stupně</c:v>
                </c:pt>
              </c:strCache>
            </c:strRef>
          </c:tx>
          <c:spPr>
            <a:solidFill>
              <a:srgbClr val="CC006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1</c:f>
              <c:strCache>
                <c:ptCount val="10"/>
                <c:pt idx="0">
                  <c:v>20–64</c:v>
                </c:pt>
                <c:pt idx="1">
                  <c:v>20–24</c:v>
                </c:pt>
                <c:pt idx="2">
                  <c:v>25–29</c:v>
                </c:pt>
                <c:pt idx="3">
                  <c:v>30–34</c:v>
                </c:pt>
                <c:pt idx="4">
                  <c:v>35–39</c:v>
                </c:pt>
                <c:pt idx="5">
                  <c:v>40–44</c:v>
                </c:pt>
                <c:pt idx="6">
                  <c:v>45–49</c:v>
                </c:pt>
                <c:pt idx="7">
                  <c:v>50–54</c:v>
                </c:pt>
                <c:pt idx="8">
                  <c:v>55–59</c:v>
                </c:pt>
                <c:pt idx="9">
                  <c:v>60–64</c:v>
                </c:pt>
              </c:strCache>
            </c:strRef>
          </c:cat>
          <c:val>
            <c:numRef>
              <c:f>List1!$E$2:$E$11</c:f>
              <c:numCache>
                <c:formatCode>0%</c:formatCode>
                <c:ptCount val="10"/>
                <c:pt idx="0">
                  <c:v>0.54353371640598835</c:v>
                </c:pt>
                <c:pt idx="1">
                  <c:v>0.25303643724696356</c:v>
                </c:pt>
                <c:pt idx="2">
                  <c:v>0.36371272574548508</c:v>
                </c:pt>
                <c:pt idx="3">
                  <c:v>0.41125068268705628</c:v>
                </c:pt>
                <c:pt idx="4">
                  <c:v>0.4716900808854832</c:v>
                </c:pt>
                <c:pt idx="5">
                  <c:v>0.53070403044455972</c:v>
                </c:pt>
                <c:pt idx="6">
                  <c:v>0.5703949351823937</c:v>
                </c:pt>
                <c:pt idx="7">
                  <c:v>0.61736641221374045</c:v>
                </c:pt>
                <c:pt idx="8">
                  <c:v>0.67806328307496289</c:v>
                </c:pt>
                <c:pt idx="9">
                  <c:v>0.67527238275698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1DB-4406-8BD0-393B0BA9B7B3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Starobní důchod</c:v>
                </c:pt>
              </c:strCache>
            </c:strRef>
          </c:tx>
          <c:spPr>
            <a:solidFill>
              <a:srgbClr val="2E598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2191905411550707E-3"/>
                  <c:y val="1.65837479270315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50D-4F3F-9D7E-5B2EB05B5E6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1</c:f>
              <c:strCache>
                <c:ptCount val="10"/>
                <c:pt idx="0">
                  <c:v>20–64</c:v>
                </c:pt>
                <c:pt idx="1">
                  <c:v>20–24</c:v>
                </c:pt>
                <c:pt idx="2">
                  <c:v>25–29</c:v>
                </c:pt>
                <c:pt idx="3">
                  <c:v>30–34</c:v>
                </c:pt>
                <c:pt idx="4">
                  <c:v>35–39</c:v>
                </c:pt>
                <c:pt idx="5">
                  <c:v>40–44</c:v>
                </c:pt>
                <c:pt idx="6">
                  <c:v>45–49</c:v>
                </c:pt>
                <c:pt idx="7">
                  <c:v>50–54</c:v>
                </c:pt>
                <c:pt idx="8">
                  <c:v>55–59</c:v>
                </c:pt>
                <c:pt idx="9">
                  <c:v>60–64</c:v>
                </c:pt>
              </c:strCache>
            </c:strRef>
          </c:cat>
          <c:val>
            <c:numRef>
              <c:f>List1!$F$2:$F$11</c:f>
              <c:numCache>
                <c:formatCode>General</c:formatCode>
                <c:ptCount val="10"/>
                <c:pt idx="0" formatCode="0%">
                  <c:v>1.2471333968924733E-2</c:v>
                </c:pt>
                <c:pt idx="9" formatCode="0%">
                  <c:v>0.114163903363334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1DB-4406-8BD0-393B0BA9B7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232099615"/>
        <c:axId val="1376469055"/>
      </c:barChart>
      <c:catAx>
        <c:axId val="123209961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76469055"/>
        <c:crosses val="autoZero"/>
        <c:auto val="1"/>
        <c:lblAlgn val="ctr"/>
        <c:lblOffset val="100"/>
        <c:noMultiLvlLbl val="0"/>
      </c:catAx>
      <c:valAx>
        <c:axId val="13764690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320996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9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percentStacked"/>
        <c:varyColors val="0"/>
        <c:ser>
          <c:idx val="4"/>
          <c:order val="0"/>
          <c:tx>
            <c:strRef>
              <c:f>List1!$F$1</c:f>
              <c:strCache>
                <c:ptCount val="1"/>
                <c:pt idx="0">
                  <c:v>4</c:v>
                </c:pt>
              </c:strCache>
            </c:strRef>
          </c:tx>
          <c:spPr>
            <a:solidFill>
              <a:srgbClr val="7F6000"/>
            </a:solidFill>
            <a:ln>
              <a:noFill/>
            </a:ln>
            <a:effectLst/>
          </c:spPr>
          <c:invertIfNegative val="0"/>
          <c:cat>
            <c:strRef>
              <c:f>List1!$A$2:$A$11</c:f>
              <c:strCache>
                <c:ptCount val="10"/>
                <c:pt idx="0">
                  <c:v>20–64</c:v>
                </c:pt>
                <c:pt idx="1">
                  <c:v>20–24</c:v>
                </c:pt>
                <c:pt idx="2">
                  <c:v>25–29</c:v>
                </c:pt>
                <c:pt idx="3">
                  <c:v>30–34</c:v>
                </c:pt>
                <c:pt idx="4">
                  <c:v>35–39</c:v>
                </c:pt>
                <c:pt idx="5">
                  <c:v>40–44</c:v>
                </c:pt>
                <c:pt idx="6">
                  <c:v>45–49</c:v>
                </c:pt>
                <c:pt idx="7">
                  <c:v>50–54</c:v>
                </c:pt>
                <c:pt idx="8">
                  <c:v>55–59</c:v>
                </c:pt>
                <c:pt idx="9">
                  <c:v>60–64</c:v>
                </c:pt>
              </c:strCache>
            </c:strRef>
          </c:cat>
          <c:val>
            <c:numRef>
              <c:f>List1!$F$2:$F$11</c:f>
              <c:numCache>
                <c:formatCode>0.0%</c:formatCode>
                <c:ptCount val="10"/>
                <c:pt idx="0">
                  <c:v>8.5289494704836512E-3</c:v>
                </c:pt>
                <c:pt idx="1">
                  <c:v>7.4224021592442643E-3</c:v>
                </c:pt>
                <c:pt idx="2">
                  <c:v>6.7198656026879466E-3</c:v>
                </c:pt>
                <c:pt idx="3">
                  <c:v>6.8268705625341344E-3</c:v>
                </c:pt>
                <c:pt idx="4">
                  <c:v>2.9799914857386121E-3</c:v>
                </c:pt>
                <c:pt idx="5">
                  <c:v>4.3245113302196854E-3</c:v>
                </c:pt>
                <c:pt idx="6">
                  <c:v>5.2758516731986737E-3</c:v>
                </c:pt>
                <c:pt idx="7">
                  <c:v>8.5877862595419852E-3</c:v>
                </c:pt>
                <c:pt idx="8">
                  <c:v>1.6139307708643025E-2</c:v>
                </c:pt>
                <c:pt idx="9">
                  <c:v>1.989578398863097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F8-434F-9E84-14D5813F037C}"/>
            </c:ext>
          </c:extLst>
        </c:ser>
        <c:ser>
          <c:idx val="0"/>
          <c:order val="1"/>
          <c:tx>
            <c:strRef>
              <c:f>List1!$E$1</c:f>
              <c:strCache>
                <c:ptCount val="1"/>
                <c:pt idx="0">
                  <c:v>3</c:v>
                </c:pt>
              </c:strCache>
            </c:strRef>
          </c:tx>
          <c:spPr>
            <a:solidFill>
              <a:srgbClr val="BF9000"/>
            </a:solidFill>
            <a:ln>
              <a:noFill/>
            </a:ln>
            <a:effectLst/>
          </c:spPr>
          <c:invertIfNegative val="0"/>
          <c:cat>
            <c:strRef>
              <c:f>List1!$A$2:$A$11</c:f>
              <c:strCache>
                <c:ptCount val="10"/>
                <c:pt idx="0">
                  <c:v>20–64</c:v>
                </c:pt>
                <c:pt idx="1">
                  <c:v>20–24</c:v>
                </c:pt>
                <c:pt idx="2">
                  <c:v>25–29</c:v>
                </c:pt>
                <c:pt idx="3">
                  <c:v>30–34</c:v>
                </c:pt>
                <c:pt idx="4">
                  <c:v>35–39</c:v>
                </c:pt>
                <c:pt idx="5">
                  <c:v>40–44</c:v>
                </c:pt>
                <c:pt idx="6">
                  <c:v>45–49</c:v>
                </c:pt>
                <c:pt idx="7">
                  <c:v>50–54</c:v>
                </c:pt>
                <c:pt idx="8">
                  <c:v>55–59</c:v>
                </c:pt>
                <c:pt idx="9">
                  <c:v>60–64</c:v>
                </c:pt>
              </c:strCache>
            </c:strRef>
          </c:cat>
          <c:val>
            <c:numRef>
              <c:f>List1!$E$2:$E$11</c:f>
              <c:numCache>
                <c:formatCode>0.0%</c:formatCode>
                <c:ptCount val="10"/>
                <c:pt idx="0">
                  <c:v>3.0431085572934113E-2</c:v>
                </c:pt>
                <c:pt idx="1">
                  <c:v>2.2267206477732792E-2</c:v>
                </c:pt>
                <c:pt idx="2">
                  <c:v>1.9319613607727847E-2</c:v>
                </c:pt>
                <c:pt idx="3">
                  <c:v>1.9115237575095576E-2</c:v>
                </c:pt>
                <c:pt idx="4">
                  <c:v>2.0647083865474671E-2</c:v>
                </c:pt>
                <c:pt idx="5">
                  <c:v>2.3179380729977512E-2</c:v>
                </c:pt>
                <c:pt idx="6">
                  <c:v>2.8338860416038589E-2</c:v>
                </c:pt>
                <c:pt idx="7">
                  <c:v>3.5687022900763359E-2</c:v>
                </c:pt>
                <c:pt idx="8">
                  <c:v>4.4170736886812487E-2</c:v>
                </c:pt>
                <c:pt idx="9">
                  <c:v>5.163429654192325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BF8-434F-9E84-14D5813F037C}"/>
            </c:ext>
          </c:extLst>
        </c:ser>
        <c:ser>
          <c:idx val="1"/>
          <c:order val="2"/>
          <c:tx>
            <c:strRef>
              <c:f>List1!$D$1</c:f>
              <c:strCache>
                <c:ptCount val="1"/>
                <c:pt idx="0">
                  <c:v>2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List1!$A$2:$A$11</c:f>
              <c:strCache>
                <c:ptCount val="10"/>
                <c:pt idx="0">
                  <c:v>20–64</c:v>
                </c:pt>
                <c:pt idx="1">
                  <c:v>20–24</c:v>
                </c:pt>
                <c:pt idx="2">
                  <c:v>25–29</c:v>
                </c:pt>
                <c:pt idx="3">
                  <c:v>30–34</c:v>
                </c:pt>
                <c:pt idx="4">
                  <c:v>35–39</c:v>
                </c:pt>
                <c:pt idx="5">
                  <c:v>40–44</c:v>
                </c:pt>
                <c:pt idx="6">
                  <c:v>45–49</c:v>
                </c:pt>
                <c:pt idx="7">
                  <c:v>50–54</c:v>
                </c:pt>
                <c:pt idx="8">
                  <c:v>55–59</c:v>
                </c:pt>
                <c:pt idx="9">
                  <c:v>60–64</c:v>
                </c:pt>
              </c:strCache>
            </c:strRef>
          </c:cat>
          <c:val>
            <c:numRef>
              <c:f>List1!$D$2:$D$11</c:f>
              <c:numCache>
                <c:formatCode>0.0%</c:formatCode>
                <c:ptCount val="10"/>
                <c:pt idx="0">
                  <c:v>5.9986085701770206E-2</c:v>
                </c:pt>
                <c:pt idx="1">
                  <c:v>4.1835357624831308E-2</c:v>
                </c:pt>
                <c:pt idx="2">
                  <c:v>3.9479210415791686E-2</c:v>
                </c:pt>
                <c:pt idx="3">
                  <c:v>4.5330420535226651E-2</c:v>
                </c:pt>
                <c:pt idx="4">
                  <c:v>5.0446998722860792E-2</c:v>
                </c:pt>
                <c:pt idx="5">
                  <c:v>5.1375194603009863E-2</c:v>
                </c:pt>
                <c:pt idx="6">
                  <c:v>5.4718118782031956E-2</c:v>
                </c:pt>
                <c:pt idx="7">
                  <c:v>6.6221374045801529E-2</c:v>
                </c:pt>
                <c:pt idx="8">
                  <c:v>8.2395413038861748E-2</c:v>
                </c:pt>
                <c:pt idx="9">
                  <c:v>8.85836096636665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BF8-434F-9E84-14D5813F037C}"/>
            </c:ext>
          </c:extLst>
        </c:ser>
        <c:ser>
          <c:idx val="2"/>
          <c:order val="3"/>
          <c:tx>
            <c:strRef>
              <c:f>List1!$C$1</c:f>
              <c:strCache>
                <c:ptCount val="1"/>
                <c:pt idx="0">
                  <c:v>1</c:v>
                </c:pt>
              </c:strCache>
            </c:strRef>
          </c:tx>
          <c:spPr>
            <a:solidFill>
              <a:srgbClr val="FFE699"/>
            </a:solidFill>
            <a:ln>
              <a:noFill/>
            </a:ln>
            <a:effectLst/>
          </c:spPr>
          <c:invertIfNegative val="0"/>
          <c:cat>
            <c:strRef>
              <c:f>List1!$A$2:$A$11</c:f>
              <c:strCache>
                <c:ptCount val="10"/>
                <c:pt idx="0">
                  <c:v>20–64</c:v>
                </c:pt>
                <c:pt idx="1">
                  <c:v>20–24</c:v>
                </c:pt>
                <c:pt idx="2">
                  <c:v>25–29</c:v>
                </c:pt>
                <c:pt idx="3">
                  <c:v>30–34</c:v>
                </c:pt>
                <c:pt idx="4">
                  <c:v>35–39</c:v>
                </c:pt>
                <c:pt idx="5">
                  <c:v>40–44</c:v>
                </c:pt>
                <c:pt idx="6">
                  <c:v>45–49</c:v>
                </c:pt>
                <c:pt idx="7">
                  <c:v>50–54</c:v>
                </c:pt>
                <c:pt idx="8">
                  <c:v>55–59</c:v>
                </c:pt>
                <c:pt idx="9">
                  <c:v>60–64</c:v>
                </c:pt>
              </c:strCache>
            </c:strRef>
          </c:cat>
          <c:val>
            <c:numRef>
              <c:f>List1!$C$2:$C$11</c:f>
              <c:numCache>
                <c:formatCode>0.0%</c:formatCode>
                <c:ptCount val="10"/>
                <c:pt idx="0">
                  <c:v>7.7791233992115225E-2</c:v>
                </c:pt>
                <c:pt idx="1">
                  <c:v>5.3981106612685563E-2</c:v>
                </c:pt>
                <c:pt idx="2">
                  <c:v>6.3418731625367486E-2</c:v>
                </c:pt>
                <c:pt idx="3">
                  <c:v>6.8268705625341347E-2</c:v>
                </c:pt>
                <c:pt idx="4">
                  <c:v>7.322264793529161E-2</c:v>
                </c:pt>
                <c:pt idx="5">
                  <c:v>7.8533125756789487E-2</c:v>
                </c:pt>
                <c:pt idx="6">
                  <c:v>8.019294543261983E-2</c:v>
                </c:pt>
                <c:pt idx="7">
                  <c:v>7.5763358778625958E-2</c:v>
                </c:pt>
                <c:pt idx="8">
                  <c:v>8.8129114461669142E-2</c:v>
                </c:pt>
                <c:pt idx="9">
                  <c:v>9.379441023211748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BF8-434F-9E84-14D5813F037C}"/>
            </c:ext>
          </c:extLst>
        </c:ser>
        <c:ser>
          <c:idx val="3"/>
          <c:order val="4"/>
          <c:tx>
            <c:strRef>
              <c:f>List1!$B$1</c:f>
              <c:strCache>
                <c:ptCount val="1"/>
                <c:pt idx="0">
                  <c:v>0</c:v>
                </c:pt>
              </c:strCache>
            </c:strRef>
          </c:tx>
          <c:spPr>
            <a:solidFill>
              <a:srgbClr val="A6A6A6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1</c:f>
              <c:strCache>
                <c:ptCount val="10"/>
                <c:pt idx="0">
                  <c:v>20–64</c:v>
                </c:pt>
                <c:pt idx="1">
                  <c:v>20–24</c:v>
                </c:pt>
                <c:pt idx="2">
                  <c:v>25–29</c:v>
                </c:pt>
                <c:pt idx="3">
                  <c:v>30–34</c:v>
                </c:pt>
                <c:pt idx="4">
                  <c:v>35–39</c:v>
                </c:pt>
                <c:pt idx="5">
                  <c:v>40–44</c:v>
                </c:pt>
                <c:pt idx="6">
                  <c:v>45–49</c:v>
                </c:pt>
                <c:pt idx="7">
                  <c:v>50–54</c:v>
                </c:pt>
                <c:pt idx="8">
                  <c:v>55–59</c:v>
                </c:pt>
                <c:pt idx="9">
                  <c:v>60–64</c:v>
                </c:pt>
              </c:strCache>
            </c:strRef>
          </c:cat>
          <c:val>
            <c:numRef>
              <c:f>List1!$B$2:$B$11</c:f>
              <c:numCache>
                <c:formatCode>0.0%</c:formatCode>
                <c:ptCount val="10"/>
                <c:pt idx="0">
                  <c:v>0.82326264526269677</c:v>
                </c:pt>
                <c:pt idx="1">
                  <c:v>0.87449392712550611</c:v>
                </c:pt>
                <c:pt idx="2">
                  <c:v>0.87106257874842508</c:v>
                </c:pt>
                <c:pt idx="3">
                  <c:v>0.86045876570180224</c:v>
                </c:pt>
                <c:pt idx="4">
                  <c:v>0.85270327799063428</c:v>
                </c:pt>
                <c:pt idx="5">
                  <c:v>0.84258778758000341</c:v>
                </c:pt>
                <c:pt idx="6">
                  <c:v>0.8314742236961109</c:v>
                </c:pt>
                <c:pt idx="7">
                  <c:v>0.81374045801526718</c:v>
                </c:pt>
                <c:pt idx="8">
                  <c:v>0.76916542790401354</c:v>
                </c:pt>
                <c:pt idx="9">
                  <c:v>0.746091899573661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BF8-434F-9E84-14D5813F03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232099615"/>
        <c:axId val="1376469055"/>
      </c:barChart>
      <c:catAx>
        <c:axId val="123209961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76469055"/>
        <c:crosses val="autoZero"/>
        <c:auto val="1"/>
        <c:lblAlgn val="ctr"/>
        <c:lblOffset val="100"/>
        <c:noMultiLvlLbl val="0"/>
      </c:catAx>
      <c:valAx>
        <c:axId val="13764690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320996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9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A$1</c:f>
              <c:strCache>
                <c:ptCount val="1"/>
                <c:pt idx="0">
                  <c:v>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val>
            <c:numRef>
              <c:f>List1!$A$2:$A$20</c:f>
              <c:numCache>
                <c:formatCode>General</c:formatCode>
                <c:ptCount val="1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92-4029-96C3-2F5E2AF80218}"/>
            </c:ext>
          </c:extLst>
        </c:ser>
        <c:ser>
          <c:idx val="1"/>
          <c:order val="1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308297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B92-4029-96C3-2F5E2AF80218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7E14-4850-B0D0-D2F581B2B56C}"/>
              </c:ext>
            </c:extLst>
          </c:dPt>
          <c:dPt>
            <c:idx val="1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B92-4029-96C3-2F5E2AF8021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vert="horz" wrap="none"/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List1!$B$2:$B$20</c:f>
              <c:numCache>
                <c:formatCode>0.0%</c:formatCode>
                <c:ptCount val="19"/>
                <c:pt idx="0">
                  <c:v>0.19170269713815113</c:v>
                </c:pt>
                <c:pt idx="1">
                  <c:v>6.4854848672019766E-2</c:v>
                </c:pt>
                <c:pt idx="2">
                  <c:v>5.5219271155033972E-2</c:v>
                </c:pt>
                <c:pt idx="3">
                  <c:v>4.6942557134033357E-2</c:v>
                </c:pt>
                <c:pt idx="4">
                  <c:v>3.05538398188182E-2</c:v>
                </c:pt>
                <c:pt idx="5">
                  <c:v>2.8474366893143917E-2</c:v>
                </c:pt>
                <c:pt idx="6">
                  <c:v>2.8206711962116531E-2</c:v>
                </c:pt>
                <c:pt idx="7">
                  <c:v>2.7877290508544369E-2</c:v>
                </c:pt>
                <c:pt idx="8">
                  <c:v>2.5591929174387483E-2</c:v>
                </c:pt>
                <c:pt idx="9">
                  <c:v>2.4850730903850114E-2</c:v>
                </c:pt>
                <c:pt idx="10">
                  <c:v>2.301832406835495E-2</c:v>
                </c:pt>
                <c:pt idx="11">
                  <c:v>1.9497632283302452E-2</c:v>
                </c:pt>
                <c:pt idx="12">
                  <c:v>1.9127033148033767E-2</c:v>
                </c:pt>
                <c:pt idx="13">
                  <c:v>1.8838789376158124E-2</c:v>
                </c:pt>
                <c:pt idx="14">
                  <c:v>1.778875849289685E-2</c:v>
                </c:pt>
                <c:pt idx="15">
                  <c:v>1.443277743463043E-2</c:v>
                </c:pt>
                <c:pt idx="16">
                  <c:v>1.3691579164093061E-2</c:v>
                </c:pt>
                <c:pt idx="17">
                  <c:v>1.2229771463866584E-2</c:v>
                </c:pt>
                <c:pt idx="18">
                  <c:v>0.337101091208564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B92-4029-96C3-2F5E2AF80218}"/>
            </c:ext>
          </c:extLst>
        </c:ser>
        <c:ser>
          <c:idx val="2"/>
          <c:order val="2"/>
          <c:tx>
            <c:strRef>
              <c:f>List1!$C$1</c:f>
              <c:strCache>
                <c:ptCount val="1"/>
                <c:pt idx="0">
                  <c:v>čr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invertIfNegative val="0"/>
          <c:val>
            <c:numRef>
              <c:f>List1!$C$2:$C$20</c:f>
              <c:numCache>
                <c:formatCode>0.0%</c:formatCode>
                <c:ptCount val="19"/>
                <c:pt idx="0">
                  <c:v>0.22146062083827811</c:v>
                </c:pt>
                <c:pt idx="1">
                  <c:v>7.8685502063405813E-2</c:v>
                </c:pt>
                <c:pt idx="2">
                  <c:v>6.358266787128701E-2</c:v>
                </c:pt>
                <c:pt idx="3">
                  <c:v>3.2777623510262615E-3</c:v>
                </c:pt>
                <c:pt idx="4">
                  <c:v>1.07391530153253E-3</c:v>
                </c:pt>
                <c:pt idx="5">
                  <c:v>1.07391530153253E-3</c:v>
                </c:pt>
                <c:pt idx="6">
                  <c:v>3.530876665388958E-2</c:v>
                </c:pt>
                <c:pt idx="7">
                  <c:v>3.3202948385646025E-2</c:v>
                </c:pt>
                <c:pt idx="8">
                  <c:v>4.174385599612046E-2</c:v>
                </c:pt>
                <c:pt idx="9">
                  <c:v>2.4830090114457606E-2</c:v>
                </c:pt>
                <c:pt idx="10">
                  <c:v>2.6540192200430045E-2</c:v>
                </c:pt>
                <c:pt idx="11">
                  <c:v>5.5488291362343987E-3</c:v>
                </c:pt>
                <c:pt idx="12">
                  <c:v>4.9190442313863355E-3</c:v>
                </c:pt>
                <c:pt idx="13">
                  <c:v>2.3215215987413905E-2</c:v>
                </c:pt>
                <c:pt idx="14">
                  <c:v>1.7719202357812255E-2</c:v>
                </c:pt>
                <c:pt idx="15">
                  <c:v>4.1252111619971625E-4</c:v>
                </c:pt>
                <c:pt idx="16">
                  <c:v>1.6259973928345363E-2</c:v>
                </c:pt>
                <c:pt idx="17">
                  <c:v>3.232949193883324E-4</c:v>
                </c:pt>
                <c:pt idx="18">
                  <c:v>0.355320722164027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155-4AE5-9576-A61BE0BF1D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-5"/>
        <c:axId val="2058454959"/>
        <c:axId val="1527645775"/>
      </c:barChart>
      <c:catAx>
        <c:axId val="205845495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527645775"/>
        <c:crosses val="autoZero"/>
        <c:auto val="1"/>
        <c:lblAlgn val="ctr"/>
        <c:lblOffset val="100"/>
        <c:noMultiLvlLbl val="0"/>
      </c:catAx>
      <c:valAx>
        <c:axId val="1527645775"/>
        <c:scaling>
          <c:orientation val="minMax"/>
          <c:max val="0.4"/>
          <c:min val="0"/>
        </c:scaling>
        <c:delete val="0"/>
        <c:axPos val="t"/>
        <c:numFmt formatCode="0\ %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2058454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1">
    <c:autoUpdate val="0"/>
  </c:externalData>
</c:chartSpace>
</file>

<file path=ppt/charts/chart9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708475559828709E-2"/>
          <c:y val="4.2933810375670838E-2"/>
          <c:w val="0.68878259198148739"/>
          <c:h val="0.85685822418027546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Psychiatrie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B0F0"/>
              </a:solidFill>
              <a:ln w="9525">
                <a:solidFill>
                  <a:srgbClr val="00B0F0"/>
                </a:solidFill>
              </a:ln>
              <a:effectLst/>
            </c:spPr>
          </c:marker>
          <c:cat>
            <c:strRef>
              <c:f>List1!$B$1:$N$1</c:f>
              <c:strCach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strCache>
            </c:strRef>
          </c:cat>
          <c:val>
            <c:numRef>
              <c:f>List1!$B$2:$N$2</c:f>
              <c:numCache>
                <c:formatCode>General</c:formatCode>
                <c:ptCount val="13"/>
                <c:pt idx="0">
                  <c:v>57</c:v>
                </c:pt>
                <c:pt idx="1">
                  <c:v>31</c:v>
                </c:pt>
                <c:pt idx="2">
                  <c:v>24</c:v>
                </c:pt>
                <c:pt idx="3">
                  <c:v>39</c:v>
                </c:pt>
                <c:pt idx="4">
                  <c:v>38</c:v>
                </c:pt>
                <c:pt idx="5">
                  <c:v>28</c:v>
                </c:pt>
                <c:pt idx="6">
                  <c:v>48</c:v>
                </c:pt>
                <c:pt idx="7">
                  <c:v>34</c:v>
                </c:pt>
                <c:pt idx="8">
                  <c:v>38</c:v>
                </c:pt>
                <c:pt idx="9">
                  <c:v>25</c:v>
                </c:pt>
                <c:pt idx="10">
                  <c:v>39</c:v>
                </c:pt>
                <c:pt idx="11">
                  <c:v>40</c:v>
                </c:pt>
                <c:pt idx="12">
                  <c:v>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4B4-4211-BA9C-45149A5030A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Dětská a dorostová psychiatri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List1!$B$1:$N$1</c:f>
              <c:strCach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strCache>
            </c:strRef>
          </c:cat>
          <c:val>
            <c:numRef>
              <c:f>List1!$B$3:$N$3</c:f>
              <c:numCache>
                <c:formatCode>General</c:formatCode>
                <c:ptCount val="13"/>
                <c:pt idx="0">
                  <c:v>5</c:v>
                </c:pt>
                <c:pt idx="1">
                  <c:v>6</c:v>
                </c:pt>
                <c:pt idx="2">
                  <c:v>7</c:v>
                </c:pt>
                <c:pt idx="3">
                  <c:v>2</c:v>
                </c:pt>
                <c:pt idx="4">
                  <c:v>2</c:v>
                </c:pt>
                <c:pt idx="5">
                  <c:v>3</c:v>
                </c:pt>
                <c:pt idx="6">
                  <c:v>2</c:v>
                </c:pt>
                <c:pt idx="7">
                  <c:v>2</c:v>
                </c:pt>
                <c:pt idx="8">
                  <c:v>6</c:v>
                </c:pt>
                <c:pt idx="9">
                  <c:v>12</c:v>
                </c:pt>
                <c:pt idx="10">
                  <c:v>5</c:v>
                </c:pt>
                <c:pt idx="11">
                  <c:v>2</c:v>
                </c:pt>
                <c:pt idx="12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4B4-4211-BA9C-45149A5030A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Gerontopsychiatrie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cat>
            <c:strRef>
              <c:f>List1!$B$1:$N$1</c:f>
              <c:strCach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strCache>
            </c:strRef>
          </c:cat>
          <c:val>
            <c:numRef>
              <c:f>List1!$B$4:$N$4</c:f>
              <c:numCache>
                <c:formatCode>General</c:formatCode>
                <c:ptCount val="13"/>
                <c:pt idx="0">
                  <c:v>2</c:v>
                </c:pt>
                <c:pt idx="1">
                  <c:v>4</c:v>
                </c:pt>
                <c:pt idx="2">
                  <c:v>3</c:v>
                </c:pt>
                <c:pt idx="3">
                  <c:v>4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4</c:v>
                </c:pt>
                <c:pt idx="10">
                  <c:v>4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4B4-4211-BA9C-45149A5030A5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Sexuologie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List1!$B$1:$N$1</c:f>
              <c:strCach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strCache>
            </c:strRef>
          </c:cat>
          <c:val>
            <c:numRef>
              <c:f>List1!$B$5:$N$5</c:f>
              <c:numCache>
                <c:formatCode>General</c:formatCode>
                <c:ptCount val="13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2</c:v>
                </c:pt>
                <c:pt idx="4">
                  <c:v>1</c:v>
                </c:pt>
                <c:pt idx="6">
                  <c:v>1</c:v>
                </c:pt>
                <c:pt idx="8">
                  <c:v>5</c:v>
                </c:pt>
                <c:pt idx="9">
                  <c:v>1</c:v>
                </c:pt>
                <c:pt idx="10">
                  <c:v>1</c:v>
                </c:pt>
                <c:pt idx="11">
                  <c:v>4</c:v>
                </c:pt>
                <c:pt idx="12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4B4-4211-BA9C-45149A5030A5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Návykové nemoci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7030A0"/>
              </a:solidFill>
              <a:ln w="9525">
                <a:solidFill>
                  <a:srgbClr val="7030A0"/>
                </a:solidFill>
              </a:ln>
              <a:effectLst/>
            </c:spPr>
          </c:marker>
          <c:cat>
            <c:strRef>
              <c:f>List1!$B$1:$N$1</c:f>
              <c:strCach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strCache>
            </c:strRef>
          </c:cat>
          <c:val>
            <c:numRef>
              <c:f>List1!$B$6:$N$6</c:f>
              <c:numCache>
                <c:formatCode>General</c:formatCode>
                <c:ptCount val="13"/>
                <c:pt idx="0">
                  <c:v>6</c:v>
                </c:pt>
                <c:pt idx="1">
                  <c:v>2</c:v>
                </c:pt>
                <c:pt idx="2">
                  <c:v>2</c:v>
                </c:pt>
                <c:pt idx="3">
                  <c:v>1</c:v>
                </c:pt>
                <c:pt idx="5">
                  <c:v>1</c:v>
                </c:pt>
                <c:pt idx="12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4B4-4211-BA9C-45149A5030A5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Psycholog ve zdravotnictví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strRef>
              <c:f>List1!$B$1:$N$1</c:f>
              <c:strCach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strCache>
            </c:strRef>
          </c:cat>
          <c:val>
            <c:numRef>
              <c:f>List1!$B$7:$N$7</c:f>
              <c:numCache>
                <c:formatCode>General</c:formatCode>
                <c:ptCount val="13"/>
                <c:pt idx="0">
                  <c:v>7</c:v>
                </c:pt>
                <c:pt idx="1">
                  <c:v>18</c:v>
                </c:pt>
                <c:pt idx="2">
                  <c:v>20</c:v>
                </c:pt>
                <c:pt idx="3">
                  <c:v>25</c:v>
                </c:pt>
                <c:pt idx="4">
                  <c:v>26</c:v>
                </c:pt>
                <c:pt idx="5">
                  <c:v>36</c:v>
                </c:pt>
                <c:pt idx="6">
                  <c:v>38</c:v>
                </c:pt>
                <c:pt idx="7">
                  <c:v>34</c:v>
                </c:pt>
                <c:pt idx="8">
                  <c:v>28</c:v>
                </c:pt>
                <c:pt idx="9">
                  <c:v>36</c:v>
                </c:pt>
                <c:pt idx="10">
                  <c:v>48</c:v>
                </c:pt>
                <c:pt idx="11">
                  <c:v>80</c:v>
                </c:pt>
                <c:pt idx="12">
                  <c:v>8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4B4-4211-BA9C-45149A5030A5}"/>
            </c:ext>
          </c:extLst>
        </c:ser>
        <c:ser>
          <c:idx val="6"/>
          <c:order val="6"/>
          <c:tx>
            <c:strRef>
              <c:f>List1!$A$8</c:f>
              <c:strCache>
                <c:ptCount val="1"/>
                <c:pt idx="0">
                  <c:v>Adiktologie</c:v>
                </c:pt>
              </c:strCache>
            </c:strRef>
          </c:tx>
          <c:spPr>
            <a:ln w="28575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>
                  <a:lumMod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cat>
            <c:strRef>
              <c:f>List1!$B$1:$N$1</c:f>
              <c:strCach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strCache>
            </c:strRef>
          </c:cat>
          <c:val>
            <c:numRef>
              <c:f>List1!$B$8:$N$8</c:f>
              <c:numCache>
                <c:formatCode>General</c:formatCode>
                <c:ptCount val="13"/>
                <c:pt idx="0">
                  <c:v>64</c:v>
                </c:pt>
                <c:pt idx="1">
                  <c:v>59</c:v>
                </c:pt>
                <c:pt idx="2">
                  <c:v>39</c:v>
                </c:pt>
                <c:pt idx="3">
                  <c:v>69</c:v>
                </c:pt>
                <c:pt idx="4">
                  <c:v>34</c:v>
                </c:pt>
                <c:pt idx="5">
                  <c:v>29</c:v>
                </c:pt>
                <c:pt idx="6">
                  <c:v>35</c:v>
                </c:pt>
                <c:pt idx="7">
                  <c:v>34</c:v>
                </c:pt>
                <c:pt idx="8">
                  <c:v>20</c:v>
                </c:pt>
                <c:pt idx="9">
                  <c:v>31</c:v>
                </c:pt>
                <c:pt idx="10">
                  <c:v>28</c:v>
                </c:pt>
                <c:pt idx="11">
                  <c:v>27</c:v>
                </c:pt>
                <c:pt idx="12">
                  <c:v>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54B4-4211-BA9C-45149A5030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22048479"/>
        <c:axId val="2022063871"/>
      </c:lineChart>
      <c:catAx>
        <c:axId val="202204847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2063871"/>
        <c:crosses val="autoZero"/>
        <c:auto val="1"/>
        <c:lblAlgn val="ctr"/>
        <c:lblOffset val="100"/>
        <c:noMultiLvlLbl val="0"/>
      </c:catAx>
      <c:valAx>
        <c:axId val="2022063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204847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4628313973736704"/>
          <c:y val="3.0560113314012451E-2"/>
          <c:w val="0.24617875430182165"/>
          <c:h val="0.784816383134775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5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6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7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9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6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7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7875</cdr:x>
      <cdr:y>0.46532</cdr:y>
    </cdr:from>
    <cdr:to>
      <cdr:x>0.97994</cdr:x>
      <cdr:y>0.46532</cdr:y>
    </cdr:to>
    <cdr:cxnSp macro="">
      <cdr:nvCxnSpPr>
        <cdr:cNvPr id="3" name="Přímá spojnice 2">
          <a:extLst xmlns:a="http://schemas.openxmlformats.org/drawingml/2006/main">
            <a:ext uri="{FF2B5EF4-FFF2-40B4-BE49-F238E27FC236}">
              <a16:creationId xmlns:a16="http://schemas.microsoft.com/office/drawing/2014/main" id="{773FE7A8-0A71-14E0-5111-5B4A569813C6}"/>
            </a:ext>
          </a:extLst>
        </cdr:cNvPr>
        <cdr:cNvCxnSpPr/>
      </cdr:nvCxnSpPr>
      <cdr:spPr>
        <a:xfrm xmlns:a="http://schemas.openxmlformats.org/drawingml/2006/main">
          <a:off x="905589" y="1975609"/>
          <a:ext cx="10363163" cy="0"/>
        </a:xfrm>
        <a:prstGeom xmlns:a="http://schemas.openxmlformats.org/drawingml/2006/main" prst="line">
          <a:avLst/>
        </a:prstGeom>
        <a:ln xmlns:a="http://schemas.openxmlformats.org/drawingml/2006/main" w="19050" cmpd="sng">
          <a:solidFill>
            <a:schemeClr val="tx1">
              <a:lumMod val="50000"/>
              <a:lumOff val="50000"/>
            </a:schemeClr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6978</cdr:x>
      <cdr:y>0.17275</cdr:y>
    </cdr:from>
    <cdr:to>
      <cdr:x>0.42833</cdr:x>
      <cdr:y>0.34724</cdr:y>
    </cdr:to>
    <cdr:sp macro="" textlink="">
      <cdr:nvSpPr>
        <cdr:cNvPr id="2" name="TextovéPole 1">
          <a:extLst xmlns:a="http://schemas.openxmlformats.org/drawingml/2006/main">
            <a:ext uri="{FF2B5EF4-FFF2-40B4-BE49-F238E27FC236}">
              <a16:creationId xmlns:a16="http://schemas.microsoft.com/office/drawing/2014/main" id="{479975CC-45C6-078E-C172-17751E7BD6C5}"/>
            </a:ext>
          </a:extLst>
        </cdr:cNvPr>
        <cdr:cNvSpPr txBox="1"/>
      </cdr:nvSpPr>
      <cdr:spPr>
        <a:xfrm xmlns:a="http://schemas.openxmlformats.org/drawingml/2006/main">
          <a:off x="4252232" y="733436"/>
          <a:ext cx="673291" cy="74082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cs-CZ" sz="4800" dirty="0">
              <a:solidFill>
                <a:srgbClr val="FF0000"/>
              </a:solidFill>
              <a:latin typeface="Arial Black" panose="020B0A04020102020204" pitchFamily="34" charset="0"/>
            </a:rPr>
            <a:t>!</a:t>
          </a:r>
        </a:p>
      </cdr:txBody>
    </cdr:sp>
  </cdr:relSizeAnchor>
  <cdr:relSizeAnchor xmlns:cdr="http://schemas.openxmlformats.org/drawingml/2006/chartDrawing">
    <cdr:from>
      <cdr:x>0.34591</cdr:x>
      <cdr:y>0.34878</cdr:y>
    </cdr:from>
    <cdr:to>
      <cdr:x>0.44639</cdr:x>
      <cdr:y>0.34878</cdr:y>
    </cdr:to>
    <cdr:cxnSp macro="">
      <cdr:nvCxnSpPr>
        <cdr:cNvPr id="6" name="Přímá spojnice se šipkou 5">
          <a:extLst xmlns:a="http://schemas.openxmlformats.org/drawingml/2006/main">
            <a:ext uri="{FF2B5EF4-FFF2-40B4-BE49-F238E27FC236}">
              <a16:creationId xmlns:a16="http://schemas.microsoft.com/office/drawing/2014/main" id="{835B81D9-83A0-9B2F-865B-BD1D607896A8}"/>
            </a:ext>
          </a:extLst>
        </cdr:cNvPr>
        <cdr:cNvCxnSpPr/>
      </cdr:nvCxnSpPr>
      <cdr:spPr>
        <a:xfrm xmlns:a="http://schemas.openxmlformats.org/drawingml/2006/main">
          <a:off x="3977750" y="1480793"/>
          <a:ext cx="1155462" cy="0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rgbClr val="FF0000"/>
          </a:solidFill>
          <a:headEnd type="triangle"/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595</cdr:x>
      <cdr:y>0.05477</cdr:y>
    </cdr:from>
    <cdr:to>
      <cdr:x>0.97908</cdr:x>
      <cdr:y>0.05477</cdr:y>
    </cdr:to>
    <cdr:cxnSp macro="">
      <cdr:nvCxnSpPr>
        <cdr:cNvPr id="5" name="Přímá spojnice se šipkou 4">
          <a:extLst xmlns:a="http://schemas.openxmlformats.org/drawingml/2006/main">
            <a:ext uri="{FF2B5EF4-FFF2-40B4-BE49-F238E27FC236}">
              <a16:creationId xmlns:a16="http://schemas.microsoft.com/office/drawing/2014/main" id="{D82567A2-FABE-8D81-D99C-957D86D3B1A4}"/>
            </a:ext>
          </a:extLst>
        </cdr:cNvPr>
        <cdr:cNvCxnSpPr/>
      </cdr:nvCxnSpPr>
      <cdr:spPr>
        <a:xfrm xmlns:a="http://schemas.openxmlformats.org/drawingml/2006/main">
          <a:off x="6433890" y="232555"/>
          <a:ext cx="4824919" cy="0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rgbClr val="FF0000"/>
          </a:solidFill>
          <a:headEnd type="triangle"/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595</cdr:x>
      <cdr:y>0.05124</cdr:y>
    </cdr:from>
    <cdr:to>
      <cdr:x>0.72022</cdr:x>
      <cdr:y>0.10874</cdr:y>
    </cdr:to>
    <cdr:sp macro="" textlink="">
      <cdr:nvSpPr>
        <cdr:cNvPr id="8" name="TextovéPole 7">
          <a:extLst xmlns:a="http://schemas.openxmlformats.org/drawingml/2006/main">
            <a:ext uri="{FF2B5EF4-FFF2-40B4-BE49-F238E27FC236}">
              <a16:creationId xmlns:a16="http://schemas.microsoft.com/office/drawing/2014/main" id="{6F703C32-D4C0-8F9A-DEEA-ADFD8C4302DA}"/>
            </a:ext>
          </a:extLst>
        </cdr:cNvPr>
        <cdr:cNvSpPr txBox="1"/>
      </cdr:nvSpPr>
      <cdr:spPr>
        <a:xfrm xmlns:a="http://schemas.openxmlformats.org/drawingml/2006/main">
          <a:off x="6433890" y="217563"/>
          <a:ext cx="1848256" cy="24410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cs-CZ" sz="1400" b="1" dirty="0">
              <a:solidFill>
                <a:srgbClr val="C00000"/>
              </a:solidFill>
            </a:rPr>
            <a:t>Projekce z roku 2019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AD32DD-9734-43F4-8F9B-6507DCF63596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0F81B5-EE4C-4F6B-881D-6126E7B2FDE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75361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M120240927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0F81B5-EE4C-4F6B-881D-6126E7B2FDEA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344988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M120240927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0F81B5-EE4C-4F6B-881D-6126E7B2FDEA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961632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M120240927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0F81B5-EE4C-4F6B-881D-6126E7B2FDEA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4814922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M120240927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0F81B5-EE4C-4F6B-881D-6126E7B2FDEA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953247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M120240927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0F81B5-EE4C-4F6B-881D-6126E7B2FDEA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69538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M120240927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0F81B5-EE4C-4F6B-881D-6126E7B2FDEA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2033640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M120240927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0F81B5-EE4C-4F6B-881D-6126E7B2FDEA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498863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M120240927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0F81B5-EE4C-4F6B-881D-6126E7B2FDEA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2364391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M120240927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0F81B5-EE4C-4F6B-881D-6126E7B2FDEA}" type="slidenum">
              <a:rPr lang="cs-CZ" smtClean="0"/>
              <a:t>3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3939281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M120240927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0F81B5-EE4C-4F6B-881D-6126E7B2FDEA}" type="slidenum">
              <a:rPr lang="cs-CZ" smtClean="0"/>
              <a:t>3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7102360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M120240927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0F81B5-EE4C-4F6B-881D-6126E7B2FDEA}" type="slidenum">
              <a:rPr lang="cs-CZ" smtClean="0"/>
              <a:t>3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139587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M120240927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0F81B5-EE4C-4F6B-881D-6126E7B2FDEA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0855371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JZ120240923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0F81B5-EE4C-4F6B-881D-6126E7B2FDEA}" type="slidenum">
              <a:rPr lang="cs-CZ" smtClean="0"/>
              <a:t>3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1210001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JZ120240930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73F1E1-BB1D-4A0E-BEEC-ED80766D233D}" type="slidenum">
              <a:rPr lang="cs-CZ" smtClean="0"/>
              <a:t>4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7022599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SO120240930</a:t>
            </a:r>
          </a:p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101FFD-44F4-4F5B-B4FB-7CA44C1804A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792983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SO120240930</a:t>
            </a:r>
          </a:p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101FFD-44F4-4F5B-B4FB-7CA44C1804A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405693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M120240927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0F81B5-EE4C-4F6B-881D-6126E7B2FDEA}" type="slidenum">
              <a:rPr lang="cs-CZ" smtClean="0"/>
              <a:t>4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4864061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M120240927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0F81B5-EE4C-4F6B-881D-6126E7B2FDEA}" type="slidenum">
              <a:rPr lang="cs-CZ" smtClean="0"/>
              <a:t>4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4016345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/>
              <a:t>HZ20240603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25447F-DF00-4630-9204-54C26BD929B3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530603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/>
              <a:t>SO120240610</a:t>
            </a:r>
          </a:p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17A491-A754-42F7-BC38-F4283EE3D6CA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230267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/>
              <a:t>HZ1230412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1AF84F-1428-4A77-924B-854265A04D7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431113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/>
              <a:t>HZ1230412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1AF84F-1428-4A77-924B-854265A04D7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32959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M120240927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0F81B5-EE4C-4F6B-881D-6126E7B2FDEA}" type="slidenum">
              <a:rPr lang="cs-CZ" smtClean="0"/>
              <a:t>1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0931188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SO120240930</a:t>
            </a:r>
          </a:p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101FFD-44F4-4F5B-B4FB-7CA44C1804A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192373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SO120240930</a:t>
            </a:r>
          </a:p>
          <a:p>
            <a:endParaRPr lang="cs-CZ" dirty="0"/>
          </a:p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7FAF74-7B26-4960-B3A2-9434BAEC7F0B}" type="slidenum">
              <a:rPr lang="cs-CZ" smtClean="0"/>
              <a:t>6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7702506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SO120240930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543891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SO120240930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682264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SO120240930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587389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SO120240930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597704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algn="l" rtl="0" eaLnBrk="1" latinLnBrk="0" hangingPunct="1">
              <a:spcBef>
                <a:spcPts val="0"/>
              </a:spcBef>
              <a:spcAft>
                <a:spcPts val="0"/>
              </a:spcAft>
            </a:pPr>
            <a:r>
              <a:rPr lang="cs-CZ" sz="1800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+mn-ea"/>
                <a:cs typeface="+mn-cs"/>
              </a:rPr>
              <a:t>SO120240930</a:t>
            </a:r>
            <a:endParaRPr lang="cs-CZ" sz="2800" dirty="0">
              <a:effectLst/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138680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algn="l" rtl="0" eaLnBrk="1" latinLnBrk="0" hangingPunct="1">
              <a:spcBef>
                <a:spcPts val="0"/>
              </a:spcBef>
              <a:spcAft>
                <a:spcPts val="0"/>
              </a:spcAft>
            </a:pPr>
            <a:r>
              <a:rPr lang="cs-CZ" sz="1800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+mn-ea"/>
                <a:cs typeface="+mn-cs"/>
              </a:rPr>
              <a:t>SO120240930</a:t>
            </a:r>
            <a:endParaRPr lang="cs-CZ" sz="2800" dirty="0">
              <a:effectLst/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884399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SO120240930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233064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SO120240930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89206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M120240927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0F81B5-EE4C-4F6B-881D-6126E7B2FDEA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425470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SO120240930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503681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SO120240930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2168343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SO120240930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098796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SO120240930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6673066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SO120240930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4944509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SO120240930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3215081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SO120240930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6419427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SO120240930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057303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eaLnBrk="1" latinLnBrk="0" hangingPunct="1"/>
            <a:r>
              <a:rPr lang="cs-CZ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120240930</a:t>
            </a:r>
            <a:endParaRPr lang="cs-CZ" dirty="0">
              <a:effectLst/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1963789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M120240927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0F81B5-EE4C-4F6B-881D-6126E7B2FDEA}" type="slidenum">
              <a:rPr lang="cs-CZ" smtClean="0"/>
              <a:t>8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807056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M120240927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0F81B5-EE4C-4F6B-881D-6126E7B2FDEA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3233434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M120240927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0F81B5-EE4C-4F6B-881D-6126E7B2FDEA}" type="slidenum">
              <a:rPr lang="cs-CZ" smtClean="0"/>
              <a:t>8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43675267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KB120240917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0F81B5-EE4C-4F6B-881D-6126E7B2FDEA}" type="slidenum">
              <a:rPr lang="cs-CZ" smtClean="0"/>
              <a:t>8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8631291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KB120240919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0F81B5-EE4C-4F6B-881D-6126E7B2FDEA}" type="slidenum">
              <a:rPr lang="cs-CZ" smtClean="0"/>
              <a:t>8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32639268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KB120240919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0F81B5-EE4C-4F6B-881D-6126E7B2FDEA}" type="slidenum">
              <a:rPr lang="cs-CZ" smtClean="0"/>
              <a:t>9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67263517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KB120240530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198B1C-0401-474B-8A33-65CDDB33820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1725137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KB120240530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8802893-C320-4841-986E-DEF19D3F14F2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7802573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KB120240530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8802893-C320-4841-986E-DEF19D3F14F2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1653879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20240531JJ3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032FB2-C134-1A40-AEFF-BA4E7FB1B3E0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52341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M120240927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0F81B5-EE4C-4F6B-881D-6126E7B2FDEA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14951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M120240927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0F81B5-EE4C-4F6B-881D-6126E7B2FDEA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48716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101FFD-44F4-4F5B-B4FB-7CA44C1804A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36447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M120240927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0F81B5-EE4C-4F6B-881D-6126E7B2FDEA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147942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png"/><Relationship Id="rId7" Type="http://schemas.openxmlformats.org/officeDocument/2006/relationships/image" Target="../media/image5.jpg"/><Relationship Id="rId12" Type="http://schemas.openxmlformats.org/officeDocument/2006/relationships/image" Target="../media/image10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4.emf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0" Type="http://schemas.openxmlformats.org/officeDocument/2006/relationships/image" Target="../media/image8.png"/><Relationship Id="rId4" Type="http://schemas.openxmlformats.org/officeDocument/2006/relationships/image" Target="../media/image2.png"/><Relationship Id="rId9" Type="http://schemas.openxmlformats.org/officeDocument/2006/relationships/image" Target="../media/image7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emf"/><Relationship Id="rId5" Type="http://schemas.openxmlformats.org/officeDocument/2006/relationships/image" Target="../media/image14.png"/><Relationship Id="rId10" Type="http://schemas.openxmlformats.org/officeDocument/2006/relationships/image" Target="../media/image18.svg"/><Relationship Id="rId4" Type="http://schemas.openxmlformats.org/officeDocument/2006/relationships/image" Target="../media/image13.jpeg"/><Relationship Id="rId9" Type="http://schemas.openxmlformats.org/officeDocument/2006/relationships/image" Target="../media/image17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cid:image003.jpg@01CF6DFE.8D73A1C0" TargetMode="External"/><Relationship Id="rId3" Type="http://schemas.openxmlformats.org/officeDocument/2006/relationships/image" Target="../media/image24.png"/><Relationship Id="rId7" Type="http://schemas.openxmlformats.org/officeDocument/2006/relationships/image" Target="../media/image25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10.emf"/><Relationship Id="rId10" Type="http://schemas.openxmlformats.org/officeDocument/2006/relationships/image" Target="../media/image27.png"/><Relationship Id="rId4" Type="http://schemas.openxmlformats.org/officeDocument/2006/relationships/image" Target="../media/image21.emf"/><Relationship Id="rId9" Type="http://schemas.openxmlformats.org/officeDocument/2006/relationships/image" Target="../media/image26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20.emf"/><Relationship Id="rId7" Type="http://schemas.openxmlformats.org/officeDocument/2006/relationships/image" Target="../media/image8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7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0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27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1.jpeg"/><Relationship Id="rId5" Type="http://schemas.openxmlformats.org/officeDocument/2006/relationships/image" Target="cid:image003.jpg@01CF6DFE.8D73A1C0" TargetMode="External"/><Relationship Id="rId4" Type="http://schemas.openxmlformats.org/officeDocument/2006/relationships/image" Target="../media/image25.jpe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32.png"/><Relationship Id="rId7" Type="http://schemas.openxmlformats.org/officeDocument/2006/relationships/image" Target="../media/image21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.xml"/><Relationship Id="rId6" Type="http://schemas.openxmlformats.org/officeDocument/2006/relationships/image" Target="../media/image27.png"/><Relationship Id="rId5" Type="http://schemas.openxmlformats.org/officeDocument/2006/relationships/image" Target="../media/image9.png"/><Relationship Id="rId10" Type="http://schemas.openxmlformats.org/officeDocument/2006/relationships/image" Target="../media/image18.svg"/><Relationship Id="rId4" Type="http://schemas.openxmlformats.org/officeDocument/2006/relationships/image" Target="../media/image10.emf"/><Relationship Id="rId9" Type="http://schemas.openxmlformats.org/officeDocument/2006/relationships/image" Target="../media/image17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0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Skupina 21">
            <a:extLst>
              <a:ext uri="{FF2B5EF4-FFF2-40B4-BE49-F238E27FC236}">
                <a16:creationId xmlns:a16="http://schemas.microsoft.com/office/drawing/2014/main" id="{A3C72F8D-55A2-4E49-80D1-7449428B62C1}"/>
              </a:ext>
            </a:extLst>
          </p:cNvPr>
          <p:cNvGrpSpPr/>
          <p:nvPr userDrawn="1"/>
        </p:nvGrpSpPr>
        <p:grpSpPr>
          <a:xfrm>
            <a:off x="252476" y="1166306"/>
            <a:ext cx="11687046" cy="5578323"/>
            <a:chOff x="252476" y="1166306"/>
            <a:chExt cx="11687046" cy="5578323"/>
          </a:xfrm>
        </p:grpSpPr>
        <p:pic>
          <p:nvPicPr>
            <p:cNvPr id="7" name="Obrázek 6">
              <a:extLst>
                <a:ext uri="{FF2B5EF4-FFF2-40B4-BE49-F238E27FC236}">
                  <a16:creationId xmlns:a16="http://schemas.microsoft.com/office/drawing/2014/main" id="{D61BA61F-FDBD-450E-AC31-C8EA531B68A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252477" y="1166306"/>
              <a:ext cx="11687045" cy="5578323"/>
            </a:xfrm>
            <a:prstGeom prst="rect">
              <a:avLst/>
            </a:prstGeom>
          </p:spPr>
        </p:pic>
        <p:sp>
          <p:nvSpPr>
            <p:cNvPr id="21" name="Obdélník 20">
              <a:extLst>
                <a:ext uri="{FF2B5EF4-FFF2-40B4-BE49-F238E27FC236}">
                  <a16:creationId xmlns:a16="http://schemas.microsoft.com/office/drawing/2014/main" id="{3B76D300-949F-4870-B82B-EDB45E01563E}"/>
                </a:ext>
              </a:extLst>
            </p:cNvPr>
            <p:cNvSpPr/>
            <p:nvPr userDrawn="1"/>
          </p:nvSpPr>
          <p:spPr>
            <a:xfrm>
              <a:off x="252476" y="5651756"/>
              <a:ext cx="11687045" cy="190359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  <p:sp>
        <p:nvSpPr>
          <p:cNvPr id="2" name="Nadpis 1">
            <a:extLst>
              <a:ext uri="{FF2B5EF4-FFF2-40B4-BE49-F238E27FC236}">
                <a16:creationId xmlns:a16="http://schemas.microsoft.com/office/drawing/2014/main" id="{26A30601-FD34-4EE1-8D7A-1DFCEB5EEB7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01956" y="920557"/>
            <a:ext cx="9144000" cy="879432"/>
          </a:xfrm>
        </p:spPr>
        <p:txBody>
          <a:bodyPr anchor="t">
            <a:normAutofit/>
          </a:bodyPr>
          <a:lstStyle>
            <a:lvl1pPr algn="l">
              <a:defRPr sz="3600"/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16B991F-C208-4413-8437-990524F14F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1956" y="5863098"/>
            <a:ext cx="9144000" cy="665398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rgbClr val="5BCC7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sp>
        <p:nvSpPr>
          <p:cNvPr id="8" name="Volný tvar 6">
            <a:extLst>
              <a:ext uri="{FF2B5EF4-FFF2-40B4-BE49-F238E27FC236}">
                <a16:creationId xmlns:a16="http://schemas.microsoft.com/office/drawing/2014/main" id="{0BB78DE7-6C6B-40F1-B100-551D346F3CA5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5BCC72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Volný tvar 18">
            <a:extLst>
              <a:ext uri="{FF2B5EF4-FFF2-40B4-BE49-F238E27FC236}">
                <a16:creationId xmlns:a16="http://schemas.microsoft.com/office/drawing/2014/main" id="{59A9030C-48A7-462F-842D-60D6C734EB59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5BCC72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srgbClr val="33CCC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Volný tvar 19">
            <a:extLst>
              <a:ext uri="{FF2B5EF4-FFF2-40B4-BE49-F238E27FC236}">
                <a16:creationId xmlns:a16="http://schemas.microsoft.com/office/drawing/2014/main" id="{C4ECEB10-8B02-4327-A1A6-894FB22AD1B8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308297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Obdélník: se zakulacenými rohy 10">
            <a:extLst>
              <a:ext uri="{FF2B5EF4-FFF2-40B4-BE49-F238E27FC236}">
                <a16:creationId xmlns:a16="http://schemas.microsoft.com/office/drawing/2014/main" id="{89EFFB5E-FD7D-4E8F-BA8E-648B02FFA2D8}"/>
              </a:ext>
            </a:extLst>
          </p:cNvPr>
          <p:cNvSpPr/>
          <p:nvPr userDrawn="1"/>
        </p:nvSpPr>
        <p:spPr>
          <a:xfrm>
            <a:off x="10510" y="5896269"/>
            <a:ext cx="9360000" cy="64800"/>
          </a:xfrm>
          <a:prstGeom prst="roundRect">
            <a:avLst/>
          </a:prstGeom>
          <a:solidFill>
            <a:srgbClr val="63D67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Volný tvar 17">
            <a:extLst>
              <a:ext uri="{FF2B5EF4-FFF2-40B4-BE49-F238E27FC236}">
                <a16:creationId xmlns:a16="http://schemas.microsoft.com/office/drawing/2014/main" id="{51D83A39-717F-414E-89BA-EEAC9FFAE7F6}"/>
              </a:ext>
            </a:extLst>
          </p:cNvPr>
          <p:cNvSpPr/>
          <p:nvPr userDrawn="1"/>
        </p:nvSpPr>
        <p:spPr>
          <a:xfrm rot="10800000">
            <a:off x="-8546" y="4380807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5BCC72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47D3D5FA-1C19-474D-A9A9-FD3FC5E3440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5327" y="4640070"/>
            <a:ext cx="1520517" cy="1563678"/>
          </a:xfrm>
          <a:prstGeom prst="rect">
            <a:avLst/>
          </a:prstGeom>
        </p:spPr>
      </p:pic>
      <p:sp>
        <p:nvSpPr>
          <p:cNvPr id="14" name="Obdélník: se zakulacenými rohy 13">
            <a:extLst>
              <a:ext uri="{FF2B5EF4-FFF2-40B4-BE49-F238E27FC236}">
                <a16:creationId xmlns:a16="http://schemas.microsoft.com/office/drawing/2014/main" id="{C337414B-0444-4485-8901-D58B4BC8BC8F}"/>
              </a:ext>
            </a:extLst>
          </p:cNvPr>
          <p:cNvSpPr/>
          <p:nvPr userDrawn="1"/>
        </p:nvSpPr>
        <p:spPr>
          <a:xfrm>
            <a:off x="10139522" y="5896269"/>
            <a:ext cx="1800000" cy="64800"/>
          </a:xfrm>
          <a:prstGeom prst="roundRect">
            <a:avLst/>
          </a:prstGeom>
          <a:solidFill>
            <a:srgbClr val="30829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" name="Obrázek 19">
            <a:extLst>
              <a:ext uri="{FF2B5EF4-FFF2-40B4-BE49-F238E27FC236}">
                <a16:creationId xmlns:a16="http://schemas.microsoft.com/office/drawing/2014/main" id="{535335C8-26EE-4A9F-9A4A-81628C0E14A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034470" y="502499"/>
            <a:ext cx="684000" cy="820800"/>
          </a:xfrm>
          <a:prstGeom prst="rect">
            <a:avLst/>
          </a:prstGeom>
        </p:spPr>
      </p:pic>
      <p:grpSp>
        <p:nvGrpSpPr>
          <p:cNvPr id="4" name="Skupina 3">
            <a:extLst>
              <a:ext uri="{FF2B5EF4-FFF2-40B4-BE49-F238E27FC236}">
                <a16:creationId xmlns:a16="http://schemas.microsoft.com/office/drawing/2014/main" id="{4F65BC92-8D22-8C5C-67D4-B95621FC2ACB}"/>
              </a:ext>
            </a:extLst>
          </p:cNvPr>
          <p:cNvGrpSpPr/>
          <p:nvPr userDrawn="1"/>
        </p:nvGrpSpPr>
        <p:grpSpPr>
          <a:xfrm>
            <a:off x="7756119" y="6272375"/>
            <a:ext cx="4176775" cy="399218"/>
            <a:chOff x="7767225" y="6272375"/>
            <a:chExt cx="4176775" cy="399218"/>
          </a:xfrm>
        </p:grpSpPr>
        <p:pic>
          <p:nvPicPr>
            <p:cNvPr id="5" name="Obrázek 4">
              <a:extLst>
                <a:ext uri="{FF2B5EF4-FFF2-40B4-BE49-F238E27FC236}">
                  <a16:creationId xmlns:a16="http://schemas.microsoft.com/office/drawing/2014/main" id="{362FE88F-B50F-9FF1-5D6B-9B072327DF3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40046" y="6272375"/>
              <a:ext cx="603954" cy="399218"/>
            </a:xfrm>
            <a:prstGeom prst="rect">
              <a:avLst/>
            </a:prstGeom>
          </p:spPr>
        </p:pic>
        <p:pic>
          <p:nvPicPr>
            <p:cNvPr id="6" name="Obrázek 5">
              <a:extLst>
                <a:ext uri="{FF2B5EF4-FFF2-40B4-BE49-F238E27FC236}">
                  <a16:creationId xmlns:a16="http://schemas.microsoft.com/office/drawing/2014/main" id="{E1831A75-FC16-3D04-338A-2C4E8D5B014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67225" y="6370983"/>
              <a:ext cx="3170928" cy="277776"/>
            </a:xfrm>
            <a:prstGeom prst="rect">
              <a:avLst/>
            </a:prstGeom>
          </p:spPr>
        </p:pic>
      </p:grpSp>
      <p:pic>
        <p:nvPicPr>
          <p:cNvPr id="23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42616715-05D0-D138-EE1E-9AA0CF51FFF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1097" y="1443691"/>
            <a:ext cx="1163559" cy="452898"/>
          </a:xfrm>
          <a:prstGeom prst="rect">
            <a:avLst/>
          </a:prstGeom>
        </p:spPr>
      </p:pic>
      <p:pic>
        <p:nvPicPr>
          <p:cNvPr id="24" name="Obrázek 23">
            <a:extLst>
              <a:ext uri="{FF2B5EF4-FFF2-40B4-BE49-F238E27FC236}">
                <a16:creationId xmlns:a16="http://schemas.microsoft.com/office/drawing/2014/main" id="{9BE28D08-1D80-0B47-E7C9-9E01B53DAC13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0434" y="1460269"/>
            <a:ext cx="1198713" cy="288000"/>
          </a:xfrm>
          <a:prstGeom prst="rect">
            <a:avLst/>
          </a:prstGeom>
        </p:spPr>
      </p:pic>
      <p:pic>
        <p:nvPicPr>
          <p:cNvPr id="36" name="Obrázek 35">
            <a:extLst>
              <a:ext uri="{FF2B5EF4-FFF2-40B4-BE49-F238E27FC236}">
                <a16:creationId xmlns:a16="http://schemas.microsoft.com/office/drawing/2014/main" id="{7321CF9A-FA0F-F43D-A804-E71D0E2BF4CA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988649" y="552899"/>
            <a:ext cx="642228" cy="720000"/>
          </a:xfrm>
          <a:prstGeom prst="rect">
            <a:avLst/>
          </a:prstGeom>
        </p:spPr>
      </p:pic>
      <p:grpSp>
        <p:nvGrpSpPr>
          <p:cNvPr id="37" name="Skupina 36">
            <a:extLst>
              <a:ext uri="{FF2B5EF4-FFF2-40B4-BE49-F238E27FC236}">
                <a16:creationId xmlns:a16="http://schemas.microsoft.com/office/drawing/2014/main" id="{90A65DF1-7C4F-BCA7-1626-5224D4DB2E5D}"/>
              </a:ext>
            </a:extLst>
          </p:cNvPr>
          <p:cNvGrpSpPr/>
          <p:nvPr userDrawn="1"/>
        </p:nvGrpSpPr>
        <p:grpSpPr>
          <a:xfrm>
            <a:off x="11417641" y="3085921"/>
            <a:ext cx="609600" cy="477423"/>
            <a:chOff x="11508259" y="3171939"/>
            <a:chExt cx="609600" cy="477423"/>
          </a:xfrm>
        </p:grpSpPr>
        <p:sp>
          <p:nvSpPr>
            <p:cNvPr id="38" name="Obdélník: se zakulacenými rohy 37">
              <a:extLst>
                <a:ext uri="{FF2B5EF4-FFF2-40B4-BE49-F238E27FC236}">
                  <a16:creationId xmlns:a16="http://schemas.microsoft.com/office/drawing/2014/main" id="{E7D61BDE-F8C6-2440-F360-743CE07D25E9}"/>
                </a:ext>
              </a:extLst>
            </p:cNvPr>
            <p:cNvSpPr/>
            <p:nvPr userDrawn="1"/>
          </p:nvSpPr>
          <p:spPr>
            <a:xfrm>
              <a:off x="11508259" y="3171939"/>
              <a:ext cx="609600" cy="477423"/>
            </a:xfrm>
            <a:prstGeom prst="round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9" name="Obrázek 38">
              <a:extLst>
                <a:ext uri="{FF2B5EF4-FFF2-40B4-BE49-F238E27FC236}">
                  <a16:creationId xmlns:a16="http://schemas.microsoft.com/office/drawing/2014/main" id="{2AF63DA5-DA19-348B-D81B-9361604EE6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601260" y="3212650"/>
              <a:ext cx="396000" cy="396000"/>
            </a:xfrm>
            <a:prstGeom prst="rect">
              <a:avLst/>
            </a:prstGeom>
          </p:spPr>
        </p:pic>
      </p:grpSp>
      <p:grpSp>
        <p:nvGrpSpPr>
          <p:cNvPr id="40" name="Skupina 39">
            <a:extLst>
              <a:ext uri="{FF2B5EF4-FFF2-40B4-BE49-F238E27FC236}">
                <a16:creationId xmlns:a16="http://schemas.microsoft.com/office/drawing/2014/main" id="{AB4F7D1F-AA6F-5E78-45E4-BCAB874017FF}"/>
              </a:ext>
            </a:extLst>
          </p:cNvPr>
          <p:cNvGrpSpPr/>
          <p:nvPr userDrawn="1"/>
        </p:nvGrpSpPr>
        <p:grpSpPr>
          <a:xfrm>
            <a:off x="11417641" y="4224575"/>
            <a:ext cx="609600" cy="477423"/>
            <a:chOff x="11508259" y="4341438"/>
            <a:chExt cx="609600" cy="477423"/>
          </a:xfrm>
        </p:grpSpPr>
        <p:sp>
          <p:nvSpPr>
            <p:cNvPr id="41" name="Obdélník: se zakulacenými rohy 40">
              <a:extLst>
                <a:ext uri="{FF2B5EF4-FFF2-40B4-BE49-F238E27FC236}">
                  <a16:creationId xmlns:a16="http://schemas.microsoft.com/office/drawing/2014/main" id="{B25BE9A5-FFDA-8252-6152-317A5A58459E}"/>
                </a:ext>
              </a:extLst>
            </p:cNvPr>
            <p:cNvSpPr/>
            <p:nvPr userDrawn="1"/>
          </p:nvSpPr>
          <p:spPr>
            <a:xfrm>
              <a:off x="11508259" y="4341438"/>
              <a:ext cx="609600" cy="477423"/>
            </a:xfrm>
            <a:prstGeom prst="round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42" name="Picture 24">
              <a:extLst>
                <a:ext uri="{FF2B5EF4-FFF2-40B4-BE49-F238E27FC236}">
                  <a16:creationId xmlns:a16="http://schemas.microsoft.com/office/drawing/2014/main" id="{43598C03-2F38-5241-134B-6C51D5BCE013}"/>
                </a:ext>
              </a:extLst>
            </p:cNvPr>
            <p:cNvPicPr>
              <a:picLocks noChangeAspect="1" noChangeArrowheads="1"/>
            </p:cNvPicPr>
            <p:nvPr userDrawn="1">
              <p:custDataLst>
                <p:tags r:id="rId1"/>
              </p:custDataLst>
            </p:nvPr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1601260" y="4435295"/>
              <a:ext cx="432000" cy="2897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8985234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6" name="Obrázek 9">
            <a:extLst>
              <a:ext uri="{FF2B5EF4-FFF2-40B4-BE49-F238E27FC236}">
                <a16:creationId xmlns:a16="http://schemas.microsoft.com/office/drawing/2014/main" id="{11B1B157-DCCE-32E9-839F-010705E695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1787" y="253404"/>
            <a:ext cx="1470213" cy="352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378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5F796BB6-3D15-41D7-282D-74CAB2D84F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33301" y="144088"/>
            <a:ext cx="466221" cy="570700"/>
          </a:xfrm>
          <a:prstGeom prst="rect">
            <a:avLst/>
          </a:prstGeom>
        </p:spPr>
      </p:pic>
      <p:pic>
        <p:nvPicPr>
          <p:cNvPr id="5" name="Logo UZIS">
            <a:extLst>
              <a:ext uri="{FF2B5EF4-FFF2-40B4-BE49-F238E27FC236}">
                <a16:creationId xmlns:a16="http://schemas.microsoft.com/office/drawing/2014/main" id="{47A19A89-1501-16EE-4B65-98DBB101A00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62710" y="264174"/>
            <a:ext cx="503419" cy="330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3428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07793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153904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C0AD9E5-E08C-4CAB-A5F9-F9481151C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617BB3E-FF8D-442E-97B6-8067255EF1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ECF4D5E-1183-45AB-8E9C-7FD2874A39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FBAE8BB-28AF-4AE2-8287-52FCCAC1ADF8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9D4DE49-771C-490A-BDED-84F1971DCB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88DB9D8-26C2-425E-87CD-0EE8FFEE7B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0E3E1E-8F17-4E77-8CB8-5F4C7FAD9A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550445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EF35A39-30A1-69A4-A51B-9357E5E568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361B7E8-FBD9-FA10-33BC-85868E8B8CB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CD67C2B-1603-C0FB-11C8-9598C885D6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19F92-11CF-432F-9B44-6C1423AAF526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2A4F4CB-0DD6-13BA-9FB6-0967FB654A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7FB47CD-AE79-00E7-1C14-C30EE809A8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F7895D-EBDE-4B63-9F0C-B9E48583380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223286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A9F12C9-CB42-47C8-C542-8734FFE1EC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281D2A18-4F9B-2A16-A63D-4CFE81A58A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B111493-574C-DA69-1759-D7AC629DB0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19F92-11CF-432F-9B44-6C1423AAF526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E45389B-432B-EA40-EAB8-258CFF859A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6FBF50A-4E8D-571C-8BFE-8EA28B2F6E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F7895D-EBDE-4B63-9F0C-B9E48583380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573467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0910F1C-04E9-AD74-2016-5A63B89A27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5D42FCE6-C38B-560D-557F-5469F12AE8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615B79F-2584-EE52-BA46-9D1B79A5E2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19F92-11CF-432F-9B44-6C1423AAF526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5A9109E-BBA0-BED4-1041-DE3FCFFE69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FF7DC7E-D00A-02CB-8BE1-C537169BEE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F7895D-EBDE-4B63-9F0C-B9E48583380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2560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7049D3D-A254-7E98-F230-7EEBC217B5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3B81F7AA-070A-9DC4-347B-BBCA70AE7D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F7C32F96-749E-A49C-C287-68617B5D9A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D13A6067-892D-F78D-EA8A-FF140EE82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19F92-11CF-432F-9B44-6C1423AAF526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5E964A04-709D-9537-EA64-43CBCE135F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377D63B6-4670-4978-765E-95367E57A8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F7895D-EBDE-4B63-9F0C-B9E48583380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440520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4A5C643-EEB5-0EB4-BCE3-EB7C3887D7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505EB2F1-079E-6472-3626-C176F20734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0813A407-5F35-9448-6BB1-B776F567DE3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2C449B9B-DBE3-0A59-3318-E41F958BF8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54380F7-52AC-37EF-EC3B-A16293AAAF3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6F3808B2-C91F-1882-F076-DE43CC6B10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19F92-11CF-432F-9B44-6C1423AAF526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386E01C2-8110-F358-E70E-856B4666F3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2914792-5CC6-AD45-3600-CB3440C9C2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F7895D-EBDE-4B63-9F0C-B9E48583380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050428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Obrázek 16">
            <a:extLst>
              <a:ext uri="{FF2B5EF4-FFF2-40B4-BE49-F238E27FC236}">
                <a16:creationId xmlns:a16="http://schemas.microsoft.com/office/drawing/2014/main" id="{C2EB3022-4937-0BFB-52D2-2B9A4F62EA0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759090"/>
            <a:ext cx="12192000" cy="3559042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BB8BC837-6147-4A94-90F0-8F6A149545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281" y="1449859"/>
            <a:ext cx="5231027" cy="1688758"/>
          </a:xfrm>
        </p:spPr>
        <p:txBody>
          <a:bodyPr anchor="ctr">
            <a:normAutofit/>
          </a:bodyPr>
          <a:lstStyle>
            <a:lvl1pPr algn="ctr">
              <a:defRPr sz="36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24A13BB6-2C7C-4676-A875-F2FA499895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5416" y="4589463"/>
            <a:ext cx="10952034" cy="1500187"/>
          </a:xfr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rgbClr val="FF7F7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C4239EE2-9448-4A43-91C0-AA84FEFE35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52889"/>
          <a:stretch/>
        </p:blipFill>
        <p:spPr>
          <a:xfrm>
            <a:off x="11342614" y="6059851"/>
            <a:ext cx="542719" cy="576000"/>
          </a:xfrm>
          <a:prstGeom prst="rect">
            <a:avLst/>
          </a:prstGeom>
        </p:spPr>
      </p:pic>
      <p:pic>
        <p:nvPicPr>
          <p:cNvPr id="12" name="Picture 2" descr="Psychiatrie">
            <a:extLst>
              <a:ext uri="{FF2B5EF4-FFF2-40B4-BE49-F238E27FC236}">
                <a16:creationId xmlns:a16="http://schemas.microsoft.com/office/drawing/2014/main" id="{BEB5574A-1318-4440-BA59-C6CF6A6B14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6945" y="6041851"/>
            <a:ext cx="510000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7ACCAA45-5753-B52F-D7D6-3B4BEFE60BF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5748" y="286817"/>
            <a:ext cx="786158" cy="306000"/>
          </a:xfrm>
          <a:prstGeom prst="rect">
            <a:avLst/>
          </a:prstGeom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4BF10EB3-EC79-C6F2-95CE-B67FB9E1FDE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9002" y="253865"/>
            <a:ext cx="1198713" cy="288000"/>
          </a:xfrm>
          <a:prstGeom prst="rect">
            <a:avLst/>
          </a:prstGeom>
        </p:spPr>
      </p:pic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78DF905E-EEDF-555F-ECAF-B2596D82C3A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67449" y="300990"/>
            <a:ext cx="2101765" cy="180000"/>
          </a:xfrm>
          <a:prstGeom prst="rect">
            <a:avLst/>
          </a:prstGeom>
        </p:spPr>
      </p:pic>
      <p:pic>
        <p:nvPicPr>
          <p:cNvPr id="13" name="Grafický objekt 4">
            <a:extLst>
              <a:ext uri="{FF2B5EF4-FFF2-40B4-BE49-F238E27FC236}">
                <a16:creationId xmlns:a16="http://schemas.microsoft.com/office/drawing/2014/main" id="{DCFD1524-7F51-6D78-DE64-2AD237D4732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620877" y="220913"/>
            <a:ext cx="2993374" cy="2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82530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5F77E44-3D45-31A5-FD28-3A905239AC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B06F216-6D03-9F8B-6D00-971E1A2111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19F92-11CF-432F-9B44-6C1423AAF526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D2D96733-A3BE-C8EE-FE58-0425BE3E0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E1FD636C-0EA8-B652-630A-14979B7D1E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F7895D-EBDE-4B63-9F0C-B9E48583380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1832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CB0501DB-1FE4-E6EC-AA45-D320B4CC0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19F92-11CF-432F-9B44-6C1423AAF526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B9CC3ABF-3B68-80CB-96B3-4260C6D5CB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D96BA7C5-5386-9AEA-ECCD-E6B663AF3C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F7895D-EBDE-4B63-9F0C-B9E48583380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471266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BE397DB-6103-B055-FD11-60A31D3A82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21C3A203-3417-F419-C39B-9748C5E84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252E7C1A-6588-6D6F-021B-565D5BAD5C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3F000C0F-CF9C-AC4A-1203-E1B8262F50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19F92-11CF-432F-9B44-6C1423AAF526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8106F9E5-EFCD-B5D7-F0E9-9BFBBBF94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F0BDA478-124E-C082-114B-DC1B917DA7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F7895D-EBDE-4B63-9F0C-B9E48583380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3860915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7B38D8D-1DA7-9CBC-C40A-7C13975512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45363F5-28D5-5C7F-6865-884FF43CC7B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449DD7A4-9DE4-596E-C72A-49801C68D32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ABCD6010-4CC1-E3D2-1A1C-E13DA02CBE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19F92-11CF-432F-9B44-6C1423AAF526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62710975-D4DB-ECBD-5195-AD91D9B577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F3A108F5-0F66-34A8-8479-7307E07873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F7895D-EBDE-4B63-9F0C-B9E48583380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7286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6BEFD1D-76D5-CAB9-304A-5C66DC2DC5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88FED254-C193-D22A-11D7-F8D3D5861E1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B906891-859E-84CC-CF7C-950377EB43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19F92-11CF-432F-9B44-6C1423AAF526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CA022F5-6729-8C7B-0729-AC316E7C79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12068D0-A495-ABF9-0611-23169B5176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F7895D-EBDE-4B63-9F0C-B9E48583380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52105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B79FCC80-3338-DE51-1CEE-BB2D9A77464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26A26A51-88A4-F120-D786-B72F272E3E7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2198D01-0969-89F0-BAE0-EFE3F71BCD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19F92-11CF-432F-9B44-6C1423AAF526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5159DDD-FE7D-BC12-6014-3B82A972AA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344D96C-8D6F-6029-8A9C-3D663E1CC4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F7895D-EBDE-4B63-9F0C-B9E48583380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2683890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0102647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" name="Obrázek 193">
            <a:extLst>
              <a:ext uri="{FF2B5EF4-FFF2-40B4-BE49-F238E27FC236}">
                <a16:creationId xmlns:a16="http://schemas.microsoft.com/office/drawing/2014/main" id="{7028FA8A-4E11-48CC-8D75-F1D56BD1680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59277" y="1234929"/>
            <a:ext cx="11473666" cy="4852837"/>
          </a:xfrm>
          <a:prstGeom prst="rect">
            <a:avLst/>
          </a:prstGeom>
        </p:spPr>
      </p:pic>
      <p:sp>
        <p:nvSpPr>
          <p:cNvPr id="81" name="Obdélník 80">
            <a:extLst>
              <a:ext uri="{FF2B5EF4-FFF2-40B4-BE49-F238E27FC236}">
                <a16:creationId xmlns:a16="http://schemas.microsoft.com/office/drawing/2014/main" id="{40F2E09F-8544-4FF2-9F9A-AF0C8187713C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83" name="Obdélník 82">
            <a:extLst>
              <a:ext uri="{FF2B5EF4-FFF2-40B4-BE49-F238E27FC236}">
                <a16:creationId xmlns:a16="http://schemas.microsoft.com/office/drawing/2014/main" id="{5FE9660D-2B4A-4896-A4BF-330209511296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pic>
        <p:nvPicPr>
          <p:cNvPr id="86" name="Obrázek 85">
            <a:extLst>
              <a:ext uri="{FF2B5EF4-FFF2-40B4-BE49-F238E27FC236}">
                <a16:creationId xmlns:a16="http://schemas.microsoft.com/office/drawing/2014/main" id="{0FCBE275-6212-4CD7-81E4-A8D7F2CA9EF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000" y="6186252"/>
            <a:ext cx="3763463" cy="324000"/>
          </a:xfrm>
          <a:prstGeom prst="rect">
            <a:avLst/>
          </a:prstGeom>
        </p:spPr>
      </p:pic>
      <p:sp>
        <p:nvSpPr>
          <p:cNvPr id="87" name="Volný tvar 6">
            <a:extLst>
              <a:ext uri="{FF2B5EF4-FFF2-40B4-BE49-F238E27FC236}">
                <a16:creationId xmlns:a16="http://schemas.microsoft.com/office/drawing/2014/main" id="{85C703E3-2B67-4C22-AC74-AE20B05EBAA9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gradFill flip="none" rotWithShape="1">
            <a:gsLst>
              <a:gs pos="0">
                <a:srgbClr val="AFEBEB"/>
              </a:gs>
              <a:gs pos="7700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8" name="Volný tvar 17">
            <a:extLst>
              <a:ext uri="{FF2B5EF4-FFF2-40B4-BE49-F238E27FC236}">
                <a16:creationId xmlns:a16="http://schemas.microsoft.com/office/drawing/2014/main" id="{2BD92B5F-BB92-4654-AEF1-C9A87A5248BF}"/>
              </a:ext>
            </a:extLst>
          </p:cNvPr>
          <p:cNvSpPr/>
          <p:nvPr userDrawn="1"/>
        </p:nvSpPr>
        <p:spPr>
          <a:xfrm rot="10800000">
            <a:off x="-1" y="4380806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gradFill flip="none" rotWithShape="1">
            <a:gsLst>
              <a:gs pos="0">
                <a:srgbClr val="AFEBEB"/>
              </a:gs>
              <a:gs pos="7700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9" name="Volný tvar 18">
            <a:extLst>
              <a:ext uri="{FF2B5EF4-FFF2-40B4-BE49-F238E27FC236}">
                <a16:creationId xmlns:a16="http://schemas.microsoft.com/office/drawing/2014/main" id="{C0623FAF-3EBE-4D32-9A7D-B3A292ACEE45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33CCCC">
              <a:alpha val="3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90" name="Volný tvar 19">
            <a:extLst>
              <a:ext uri="{FF2B5EF4-FFF2-40B4-BE49-F238E27FC236}">
                <a16:creationId xmlns:a16="http://schemas.microsoft.com/office/drawing/2014/main" id="{CF154488-7084-4B19-8834-F35893F3FCDA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424242">
              <a:alpha val="27843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2" name="Obdélník 91">
            <a:extLst>
              <a:ext uri="{FF2B5EF4-FFF2-40B4-BE49-F238E27FC236}">
                <a16:creationId xmlns:a16="http://schemas.microsoft.com/office/drawing/2014/main" id="{B832A41A-EB50-44F7-B334-F2DF1D43A948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F606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93" name="Obdélník 92">
            <a:extLst>
              <a:ext uri="{FF2B5EF4-FFF2-40B4-BE49-F238E27FC236}">
                <a16:creationId xmlns:a16="http://schemas.microsoft.com/office/drawing/2014/main" id="{541E5713-0979-4073-8195-8FDF98369170}"/>
              </a:ext>
            </a:extLst>
          </p:cNvPr>
          <p:cNvSpPr/>
          <p:nvPr userDrawn="1"/>
        </p:nvSpPr>
        <p:spPr>
          <a:xfrm>
            <a:off x="0" y="5861078"/>
            <a:ext cx="12192000" cy="45719"/>
          </a:xfrm>
          <a:prstGeom prst="rect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97" name="Volný tvar 6">
            <a:extLst>
              <a:ext uri="{FF2B5EF4-FFF2-40B4-BE49-F238E27FC236}">
                <a16:creationId xmlns:a16="http://schemas.microsoft.com/office/drawing/2014/main" id="{F101B372-16FE-412A-8851-DDC17B987951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>
              <a:alpha val="3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8" name="Volný tvar 17">
            <a:extLst>
              <a:ext uri="{FF2B5EF4-FFF2-40B4-BE49-F238E27FC236}">
                <a16:creationId xmlns:a16="http://schemas.microsoft.com/office/drawing/2014/main" id="{84116201-11AF-45C9-812E-00D732D624D2}"/>
              </a:ext>
            </a:extLst>
          </p:cNvPr>
          <p:cNvSpPr/>
          <p:nvPr userDrawn="1"/>
        </p:nvSpPr>
        <p:spPr>
          <a:xfrm rot="10800000">
            <a:off x="-9428" y="4390233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9" name="Volný tvar 18">
            <a:extLst>
              <a:ext uri="{FF2B5EF4-FFF2-40B4-BE49-F238E27FC236}">
                <a16:creationId xmlns:a16="http://schemas.microsoft.com/office/drawing/2014/main" id="{14FAE423-4E6B-4C0C-B3D6-E597049BF65F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>
              <a:alpha val="4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100" name="Volný tvar 19">
            <a:extLst>
              <a:ext uri="{FF2B5EF4-FFF2-40B4-BE49-F238E27FC236}">
                <a16:creationId xmlns:a16="http://schemas.microsoft.com/office/drawing/2014/main" id="{7995864E-5F17-4EF1-8C3D-368F128AAC0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1" name="Obdélník 100">
            <a:extLst>
              <a:ext uri="{FF2B5EF4-FFF2-40B4-BE49-F238E27FC236}">
                <a16:creationId xmlns:a16="http://schemas.microsoft.com/office/drawing/2014/main" id="{D4D1F535-DC44-479F-B5BD-92EA59F33323}"/>
              </a:ext>
            </a:extLst>
          </p:cNvPr>
          <p:cNvSpPr/>
          <p:nvPr userDrawn="1"/>
        </p:nvSpPr>
        <p:spPr>
          <a:xfrm>
            <a:off x="102615" y="213364"/>
            <a:ext cx="1143010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3600" b="1" dirty="0">
                <a:solidFill>
                  <a:srgbClr val="2E5980"/>
                </a:solidFill>
              </a:rPr>
              <a:t>STRATEGICKÉ ANALÝZY POTŘEB REZORTU ZDRAVOTNICTVÍ</a:t>
            </a:r>
          </a:p>
          <a:p>
            <a:r>
              <a:rPr lang="cs-CZ" sz="3400" b="1" dirty="0">
                <a:solidFill>
                  <a:srgbClr val="C00000"/>
                </a:solidFill>
              </a:rPr>
              <a:t>Psychiatrická péče v Praze dle dostupných dat </a:t>
            </a:r>
          </a:p>
        </p:txBody>
      </p:sp>
      <p:sp>
        <p:nvSpPr>
          <p:cNvPr id="102" name="Obdélník 101">
            <a:extLst>
              <a:ext uri="{FF2B5EF4-FFF2-40B4-BE49-F238E27FC236}">
                <a16:creationId xmlns:a16="http://schemas.microsoft.com/office/drawing/2014/main" id="{287E00CA-1E7B-4E51-8D15-DA48E2226502}"/>
              </a:ext>
            </a:extLst>
          </p:cNvPr>
          <p:cNvSpPr/>
          <p:nvPr userDrawn="1"/>
        </p:nvSpPr>
        <p:spPr>
          <a:xfrm>
            <a:off x="584088" y="5729492"/>
            <a:ext cx="3676008" cy="3264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3" name="Zástupný symbol textu 4">
            <a:extLst>
              <a:ext uri="{FF2B5EF4-FFF2-40B4-BE49-F238E27FC236}">
                <a16:creationId xmlns:a16="http://schemas.microsoft.com/office/drawing/2014/main" id="{6733D971-AA31-4C2B-9864-62E324087CA3}"/>
              </a:ext>
            </a:extLst>
          </p:cNvPr>
          <p:cNvSpPr txBox="1">
            <a:spLocks/>
          </p:cNvSpPr>
          <p:nvPr userDrawn="1"/>
        </p:nvSpPr>
        <p:spPr>
          <a:xfrm>
            <a:off x="659278" y="5627645"/>
            <a:ext cx="3326314" cy="507256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2800" dirty="0">
                <a:solidFill>
                  <a:srgbClr val="D71440"/>
                </a:solidFill>
              </a:rPr>
              <a:t>Analytická zpráva</a:t>
            </a:r>
          </a:p>
        </p:txBody>
      </p:sp>
      <p:pic>
        <p:nvPicPr>
          <p:cNvPr id="116" name="Picture 24">
            <a:extLst>
              <a:ext uri="{FF2B5EF4-FFF2-40B4-BE49-F238E27FC236}">
                <a16:creationId xmlns:a16="http://schemas.microsoft.com/office/drawing/2014/main" id="{5C9258A4-B5C3-4786-8A29-365C62CE39AF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340046" y="1342772"/>
            <a:ext cx="592937" cy="397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7" name="Obrázek 116">
            <a:extLst>
              <a:ext uri="{FF2B5EF4-FFF2-40B4-BE49-F238E27FC236}">
                <a16:creationId xmlns:a16="http://schemas.microsoft.com/office/drawing/2014/main" id="{26B2A134-C899-4F60-BA30-9405C93E7A1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0701" y="1259484"/>
            <a:ext cx="574173" cy="574173"/>
          </a:xfrm>
          <a:prstGeom prst="rect">
            <a:avLst/>
          </a:prstGeom>
        </p:spPr>
      </p:pic>
      <p:pic>
        <p:nvPicPr>
          <p:cNvPr id="24" name="Obrázek 23" descr="cid:image001.jpg@01CED555.8CFAB4A0">
            <a:extLst>
              <a:ext uri="{FF2B5EF4-FFF2-40B4-BE49-F238E27FC236}">
                <a16:creationId xmlns:a16="http://schemas.microsoft.com/office/drawing/2014/main" id="{D17F3592-01D7-4B8C-BAC8-A15B8AA86699}"/>
              </a:ext>
            </a:extLst>
          </p:cNvPr>
          <p:cNvPicPr/>
          <p:nvPr userDrawn="1"/>
        </p:nvPicPr>
        <p:blipFill>
          <a:blip r:embed="rId7"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159" y="6119770"/>
            <a:ext cx="4320480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CEEE644-BC03-4930-9406-A18BB3FDE8F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8823626" y="4199123"/>
            <a:ext cx="3200677" cy="2499577"/>
          </a:xfrm>
          <a:prstGeom prst="rect">
            <a:avLst/>
          </a:prstGeom>
        </p:spPr>
      </p:pic>
      <p:pic>
        <p:nvPicPr>
          <p:cNvPr id="2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599E2628-098A-6702-736C-CDA5BB2A0ED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9811" y="1322586"/>
            <a:ext cx="1252291" cy="487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23012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Volný tvar 6">
            <a:extLst>
              <a:ext uri="{FF2B5EF4-FFF2-40B4-BE49-F238E27FC236}">
                <a16:creationId xmlns:a16="http://schemas.microsoft.com/office/drawing/2014/main" id="{9C4E3F5D-17FE-4F11-BF0B-55FCB20C5B12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1" name="Volný tvar 17">
            <a:extLst>
              <a:ext uri="{FF2B5EF4-FFF2-40B4-BE49-F238E27FC236}">
                <a16:creationId xmlns:a16="http://schemas.microsoft.com/office/drawing/2014/main" id="{D48C225E-8000-42E1-8A87-FBEBB02FC061}"/>
              </a:ext>
            </a:extLst>
          </p:cNvPr>
          <p:cNvSpPr/>
          <p:nvPr userDrawn="1"/>
        </p:nvSpPr>
        <p:spPr>
          <a:xfrm rot="10800000">
            <a:off x="-9428" y="4390233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2" name="Volný tvar 18">
            <a:extLst>
              <a:ext uri="{FF2B5EF4-FFF2-40B4-BE49-F238E27FC236}">
                <a16:creationId xmlns:a16="http://schemas.microsoft.com/office/drawing/2014/main" id="{E8850329-92A2-4C8B-8B48-BF3BBCB09972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73" name="Volný tvar 19">
            <a:extLst>
              <a:ext uri="{FF2B5EF4-FFF2-40B4-BE49-F238E27FC236}">
                <a16:creationId xmlns:a16="http://schemas.microsoft.com/office/drawing/2014/main" id="{33F7304C-8B0F-401C-BBB8-0F87B5779B2B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605810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972745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FFC4881-B1A2-4FD2-B9CF-BB28406614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611" y="365125"/>
            <a:ext cx="11664778" cy="573989"/>
          </a:xfrm>
        </p:spPr>
        <p:txBody>
          <a:bodyPr>
            <a:normAutofit/>
          </a:bodyPr>
          <a:lstStyle>
            <a:lvl1pPr>
              <a:defRPr sz="2600"/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6" name="Volný tvar 17">
            <a:extLst>
              <a:ext uri="{FF2B5EF4-FFF2-40B4-BE49-F238E27FC236}">
                <a16:creationId xmlns:a16="http://schemas.microsoft.com/office/drawing/2014/main" id="{0939578F-31E8-4117-BDCB-AFC542B07EC8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5BCC72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Volný tvar 19">
            <a:extLst>
              <a:ext uri="{FF2B5EF4-FFF2-40B4-BE49-F238E27FC236}">
                <a16:creationId xmlns:a16="http://schemas.microsoft.com/office/drawing/2014/main" id="{2A5E0A9E-A125-4143-87A8-0E071CEBD832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308297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6E0D1525-BA1B-F1A2-8872-AFD8D45FC2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22243"/>
            <a:ext cx="647424" cy="252000"/>
          </a:xfrm>
          <a:prstGeom prst="rect">
            <a:avLst/>
          </a:prstGeom>
        </p:spPr>
      </p:pic>
      <p:pic>
        <p:nvPicPr>
          <p:cNvPr id="10" name="Logo UZIS">
            <a:extLst>
              <a:ext uri="{FF2B5EF4-FFF2-40B4-BE49-F238E27FC236}">
                <a16:creationId xmlns:a16="http://schemas.microsoft.com/office/drawing/2014/main" id="{4EFBA7D7-24D7-30E0-7ADB-F2068ED7275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9840" y="6425889"/>
            <a:ext cx="411229" cy="270000"/>
          </a:xfrm>
          <a:prstGeom prst="rect">
            <a:avLst/>
          </a:prstGeom>
        </p:spPr>
      </p:pic>
      <p:cxnSp>
        <p:nvCxnSpPr>
          <p:cNvPr id="11" name="Přímá spojnice 3">
            <a:extLst>
              <a:ext uri="{FF2B5EF4-FFF2-40B4-BE49-F238E27FC236}">
                <a16:creationId xmlns:a16="http://schemas.microsoft.com/office/drawing/2014/main" id="{D60E5CC5-3DD0-AFF7-69C1-2FB7EC5B4553}"/>
              </a:ext>
            </a:extLst>
          </p:cNvPr>
          <p:cNvCxnSpPr>
            <a:cxnSpLocks/>
          </p:cNvCxnSpPr>
          <p:nvPr userDrawn="1"/>
        </p:nvCxnSpPr>
        <p:spPr>
          <a:xfrm>
            <a:off x="1031836" y="6523200"/>
            <a:ext cx="5616000" cy="7961"/>
          </a:xfrm>
          <a:prstGeom prst="line">
            <a:avLst/>
          </a:prstGeom>
          <a:noFill/>
          <a:ln w="6350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sp>
        <p:nvSpPr>
          <p:cNvPr id="12" name="Obdélník 14">
            <a:extLst>
              <a:ext uri="{FF2B5EF4-FFF2-40B4-BE49-F238E27FC236}">
                <a16:creationId xmlns:a16="http://schemas.microsoft.com/office/drawing/2014/main" id="{08AC8C19-7156-0AC2-6931-54D9D28915CA}"/>
              </a:ext>
            </a:extLst>
          </p:cNvPr>
          <p:cNvSpPr/>
          <p:nvPr userDrawn="1"/>
        </p:nvSpPr>
        <p:spPr>
          <a:xfrm>
            <a:off x="1359467" y="6539370"/>
            <a:ext cx="503250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NÁRODNÍ INFORMAČNÍ SYSTÉM PRO PSYCHIATRII 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pic>
        <p:nvPicPr>
          <p:cNvPr id="15" name="Obrázek 14">
            <a:extLst>
              <a:ext uri="{FF2B5EF4-FFF2-40B4-BE49-F238E27FC236}">
                <a16:creationId xmlns:a16="http://schemas.microsoft.com/office/drawing/2014/main" id="{948FC4B3-71A6-ED87-10DA-7E47BDFC600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3491" y="6476079"/>
            <a:ext cx="1048874" cy="252000"/>
          </a:xfrm>
          <a:prstGeom prst="rect">
            <a:avLst/>
          </a:prstGeom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66BD054D-EBA8-4ED7-BFBC-0CDE9445398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718544" y="6500472"/>
            <a:ext cx="2101765" cy="180000"/>
          </a:xfrm>
          <a:prstGeom prst="rect">
            <a:avLst/>
          </a:prstGeom>
        </p:spPr>
      </p:pic>
      <p:pic>
        <p:nvPicPr>
          <p:cNvPr id="18" name="Obrázek 17">
            <a:extLst>
              <a:ext uri="{FF2B5EF4-FFF2-40B4-BE49-F238E27FC236}">
                <a16:creationId xmlns:a16="http://schemas.microsoft.com/office/drawing/2014/main" id="{423E2D38-A7C1-260D-6223-865C7AA8501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605989" y="6350696"/>
            <a:ext cx="324000" cy="363236"/>
          </a:xfrm>
          <a:prstGeom prst="rect">
            <a:avLst/>
          </a:prstGeom>
        </p:spPr>
      </p:pic>
      <p:pic>
        <p:nvPicPr>
          <p:cNvPr id="20" name="Obrázek 19">
            <a:extLst>
              <a:ext uri="{FF2B5EF4-FFF2-40B4-BE49-F238E27FC236}">
                <a16:creationId xmlns:a16="http://schemas.microsoft.com/office/drawing/2014/main" id="{4544D5A6-415C-12B6-1A23-D96F15235B6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1103959" y="6349338"/>
            <a:ext cx="324000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26601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0628AA9-0270-4466-AEE4-743C6F6BCD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098766C-C37F-4567-9F2C-A4B585D0B6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233CD7C-50DC-4ECE-AB8C-2F9F189E0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CE71133-EA5C-42EA-9E5B-F6899631D1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EB4E4BE-77B6-4193-B096-DCEE3DB389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697023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328CA8B-BE17-4E8E-BA21-5C708B05C0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86EB976-B52F-4E70-BBEC-C16C4DA365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0C9C5FA-8A58-4277-A372-519F039FD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D0A4BF4-D40A-4D0B-BC1B-8FB80ED05B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555A1A0-AD5B-4C95-BAFF-47E2F5A4A3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9159861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277A5EC-DCF3-4316-AAF9-593891F155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80E2C95-7248-4E58-95A4-5C701F280FD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C8EFFA53-665F-4953-B32A-12133A2A98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BCA4233-D784-46DD-A1AD-4152E21E03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E85684D-BE59-4E04-BE98-A785CC64EF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021854D-6B80-4FB9-9CFC-9B304DA8E9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9982202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24D1B7E-0F7A-48FF-80C4-2C5F31EE8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E874446-8942-495E-93DB-784F144CCC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AF267A43-2030-465F-AE0C-283CAF1556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FDFD93F-F2A2-42A7-9EDB-BA58F8C98E4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3B9F1699-C431-4C57-A22C-6828F38DC32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3D1BA643-00CC-4CB6-A102-96700A2948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529C33A4-481B-476E-BA47-9035B5F725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48FED13E-2988-4324-B670-BCEC1AAF10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234061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B59216-F6BD-41DB-8B58-4DBD6F78B3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A086BD3-60BD-4510-BFCD-6FD8FF675D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E831CCE1-A76C-42B2-A3B8-61F4A78C60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12D9ECAF-09A6-4E6E-988F-94DAE95CF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1420356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3A5116D5-D10D-4780-8DE3-E263AD5C3B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C0CB6E23-B354-4679-9857-1042E08443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B3F9D63A-A61B-4C7A-AE07-9A88CDEB6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1906308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6423551-D153-4217-A154-4407A5B5F7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7416EEB-8CE6-4497-BFA3-F99CC0D176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5DD2D91-6CED-4D5D-90BC-1170E28864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87CD6761-29DF-4455-9076-0459A1991A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8557E6A1-1563-4E8F-97AB-B963948811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3846D3B-0330-4216-A3E4-28A8634115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634530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70D4BE5-19B7-49D5-8B48-E9CCECB051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F41C0DCF-3D3D-40E5-9127-BB856F35324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6734A7E9-778A-493F-86D4-6A7719CA6B7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F7852D4C-AA02-44EC-AAA8-C261F839BE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CCEA8B9-0632-4DC0-BA34-8F44709562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9B75481-B9F9-4C7F-93D3-F3E6781040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423051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1027C9B-34FC-4CEF-A0D2-FE608DB0C9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97DE946A-16C9-4D5E-9125-FDC4FC0E303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8D8B166-2654-4599-81CD-090450DCBD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E545EFA-9E6A-445E-8D63-AA5C6DACA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D78E511-8C01-48B0-86BA-51C6AEA959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140084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4A84DCF3-1782-4C08-96B2-D43EBCE1DA4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F68719A1-DC72-431A-9D4E-96FA10E29B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005688-EA75-4393-9E80-A1CE893986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97F067B-09AF-4046-BACD-D60555ECB6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CEB7427-BEE7-4670-92C0-022D2034AE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212891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FFC4881-B1A2-4FD2-B9CF-BB28406614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611" y="365125"/>
            <a:ext cx="11664778" cy="573989"/>
          </a:xfrm>
        </p:spPr>
        <p:txBody>
          <a:bodyPr>
            <a:normAutofit/>
          </a:bodyPr>
          <a:lstStyle>
            <a:lvl1pPr>
              <a:defRPr sz="2600"/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6" name="Volný tvar 17">
            <a:extLst>
              <a:ext uri="{FF2B5EF4-FFF2-40B4-BE49-F238E27FC236}">
                <a16:creationId xmlns:a16="http://schemas.microsoft.com/office/drawing/2014/main" id="{0939578F-31E8-4117-BDCB-AFC542B07EC8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5BCC72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Volný tvar 19">
            <a:extLst>
              <a:ext uri="{FF2B5EF4-FFF2-40B4-BE49-F238E27FC236}">
                <a16:creationId xmlns:a16="http://schemas.microsoft.com/office/drawing/2014/main" id="{2A5E0A9E-A125-4143-87A8-0E071CEBD832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308297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528323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09600" y="980729"/>
            <a:ext cx="109728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chemeClr val="accent2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8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30.10.2024</a:t>
            </a:fld>
            <a:endParaRPr lang="cs-CZ" dirty="0"/>
          </a:p>
        </p:txBody>
      </p:sp>
      <p:sp>
        <p:nvSpPr>
          <p:cNvPr id="12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3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5681104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188640"/>
            <a:ext cx="10945216" cy="648072"/>
          </a:xfrm>
          <a:prstGeom prst="rect">
            <a:avLst/>
          </a:prstGeom>
        </p:spPr>
        <p:txBody>
          <a:bodyPr anchor="t"/>
          <a:lstStyle>
            <a:lvl1pPr algn="l">
              <a:defRPr sz="2000" b="1">
                <a:solidFill>
                  <a:schemeClr val="accent2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30.10.2024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Obdélník 1"/>
          <p:cNvSpPr/>
          <p:nvPr userDrawn="1"/>
        </p:nvSpPr>
        <p:spPr>
          <a:xfrm>
            <a:off x="4699462" y="6450677"/>
            <a:ext cx="1995055" cy="2992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</p:spTree>
    <p:extLst>
      <p:ext uri="{BB962C8B-B14F-4D97-AF65-F5344CB8AC3E}">
        <p14:creationId xmlns:p14="http://schemas.microsoft.com/office/powerpoint/2010/main" val="93913285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30.10.2024</a:t>
            </a:fld>
            <a:endParaRPr lang="cs-CZ" dirty="0"/>
          </a:p>
        </p:txBody>
      </p:sp>
      <p:sp>
        <p:nvSpPr>
          <p:cNvPr id="9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0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08304981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aly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116632"/>
            <a:ext cx="10945216" cy="432048"/>
          </a:xfrm>
          <a:prstGeom prst="rect">
            <a:avLst/>
          </a:prstGeom>
        </p:spPr>
        <p:txBody>
          <a:bodyPr anchor="t"/>
          <a:lstStyle>
            <a:lvl1pPr algn="l">
              <a:defRPr sz="2400" b="1">
                <a:solidFill>
                  <a:schemeClr val="accent2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9478386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21583307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88284808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23147121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672400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51607219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0C1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32C7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1595358" cy="523137"/>
          </a:xfrm>
        </p:spPr>
        <p:txBody>
          <a:bodyPr anchor="t">
            <a:noAutofit/>
          </a:bodyPr>
          <a:lstStyle>
            <a:lvl1pPr>
              <a:defRPr lang="cs-CZ" sz="2800" b="1" kern="1200" dirty="0" smtClean="0">
                <a:solidFill>
                  <a:srgbClr val="C10C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C15F3FEB-79F6-C894-1F7D-8ED80B7235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4000" y="6372000"/>
            <a:ext cx="610086" cy="403272"/>
          </a:xfrm>
          <a:prstGeom prst="rect">
            <a:avLst/>
          </a:prstGeom>
        </p:spPr>
      </p:pic>
      <p:pic>
        <p:nvPicPr>
          <p:cNvPr id="4" name="Obrázek 3">
            <a:extLst>
              <a:ext uri="{FF2B5EF4-FFF2-40B4-BE49-F238E27FC236}">
                <a16:creationId xmlns:a16="http://schemas.microsoft.com/office/drawing/2014/main" id="{E5BF7376-8395-1A6B-411F-CFD2ABE65BC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8000" y="6373256"/>
            <a:ext cx="447015" cy="431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7390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Volný tvar 17">
            <a:extLst>
              <a:ext uri="{FF2B5EF4-FFF2-40B4-BE49-F238E27FC236}">
                <a16:creationId xmlns:a16="http://schemas.microsoft.com/office/drawing/2014/main" id="{D272749C-0135-4188-98D3-A0FEEAE778CF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5BCC72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Volný tvar 19">
            <a:extLst>
              <a:ext uri="{FF2B5EF4-FFF2-40B4-BE49-F238E27FC236}">
                <a16:creationId xmlns:a16="http://schemas.microsoft.com/office/drawing/2014/main" id="{8B0647C1-2554-429F-A646-488F3819D368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308297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54949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Volný tvar 19">
            <a:extLst>
              <a:ext uri="{FF2B5EF4-FFF2-40B4-BE49-F238E27FC236}">
                <a16:creationId xmlns:a16="http://schemas.microsoft.com/office/drawing/2014/main" id="{33F7304C-8B0F-401C-BBB8-0F87B5779B2B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8724533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866717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63EA0E24-3DEE-4F9B-BE62-2C949AF5B0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A7E5BF0-AE0D-4088-9249-900F92A0E8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6" name="Obrázek 65" descr="cid:image001.jpg@01CED555.8CFAB4A0">
            <a:extLst>
              <a:ext uri="{FF2B5EF4-FFF2-40B4-BE49-F238E27FC236}">
                <a16:creationId xmlns:a16="http://schemas.microsoft.com/office/drawing/2014/main" id="{D17F3592-01D7-4B8C-BAC8-A15B8AA86699}"/>
              </a:ext>
            </a:extLst>
          </p:cNvPr>
          <p:cNvPicPr/>
          <p:nvPr userDrawn="1"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159" y="6243595"/>
            <a:ext cx="4320480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67" name="Picture 9" descr="logo_mzcr">
            <a:extLst>
              <a:ext uri="{FF2B5EF4-FFF2-40B4-BE49-F238E27FC236}">
                <a16:creationId xmlns:a16="http://schemas.microsoft.com/office/drawing/2014/main" id="{285C40DD-D2EF-48E7-99A8-53B809A1EA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677" y="137068"/>
            <a:ext cx="3896923" cy="3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Obdélník 6">
            <a:extLst>
              <a:ext uri="{FF2B5EF4-FFF2-40B4-BE49-F238E27FC236}">
                <a16:creationId xmlns:a16="http://schemas.microsoft.com/office/drawing/2014/main" id="{D4D1F535-DC44-479F-B5BD-92EA59F33323}"/>
              </a:ext>
            </a:extLst>
          </p:cNvPr>
          <p:cNvSpPr/>
          <p:nvPr userDrawn="1"/>
        </p:nvSpPr>
        <p:spPr>
          <a:xfrm>
            <a:off x="387220" y="1210476"/>
            <a:ext cx="522008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cs-CZ" sz="2200" b="1" i="1" dirty="0">
                <a:solidFill>
                  <a:schemeClr val="bg1"/>
                </a:solidFill>
              </a:rPr>
              <a:t>Analytické studie programu Zdraví 2030: </a:t>
            </a:r>
            <a:r>
              <a:rPr lang="cs-CZ" sz="3400" b="1" dirty="0">
                <a:solidFill>
                  <a:schemeClr val="bg1"/>
                </a:solidFill>
              </a:rPr>
              <a:t>Národní informační systém pro psychiatrii</a:t>
            </a:r>
          </a:p>
        </p:txBody>
      </p:sp>
      <p:pic>
        <p:nvPicPr>
          <p:cNvPr id="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8E98422F-1202-68B7-A6C5-FD1E3B50298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8032" y="87416"/>
            <a:ext cx="1252291" cy="487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25370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0C1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32C7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1595358" cy="523137"/>
          </a:xfrm>
        </p:spPr>
        <p:txBody>
          <a:bodyPr anchor="t">
            <a:noAutofit/>
          </a:bodyPr>
          <a:lstStyle>
            <a:lvl1pPr>
              <a:defRPr lang="cs-CZ" sz="2800" b="1" kern="1200" dirty="0" smtClean="0">
                <a:solidFill>
                  <a:srgbClr val="C10C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C15F3FEB-79F6-C894-1F7D-8ED80B7235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84000" y="6372000"/>
            <a:ext cx="610086" cy="403272"/>
          </a:xfrm>
          <a:prstGeom prst="rect">
            <a:avLst/>
          </a:prstGeom>
        </p:spPr>
      </p:pic>
      <p:pic>
        <p:nvPicPr>
          <p:cNvPr id="4" name="Obrázek 3">
            <a:extLst>
              <a:ext uri="{FF2B5EF4-FFF2-40B4-BE49-F238E27FC236}">
                <a16:creationId xmlns:a16="http://schemas.microsoft.com/office/drawing/2014/main" id="{E5BF7376-8395-1A6B-411F-CFD2ABE65BC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8000" y="6373256"/>
            <a:ext cx="447015" cy="431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52375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3ABABEC8-F7A4-2BC5-0389-76BE78AF1D4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6649" y="1243846"/>
            <a:ext cx="11388315" cy="4852837"/>
          </a:xfrm>
          <a:prstGeom prst="rect">
            <a:avLst/>
          </a:prstGeom>
        </p:spPr>
      </p:pic>
      <p:sp>
        <p:nvSpPr>
          <p:cNvPr id="8" name="Obdélník 7">
            <a:extLst>
              <a:ext uri="{FF2B5EF4-FFF2-40B4-BE49-F238E27FC236}">
                <a16:creationId xmlns:a16="http://schemas.microsoft.com/office/drawing/2014/main" id="{86E319E4-DB43-4786-B406-1BC6DF9F76D3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86429ADE-79A8-80A2-0A21-62D5CA7EB14F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1" name="Volný tvar 6">
            <a:extLst>
              <a:ext uri="{FF2B5EF4-FFF2-40B4-BE49-F238E27FC236}">
                <a16:creationId xmlns:a16="http://schemas.microsoft.com/office/drawing/2014/main" id="{001B4B07-6973-6318-87D0-6F65394D6BC9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gradFill flip="none" rotWithShape="1">
            <a:gsLst>
              <a:gs pos="0">
                <a:srgbClr val="AFEBEB"/>
              </a:gs>
              <a:gs pos="7700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Volný tvar 17">
            <a:extLst>
              <a:ext uri="{FF2B5EF4-FFF2-40B4-BE49-F238E27FC236}">
                <a16:creationId xmlns:a16="http://schemas.microsoft.com/office/drawing/2014/main" id="{33232905-C3F9-C9DC-E4E3-7A0927B5B60D}"/>
              </a:ext>
            </a:extLst>
          </p:cNvPr>
          <p:cNvSpPr/>
          <p:nvPr userDrawn="1"/>
        </p:nvSpPr>
        <p:spPr>
          <a:xfrm rot="10800000">
            <a:off x="-1" y="4380806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gradFill flip="none" rotWithShape="1">
            <a:gsLst>
              <a:gs pos="0">
                <a:srgbClr val="AFEBEB"/>
              </a:gs>
              <a:gs pos="7700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3" name="Volný tvar 18">
            <a:extLst>
              <a:ext uri="{FF2B5EF4-FFF2-40B4-BE49-F238E27FC236}">
                <a16:creationId xmlns:a16="http://schemas.microsoft.com/office/drawing/2014/main" id="{8537842D-6553-3B53-473C-0A971C730739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33CCCC">
              <a:alpha val="3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14" name="Volný tvar 19">
            <a:extLst>
              <a:ext uri="{FF2B5EF4-FFF2-40B4-BE49-F238E27FC236}">
                <a16:creationId xmlns:a16="http://schemas.microsoft.com/office/drawing/2014/main" id="{94B48AC2-8E9E-1661-19DB-4F6FB79507F2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424242">
              <a:alpha val="27843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7" name="Volný tvar 6">
            <a:extLst>
              <a:ext uri="{FF2B5EF4-FFF2-40B4-BE49-F238E27FC236}">
                <a16:creationId xmlns:a16="http://schemas.microsoft.com/office/drawing/2014/main" id="{048B30B4-3D22-A0CD-C4A5-7283E1C4C187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7F99B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9" name="Volný tvar 18">
            <a:extLst>
              <a:ext uri="{FF2B5EF4-FFF2-40B4-BE49-F238E27FC236}">
                <a16:creationId xmlns:a16="http://schemas.microsoft.com/office/drawing/2014/main" id="{3B3CFB7B-900B-A403-5FE7-6794057A041E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4D719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20" name="Volný tvar 19">
            <a:extLst>
              <a:ext uri="{FF2B5EF4-FFF2-40B4-BE49-F238E27FC236}">
                <a16:creationId xmlns:a16="http://schemas.microsoft.com/office/drawing/2014/main" id="{E4416C8E-1447-7170-6C52-F16722539698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24" name="Picture 24">
            <a:extLst>
              <a:ext uri="{FF2B5EF4-FFF2-40B4-BE49-F238E27FC236}">
                <a16:creationId xmlns:a16="http://schemas.microsoft.com/office/drawing/2014/main" id="{272677AC-4BFF-3A75-192A-D01FBCEE6C78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340046" y="1342772"/>
            <a:ext cx="592937" cy="397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Obrázek 24">
            <a:extLst>
              <a:ext uri="{FF2B5EF4-FFF2-40B4-BE49-F238E27FC236}">
                <a16:creationId xmlns:a16="http://schemas.microsoft.com/office/drawing/2014/main" id="{8F6FF6E5-B349-C8CC-8601-835CA2CB5E1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0701" y="1259484"/>
            <a:ext cx="574173" cy="574173"/>
          </a:xfrm>
          <a:prstGeom prst="rect">
            <a:avLst/>
          </a:prstGeom>
        </p:spPr>
      </p:pic>
      <p:pic>
        <p:nvPicPr>
          <p:cNvPr id="28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EE44BCC4-A057-0C26-F4F8-1F6023EB868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9811" y="1322586"/>
            <a:ext cx="1252291" cy="487435"/>
          </a:xfrm>
          <a:prstGeom prst="rect">
            <a:avLst/>
          </a:prstGeom>
        </p:spPr>
      </p:pic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A8B47D9-3915-0AD8-144F-2DA732A7C6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345734-1122-415C-80A2-CB7D62399CC7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7C14846-8EDD-A1DA-E72E-B67F1B8ED8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89E308E-355F-F5DD-1923-B0C42026BC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57F98-80B5-4566-9BB7-668220B538A5}" type="slidenum">
              <a:rPr lang="cs-CZ" smtClean="0"/>
              <a:t>‹#›</a:t>
            </a:fld>
            <a:endParaRPr lang="cs-CZ"/>
          </a:p>
        </p:txBody>
      </p:sp>
      <p:pic>
        <p:nvPicPr>
          <p:cNvPr id="31" name="Obrázek 30">
            <a:extLst>
              <a:ext uri="{FF2B5EF4-FFF2-40B4-BE49-F238E27FC236}">
                <a16:creationId xmlns:a16="http://schemas.microsoft.com/office/drawing/2014/main" id="{84802CCD-0071-6A21-651E-A913FA1D763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374" y="6211890"/>
            <a:ext cx="3741533" cy="322112"/>
          </a:xfrm>
          <a:prstGeom prst="rect">
            <a:avLst/>
          </a:prstGeom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09468479-8C98-05C8-6BEF-C4B46A62FBEA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8" name="Volný tvar 17">
            <a:extLst>
              <a:ext uri="{FF2B5EF4-FFF2-40B4-BE49-F238E27FC236}">
                <a16:creationId xmlns:a16="http://schemas.microsoft.com/office/drawing/2014/main" id="{18F4AB48-7448-E429-0292-4E8A627436EC}"/>
              </a:ext>
            </a:extLst>
          </p:cNvPr>
          <p:cNvSpPr/>
          <p:nvPr userDrawn="1"/>
        </p:nvSpPr>
        <p:spPr>
          <a:xfrm rot="10800000">
            <a:off x="-9428" y="4390233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2" name="Obdélník 21">
            <a:extLst>
              <a:ext uri="{FF2B5EF4-FFF2-40B4-BE49-F238E27FC236}">
                <a16:creationId xmlns:a16="http://schemas.microsoft.com/office/drawing/2014/main" id="{9D694E38-9ABF-841C-CFAD-87F17FD004B2}"/>
              </a:ext>
            </a:extLst>
          </p:cNvPr>
          <p:cNvSpPr/>
          <p:nvPr userDrawn="1"/>
        </p:nvSpPr>
        <p:spPr>
          <a:xfrm>
            <a:off x="584088" y="5729492"/>
            <a:ext cx="3676008" cy="3264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3" name="Zástupný symbol textu 4">
            <a:extLst>
              <a:ext uri="{FF2B5EF4-FFF2-40B4-BE49-F238E27FC236}">
                <a16:creationId xmlns:a16="http://schemas.microsoft.com/office/drawing/2014/main" id="{E5E3AE2F-A7C6-B3A9-3A66-4FBB7F2714A7}"/>
              </a:ext>
            </a:extLst>
          </p:cNvPr>
          <p:cNvSpPr txBox="1">
            <a:spLocks/>
          </p:cNvSpPr>
          <p:nvPr userDrawn="1"/>
        </p:nvSpPr>
        <p:spPr>
          <a:xfrm>
            <a:off x="659278" y="5627645"/>
            <a:ext cx="4327468" cy="507256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2600" dirty="0">
                <a:solidFill>
                  <a:srgbClr val="D71440"/>
                </a:solidFill>
              </a:rPr>
              <a:t>Analytická studie, 5.11. 2024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19C7A8BA-8034-9EEE-240D-ABFF30235D6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823626" y="4199123"/>
            <a:ext cx="3200677" cy="2499577"/>
          </a:xfrm>
          <a:prstGeom prst="rect">
            <a:avLst/>
          </a:prstGeom>
        </p:spPr>
      </p:pic>
      <p:pic>
        <p:nvPicPr>
          <p:cNvPr id="2" name="Grafický objekt 4">
            <a:extLst>
              <a:ext uri="{FF2B5EF4-FFF2-40B4-BE49-F238E27FC236}">
                <a16:creationId xmlns:a16="http://schemas.microsoft.com/office/drawing/2014/main" id="{CA649EB7-9EBB-E9B7-583B-8327BF3F992C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564876" y="6205437"/>
            <a:ext cx="4390283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3201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9B09DBF-1566-8584-3799-E74931699A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4ECD93E-8CDD-9F87-7B29-328166A688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A6B565E-2F82-65BA-96AD-49BDE7ECD2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345734-1122-415C-80A2-CB7D62399CC7}" type="datetimeFigureOut">
              <a:rPr lang="cs-CZ" smtClean="0"/>
              <a:t>30.10.2024</a:t>
            </a:fld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5324C08-958B-DACB-ACAA-7D1DA9ECCB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4F2EDBD-C140-EC39-B533-821B64AAE5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57F98-80B5-4566-9BB7-668220B538A5}" type="slidenum">
              <a:rPr lang="cs-CZ" smtClean="0"/>
              <a:t>‹#›</a:t>
            </a:fld>
            <a:endParaRPr lang="cs-CZ"/>
          </a:p>
        </p:txBody>
      </p:sp>
      <p:pic>
        <p:nvPicPr>
          <p:cNvPr id="7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6D26DAB7-E28E-7F0B-5CB4-8DD64E2F23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13697"/>
            <a:ext cx="647424" cy="252000"/>
          </a:xfrm>
          <a:prstGeom prst="rect">
            <a:avLst/>
          </a:prstGeom>
        </p:spPr>
      </p:pic>
      <p:pic>
        <p:nvPicPr>
          <p:cNvPr id="8" name="Logo UZIS">
            <a:extLst>
              <a:ext uri="{FF2B5EF4-FFF2-40B4-BE49-F238E27FC236}">
                <a16:creationId xmlns:a16="http://schemas.microsoft.com/office/drawing/2014/main" id="{35CFBB21-4510-75AE-FBB2-0AEE50F0BE8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607" y="6425889"/>
            <a:ext cx="411229" cy="270000"/>
          </a:xfrm>
          <a:prstGeom prst="rect">
            <a:avLst/>
          </a:prstGeom>
        </p:spPr>
      </p:pic>
      <p:cxnSp>
        <p:nvCxnSpPr>
          <p:cNvPr id="9" name="Přímá spojnice 3">
            <a:extLst>
              <a:ext uri="{FF2B5EF4-FFF2-40B4-BE49-F238E27FC236}">
                <a16:creationId xmlns:a16="http://schemas.microsoft.com/office/drawing/2014/main" id="{567AC7F0-AAFA-4CCC-EB37-788CE98CB59C}"/>
              </a:ext>
            </a:extLst>
          </p:cNvPr>
          <p:cNvCxnSpPr>
            <a:cxnSpLocks/>
          </p:cNvCxnSpPr>
          <p:nvPr userDrawn="1"/>
        </p:nvCxnSpPr>
        <p:spPr>
          <a:xfrm>
            <a:off x="1057474" y="6523200"/>
            <a:ext cx="7740000" cy="7961"/>
          </a:xfrm>
          <a:prstGeom prst="line">
            <a:avLst/>
          </a:prstGeom>
          <a:noFill/>
          <a:ln w="6350" cap="flat" cmpd="sng" algn="ctr">
            <a:solidFill>
              <a:srgbClr val="16468E"/>
            </a:solidFill>
            <a:prstDash val="solid"/>
            <a:miter lim="800000"/>
          </a:ln>
          <a:effectLst/>
        </p:spPr>
      </p:cxnSp>
      <p:sp>
        <p:nvSpPr>
          <p:cNvPr id="10" name="Obdélník 14">
            <a:extLst>
              <a:ext uri="{FF2B5EF4-FFF2-40B4-BE49-F238E27FC236}">
                <a16:creationId xmlns:a16="http://schemas.microsoft.com/office/drawing/2014/main" id="{BE97C24B-232B-1FB5-462C-6FFDB0001FA7}"/>
              </a:ext>
            </a:extLst>
          </p:cNvPr>
          <p:cNvSpPr/>
          <p:nvPr userDrawn="1"/>
        </p:nvSpPr>
        <p:spPr>
          <a:xfrm>
            <a:off x="1034040" y="6488094"/>
            <a:ext cx="77852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cký rámec rozvoje péče o zdraví v České republice do roku 2030: analytické podklady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2E5980"/>
              </a:solidFill>
              <a:effectLst/>
              <a:uLnTx/>
              <a:uFillTx/>
            </a:endParaRPr>
          </a:p>
        </p:txBody>
      </p:sp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7C4BF71A-C4A5-9233-6C2C-437F7800156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90434" y="6500472"/>
            <a:ext cx="2101765" cy="180000"/>
          </a:xfrm>
          <a:prstGeom prst="rect">
            <a:avLst/>
          </a:prstGeom>
        </p:spPr>
      </p:pic>
      <p:sp>
        <p:nvSpPr>
          <p:cNvPr id="12" name="Volný tvar 17">
            <a:extLst>
              <a:ext uri="{FF2B5EF4-FFF2-40B4-BE49-F238E27FC236}">
                <a16:creationId xmlns:a16="http://schemas.microsoft.com/office/drawing/2014/main" id="{11DA0181-0EEA-18DA-9F3D-9341DAB70D9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3" name="Volný tvar 19">
            <a:extLst>
              <a:ext uri="{FF2B5EF4-FFF2-40B4-BE49-F238E27FC236}">
                <a16:creationId xmlns:a16="http://schemas.microsoft.com/office/drawing/2014/main" id="{FB51D45B-85B8-B79B-C816-E421D99C9993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5159843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1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AC82574F-5960-89ED-D455-A5F1762965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13697"/>
            <a:ext cx="647424" cy="252000"/>
          </a:xfrm>
          <a:prstGeom prst="rect">
            <a:avLst/>
          </a:prstGeom>
        </p:spPr>
      </p:pic>
      <p:pic>
        <p:nvPicPr>
          <p:cNvPr id="15" name="Logo UZIS">
            <a:extLst>
              <a:ext uri="{FF2B5EF4-FFF2-40B4-BE49-F238E27FC236}">
                <a16:creationId xmlns:a16="http://schemas.microsoft.com/office/drawing/2014/main" id="{4F434A3F-AA7E-53BF-47CA-DC428B5A7B7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607" y="6425889"/>
            <a:ext cx="411229" cy="270000"/>
          </a:xfrm>
          <a:prstGeom prst="rect">
            <a:avLst/>
          </a:prstGeom>
        </p:spPr>
      </p:pic>
      <p:cxnSp>
        <p:nvCxnSpPr>
          <p:cNvPr id="16" name="Přímá spojnice 3">
            <a:extLst>
              <a:ext uri="{FF2B5EF4-FFF2-40B4-BE49-F238E27FC236}">
                <a16:creationId xmlns:a16="http://schemas.microsoft.com/office/drawing/2014/main" id="{CE587C3F-0ACB-4309-BFF6-25328A0439A6}"/>
              </a:ext>
            </a:extLst>
          </p:cNvPr>
          <p:cNvCxnSpPr>
            <a:cxnSpLocks/>
          </p:cNvCxnSpPr>
          <p:nvPr userDrawn="1"/>
        </p:nvCxnSpPr>
        <p:spPr>
          <a:xfrm>
            <a:off x="1057474" y="6523200"/>
            <a:ext cx="7740000" cy="7961"/>
          </a:xfrm>
          <a:prstGeom prst="line">
            <a:avLst/>
          </a:prstGeom>
          <a:noFill/>
          <a:ln w="6350" cap="flat" cmpd="sng" algn="ctr">
            <a:solidFill>
              <a:srgbClr val="16468E"/>
            </a:solidFill>
            <a:prstDash val="solid"/>
            <a:miter lim="800000"/>
          </a:ln>
          <a:effectLst/>
        </p:spPr>
      </p:cxnSp>
      <p:sp>
        <p:nvSpPr>
          <p:cNvPr id="17" name="Obdélník 14">
            <a:extLst>
              <a:ext uri="{FF2B5EF4-FFF2-40B4-BE49-F238E27FC236}">
                <a16:creationId xmlns:a16="http://schemas.microsoft.com/office/drawing/2014/main" id="{1DFC5229-D661-E774-D4B4-6583AAF250E2}"/>
              </a:ext>
            </a:extLst>
          </p:cNvPr>
          <p:cNvSpPr/>
          <p:nvPr userDrawn="1"/>
        </p:nvSpPr>
        <p:spPr>
          <a:xfrm>
            <a:off x="1034040" y="6488094"/>
            <a:ext cx="77852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cký rámec rozvoje péče o zdraví v České republice do roku 2030: analytické podklady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2E5980"/>
              </a:solidFill>
              <a:effectLst/>
              <a:uLnTx/>
              <a:uFillTx/>
            </a:endParaRPr>
          </a:p>
        </p:txBody>
      </p:sp>
      <p:pic>
        <p:nvPicPr>
          <p:cNvPr id="18" name="Grafický objekt 17">
            <a:extLst>
              <a:ext uri="{FF2B5EF4-FFF2-40B4-BE49-F238E27FC236}">
                <a16:creationId xmlns:a16="http://schemas.microsoft.com/office/drawing/2014/main" id="{9F0F90D9-06E7-A541-619D-9E798E2383C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90434" y="6500472"/>
            <a:ext cx="2101765" cy="180000"/>
          </a:xfrm>
          <a:prstGeom prst="rect">
            <a:avLst/>
          </a:prstGeom>
        </p:spPr>
      </p:pic>
      <p:sp>
        <p:nvSpPr>
          <p:cNvPr id="19" name="Volný tvar 17">
            <a:extLst>
              <a:ext uri="{FF2B5EF4-FFF2-40B4-BE49-F238E27FC236}">
                <a16:creationId xmlns:a16="http://schemas.microsoft.com/office/drawing/2014/main" id="{DF1AA1DD-DCEB-9FDF-5F9F-251DA6A5D47F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Volný tvar 19">
            <a:extLst>
              <a:ext uri="{FF2B5EF4-FFF2-40B4-BE49-F238E27FC236}">
                <a16:creationId xmlns:a16="http://schemas.microsoft.com/office/drawing/2014/main" id="{C476646C-C391-C20B-2ED6-96FFC1B18ADD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6106298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8AD176B-2666-1D4C-8134-69B00BB5DE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D88C02B1-005B-BECD-D972-CBF367A257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651A85FC-AE4C-88A7-E609-834D9057EA4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DB2DDBA-75A0-8DB1-7A5E-93732CF999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345734-1122-415C-80A2-CB7D62399CC7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4033E1F-3FE3-1B1A-2620-601449D326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14744A5-21D1-272B-E06A-F026B7626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57F98-80B5-4566-9BB7-668220B538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5893742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sp>
        <p:nvSpPr>
          <p:cNvPr id="19" name="Volný tvar 17">
            <a:extLst>
              <a:ext uri="{FF2B5EF4-FFF2-40B4-BE49-F238E27FC236}">
                <a16:creationId xmlns:a16="http://schemas.microsoft.com/office/drawing/2014/main" id="{DF1AA1DD-DCEB-9FDF-5F9F-251DA6A5D47F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Volný tvar 19">
            <a:extLst>
              <a:ext uri="{FF2B5EF4-FFF2-40B4-BE49-F238E27FC236}">
                <a16:creationId xmlns:a16="http://schemas.microsoft.com/office/drawing/2014/main" id="{C476646C-C391-C20B-2ED6-96FFC1B18ADD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3437358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226AAE3-F77C-EC68-46FE-83BB4F6AE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E44D26C-DB8E-FA5B-3825-2AE2B205FA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045B084B-81F5-998B-6CB1-58CC5032A63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BC0D694C-2F4B-F1ED-4B56-33E5DC25ADF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5694B4FC-6138-C4B0-22CD-FEF349FF6E5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686B9FBB-C6C8-2ED6-A7E3-FC7B3CFCD1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345734-1122-415C-80A2-CB7D62399CC7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38B1DB7C-8667-D2DE-9D05-F87CA7DD8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E4321110-9EF1-E366-E875-10CE0677B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57F98-80B5-4566-9BB7-668220B538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02564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83382302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4C96C99-6058-835F-53BD-00EE37EE73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92C98FF6-E7A9-7252-5558-941504BAC1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345734-1122-415C-80A2-CB7D62399CC7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39177C07-1670-24EA-EC5F-F118ABCDC6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7D591EF9-5318-002B-5065-B311BAF991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57F98-80B5-4566-9BB7-668220B538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5832645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62259958-827C-946D-DF6A-108E67A723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345734-1122-415C-80A2-CB7D62399CC7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6927243A-4375-DD7D-7899-47A0EAC9F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51195F3E-F150-ED2C-1F3E-EC55020C07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57F98-80B5-4566-9BB7-668220B538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3911890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A9BEF15-290F-E6D6-D539-02F9DB8903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C850267-5B31-8C78-79E7-B4C36ACA6F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DA0B0ACF-6243-2123-DD90-316C9AF0DFA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37FAB9A9-DF7E-2E80-2684-7B1F77A77E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345734-1122-415C-80A2-CB7D62399CC7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18649E5C-5B2A-485C-FF15-FA3AA5F790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189AB6B-4762-D390-BCBC-A91BE74889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57F98-80B5-4566-9BB7-668220B538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3358925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4F2B194-3226-5596-4C5B-3418D6A1EB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D3961FA1-4EF0-8C00-1301-0303BFADD31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B3E4D571-68BE-7894-C660-90D280D6A4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CB917E3D-4900-5CA9-DE3F-360D1FD7E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345734-1122-415C-80A2-CB7D62399CC7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38BBB5ED-0BFB-A884-B330-FD5D23F418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E39BAD6B-A962-2692-5168-5AAE2A89CD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57F98-80B5-4566-9BB7-668220B538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443640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A85BDE6-A7EF-8B83-E168-5630DE3176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691B2769-36BA-4D3E-31E9-B999E25D8F2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5F0814E-A18D-3F53-8AEA-D379A21973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345734-1122-415C-80A2-CB7D62399CC7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8B5BEB1-2E39-6CF8-BA70-E557DAB08C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8BF3BFF-29F7-9497-0E8F-A26D0BAADD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57F98-80B5-4566-9BB7-668220B538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1448168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CC34ECCB-E3D8-615C-BFB8-059FD020DDC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022CC30-A06F-FCEE-6090-259F3C18B3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FFA8745-226C-DDE9-9778-1D758F62DB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345734-1122-415C-80A2-CB7D62399CC7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833784F-9A1A-132A-2498-3E82586865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570C281-141B-71E2-19B0-B387B12071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57F98-80B5-4566-9BB7-668220B538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9140729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8770540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8359683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37359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1248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0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1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0.emf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theme" Target="../theme/theme7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19481A75-199B-4EBB-9A5D-D57D33DE5C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423ACB1-00DF-48CF-98CE-6EE660B4F9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C49A395-DE28-493C-8E2A-662C126FF2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5F0B59-3B0C-4E80-804F-3BDCDA638127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544A7D1-43DB-47F8-8256-EE5135B0BA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B66D6EC-CA84-4627-B9D7-3CAEE9331C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7751CF-5A8E-40BC-9C2E-299D3540865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98842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4" r:id="rId3"/>
    <p:sldLayoutId id="2147483656" r:id="rId4"/>
    <p:sldLayoutId id="2147483655" r:id="rId5"/>
    <p:sldLayoutId id="214748365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rgbClr val="308297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1" kern="1200">
          <a:solidFill>
            <a:srgbClr val="FF7F7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1" name="Volný tvar 17">
            <a:extLst>
              <a:ext uri="{FF2B5EF4-FFF2-40B4-BE49-F238E27FC236}">
                <a16:creationId xmlns:a16="http://schemas.microsoft.com/office/drawing/2014/main" id="{4AEDF47B-C123-947F-E36B-05B80DD8FBC9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4000"/>
          </a:p>
        </p:txBody>
      </p:sp>
      <p:sp>
        <p:nvSpPr>
          <p:cNvPr id="12" name="Volný tvar 19">
            <a:extLst>
              <a:ext uri="{FF2B5EF4-FFF2-40B4-BE49-F238E27FC236}">
                <a16:creationId xmlns:a16="http://schemas.microsoft.com/office/drawing/2014/main" id="{7A46EEFE-08DA-BFF4-9A92-2651CA7B7A98}"/>
              </a:ext>
            </a:extLst>
          </p:cNvPr>
          <p:cNvSpPr/>
          <p:nvPr userDrawn="1"/>
        </p:nvSpPr>
        <p:spPr>
          <a:xfrm>
            <a:off x="10158898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4000"/>
          </a:p>
        </p:txBody>
      </p:sp>
      <p:pic>
        <p:nvPicPr>
          <p:cNvPr id="15" name="Logo UZIS">
            <a:extLst>
              <a:ext uri="{FF2B5EF4-FFF2-40B4-BE49-F238E27FC236}">
                <a16:creationId xmlns:a16="http://schemas.microsoft.com/office/drawing/2014/main" id="{2052BA40-2BDD-9D1F-C691-4A8780189EF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36456" y="6404034"/>
            <a:ext cx="503419" cy="330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081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124D1CE7-99A5-59D1-D71F-50454BF44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BB025E9-7E49-1131-B8B0-7EE150AE78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47E6E07-5EF3-BB08-9FD6-BF5F979515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BF43EB-2E3E-4643-B8B9-DA9E5C8705F0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A7-8695-DF37-F06E-6B04D8ECCC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765AB07-76F8-C621-B064-9A3DC6E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883482-ADB2-404D-AAFB-407D1911DBE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04697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124D1CE7-99A5-59D1-D71F-50454BF44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BB025E9-7E49-1131-B8B0-7EE150AE78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47E6E07-5EF3-BB08-9FD6-BF5F979515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BF43EB-2E3E-4643-B8B9-DA9E5C8705F0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A7-8695-DF37-F06E-6B04D8ECCC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765AB07-76F8-C621-B064-9A3DC6E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883482-ADB2-404D-AAFB-407D1911DBE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81311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1" name="Volný tvar 17">
            <a:extLst>
              <a:ext uri="{FF2B5EF4-FFF2-40B4-BE49-F238E27FC236}">
                <a16:creationId xmlns:a16="http://schemas.microsoft.com/office/drawing/2014/main" id="{4AEDF47B-C123-947F-E36B-05B80DD8FBC9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4000"/>
          </a:p>
        </p:txBody>
      </p:sp>
      <p:sp>
        <p:nvSpPr>
          <p:cNvPr id="12" name="Volný tvar 19">
            <a:extLst>
              <a:ext uri="{FF2B5EF4-FFF2-40B4-BE49-F238E27FC236}">
                <a16:creationId xmlns:a16="http://schemas.microsoft.com/office/drawing/2014/main" id="{7A46EEFE-08DA-BFF4-9A92-2651CA7B7A98}"/>
              </a:ext>
            </a:extLst>
          </p:cNvPr>
          <p:cNvSpPr/>
          <p:nvPr userDrawn="1"/>
        </p:nvSpPr>
        <p:spPr>
          <a:xfrm>
            <a:off x="10158898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4000"/>
          </a:p>
        </p:txBody>
      </p:sp>
      <p:pic>
        <p:nvPicPr>
          <p:cNvPr id="15" name="Logo UZIS">
            <a:extLst>
              <a:ext uri="{FF2B5EF4-FFF2-40B4-BE49-F238E27FC236}">
                <a16:creationId xmlns:a16="http://schemas.microsoft.com/office/drawing/2014/main" id="{2052BA40-2BDD-9D1F-C691-4A8780189EF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36456" y="6404034"/>
            <a:ext cx="503419" cy="330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4539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EB15A3EF-A299-BA0E-19DA-ED455E7DD3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2B612F5-8742-0A7C-6D59-194F98613C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DF1FE31-5212-CD14-3EEF-E3516102DC7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B19F92-11CF-432F-9B44-6C1423AAF526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3B58267-9E00-C955-CB71-D49C84C276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09A0BB1-51CE-B565-480E-C939E60F58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F7895D-EBDE-4B63-9F0C-B9E48583380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46959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7535631C-4CDD-42C2-A7AD-9AA51AFBB8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0010DE45-F4C7-4C3F-B3D7-F5ED14ED00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18A5DE6-F4CE-43D4-9B38-F7564481CD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3550C1-90E3-48F0-81D4-692D92D9D800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9B68E6B-3635-4F98-86A1-C42C823AD9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ADC5EA2-659F-491D-ACEB-F665442B1D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61164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  <p:sldLayoutId id="2147483708" r:id="rId24"/>
    <p:sldLayoutId id="2147483709" r:id="rId25"/>
    <p:sldLayoutId id="2147483710" r:id="rId26"/>
    <p:sldLayoutId id="2147483711" r:id="rId2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4CBD84A8-2E77-76CA-FC78-9478C2963C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2BD5C160-FC39-FCA6-4123-28F4ACC9B0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07B523-506C-26AA-35D0-F1927688DF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345734-1122-415C-80A2-CB7D62399CC7}" type="datetimeFigureOut">
              <a:rPr lang="cs-CZ" smtClean="0"/>
              <a:t>30.10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A724B0D-D2F4-50E9-8BC8-B20065527B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3A9555C-86E4-B7DF-5A8B-81061549A9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C57F98-80B5-4566-9BB7-668220B538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26230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0.xml.rels><?xml version="1.0" encoding="UTF-8" standalone="yes"?>
<Relationships xmlns="http://schemas.openxmlformats.org/package/2006/relationships"><Relationship Id="rId8" Type="http://schemas.openxmlformats.org/officeDocument/2006/relationships/tags" Target="../tags/tag485.xml"/><Relationship Id="rId3" Type="http://schemas.openxmlformats.org/officeDocument/2006/relationships/tags" Target="../tags/tag480.xml"/><Relationship Id="rId7" Type="http://schemas.openxmlformats.org/officeDocument/2006/relationships/tags" Target="../tags/tag484.xml"/><Relationship Id="rId2" Type="http://schemas.openxmlformats.org/officeDocument/2006/relationships/tags" Target="../tags/tag479.xml"/><Relationship Id="rId1" Type="http://schemas.openxmlformats.org/officeDocument/2006/relationships/tags" Target="../tags/tag478.xml"/><Relationship Id="rId6" Type="http://schemas.openxmlformats.org/officeDocument/2006/relationships/tags" Target="../tags/tag483.xml"/><Relationship Id="rId5" Type="http://schemas.openxmlformats.org/officeDocument/2006/relationships/tags" Target="../tags/tag482.xml"/><Relationship Id="rId10" Type="http://schemas.openxmlformats.org/officeDocument/2006/relationships/chart" Target="../charts/chart99.xml"/><Relationship Id="rId4" Type="http://schemas.openxmlformats.org/officeDocument/2006/relationships/tags" Target="../tags/tag481.xml"/><Relationship Id="rId9" Type="http://schemas.openxmlformats.org/officeDocument/2006/relationships/slideLayout" Target="../slideLayouts/slideLayout3.xml"/></Relationships>
</file>

<file path=ppt/slides/_rels/slide101.xml.rels><?xml version="1.0" encoding="UTF-8" standalone="yes"?>
<Relationships xmlns="http://schemas.openxmlformats.org/package/2006/relationships"><Relationship Id="rId8" Type="http://schemas.openxmlformats.org/officeDocument/2006/relationships/tags" Target="../tags/tag493.xml"/><Relationship Id="rId3" Type="http://schemas.openxmlformats.org/officeDocument/2006/relationships/tags" Target="../tags/tag488.xml"/><Relationship Id="rId7" Type="http://schemas.openxmlformats.org/officeDocument/2006/relationships/tags" Target="../tags/tag492.xml"/><Relationship Id="rId2" Type="http://schemas.openxmlformats.org/officeDocument/2006/relationships/tags" Target="../tags/tag487.xml"/><Relationship Id="rId1" Type="http://schemas.openxmlformats.org/officeDocument/2006/relationships/tags" Target="../tags/tag486.xml"/><Relationship Id="rId6" Type="http://schemas.openxmlformats.org/officeDocument/2006/relationships/tags" Target="../tags/tag491.xml"/><Relationship Id="rId11" Type="http://schemas.openxmlformats.org/officeDocument/2006/relationships/chart" Target="../charts/chart100.xml"/><Relationship Id="rId5" Type="http://schemas.openxmlformats.org/officeDocument/2006/relationships/tags" Target="../tags/tag490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89.xml"/><Relationship Id="rId9" Type="http://schemas.openxmlformats.org/officeDocument/2006/relationships/tags" Target="../tags/tag494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sv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6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13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19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chart" Target="../charts/chart2.xml"/><Relationship Id="rId5" Type="http://schemas.openxmlformats.org/officeDocument/2006/relationships/tags" Target="../tags/tag27.xml"/><Relationship Id="rId10" Type="http://schemas.openxmlformats.org/officeDocument/2006/relationships/chart" Target="../charts/chart1.xml"/><Relationship Id="rId4" Type="http://schemas.openxmlformats.org/officeDocument/2006/relationships/tags" Target="../tags/tag26.xml"/><Relationship Id="rId9" Type="http://schemas.openxmlformats.org/officeDocument/2006/relationships/notesSlide" Target="../notesSlides/notesSlide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chart" Target="../charts/chart4.xml"/><Relationship Id="rId5" Type="http://schemas.openxmlformats.org/officeDocument/2006/relationships/tags" Target="../tags/tag34.xml"/><Relationship Id="rId10" Type="http://schemas.openxmlformats.org/officeDocument/2006/relationships/chart" Target="../charts/chart3.xml"/><Relationship Id="rId4" Type="http://schemas.openxmlformats.org/officeDocument/2006/relationships/tags" Target="../tags/tag33.xml"/><Relationship Id="rId9" Type="http://schemas.openxmlformats.org/officeDocument/2006/relationships/notesSlide" Target="../notesSlides/notesSlide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11" Type="http://schemas.openxmlformats.org/officeDocument/2006/relationships/chart" Target="../charts/chart6.xml"/><Relationship Id="rId5" Type="http://schemas.openxmlformats.org/officeDocument/2006/relationships/tags" Target="../tags/tag41.xml"/><Relationship Id="rId10" Type="http://schemas.openxmlformats.org/officeDocument/2006/relationships/chart" Target="../charts/chart5.xml"/><Relationship Id="rId4" Type="http://schemas.openxmlformats.org/officeDocument/2006/relationships/tags" Target="../tags/tag40.xml"/><Relationship Id="rId9" Type="http://schemas.openxmlformats.org/officeDocument/2006/relationships/notesSlide" Target="../notesSlides/notesSlide6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chart" Target="../charts/chart8.xml"/><Relationship Id="rId5" Type="http://schemas.openxmlformats.org/officeDocument/2006/relationships/tags" Target="../tags/tag48.xml"/><Relationship Id="rId10" Type="http://schemas.openxmlformats.org/officeDocument/2006/relationships/chart" Target="../charts/chart7.xml"/><Relationship Id="rId4" Type="http://schemas.openxmlformats.org/officeDocument/2006/relationships/tags" Target="../tags/tag47.xml"/><Relationship Id="rId9" Type="http://schemas.openxmlformats.org/officeDocument/2006/relationships/notesSlide" Target="../notesSlides/notesSlide7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chart" Target="../charts/chart10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chart" Target="../charts/chart9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11" Type="http://schemas.openxmlformats.org/officeDocument/2006/relationships/notesSlide" Target="../notesSlides/notesSlide8.xml"/><Relationship Id="rId5" Type="http://schemas.openxmlformats.org/officeDocument/2006/relationships/tags" Target="../tags/tag55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chart" Target="../charts/chart11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chart" Target="../charts/chart14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chart" Target="../charts/chart13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chart" Target="../charts/chart12.xml"/><Relationship Id="rId5" Type="http://schemas.openxmlformats.org/officeDocument/2006/relationships/tags" Target="../tags/tag64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3.xml"/><Relationship Id="rId9" Type="http://schemas.openxmlformats.org/officeDocument/2006/relationships/tags" Target="../tags/tag68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18" Type="http://schemas.openxmlformats.org/officeDocument/2006/relationships/tags" Target="../tags/tag86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tags" Target="../tags/tag85.xml"/><Relationship Id="rId2" Type="http://schemas.openxmlformats.org/officeDocument/2006/relationships/tags" Target="../tags/tag70.xml"/><Relationship Id="rId16" Type="http://schemas.openxmlformats.org/officeDocument/2006/relationships/tags" Target="../tags/tag84.xml"/><Relationship Id="rId20" Type="http://schemas.openxmlformats.org/officeDocument/2006/relationships/notesSlide" Target="../notesSlides/notesSlide9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tags" Target="../tags/tag83.xml"/><Relationship Id="rId10" Type="http://schemas.openxmlformats.org/officeDocument/2006/relationships/tags" Target="../tags/tag78.xml"/><Relationship Id="rId19" Type="http://schemas.openxmlformats.org/officeDocument/2006/relationships/slideLayout" Target="../slideLayouts/slideLayout3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tags" Target="../tags/tag99.xml"/><Relationship Id="rId18" Type="http://schemas.openxmlformats.org/officeDocument/2006/relationships/slideLayout" Target="../slideLayouts/slideLayout3.xml"/><Relationship Id="rId3" Type="http://schemas.openxmlformats.org/officeDocument/2006/relationships/tags" Target="../tags/tag89.xml"/><Relationship Id="rId21" Type="http://schemas.openxmlformats.org/officeDocument/2006/relationships/chart" Target="../charts/chart16.xml"/><Relationship Id="rId7" Type="http://schemas.openxmlformats.org/officeDocument/2006/relationships/tags" Target="../tags/tag93.xml"/><Relationship Id="rId12" Type="http://schemas.openxmlformats.org/officeDocument/2006/relationships/tags" Target="../tags/tag98.xml"/><Relationship Id="rId17" Type="http://schemas.openxmlformats.org/officeDocument/2006/relationships/tags" Target="../tags/tag103.xml"/><Relationship Id="rId2" Type="http://schemas.openxmlformats.org/officeDocument/2006/relationships/tags" Target="../tags/tag88.xml"/><Relationship Id="rId16" Type="http://schemas.openxmlformats.org/officeDocument/2006/relationships/tags" Target="../tags/tag102.xml"/><Relationship Id="rId20" Type="http://schemas.openxmlformats.org/officeDocument/2006/relationships/chart" Target="../charts/chart15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11" Type="http://schemas.openxmlformats.org/officeDocument/2006/relationships/tags" Target="../tags/tag97.xml"/><Relationship Id="rId24" Type="http://schemas.openxmlformats.org/officeDocument/2006/relationships/chart" Target="../charts/chart19.xml"/><Relationship Id="rId5" Type="http://schemas.openxmlformats.org/officeDocument/2006/relationships/tags" Target="../tags/tag91.xml"/><Relationship Id="rId15" Type="http://schemas.openxmlformats.org/officeDocument/2006/relationships/tags" Target="../tags/tag101.xml"/><Relationship Id="rId23" Type="http://schemas.openxmlformats.org/officeDocument/2006/relationships/chart" Target="../charts/chart18.xml"/><Relationship Id="rId10" Type="http://schemas.openxmlformats.org/officeDocument/2006/relationships/tags" Target="../tags/tag96.xml"/><Relationship Id="rId19" Type="http://schemas.openxmlformats.org/officeDocument/2006/relationships/notesSlide" Target="../notesSlides/notesSlide10.xml"/><Relationship Id="rId4" Type="http://schemas.openxmlformats.org/officeDocument/2006/relationships/tags" Target="../tags/tag90.xml"/><Relationship Id="rId9" Type="http://schemas.openxmlformats.org/officeDocument/2006/relationships/tags" Target="../tags/tag95.xml"/><Relationship Id="rId14" Type="http://schemas.openxmlformats.org/officeDocument/2006/relationships/tags" Target="../tags/tag100.xml"/><Relationship Id="rId22" Type="http://schemas.openxmlformats.org/officeDocument/2006/relationships/chart" Target="../charts/chart17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tags" Target="../tags/tag116.xml"/><Relationship Id="rId18" Type="http://schemas.openxmlformats.org/officeDocument/2006/relationships/tags" Target="../tags/tag121.xml"/><Relationship Id="rId26" Type="http://schemas.openxmlformats.org/officeDocument/2006/relationships/chart" Target="../charts/chart23.xml"/><Relationship Id="rId3" Type="http://schemas.openxmlformats.org/officeDocument/2006/relationships/tags" Target="../tags/tag106.xml"/><Relationship Id="rId21" Type="http://schemas.openxmlformats.org/officeDocument/2006/relationships/slideLayout" Target="../slideLayouts/slideLayout3.xml"/><Relationship Id="rId7" Type="http://schemas.openxmlformats.org/officeDocument/2006/relationships/tags" Target="../tags/tag110.xml"/><Relationship Id="rId12" Type="http://schemas.openxmlformats.org/officeDocument/2006/relationships/tags" Target="../tags/tag115.xml"/><Relationship Id="rId17" Type="http://schemas.openxmlformats.org/officeDocument/2006/relationships/tags" Target="../tags/tag120.xml"/><Relationship Id="rId25" Type="http://schemas.openxmlformats.org/officeDocument/2006/relationships/chart" Target="../charts/chart22.xml"/><Relationship Id="rId2" Type="http://schemas.openxmlformats.org/officeDocument/2006/relationships/tags" Target="../tags/tag105.xml"/><Relationship Id="rId16" Type="http://schemas.openxmlformats.org/officeDocument/2006/relationships/tags" Target="../tags/tag119.xml"/><Relationship Id="rId20" Type="http://schemas.openxmlformats.org/officeDocument/2006/relationships/tags" Target="../tags/tag123.xml"/><Relationship Id="rId1" Type="http://schemas.openxmlformats.org/officeDocument/2006/relationships/tags" Target="../tags/tag104.xml"/><Relationship Id="rId6" Type="http://schemas.openxmlformats.org/officeDocument/2006/relationships/tags" Target="../tags/tag109.xml"/><Relationship Id="rId11" Type="http://schemas.openxmlformats.org/officeDocument/2006/relationships/tags" Target="../tags/tag114.xml"/><Relationship Id="rId24" Type="http://schemas.openxmlformats.org/officeDocument/2006/relationships/chart" Target="../charts/chart21.xml"/><Relationship Id="rId5" Type="http://schemas.openxmlformats.org/officeDocument/2006/relationships/tags" Target="../tags/tag108.xml"/><Relationship Id="rId15" Type="http://schemas.openxmlformats.org/officeDocument/2006/relationships/tags" Target="../tags/tag118.xml"/><Relationship Id="rId23" Type="http://schemas.openxmlformats.org/officeDocument/2006/relationships/chart" Target="../charts/chart20.xml"/><Relationship Id="rId28" Type="http://schemas.openxmlformats.org/officeDocument/2006/relationships/chart" Target="../charts/chart25.xml"/><Relationship Id="rId10" Type="http://schemas.openxmlformats.org/officeDocument/2006/relationships/tags" Target="../tags/tag113.xml"/><Relationship Id="rId19" Type="http://schemas.openxmlformats.org/officeDocument/2006/relationships/tags" Target="../tags/tag122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tags" Target="../tags/tag117.xml"/><Relationship Id="rId22" Type="http://schemas.openxmlformats.org/officeDocument/2006/relationships/notesSlide" Target="../notesSlides/notesSlide11.xml"/><Relationship Id="rId27" Type="http://schemas.openxmlformats.org/officeDocument/2006/relationships/chart" Target="../charts/chart24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131.xml"/><Relationship Id="rId13" Type="http://schemas.openxmlformats.org/officeDocument/2006/relationships/tags" Target="../tags/tag136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12" Type="http://schemas.openxmlformats.org/officeDocument/2006/relationships/tags" Target="../tags/tag135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11" Type="http://schemas.openxmlformats.org/officeDocument/2006/relationships/tags" Target="../tags/tag134.xml"/><Relationship Id="rId5" Type="http://schemas.openxmlformats.org/officeDocument/2006/relationships/tags" Target="../tags/tag128.xml"/><Relationship Id="rId15" Type="http://schemas.openxmlformats.org/officeDocument/2006/relationships/notesSlide" Target="../notesSlides/notesSlide12.xml"/><Relationship Id="rId10" Type="http://schemas.openxmlformats.org/officeDocument/2006/relationships/tags" Target="../tags/tag133.xml"/><Relationship Id="rId4" Type="http://schemas.openxmlformats.org/officeDocument/2006/relationships/tags" Target="../tags/tag127.xml"/><Relationship Id="rId9" Type="http://schemas.openxmlformats.org/officeDocument/2006/relationships/tags" Target="../tags/tag132.xml"/><Relationship Id="rId14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13" Type="http://schemas.openxmlformats.org/officeDocument/2006/relationships/tags" Target="../tags/tag149.xml"/><Relationship Id="rId18" Type="http://schemas.openxmlformats.org/officeDocument/2006/relationships/notesSlide" Target="../notesSlides/notesSlide13.xml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12" Type="http://schemas.openxmlformats.org/officeDocument/2006/relationships/tags" Target="../tags/tag148.xml"/><Relationship Id="rId17" Type="http://schemas.openxmlformats.org/officeDocument/2006/relationships/slideLayout" Target="../slideLayouts/slideLayout3.xml"/><Relationship Id="rId2" Type="http://schemas.openxmlformats.org/officeDocument/2006/relationships/tags" Target="../tags/tag138.xml"/><Relationship Id="rId16" Type="http://schemas.openxmlformats.org/officeDocument/2006/relationships/tags" Target="../tags/tag152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tags" Target="../tags/tag147.xml"/><Relationship Id="rId5" Type="http://schemas.openxmlformats.org/officeDocument/2006/relationships/tags" Target="../tags/tag141.xml"/><Relationship Id="rId15" Type="http://schemas.openxmlformats.org/officeDocument/2006/relationships/tags" Target="../tags/tag151.xml"/><Relationship Id="rId10" Type="http://schemas.openxmlformats.org/officeDocument/2006/relationships/tags" Target="../tags/tag146.xml"/><Relationship Id="rId4" Type="http://schemas.openxmlformats.org/officeDocument/2006/relationships/tags" Target="../tags/tag140.xml"/><Relationship Id="rId9" Type="http://schemas.openxmlformats.org/officeDocument/2006/relationships/tags" Target="../tags/tag145.xml"/><Relationship Id="rId14" Type="http://schemas.openxmlformats.org/officeDocument/2006/relationships/tags" Target="../tags/tag150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7.jpeg"/><Relationship Id="rId5" Type="http://schemas.openxmlformats.org/officeDocument/2006/relationships/image" Target="../media/image36.png"/><Relationship Id="rId4" Type="http://schemas.openxmlformats.org/officeDocument/2006/relationships/image" Target="../media/image35.jpe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155.xml"/><Relationship Id="rId7" Type="http://schemas.openxmlformats.org/officeDocument/2006/relationships/tags" Target="../tags/tag159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tags" Target="../tags/tag158.xml"/><Relationship Id="rId11" Type="http://schemas.openxmlformats.org/officeDocument/2006/relationships/chart" Target="../charts/chart27.xml"/><Relationship Id="rId5" Type="http://schemas.openxmlformats.org/officeDocument/2006/relationships/tags" Target="../tags/tag157.xml"/><Relationship Id="rId10" Type="http://schemas.openxmlformats.org/officeDocument/2006/relationships/chart" Target="../charts/chart26.xml"/><Relationship Id="rId4" Type="http://schemas.openxmlformats.org/officeDocument/2006/relationships/tags" Target="../tags/tag156.xml"/><Relationship Id="rId9" Type="http://schemas.openxmlformats.org/officeDocument/2006/relationships/notesSlide" Target="../notesSlides/notesSlide14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166.xml"/><Relationship Id="rId3" Type="http://schemas.openxmlformats.org/officeDocument/2006/relationships/tags" Target="../tags/tag161.xml"/><Relationship Id="rId7" Type="http://schemas.openxmlformats.org/officeDocument/2006/relationships/tags" Target="../tags/tag165.xml"/><Relationship Id="rId12" Type="http://schemas.openxmlformats.org/officeDocument/2006/relationships/chart" Target="../charts/chart29.xml"/><Relationship Id="rId2" Type="http://schemas.openxmlformats.org/officeDocument/2006/relationships/tags" Target="../tags/tag160.xml"/><Relationship Id="rId1" Type="http://schemas.openxmlformats.org/officeDocument/2006/relationships/themeOverride" Target="../theme/themeOverride6.xml"/><Relationship Id="rId6" Type="http://schemas.openxmlformats.org/officeDocument/2006/relationships/tags" Target="../tags/tag164.xml"/><Relationship Id="rId11" Type="http://schemas.openxmlformats.org/officeDocument/2006/relationships/chart" Target="../charts/chart28.xml"/><Relationship Id="rId5" Type="http://schemas.openxmlformats.org/officeDocument/2006/relationships/tags" Target="../tags/tag163.xml"/><Relationship Id="rId10" Type="http://schemas.openxmlformats.org/officeDocument/2006/relationships/notesSlide" Target="../notesSlides/notesSlide15.xml"/><Relationship Id="rId4" Type="http://schemas.openxmlformats.org/officeDocument/2006/relationships/tags" Target="../tags/tag162.xml"/><Relationship Id="rId9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169.xml"/><Relationship Id="rId7" Type="http://schemas.openxmlformats.org/officeDocument/2006/relationships/tags" Target="../tags/tag173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tags" Target="../tags/tag172.xml"/><Relationship Id="rId11" Type="http://schemas.openxmlformats.org/officeDocument/2006/relationships/chart" Target="../charts/chart31.xml"/><Relationship Id="rId5" Type="http://schemas.openxmlformats.org/officeDocument/2006/relationships/tags" Target="../tags/tag171.xml"/><Relationship Id="rId10" Type="http://schemas.openxmlformats.org/officeDocument/2006/relationships/chart" Target="../charts/chart30.xml"/><Relationship Id="rId4" Type="http://schemas.openxmlformats.org/officeDocument/2006/relationships/tags" Target="../tags/tag170.xml"/><Relationship Id="rId9" Type="http://schemas.openxmlformats.org/officeDocument/2006/relationships/notesSlide" Target="../notesSlides/notesSlide16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176.xml"/><Relationship Id="rId7" Type="http://schemas.openxmlformats.org/officeDocument/2006/relationships/tags" Target="../tags/tag180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tags" Target="../tags/tag179.xml"/><Relationship Id="rId11" Type="http://schemas.openxmlformats.org/officeDocument/2006/relationships/chart" Target="../charts/chart33.xml"/><Relationship Id="rId5" Type="http://schemas.openxmlformats.org/officeDocument/2006/relationships/tags" Target="../tags/tag178.xml"/><Relationship Id="rId10" Type="http://schemas.openxmlformats.org/officeDocument/2006/relationships/chart" Target="../charts/chart32.xml"/><Relationship Id="rId4" Type="http://schemas.openxmlformats.org/officeDocument/2006/relationships/tags" Target="../tags/tag177.xml"/><Relationship Id="rId9" Type="http://schemas.openxmlformats.org/officeDocument/2006/relationships/notesSlide" Target="../notesSlides/notesSlide17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183.xml"/><Relationship Id="rId7" Type="http://schemas.openxmlformats.org/officeDocument/2006/relationships/tags" Target="../tags/tag187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6" Type="http://schemas.openxmlformats.org/officeDocument/2006/relationships/tags" Target="../tags/tag186.xml"/><Relationship Id="rId11" Type="http://schemas.openxmlformats.org/officeDocument/2006/relationships/chart" Target="../charts/chart35.xml"/><Relationship Id="rId5" Type="http://schemas.openxmlformats.org/officeDocument/2006/relationships/tags" Target="../tags/tag185.xml"/><Relationship Id="rId10" Type="http://schemas.openxmlformats.org/officeDocument/2006/relationships/chart" Target="../charts/chart34.xml"/><Relationship Id="rId4" Type="http://schemas.openxmlformats.org/officeDocument/2006/relationships/tags" Target="../tags/tag184.xml"/><Relationship Id="rId9" Type="http://schemas.openxmlformats.org/officeDocument/2006/relationships/notesSlide" Target="../notesSlides/notesSlide18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190.xml"/><Relationship Id="rId7" Type="http://schemas.openxmlformats.org/officeDocument/2006/relationships/tags" Target="../tags/tag194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tags" Target="../tags/tag193.xml"/><Relationship Id="rId11" Type="http://schemas.openxmlformats.org/officeDocument/2006/relationships/chart" Target="../charts/chart37.xml"/><Relationship Id="rId5" Type="http://schemas.openxmlformats.org/officeDocument/2006/relationships/tags" Target="../tags/tag192.xml"/><Relationship Id="rId10" Type="http://schemas.openxmlformats.org/officeDocument/2006/relationships/chart" Target="../charts/chart36.xml"/><Relationship Id="rId4" Type="http://schemas.openxmlformats.org/officeDocument/2006/relationships/tags" Target="../tags/tag191.xml"/><Relationship Id="rId9" Type="http://schemas.openxmlformats.org/officeDocument/2006/relationships/notesSlide" Target="../notesSlides/notesSlide19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202.xml"/><Relationship Id="rId13" Type="http://schemas.openxmlformats.org/officeDocument/2006/relationships/tags" Target="../tags/tag207.xml"/><Relationship Id="rId18" Type="http://schemas.openxmlformats.org/officeDocument/2006/relationships/hyperlink" Target="https://www.czso.cz/csu/czso/projekce-obyvatelstva-v-krajich-cr-do-roku-2070" TargetMode="External"/><Relationship Id="rId3" Type="http://schemas.openxmlformats.org/officeDocument/2006/relationships/tags" Target="../tags/tag197.xml"/><Relationship Id="rId7" Type="http://schemas.openxmlformats.org/officeDocument/2006/relationships/tags" Target="../tags/tag201.xml"/><Relationship Id="rId12" Type="http://schemas.openxmlformats.org/officeDocument/2006/relationships/tags" Target="../tags/tag206.xml"/><Relationship Id="rId17" Type="http://schemas.openxmlformats.org/officeDocument/2006/relationships/hyperlink" Target="https://www.czso.cz/csu/czso/projekce-obyvatelstva-ceske-republiky-2023-2100" TargetMode="External"/><Relationship Id="rId2" Type="http://schemas.openxmlformats.org/officeDocument/2006/relationships/tags" Target="../tags/tag196.xml"/><Relationship Id="rId16" Type="http://schemas.openxmlformats.org/officeDocument/2006/relationships/chart" Target="../charts/chart38.xml"/><Relationship Id="rId1" Type="http://schemas.openxmlformats.org/officeDocument/2006/relationships/tags" Target="../tags/tag195.xml"/><Relationship Id="rId6" Type="http://schemas.openxmlformats.org/officeDocument/2006/relationships/tags" Target="../tags/tag200.xml"/><Relationship Id="rId11" Type="http://schemas.openxmlformats.org/officeDocument/2006/relationships/tags" Target="../tags/tag205.xml"/><Relationship Id="rId5" Type="http://schemas.openxmlformats.org/officeDocument/2006/relationships/tags" Target="../tags/tag199.xml"/><Relationship Id="rId15" Type="http://schemas.openxmlformats.org/officeDocument/2006/relationships/notesSlide" Target="../notesSlides/notesSlide20.xml"/><Relationship Id="rId10" Type="http://schemas.openxmlformats.org/officeDocument/2006/relationships/tags" Target="../tags/tag204.xml"/><Relationship Id="rId4" Type="http://schemas.openxmlformats.org/officeDocument/2006/relationships/tags" Target="../tags/tag198.xml"/><Relationship Id="rId9" Type="http://schemas.openxmlformats.org/officeDocument/2006/relationships/tags" Target="../tags/tag203.xml"/><Relationship Id="rId14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210.xml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212.xml"/><Relationship Id="rId4" Type="http://schemas.openxmlformats.org/officeDocument/2006/relationships/tags" Target="../tags/tag2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4.png"/><Relationship Id="rId4" Type="http://schemas.openxmlformats.org/officeDocument/2006/relationships/image" Target="../media/image33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hyperlink" Target="https://csu.gov.cz/pha/casove_rady_lide__time_series_people" TargetMode="External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6" Type="http://schemas.openxmlformats.org/officeDocument/2006/relationships/hyperlink" Target="https://csu.gov.cz/produkty/projekce-obyvatelstva-v-krajich-cr-do-roku-2070#:~:text=Popula%C4%8Dn%C3%AD%20v%C3%BDvoj%20v%C5%A1ech%20%C4%8Dtrn%C3%A1cti%20kraj%C5%AF%20bude%20v%20n%C3%A1sleduj%C3%ADc%C3%ADch%20desetilet%C3%ADch%20ve" TargetMode="External"/><Relationship Id="rId5" Type="http://schemas.openxmlformats.org/officeDocument/2006/relationships/chart" Target="../charts/chart39.xml"/><Relationship Id="rId4" Type="http://schemas.openxmlformats.org/officeDocument/2006/relationships/notesSlide" Target="../notesSlides/notesSlide2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21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tags" Target="../tags/tag221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222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11" Type="http://schemas.openxmlformats.org/officeDocument/2006/relationships/chart" Target="../charts/chart41.xml"/><Relationship Id="rId5" Type="http://schemas.openxmlformats.org/officeDocument/2006/relationships/tags" Target="../tags/tag227.xml"/><Relationship Id="rId10" Type="http://schemas.openxmlformats.org/officeDocument/2006/relationships/chart" Target="../charts/chart40.xml"/><Relationship Id="rId4" Type="http://schemas.openxmlformats.org/officeDocument/2006/relationships/tags" Target="../tags/tag226.xml"/><Relationship Id="rId9" Type="http://schemas.openxmlformats.org/officeDocument/2006/relationships/notesSlide" Target="../notesSlides/notesSlide22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232.xml"/><Relationship Id="rId7" Type="http://schemas.openxmlformats.org/officeDocument/2006/relationships/tags" Target="../tags/tag236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tags" Target="../tags/tag235.xml"/><Relationship Id="rId11" Type="http://schemas.openxmlformats.org/officeDocument/2006/relationships/chart" Target="../charts/chart43.xml"/><Relationship Id="rId5" Type="http://schemas.openxmlformats.org/officeDocument/2006/relationships/tags" Target="../tags/tag234.xml"/><Relationship Id="rId10" Type="http://schemas.openxmlformats.org/officeDocument/2006/relationships/chart" Target="../charts/chart42.xml"/><Relationship Id="rId4" Type="http://schemas.openxmlformats.org/officeDocument/2006/relationships/tags" Target="../tags/tag233.xml"/><Relationship Id="rId9" Type="http://schemas.openxmlformats.org/officeDocument/2006/relationships/notesSlide" Target="../notesSlides/notesSlide2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tags" Target="../tags/tag244.xml"/><Relationship Id="rId13" Type="http://schemas.openxmlformats.org/officeDocument/2006/relationships/chart" Target="../charts/chart45.xml"/><Relationship Id="rId3" Type="http://schemas.openxmlformats.org/officeDocument/2006/relationships/tags" Target="../tags/tag239.xml"/><Relationship Id="rId7" Type="http://schemas.openxmlformats.org/officeDocument/2006/relationships/tags" Target="../tags/tag243.xml"/><Relationship Id="rId12" Type="http://schemas.openxmlformats.org/officeDocument/2006/relationships/chart" Target="../charts/chart44.xml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6" Type="http://schemas.openxmlformats.org/officeDocument/2006/relationships/tags" Target="../tags/tag242.xml"/><Relationship Id="rId11" Type="http://schemas.openxmlformats.org/officeDocument/2006/relationships/notesSlide" Target="../notesSlides/notesSlide24.xml"/><Relationship Id="rId5" Type="http://schemas.openxmlformats.org/officeDocument/2006/relationships/tags" Target="../tags/tag241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240.xml"/><Relationship Id="rId9" Type="http://schemas.openxmlformats.org/officeDocument/2006/relationships/tags" Target="../tags/tag245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tags" Target="../tags/tag253.xml"/><Relationship Id="rId13" Type="http://schemas.openxmlformats.org/officeDocument/2006/relationships/chart" Target="../charts/chart47.xml"/><Relationship Id="rId3" Type="http://schemas.openxmlformats.org/officeDocument/2006/relationships/tags" Target="../tags/tag248.xml"/><Relationship Id="rId7" Type="http://schemas.openxmlformats.org/officeDocument/2006/relationships/tags" Target="../tags/tag252.xml"/><Relationship Id="rId12" Type="http://schemas.openxmlformats.org/officeDocument/2006/relationships/chart" Target="../charts/chart46.xml"/><Relationship Id="rId2" Type="http://schemas.openxmlformats.org/officeDocument/2006/relationships/tags" Target="../tags/tag247.xml"/><Relationship Id="rId1" Type="http://schemas.openxmlformats.org/officeDocument/2006/relationships/tags" Target="../tags/tag246.xml"/><Relationship Id="rId6" Type="http://schemas.openxmlformats.org/officeDocument/2006/relationships/tags" Target="../tags/tag251.xml"/><Relationship Id="rId11" Type="http://schemas.openxmlformats.org/officeDocument/2006/relationships/notesSlide" Target="../notesSlides/notesSlide25.xml"/><Relationship Id="rId5" Type="http://schemas.openxmlformats.org/officeDocument/2006/relationships/tags" Target="../tags/tag250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249.xml"/><Relationship Id="rId9" Type="http://schemas.openxmlformats.org/officeDocument/2006/relationships/tags" Target="../tags/tag254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tags" Target="../tags/tag257.xml"/><Relationship Id="rId2" Type="http://schemas.openxmlformats.org/officeDocument/2006/relationships/tags" Target="../tags/tag256.xml"/><Relationship Id="rId1" Type="http://schemas.openxmlformats.org/officeDocument/2006/relationships/tags" Target="../tags/tag255.xml"/><Relationship Id="rId4" Type="http://schemas.openxmlformats.org/officeDocument/2006/relationships/slideLayout" Target="../slideLayouts/slideLayout46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tags" Target="../tags/tag260.xml"/><Relationship Id="rId2" Type="http://schemas.openxmlformats.org/officeDocument/2006/relationships/tags" Target="../tags/tag259.xml"/><Relationship Id="rId1" Type="http://schemas.openxmlformats.org/officeDocument/2006/relationships/tags" Target="../tags/tag258.xml"/><Relationship Id="rId4" Type="http://schemas.openxmlformats.org/officeDocument/2006/relationships/slideLayout" Target="../slideLayouts/slideLayout4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tags" Target="../tags/tag268.xml"/><Relationship Id="rId3" Type="http://schemas.openxmlformats.org/officeDocument/2006/relationships/tags" Target="../tags/tag263.xml"/><Relationship Id="rId7" Type="http://schemas.openxmlformats.org/officeDocument/2006/relationships/tags" Target="../tags/tag267.xml"/><Relationship Id="rId2" Type="http://schemas.openxmlformats.org/officeDocument/2006/relationships/tags" Target="../tags/tag262.xml"/><Relationship Id="rId1" Type="http://schemas.openxmlformats.org/officeDocument/2006/relationships/tags" Target="../tags/tag261.xml"/><Relationship Id="rId6" Type="http://schemas.openxmlformats.org/officeDocument/2006/relationships/tags" Target="../tags/tag266.xml"/><Relationship Id="rId11" Type="http://schemas.openxmlformats.org/officeDocument/2006/relationships/chart" Target="../charts/chart49.xml"/><Relationship Id="rId5" Type="http://schemas.openxmlformats.org/officeDocument/2006/relationships/tags" Target="../tags/tag265.xml"/><Relationship Id="rId10" Type="http://schemas.openxmlformats.org/officeDocument/2006/relationships/chart" Target="../charts/chart48.xml"/><Relationship Id="rId4" Type="http://schemas.openxmlformats.org/officeDocument/2006/relationships/tags" Target="../tags/tag264.xml"/><Relationship Id="rId9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1.xml"/><Relationship Id="rId3" Type="http://schemas.openxmlformats.org/officeDocument/2006/relationships/tags" Target="../tags/tag271.xml"/><Relationship Id="rId7" Type="http://schemas.openxmlformats.org/officeDocument/2006/relationships/chart" Target="../charts/chart50.xml"/><Relationship Id="rId2" Type="http://schemas.openxmlformats.org/officeDocument/2006/relationships/tags" Target="../tags/tag270.xml"/><Relationship Id="rId1" Type="http://schemas.openxmlformats.org/officeDocument/2006/relationships/tags" Target="../tags/tag269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273.xml"/><Relationship Id="rId4" Type="http://schemas.openxmlformats.org/officeDocument/2006/relationships/tags" Target="../tags/tag27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4.xml"/><Relationship Id="rId4" Type="http://schemas.openxmlformats.org/officeDocument/2006/relationships/chart" Target="../charts/chart53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5.xml"/><Relationship Id="rId4" Type="http://schemas.openxmlformats.org/officeDocument/2006/relationships/chart" Target="../charts/chart55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tags" Target="../tags/tag283.xml"/><Relationship Id="rId13" Type="http://schemas.openxmlformats.org/officeDocument/2006/relationships/chart" Target="../charts/chart57.xml"/><Relationship Id="rId3" Type="http://schemas.openxmlformats.org/officeDocument/2006/relationships/tags" Target="../tags/tag278.xml"/><Relationship Id="rId7" Type="http://schemas.openxmlformats.org/officeDocument/2006/relationships/tags" Target="../tags/tag282.xml"/><Relationship Id="rId12" Type="http://schemas.openxmlformats.org/officeDocument/2006/relationships/chart" Target="../charts/chart56.xml"/><Relationship Id="rId2" Type="http://schemas.openxmlformats.org/officeDocument/2006/relationships/tags" Target="../tags/tag277.xml"/><Relationship Id="rId1" Type="http://schemas.openxmlformats.org/officeDocument/2006/relationships/tags" Target="../tags/tag276.xml"/><Relationship Id="rId6" Type="http://schemas.openxmlformats.org/officeDocument/2006/relationships/tags" Target="../tags/tag281.xml"/><Relationship Id="rId11" Type="http://schemas.openxmlformats.org/officeDocument/2006/relationships/slideLayout" Target="../slideLayouts/slideLayout9.xml"/><Relationship Id="rId5" Type="http://schemas.openxmlformats.org/officeDocument/2006/relationships/tags" Target="../tags/tag280.xml"/><Relationship Id="rId10" Type="http://schemas.openxmlformats.org/officeDocument/2006/relationships/tags" Target="../tags/tag285.xml"/><Relationship Id="rId4" Type="http://schemas.openxmlformats.org/officeDocument/2006/relationships/tags" Target="../tags/tag279.xml"/><Relationship Id="rId9" Type="http://schemas.openxmlformats.org/officeDocument/2006/relationships/tags" Target="../tags/tag284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tags" Target="../tags/tag293.xml"/><Relationship Id="rId13" Type="http://schemas.openxmlformats.org/officeDocument/2006/relationships/chart" Target="../charts/chart59.xml"/><Relationship Id="rId3" Type="http://schemas.openxmlformats.org/officeDocument/2006/relationships/tags" Target="../tags/tag288.xml"/><Relationship Id="rId7" Type="http://schemas.openxmlformats.org/officeDocument/2006/relationships/tags" Target="../tags/tag292.xml"/><Relationship Id="rId12" Type="http://schemas.openxmlformats.org/officeDocument/2006/relationships/chart" Target="../charts/chart58.xml"/><Relationship Id="rId2" Type="http://schemas.openxmlformats.org/officeDocument/2006/relationships/tags" Target="../tags/tag287.xml"/><Relationship Id="rId1" Type="http://schemas.openxmlformats.org/officeDocument/2006/relationships/tags" Target="../tags/tag286.xml"/><Relationship Id="rId6" Type="http://schemas.openxmlformats.org/officeDocument/2006/relationships/tags" Target="../tags/tag291.xml"/><Relationship Id="rId11" Type="http://schemas.openxmlformats.org/officeDocument/2006/relationships/slideLayout" Target="../slideLayouts/slideLayout9.xml"/><Relationship Id="rId5" Type="http://schemas.openxmlformats.org/officeDocument/2006/relationships/tags" Target="../tags/tag290.xml"/><Relationship Id="rId10" Type="http://schemas.openxmlformats.org/officeDocument/2006/relationships/tags" Target="../tags/tag295.xml"/><Relationship Id="rId4" Type="http://schemas.openxmlformats.org/officeDocument/2006/relationships/tags" Target="../tags/tag289.xml"/><Relationship Id="rId9" Type="http://schemas.openxmlformats.org/officeDocument/2006/relationships/tags" Target="../tags/tag294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1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96.xml"/><Relationship Id="rId4" Type="http://schemas.openxmlformats.org/officeDocument/2006/relationships/image" Target="../media/image50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97.xml"/><Relationship Id="rId5" Type="http://schemas.openxmlformats.org/officeDocument/2006/relationships/image" Target="../media/image51.png"/><Relationship Id="rId4" Type="http://schemas.openxmlformats.org/officeDocument/2006/relationships/chart" Target="../charts/chart60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98.xml"/><Relationship Id="rId5" Type="http://schemas.openxmlformats.org/officeDocument/2006/relationships/image" Target="../media/image52.png"/><Relationship Id="rId4" Type="http://schemas.openxmlformats.org/officeDocument/2006/relationships/chart" Target="../charts/chart6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tags" Target="../tags/tag301.xml"/><Relationship Id="rId2" Type="http://schemas.openxmlformats.org/officeDocument/2006/relationships/tags" Target="../tags/tag300.xml"/><Relationship Id="rId1" Type="http://schemas.openxmlformats.org/officeDocument/2006/relationships/tags" Target="../tags/tag299.xml"/><Relationship Id="rId5" Type="http://schemas.openxmlformats.org/officeDocument/2006/relationships/slideLayout" Target="../slideLayouts/slideLayout26.xml"/><Relationship Id="rId4" Type="http://schemas.openxmlformats.org/officeDocument/2006/relationships/tags" Target="../tags/tag30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tags" Target="../tags/tag305.xml"/><Relationship Id="rId2" Type="http://schemas.openxmlformats.org/officeDocument/2006/relationships/tags" Target="../tags/tag304.xml"/><Relationship Id="rId1" Type="http://schemas.openxmlformats.org/officeDocument/2006/relationships/tags" Target="../tags/tag303.xml"/><Relationship Id="rId5" Type="http://schemas.openxmlformats.org/officeDocument/2006/relationships/slideLayout" Target="../slideLayouts/slideLayout26.xml"/><Relationship Id="rId4" Type="http://schemas.openxmlformats.org/officeDocument/2006/relationships/tags" Target="../tags/tag306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tags" Target="../tags/tag309.xml"/><Relationship Id="rId2" Type="http://schemas.openxmlformats.org/officeDocument/2006/relationships/tags" Target="../tags/tag308.xml"/><Relationship Id="rId1" Type="http://schemas.openxmlformats.org/officeDocument/2006/relationships/tags" Target="../tags/tag307.xml"/><Relationship Id="rId5" Type="http://schemas.openxmlformats.org/officeDocument/2006/relationships/notesSlide" Target="../notesSlides/notesSlide30.xml"/><Relationship Id="rId4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tags" Target="../tags/tag317.xml"/><Relationship Id="rId3" Type="http://schemas.openxmlformats.org/officeDocument/2006/relationships/tags" Target="../tags/tag312.xml"/><Relationship Id="rId7" Type="http://schemas.openxmlformats.org/officeDocument/2006/relationships/tags" Target="../tags/tag316.xml"/><Relationship Id="rId12" Type="http://schemas.openxmlformats.org/officeDocument/2006/relationships/chart" Target="../charts/chart63.xml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6" Type="http://schemas.openxmlformats.org/officeDocument/2006/relationships/tags" Target="../tags/tag315.xml"/><Relationship Id="rId11" Type="http://schemas.openxmlformats.org/officeDocument/2006/relationships/chart" Target="../charts/chart62.xml"/><Relationship Id="rId5" Type="http://schemas.openxmlformats.org/officeDocument/2006/relationships/tags" Target="../tags/tag314.xml"/><Relationship Id="rId10" Type="http://schemas.openxmlformats.org/officeDocument/2006/relationships/notesSlide" Target="../notesSlides/notesSlide31.xml"/><Relationship Id="rId4" Type="http://schemas.openxmlformats.org/officeDocument/2006/relationships/tags" Target="../tags/tag313.xml"/><Relationship Id="rId9" Type="http://schemas.openxmlformats.org/officeDocument/2006/relationships/slideLayout" Target="../slideLayouts/slideLayout6.xml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tags" Target="../tags/tag325.xml"/><Relationship Id="rId3" Type="http://schemas.openxmlformats.org/officeDocument/2006/relationships/tags" Target="../tags/tag320.xml"/><Relationship Id="rId7" Type="http://schemas.openxmlformats.org/officeDocument/2006/relationships/tags" Target="../tags/tag324.xml"/><Relationship Id="rId2" Type="http://schemas.openxmlformats.org/officeDocument/2006/relationships/tags" Target="../tags/tag319.xml"/><Relationship Id="rId1" Type="http://schemas.openxmlformats.org/officeDocument/2006/relationships/tags" Target="../tags/tag318.xml"/><Relationship Id="rId6" Type="http://schemas.openxmlformats.org/officeDocument/2006/relationships/tags" Target="../tags/tag323.xml"/><Relationship Id="rId5" Type="http://schemas.openxmlformats.org/officeDocument/2006/relationships/tags" Target="../tags/tag322.xml"/><Relationship Id="rId10" Type="http://schemas.openxmlformats.org/officeDocument/2006/relationships/notesSlide" Target="../notesSlides/notesSlide32.xml"/><Relationship Id="rId4" Type="http://schemas.openxmlformats.org/officeDocument/2006/relationships/tags" Target="../tags/tag321.xml"/><Relationship Id="rId9" Type="http://schemas.openxmlformats.org/officeDocument/2006/relationships/slideLayout" Target="../slideLayouts/slideLayout3.xml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tags" Target="../tags/tag333.xml"/><Relationship Id="rId3" Type="http://schemas.openxmlformats.org/officeDocument/2006/relationships/tags" Target="../tags/tag328.xml"/><Relationship Id="rId7" Type="http://schemas.openxmlformats.org/officeDocument/2006/relationships/tags" Target="../tags/tag332.xml"/><Relationship Id="rId2" Type="http://schemas.openxmlformats.org/officeDocument/2006/relationships/tags" Target="../tags/tag327.xml"/><Relationship Id="rId1" Type="http://schemas.openxmlformats.org/officeDocument/2006/relationships/tags" Target="../tags/tag326.xml"/><Relationship Id="rId6" Type="http://schemas.openxmlformats.org/officeDocument/2006/relationships/tags" Target="../tags/tag331.xml"/><Relationship Id="rId5" Type="http://schemas.openxmlformats.org/officeDocument/2006/relationships/tags" Target="../tags/tag330.xml"/><Relationship Id="rId10" Type="http://schemas.openxmlformats.org/officeDocument/2006/relationships/notesSlide" Target="../notesSlides/notesSlide33.xml"/><Relationship Id="rId4" Type="http://schemas.openxmlformats.org/officeDocument/2006/relationships/tags" Target="../tags/tag329.xml"/><Relationship Id="rId9" Type="http://schemas.openxmlformats.org/officeDocument/2006/relationships/slideLayout" Target="../slideLayouts/slideLayout3.xml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tags" Target="../tags/tag341.xml"/><Relationship Id="rId3" Type="http://schemas.openxmlformats.org/officeDocument/2006/relationships/tags" Target="../tags/tag336.xml"/><Relationship Id="rId7" Type="http://schemas.openxmlformats.org/officeDocument/2006/relationships/tags" Target="../tags/tag340.xml"/><Relationship Id="rId2" Type="http://schemas.openxmlformats.org/officeDocument/2006/relationships/tags" Target="../tags/tag335.xml"/><Relationship Id="rId1" Type="http://schemas.openxmlformats.org/officeDocument/2006/relationships/tags" Target="../tags/tag334.xml"/><Relationship Id="rId6" Type="http://schemas.openxmlformats.org/officeDocument/2006/relationships/tags" Target="../tags/tag339.xml"/><Relationship Id="rId5" Type="http://schemas.openxmlformats.org/officeDocument/2006/relationships/tags" Target="../tags/tag338.xml"/><Relationship Id="rId10" Type="http://schemas.openxmlformats.org/officeDocument/2006/relationships/notesSlide" Target="../notesSlides/notesSlide34.xml"/><Relationship Id="rId4" Type="http://schemas.openxmlformats.org/officeDocument/2006/relationships/tags" Target="../tags/tag337.xml"/><Relationship Id="rId9" Type="http://schemas.openxmlformats.org/officeDocument/2006/relationships/slideLayout" Target="../slideLayouts/slideLayout3.xml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tags" Target="../tags/tag349.xml"/><Relationship Id="rId3" Type="http://schemas.openxmlformats.org/officeDocument/2006/relationships/tags" Target="../tags/tag344.xml"/><Relationship Id="rId7" Type="http://schemas.openxmlformats.org/officeDocument/2006/relationships/tags" Target="../tags/tag348.xml"/><Relationship Id="rId2" Type="http://schemas.openxmlformats.org/officeDocument/2006/relationships/tags" Target="../tags/tag343.xml"/><Relationship Id="rId1" Type="http://schemas.openxmlformats.org/officeDocument/2006/relationships/tags" Target="../tags/tag342.xml"/><Relationship Id="rId6" Type="http://schemas.openxmlformats.org/officeDocument/2006/relationships/tags" Target="../tags/tag347.xml"/><Relationship Id="rId5" Type="http://schemas.openxmlformats.org/officeDocument/2006/relationships/tags" Target="../tags/tag346.xml"/><Relationship Id="rId10" Type="http://schemas.openxmlformats.org/officeDocument/2006/relationships/notesSlide" Target="../notesSlides/notesSlide35.xml"/><Relationship Id="rId4" Type="http://schemas.openxmlformats.org/officeDocument/2006/relationships/tags" Target="../tags/tag345.xml"/><Relationship Id="rId9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7" Type="http://schemas.openxmlformats.org/officeDocument/2006/relationships/image" Target="../media/image45.jp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4.jpeg"/><Relationship Id="rId5" Type="http://schemas.openxmlformats.org/officeDocument/2006/relationships/image" Target="../media/image43.emf"/><Relationship Id="rId4" Type="http://schemas.openxmlformats.org/officeDocument/2006/relationships/image" Target="../media/image42.png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tags" Target="../tags/tag357.xml"/><Relationship Id="rId3" Type="http://schemas.openxmlformats.org/officeDocument/2006/relationships/tags" Target="../tags/tag352.xml"/><Relationship Id="rId7" Type="http://schemas.openxmlformats.org/officeDocument/2006/relationships/tags" Target="../tags/tag356.xml"/><Relationship Id="rId2" Type="http://schemas.openxmlformats.org/officeDocument/2006/relationships/tags" Target="../tags/tag351.xml"/><Relationship Id="rId1" Type="http://schemas.openxmlformats.org/officeDocument/2006/relationships/tags" Target="../tags/tag350.xml"/><Relationship Id="rId6" Type="http://schemas.openxmlformats.org/officeDocument/2006/relationships/tags" Target="../tags/tag355.xml"/><Relationship Id="rId5" Type="http://schemas.openxmlformats.org/officeDocument/2006/relationships/tags" Target="../tags/tag354.xml"/><Relationship Id="rId10" Type="http://schemas.openxmlformats.org/officeDocument/2006/relationships/notesSlide" Target="../notesSlides/notesSlide36.xml"/><Relationship Id="rId4" Type="http://schemas.openxmlformats.org/officeDocument/2006/relationships/tags" Target="../tags/tag353.xml"/><Relationship Id="rId9" Type="http://schemas.openxmlformats.org/officeDocument/2006/relationships/slideLayout" Target="../slideLayouts/slideLayout3.xml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tags" Target="../tags/tag365.xml"/><Relationship Id="rId3" Type="http://schemas.openxmlformats.org/officeDocument/2006/relationships/tags" Target="../tags/tag360.xml"/><Relationship Id="rId7" Type="http://schemas.openxmlformats.org/officeDocument/2006/relationships/tags" Target="../tags/tag364.xml"/><Relationship Id="rId2" Type="http://schemas.openxmlformats.org/officeDocument/2006/relationships/tags" Target="../tags/tag359.xml"/><Relationship Id="rId1" Type="http://schemas.openxmlformats.org/officeDocument/2006/relationships/tags" Target="../tags/tag358.xml"/><Relationship Id="rId6" Type="http://schemas.openxmlformats.org/officeDocument/2006/relationships/tags" Target="../tags/tag363.xml"/><Relationship Id="rId5" Type="http://schemas.openxmlformats.org/officeDocument/2006/relationships/tags" Target="../tags/tag362.xml"/><Relationship Id="rId10" Type="http://schemas.openxmlformats.org/officeDocument/2006/relationships/notesSlide" Target="../notesSlides/notesSlide37.xml"/><Relationship Id="rId4" Type="http://schemas.openxmlformats.org/officeDocument/2006/relationships/tags" Target="../tags/tag361.xml"/><Relationship Id="rId9" Type="http://schemas.openxmlformats.org/officeDocument/2006/relationships/slideLayout" Target="../slideLayouts/slideLayout3.xml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tags" Target="../tags/tag373.xml"/><Relationship Id="rId3" Type="http://schemas.openxmlformats.org/officeDocument/2006/relationships/tags" Target="../tags/tag368.xml"/><Relationship Id="rId7" Type="http://schemas.openxmlformats.org/officeDocument/2006/relationships/tags" Target="../tags/tag372.xml"/><Relationship Id="rId2" Type="http://schemas.openxmlformats.org/officeDocument/2006/relationships/tags" Target="../tags/tag367.xml"/><Relationship Id="rId1" Type="http://schemas.openxmlformats.org/officeDocument/2006/relationships/tags" Target="../tags/tag366.xml"/><Relationship Id="rId6" Type="http://schemas.openxmlformats.org/officeDocument/2006/relationships/tags" Target="../tags/tag371.xml"/><Relationship Id="rId5" Type="http://schemas.openxmlformats.org/officeDocument/2006/relationships/tags" Target="../tags/tag370.xml"/><Relationship Id="rId10" Type="http://schemas.openxmlformats.org/officeDocument/2006/relationships/notesSlide" Target="../notesSlides/notesSlide38.xml"/><Relationship Id="rId4" Type="http://schemas.openxmlformats.org/officeDocument/2006/relationships/tags" Target="../tags/tag369.xml"/><Relationship Id="rId9" Type="http://schemas.openxmlformats.org/officeDocument/2006/relationships/slideLayout" Target="../slideLayouts/slideLayout3.xml"/></Relationships>
</file>

<file path=ppt/slides/_rels/slide73.xml.rels><?xml version="1.0" encoding="UTF-8" standalone="yes"?>
<Relationships xmlns="http://schemas.openxmlformats.org/package/2006/relationships"><Relationship Id="rId8" Type="http://schemas.openxmlformats.org/officeDocument/2006/relationships/tags" Target="../tags/tag381.xml"/><Relationship Id="rId3" Type="http://schemas.openxmlformats.org/officeDocument/2006/relationships/tags" Target="../tags/tag376.xml"/><Relationship Id="rId7" Type="http://schemas.openxmlformats.org/officeDocument/2006/relationships/tags" Target="../tags/tag380.xml"/><Relationship Id="rId2" Type="http://schemas.openxmlformats.org/officeDocument/2006/relationships/tags" Target="../tags/tag375.xml"/><Relationship Id="rId1" Type="http://schemas.openxmlformats.org/officeDocument/2006/relationships/tags" Target="../tags/tag374.xml"/><Relationship Id="rId6" Type="http://schemas.openxmlformats.org/officeDocument/2006/relationships/tags" Target="../tags/tag379.xml"/><Relationship Id="rId5" Type="http://schemas.openxmlformats.org/officeDocument/2006/relationships/tags" Target="../tags/tag378.xml"/><Relationship Id="rId10" Type="http://schemas.openxmlformats.org/officeDocument/2006/relationships/notesSlide" Target="../notesSlides/notesSlide39.xml"/><Relationship Id="rId4" Type="http://schemas.openxmlformats.org/officeDocument/2006/relationships/tags" Target="../tags/tag377.xml"/><Relationship Id="rId9" Type="http://schemas.openxmlformats.org/officeDocument/2006/relationships/slideLayout" Target="../slideLayouts/slideLayout3.xml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7.xml"/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66.xml"/><Relationship Id="rId2" Type="http://schemas.openxmlformats.org/officeDocument/2006/relationships/tags" Target="../tags/tag383.xml"/><Relationship Id="rId1" Type="http://schemas.openxmlformats.org/officeDocument/2006/relationships/tags" Target="../tags/tag382.xml"/><Relationship Id="rId6" Type="http://schemas.openxmlformats.org/officeDocument/2006/relationships/chart" Target="../charts/chart65.xml"/><Relationship Id="rId5" Type="http://schemas.openxmlformats.org/officeDocument/2006/relationships/chart" Target="../charts/chart64.xml"/><Relationship Id="rId10" Type="http://schemas.openxmlformats.org/officeDocument/2006/relationships/chart" Target="../charts/chart69.xml"/><Relationship Id="rId4" Type="http://schemas.openxmlformats.org/officeDocument/2006/relationships/notesSlide" Target="../notesSlides/notesSlide40.xml"/><Relationship Id="rId9" Type="http://schemas.openxmlformats.org/officeDocument/2006/relationships/chart" Target="../charts/chart68.xml"/></Relationships>
</file>

<file path=ppt/slides/_rels/slide7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3.xml"/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72.xml"/><Relationship Id="rId2" Type="http://schemas.openxmlformats.org/officeDocument/2006/relationships/tags" Target="../tags/tag385.xml"/><Relationship Id="rId1" Type="http://schemas.openxmlformats.org/officeDocument/2006/relationships/tags" Target="../tags/tag384.xml"/><Relationship Id="rId6" Type="http://schemas.openxmlformats.org/officeDocument/2006/relationships/chart" Target="../charts/chart71.xml"/><Relationship Id="rId5" Type="http://schemas.openxmlformats.org/officeDocument/2006/relationships/chart" Target="../charts/chart70.xml"/><Relationship Id="rId10" Type="http://schemas.openxmlformats.org/officeDocument/2006/relationships/chart" Target="../charts/chart75.xml"/><Relationship Id="rId4" Type="http://schemas.openxmlformats.org/officeDocument/2006/relationships/notesSlide" Target="../notesSlides/notesSlide41.xml"/><Relationship Id="rId9" Type="http://schemas.openxmlformats.org/officeDocument/2006/relationships/chart" Target="../charts/chart74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86.xml"/><Relationship Id="rId6" Type="http://schemas.openxmlformats.org/officeDocument/2006/relationships/chart" Target="../charts/chart78.xml"/><Relationship Id="rId5" Type="http://schemas.openxmlformats.org/officeDocument/2006/relationships/chart" Target="../charts/chart77.xml"/><Relationship Id="rId4" Type="http://schemas.openxmlformats.org/officeDocument/2006/relationships/chart" Target="../charts/chart76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87.xml"/><Relationship Id="rId6" Type="http://schemas.openxmlformats.org/officeDocument/2006/relationships/chart" Target="../charts/chart81.xml"/><Relationship Id="rId5" Type="http://schemas.openxmlformats.org/officeDocument/2006/relationships/chart" Target="../charts/chart80.xml"/><Relationship Id="rId4" Type="http://schemas.openxmlformats.org/officeDocument/2006/relationships/chart" Target="../charts/chart79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88.xml"/><Relationship Id="rId6" Type="http://schemas.openxmlformats.org/officeDocument/2006/relationships/chart" Target="../charts/chart84.xml"/><Relationship Id="rId5" Type="http://schemas.openxmlformats.org/officeDocument/2006/relationships/chart" Target="../charts/chart83.xml"/><Relationship Id="rId4" Type="http://schemas.openxmlformats.org/officeDocument/2006/relationships/chart" Target="../charts/chart8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89.xml"/><Relationship Id="rId6" Type="http://schemas.openxmlformats.org/officeDocument/2006/relationships/chart" Target="../charts/chart87.xml"/><Relationship Id="rId5" Type="http://schemas.openxmlformats.org/officeDocument/2006/relationships/chart" Target="../charts/chart86.xml"/><Relationship Id="rId4" Type="http://schemas.openxmlformats.org/officeDocument/2006/relationships/chart" Target="../charts/chart8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tags" Target="../tags/tag392.xml"/><Relationship Id="rId7" Type="http://schemas.openxmlformats.org/officeDocument/2006/relationships/notesSlide" Target="../notesSlides/notesSlide46.xml"/><Relationship Id="rId2" Type="http://schemas.openxmlformats.org/officeDocument/2006/relationships/tags" Target="../tags/tag391.xml"/><Relationship Id="rId1" Type="http://schemas.openxmlformats.org/officeDocument/2006/relationships/tags" Target="../tags/tag390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394.xml"/><Relationship Id="rId4" Type="http://schemas.openxmlformats.org/officeDocument/2006/relationships/tags" Target="../tags/tag393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tags" Target="../tags/tag397.xml"/><Relationship Id="rId7" Type="http://schemas.openxmlformats.org/officeDocument/2006/relationships/notesSlide" Target="../notesSlides/notesSlide47.xml"/><Relationship Id="rId2" Type="http://schemas.openxmlformats.org/officeDocument/2006/relationships/tags" Target="../tags/tag396.xml"/><Relationship Id="rId1" Type="http://schemas.openxmlformats.org/officeDocument/2006/relationships/tags" Target="../tags/tag395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399.xml"/><Relationship Id="rId4" Type="http://schemas.openxmlformats.org/officeDocument/2006/relationships/tags" Target="../tags/tag398.xml"/></Relationships>
</file>

<file path=ppt/slides/_rels/slide82.xml.rels><?xml version="1.0" encoding="UTF-8" standalone="yes"?>
<Relationships xmlns="http://schemas.openxmlformats.org/package/2006/relationships"><Relationship Id="rId8" Type="http://schemas.openxmlformats.org/officeDocument/2006/relationships/tags" Target="../tags/tag407.xml"/><Relationship Id="rId3" Type="http://schemas.openxmlformats.org/officeDocument/2006/relationships/tags" Target="../tags/tag402.xml"/><Relationship Id="rId7" Type="http://schemas.openxmlformats.org/officeDocument/2006/relationships/tags" Target="../tags/tag406.xml"/><Relationship Id="rId12" Type="http://schemas.openxmlformats.org/officeDocument/2006/relationships/chart" Target="../charts/chart89.xml"/><Relationship Id="rId2" Type="http://schemas.openxmlformats.org/officeDocument/2006/relationships/tags" Target="../tags/tag401.xml"/><Relationship Id="rId1" Type="http://schemas.openxmlformats.org/officeDocument/2006/relationships/tags" Target="../tags/tag400.xml"/><Relationship Id="rId6" Type="http://schemas.openxmlformats.org/officeDocument/2006/relationships/tags" Target="../tags/tag405.xml"/><Relationship Id="rId11" Type="http://schemas.openxmlformats.org/officeDocument/2006/relationships/chart" Target="../charts/chart88.xml"/><Relationship Id="rId5" Type="http://schemas.openxmlformats.org/officeDocument/2006/relationships/tags" Target="../tags/tag404.xml"/><Relationship Id="rId10" Type="http://schemas.openxmlformats.org/officeDocument/2006/relationships/notesSlide" Target="../notesSlides/notesSlide48.xml"/><Relationship Id="rId4" Type="http://schemas.openxmlformats.org/officeDocument/2006/relationships/tags" Target="../tags/tag403.xml"/><Relationship Id="rId9" Type="http://schemas.openxmlformats.org/officeDocument/2006/relationships/slideLayout" Target="../slideLayouts/slideLayout3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8" Type="http://schemas.openxmlformats.org/officeDocument/2006/relationships/tags" Target="../tags/tag415.xml"/><Relationship Id="rId3" Type="http://schemas.openxmlformats.org/officeDocument/2006/relationships/tags" Target="../tags/tag410.xml"/><Relationship Id="rId7" Type="http://schemas.openxmlformats.org/officeDocument/2006/relationships/tags" Target="../tags/tag414.xml"/><Relationship Id="rId12" Type="http://schemas.openxmlformats.org/officeDocument/2006/relationships/chart" Target="../charts/chart91.xml"/><Relationship Id="rId2" Type="http://schemas.openxmlformats.org/officeDocument/2006/relationships/tags" Target="../tags/tag409.xml"/><Relationship Id="rId1" Type="http://schemas.openxmlformats.org/officeDocument/2006/relationships/tags" Target="../tags/tag408.xml"/><Relationship Id="rId6" Type="http://schemas.openxmlformats.org/officeDocument/2006/relationships/tags" Target="../tags/tag413.xml"/><Relationship Id="rId11" Type="http://schemas.openxmlformats.org/officeDocument/2006/relationships/chart" Target="../charts/chart90.xml"/><Relationship Id="rId5" Type="http://schemas.openxmlformats.org/officeDocument/2006/relationships/tags" Target="../tags/tag412.xml"/><Relationship Id="rId10" Type="http://schemas.openxmlformats.org/officeDocument/2006/relationships/notesSlide" Target="../notesSlides/notesSlide49.xml"/><Relationship Id="rId4" Type="http://schemas.openxmlformats.org/officeDocument/2006/relationships/tags" Target="../tags/tag411.xml"/><Relationship Id="rId9" Type="http://schemas.openxmlformats.org/officeDocument/2006/relationships/slideLayout" Target="../slideLayouts/slideLayout3.xml"/></Relationships>
</file>

<file path=ppt/slides/_rels/slide85.xml.rels><?xml version="1.0" encoding="UTF-8" standalone="yes"?>
<Relationships xmlns="http://schemas.openxmlformats.org/package/2006/relationships"><Relationship Id="rId8" Type="http://schemas.openxmlformats.org/officeDocument/2006/relationships/tags" Target="../tags/tag423.xml"/><Relationship Id="rId3" Type="http://schemas.openxmlformats.org/officeDocument/2006/relationships/tags" Target="../tags/tag418.xml"/><Relationship Id="rId7" Type="http://schemas.openxmlformats.org/officeDocument/2006/relationships/tags" Target="../tags/tag422.xml"/><Relationship Id="rId12" Type="http://schemas.openxmlformats.org/officeDocument/2006/relationships/chart" Target="../charts/chart93.xml"/><Relationship Id="rId2" Type="http://schemas.openxmlformats.org/officeDocument/2006/relationships/tags" Target="../tags/tag417.xml"/><Relationship Id="rId1" Type="http://schemas.openxmlformats.org/officeDocument/2006/relationships/tags" Target="../tags/tag416.xml"/><Relationship Id="rId6" Type="http://schemas.openxmlformats.org/officeDocument/2006/relationships/tags" Target="../tags/tag421.xml"/><Relationship Id="rId11" Type="http://schemas.openxmlformats.org/officeDocument/2006/relationships/chart" Target="../charts/chart92.xml"/><Relationship Id="rId5" Type="http://schemas.openxmlformats.org/officeDocument/2006/relationships/tags" Target="../tags/tag420.xml"/><Relationship Id="rId10" Type="http://schemas.openxmlformats.org/officeDocument/2006/relationships/notesSlide" Target="../notesSlides/notesSlide50.xml"/><Relationship Id="rId4" Type="http://schemas.openxmlformats.org/officeDocument/2006/relationships/tags" Target="../tags/tag419.xml"/><Relationship Id="rId9" Type="http://schemas.openxmlformats.org/officeDocument/2006/relationships/slideLayout" Target="../slideLayouts/slideLayout3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eg"/><Relationship Id="rId3" Type="http://schemas.openxmlformats.org/officeDocument/2006/relationships/image" Target="../media/image53.png"/><Relationship Id="rId7" Type="http://schemas.openxmlformats.org/officeDocument/2006/relationships/image" Target="../media/image57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24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Relationship Id="rId9" Type="http://schemas.openxmlformats.org/officeDocument/2006/relationships/image" Target="../media/image59.jpeg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tags" Target="../tags/tag427.xml"/><Relationship Id="rId2" Type="http://schemas.openxmlformats.org/officeDocument/2006/relationships/tags" Target="../tags/tag426.xml"/><Relationship Id="rId1" Type="http://schemas.openxmlformats.org/officeDocument/2006/relationships/tags" Target="../tags/tag425.xml"/><Relationship Id="rId5" Type="http://schemas.openxmlformats.org/officeDocument/2006/relationships/notesSlide" Target="../notesSlides/notesSlide51.xml"/><Relationship Id="rId4" Type="http://schemas.openxmlformats.org/officeDocument/2006/relationships/slideLayout" Target="../slideLayouts/slideLayout3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tags" Target="../tags/tag430.xml"/><Relationship Id="rId2" Type="http://schemas.openxmlformats.org/officeDocument/2006/relationships/tags" Target="../tags/tag429.xml"/><Relationship Id="rId1" Type="http://schemas.openxmlformats.org/officeDocument/2006/relationships/tags" Target="../tags/tag428.xml"/><Relationship Id="rId6" Type="http://schemas.openxmlformats.org/officeDocument/2006/relationships/notesSlide" Target="../notesSlides/notesSlide52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43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5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tags" Target="../tags/tag434.xml"/><Relationship Id="rId2" Type="http://schemas.openxmlformats.org/officeDocument/2006/relationships/tags" Target="../tags/tag433.xml"/><Relationship Id="rId1" Type="http://schemas.openxmlformats.org/officeDocument/2006/relationships/tags" Target="../tags/tag432.xml"/><Relationship Id="rId6" Type="http://schemas.openxmlformats.org/officeDocument/2006/relationships/notesSlide" Target="../notesSlides/notesSlide53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435.xml"/></Relationships>
</file>

<file path=ppt/slides/_rels/slide9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438.xml"/><Relationship Id="rId7" Type="http://schemas.openxmlformats.org/officeDocument/2006/relationships/tags" Target="../tags/tag442.xml"/><Relationship Id="rId2" Type="http://schemas.openxmlformats.org/officeDocument/2006/relationships/tags" Target="../tags/tag437.xml"/><Relationship Id="rId1" Type="http://schemas.openxmlformats.org/officeDocument/2006/relationships/tags" Target="../tags/tag436.xml"/><Relationship Id="rId6" Type="http://schemas.openxmlformats.org/officeDocument/2006/relationships/tags" Target="../tags/tag441.xml"/><Relationship Id="rId11" Type="http://schemas.openxmlformats.org/officeDocument/2006/relationships/chart" Target="../charts/chart95.xml"/><Relationship Id="rId5" Type="http://schemas.openxmlformats.org/officeDocument/2006/relationships/tags" Target="../tags/tag440.xml"/><Relationship Id="rId10" Type="http://schemas.openxmlformats.org/officeDocument/2006/relationships/chart" Target="../charts/chart94.xml"/><Relationship Id="rId4" Type="http://schemas.openxmlformats.org/officeDocument/2006/relationships/tags" Target="../tags/tag439.xml"/><Relationship Id="rId9" Type="http://schemas.openxmlformats.org/officeDocument/2006/relationships/notesSlide" Target="../notesSlides/notesSlide54.xml"/></Relationships>
</file>

<file path=ppt/slides/_rels/slide92.xml.rels><?xml version="1.0" encoding="UTF-8" standalone="yes"?>
<Relationships xmlns="http://schemas.openxmlformats.org/package/2006/relationships"><Relationship Id="rId8" Type="http://schemas.openxmlformats.org/officeDocument/2006/relationships/tags" Target="../tags/tag450.xml"/><Relationship Id="rId13" Type="http://schemas.openxmlformats.org/officeDocument/2006/relationships/tags" Target="../tags/tag455.xml"/><Relationship Id="rId3" Type="http://schemas.openxmlformats.org/officeDocument/2006/relationships/tags" Target="../tags/tag445.xml"/><Relationship Id="rId7" Type="http://schemas.openxmlformats.org/officeDocument/2006/relationships/tags" Target="../tags/tag449.xml"/><Relationship Id="rId12" Type="http://schemas.openxmlformats.org/officeDocument/2006/relationships/tags" Target="../tags/tag454.xml"/><Relationship Id="rId2" Type="http://schemas.openxmlformats.org/officeDocument/2006/relationships/tags" Target="../tags/tag444.xml"/><Relationship Id="rId1" Type="http://schemas.openxmlformats.org/officeDocument/2006/relationships/tags" Target="../tags/tag443.xml"/><Relationship Id="rId6" Type="http://schemas.openxmlformats.org/officeDocument/2006/relationships/tags" Target="../tags/tag448.xml"/><Relationship Id="rId11" Type="http://schemas.openxmlformats.org/officeDocument/2006/relationships/tags" Target="../tags/tag453.xml"/><Relationship Id="rId5" Type="http://schemas.openxmlformats.org/officeDocument/2006/relationships/tags" Target="../tags/tag447.xml"/><Relationship Id="rId15" Type="http://schemas.openxmlformats.org/officeDocument/2006/relationships/notesSlide" Target="../notesSlides/notesSlide55.xml"/><Relationship Id="rId10" Type="http://schemas.openxmlformats.org/officeDocument/2006/relationships/tags" Target="../tags/tag452.xml"/><Relationship Id="rId4" Type="http://schemas.openxmlformats.org/officeDocument/2006/relationships/tags" Target="../tags/tag446.xml"/><Relationship Id="rId9" Type="http://schemas.openxmlformats.org/officeDocument/2006/relationships/tags" Target="../tags/tag451.xml"/><Relationship Id="rId14" Type="http://schemas.openxmlformats.org/officeDocument/2006/relationships/slideLayout" Target="../slideLayouts/slideLayout3.xml"/></Relationships>
</file>

<file path=ppt/slides/_rels/slide93.xml.rels><?xml version="1.0" encoding="UTF-8" standalone="yes"?>
<Relationships xmlns="http://schemas.openxmlformats.org/package/2006/relationships"><Relationship Id="rId8" Type="http://schemas.openxmlformats.org/officeDocument/2006/relationships/tags" Target="../tags/tag463.xml"/><Relationship Id="rId13" Type="http://schemas.openxmlformats.org/officeDocument/2006/relationships/chart" Target="../charts/chart96.xml"/><Relationship Id="rId3" Type="http://schemas.openxmlformats.org/officeDocument/2006/relationships/tags" Target="../tags/tag458.xml"/><Relationship Id="rId7" Type="http://schemas.openxmlformats.org/officeDocument/2006/relationships/tags" Target="../tags/tag462.xml"/><Relationship Id="rId12" Type="http://schemas.openxmlformats.org/officeDocument/2006/relationships/notesSlide" Target="../notesSlides/notesSlide56.xml"/><Relationship Id="rId2" Type="http://schemas.openxmlformats.org/officeDocument/2006/relationships/tags" Target="../tags/tag457.xml"/><Relationship Id="rId1" Type="http://schemas.openxmlformats.org/officeDocument/2006/relationships/tags" Target="../tags/tag456.xml"/><Relationship Id="rId6" Type="http://schemas.openxmlformats.org/officeDocument/2006/relationships/tags" Target="../tags/tag461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460.xml"/><Relationship Id="rId10" Type="http://schemas.openxmlformats.org/officeDocument/2006/relationships/tags" Target="../tags/tag465.xml"/><Relationship Id="rId4" Type="http://schemas.openxmlformats.org/officeDocument/2006/relationships/tags" Target="../tags/tag459.xml"/><Relationship Id="rId9" Type="http://schemas.openxmlformats.org/officeDocument/2006/relationships/tags" Target="../tags/tag464.xml"/><Relationship Id="rId14" Type="http://schemas.openxmlformats.org/officeDocument/2006/relationships/chart" Target="../charts/chart97.xml"/></Relationships>
</file>

<file path=ppt/slides/_rels/slide9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7.xml"/><Relationship Id="rId3" Type="http://schemas.openxmlformats.org/officeDocument/2006/relationships/tags" Target="../tags/tag468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467.xml"/><Relationship Id="rId1" Type="http://schemas.openxmlformats.org/officeDocument/2006/relationships/tags" Target="../tags/tag466.xml"/><Relationship Id="rId6" Type="http://schemas.openxmlformats.org/officeDocument/2006/relationships/tags" Target="../tags/tag471.xml"/><Relationship Id="rId5" Type="http://schemas.openxmlformats.org/officeDocument/2006/relationships/tags" Target="../tags/tag470.xml"/><Relationship Id="rId4" Type="http://schemas.openxmlformats.org/officeDocument/2006/relationships/tags" Target="../tags/tag469.xml"/><Relationship Id="rId9" Type="http://schemas.openxmlformats.org/officeDocument/2006/relationships/chart" Target="../charts/chart98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tags" Target="../tags/tag474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473.xml"/><Relationship Id="rId1" Type="http://schemas.openxmlformats.org/officeDocument/2006/relationships/tags" Target="../tags/tag472.xml"/><Relationship Id="rId6" Type="http://schemas.openxmlformats.org/officeDocument/2006/relationships/tags" Target="../tags/tag477.xml"/><Relationship Id="rId5" Type="http://schemas.openxmlformats.org/officeDocument/2006/relationships/tags" Target="../tags/tag476.xml"/><Relationship Id="rId4" Type="http://schemas.openxmlformats.org/officeDocument/2006/relationships/tags" Target="../tags/tag475.xml"/><Relationship Id="rId9" Type="http://schemas.openxmlformats.org/officeDocument/2006/relationships/image" Target="../media/image61.png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4F76FE3B-9128-83FC-DABD-70D22B7DFBED}"/>
              </a:ext>
            </a:extLst>
          </p:cNvPr>
          <p:cNvSpPr/>
          <p:nvPr/>
        </p:nvSpPr>
        <p:spPr>
          <a:xfrm>
            <a:off x="257174" y="168730"/>
            <a:ext cx="11677651" cy="21664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CKÉ ANALÝZY POTŘEB REZORTU ZDRAVOTNICTV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pulační zátěž Prahy </a:t>
            </a:r>
            <a:r>
              <a:rPr lang="cs-CZ" sz="3000" b="1" u="sng" dirty="0">
                <a:solidFill>
                  <a:srgbClr val="D71440"/>
                </a:solidFill>
                <a:latin typeface="Calibri" panose="020F0502020204030204"/>
              </a:rPr>
              <a:t>psychiatrickými diagnózami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sz="3000" b="1" u="sng" dirty="0">
                <a:solidFill>
                  <a:srgbClr val="D71440"/>
                </a:solidFill>
                <a:latin typeface="Calibri" panose="020F0502020204030204"/>
              </a:rPr>
              <a:t>a zajištění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éče o duševní zdraví</a:t>
            </a: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srgbClr val="D7144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00" cap="none" spc="0" normalizeH="0" baseline="0" noProof="0" dirty="0">
              <a:ln>
                <a:noFill/>
              </a:ln>
              <a:solidFill>
                <a:srgbClr val="D7144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05303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2">
            <a:extLst>
              <a:ext uri="{FF2B5EF4-FFF2-40B4-BE49-F238E27FC236}">
                <a16:creationId xmlns:a16="http://schemas.microsoft.com/office/drawing/2014/main" id="{D6A58675-2766-890C-2004-F6386C905386}"/>
              </a:ext>
            </a:extLst>
          </p:cNvPr>
          <p:cNvSpPr txBox="1">
            <a:spLocks/>
          </p:cNvSpPr>
          <p:nvPr/>
        </p:nvSpPr>
        <p:spPr>
          <a:xfrm>
            <a:off x="76200" y="1406664"/>
            <a:ext cx="12016508" cy="354633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0" b="1" i="0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Potenciál NZI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0" b="1" i="0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z pohledu pacienta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5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124587207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235622"/>
            <a:ext cx="11664778" cy="573989"/>
          </a:xfrm>
        </p:spPr>
        <p:txBody>
          <a:bodyPr anchor="t">
            <a:noAutofit/>
          </a:bodyPr>
          <a:lstStyle/>
          <a:p>
            <a:r>
              <a:rPr lang="cs-CZ" dirty="0"/>
              <a:t>Získané specializované/odborné způsobilosti v péči o duševní zdraví podle NRZP</a:t>
            </a:r>
            <a:br>
              <a:rPr lang="cs-CZ" dirty="0"/>
            </a:br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F549646E-9654-0ADB-4FA2-50582E79A4A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23113" y="5801714"/>
            <a:ext cx="1047750" cy="8951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BC5B8F92-027B-B148-D906-06E799934B2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91942" y="580141"/>
            <a:ext cx="84586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 k 1. 9. 2023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B7ADD705-2D83-1D0C-643F-0366AA785A1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16200000">
            <a:off x="-198208" y="2319095"/>
            <a:ext cx="335279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osob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4C15CDF9-D810-FCEE-F8DD-4735CE655F8C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278717869"/>
              </p:ext>
            </p:extLst>
          </p:nvPr>
        </p:nvGraphicFramePr>
        <p:xfrm>
          <a:off x="1616692" y="710888"/>
          <a:ext cx="10278897" cy="36457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FD0E0981-6499-216B-299F-F14102B34866}"/>
              </a:ext>
            </a:extLst>
          </p:cNvPr>
          <p:cNvSpPr/>
          <p:nvPr/>
        </p:nvSpPr>
        <p:spPr>
          <a:xfrm>
            <a:off x="2190750" y="4253708"/>
            <a:ext cx="423862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k získání odborné způsobilosti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CC0F97FD-4399-28CE-7333-92F49B023769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92531856"/>
              </p:ext>
            </p:extLst>
          </p:nvPr>
        </p:nvGraphicFramePr>
        <p:xfrm>
          <a:off x="117446" y="4561078"/>
          <a:ext cx="9991287" cy="1853138"/>
        </p:xfrm>
        <a:graphic>
          <a:graphicData uri="http://schemas.openxmlformats.org/drawingml/2006/table">
            <a:tbl>
              <a:tblPr/>
              <a:tblGrid>
                <a:gridCol w="1946246">
                  <a:extLst>
                    <a:ext uri="{9D8B030D-6E8A-4147-A177-3AD203B41FA5}">
                      <a16:colId xmlns:a16="http://schemas.microsoft.com/office/drawing/2014/main" val="1087308722"/>
                    </a:ext>
                  </a:extLst>
                </a:gridCol>
                <a:gridCol w="455945">
                  <a:extLst>
                    <a:ext uri="{9D8B030D-6E8A-4147-A177-3AD203B41FA5}">
                      <a16:colId xmlns:a16="http://schemas.microsoft.com/office/drawing/2014/main" val="4281493852"/>
                    </a:ext>
                  </a:extLst>
                </a:gridCol>
                <a:gridCol w="570155">
                  <a:extLst>
                    <a:ext uri="{9D8B030D-6E8A-4147-A177-3AD203B41FA5}">
                      <a16:colId xmlns:a16="http://schemas.microsoft.com/office/drawing/2014/main" val="1826550977"/>
                    </a:ext>
                  </a:extLst>
                </a:gridCol>
                <a:gridCol w="556093">
                  <a:extLst>
                    <a:ext uri="{9D8B030D-6E8A-4147-A177-3AD203B41FA5}">
                      <a16:colId xmlns:a16="http://schemas.microsoft.com/office/drawing/2014/main" val="550947907"/>
                    </a:ext>
                  </a:extLst>
                </a:gridCol>
                <a:gridCol w="556093">
                  <a:extLst>
                    <a:ext uri="{9D8B030D-6E8A-4147-A177-3AD203B41FA5}">
                      <a16:colId xmlns:a16="http://schemas.microsoft.com/office/drawing/2014/main" val="783470925"/>
                    </a:ext>
                  </a:extLst>
                </a:gridCol>
                <a:gridCol w="556093">
                  <a:extLst>
                    <a:ext uri="{9D8B030D-6E8A-4147-A177-3AD203B41FA5}">
                      <a16:colId xmlns:a16="http://schemas.microsoft.com/office/drawing/2014/main" val="1305329658"/>
                    </a:ext>
                  </a:extLst>
                </a:gridCol>
                <a:gridCol w="556093">
                  <a:extLst>
                    <a:ext uri="{9D8B030D-6E8A-4147-A177-3AD203B41FA5}">
                      <a16:colId xmlns:a16="http://schemas.microsoft.com/office/drawing/2014/main" val="3956443521"/>
                    </a:ext>
                  </a:extLst>
                </a:gridCol>
                <a:gridCol w="556093">
                  <a:extLst>
                    <a:ext uri="{9D8B030D-6E8A-4147-A177-3AD203B41FA5}">
                      <a16:colId xmlns:a16="http://schemas.microsoft.com/office/drawing/2014/main" val="2803741415"/>
                    </a:ext>
                  </a:extLst>
                </a:gridCol>
                <a:gridCol w="556093">
                  <a:extLst>
                    <a:ext uri="{9D8B030D-6E8A-4147-A177-3AD203B41FA5}">
                      <a16:colId xmlns:a16="http://schemas.microsoft.com/office/drawing/2014/main" val="2308854066"/>
                    </a:ext>
                  </a:extLst>
                </a:gridCol>
                <a:gridCol w="556093">
                  <a:extLst>
                    <a:ext uri="{9D8B030D-6E8A-4147-A177-3AD203B41FA5}">
                      <a16:colId xmlns:a16="http://schemas.microsoft.com/office/drawing/2014/main" val="154760933"/>
                    </a:ext>
                  </a:extLst>
                </a:gridCol>
                <a:gridCol w="556093">
                  <a:extLst>
                    <a:ext uri="{9D8B030D-6E8A-4147-A177-3AD203B41FA5}">
                      <a16:colId xmlns:a16="http://schemas.microsoft.com/office/drawing/2014/main" val="3986456770"/>
                    </a:ext>
                  </a:extLst>
                </a:gridCol>
                <a:gridCol w="556093">
                  <a:extLst>
                    <a:ext uri="{9D8B030D-6E8A-4147-A177-3AD203B41FA5}">
                      <a16:colId xmlns:a16="http://schemas.microsoft.com/office/drawing/2014/main" val="3566344147"/>
                    </a:ext>
                  </a:extLst>
                </a:gridCol>
                <a:gridCol w="556093">
                  <a:extLst>
                    <a:ext uri="{9D8B030D-6E8A-4147-A177-3AD203B41FA5}">
                      <a16:colId xmlns:a16="http://schemas.microsoft.com/office/drawing/2014/main" val="1198241259"/>
                    </a:ext>
                  </a:extLst>
                </a:gridCol>
                <a:gridCol w="556093">
                  <a:extLst>
                    <a:ext uri="{9D8B030D-6E8A-4147-A177-3AD203B41FA5}">
                      <a16:colId xmlns:a16="http://schemas.microsoft.com/office/drawing/2014/main" val="2213962299"/>
                    </a:ext>
                  </a:extLst>
                </a:gridCol>
                <a:gridCol w="901918">
                  <a:extLst>
                    <a:ext uri="{9D8B030D-6E8A-4147-A177-3AD203B41FA5}">
                      <a16:colId xmlns:a16="http://schemas.microsoft.com/office/drawing/2014/main" val="1689585994"/>
                    </a:ext>
                  </a:extLst>
                </a:gridCol>
              </a:tblGrid>
              <a:tr h="341914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–20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33964"/>
                  </a:ext>
                </a:extLst>
              </a:tr>
              <a:tr h="188903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9588220"/>
                  </a:ext>
                </a:extLst>
              </a:tr>
              <a:tr h="188903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á a dorostová psychiatri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2523936"/>
                  </a:ext>
                </a:extLst>
              </a:tr>
              <a:tr h="188903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ontopsychiatrie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936797"/>
                  </a:ext>
                </a:extLst>
              </a:tr>
              <a:tr h="188903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xuologi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5719677"/>
                  </a:ext>
                </a:extLst>
              </a:tr>
              <a:tr h="188903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ávykové nemoci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2940612"/>
                  </a:ext>
                </a:extLst>
              </a:tr>
              <a:tr h="188903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olog ve zdravotnictv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7161775"/>
                  </a:ext>
                </a:extLst>
              </a:tr>
              <a:tr h="188903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iktologi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9161852"/>
                  </a:ext>
                </a:extLst>
              </a:tr>
              <a:tr h="188903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šetřovatelská péče v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i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7952035"/>
                  </a:ext>
                </a:extLst>
              </a:tr>
            </a:tbl>
          </a:graphicData>
        </a:graphic>
      </p:graphicFrame>
      <p:sp>
        <p:nvSpPr>
          <p:cNvPr id="9" name="Obdélník: se zakulacenými rohy 8">
            <a:extLst>
              <a:ext uri="{FF2B5EF4-FFF2-40B4-BE49-F238E27FC236}">
                <a16:creationId xmlns:a16="http://schemas.microsoft.com/office/drawing/2014/main" id="{EFBCE502-F60B-380A-2ECA-DC5349449B0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3154262" y="829554"/>
            <a:ext cx="6115574" cy="5674415"/>
          </a:xfrm>
          <a:prstGeom prst="roundRect">
            <a:avLst>
              <a:gd name="adj" fmla="val 4634"/>
            </a:avLst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ACB93B46-2F8C-6088-F953-23781A779E52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695557" y="539126"/>
            <a:ext cx="36671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běr absolventů pro další analýzy</a:t>
            </a:r>
          </a:p>
        </p:txBody>
      </p:sp>
    </p:spTree>
    <p:extLst>
      <p:ext uri="{BB962C8B-B14F-4D97-AF65-F5344CB8AC3E}">
        <p14:creationId xmlns:p14="http://schemas.microsoft.com/office/powerpoint/2010/main" val="2117130429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235622"/>
            <a:ext cx="11664778" cy="573989"/>
          </a:xfrm>
        </p:spPr>
        <p:txBody>
          <a:bodyPr anchor="t">
            <a:noAutofit/>
          </a:bodyPr>
          <a:lstStyle/>
          <a:p>
            <a:r>
              <a:rPr lang="cs-CZ" dirty="0"/>
              <a:t>Absolventi/uznané odbornosti/specializace z let 2012–2022 a jejich stav zaměstnání k 31. 9. 2023</a:t>
            </a:r>
            <a:br>
              <a:rPr lang="cs-CZ" dirty="0"/>
            </a:br>
            <a:endParaRPr lang="cs-CZ" dirty="0"/>
          </a:p>
        </p:txBody>
      </p:sp>
      <p:sp>
        <p:nvSpPr>
          <p:cNvPr id="3" name="TextBox 6">
            <a:extLst>
              <a:ext uri="{FF2B5EF4-FFF2-40B4-BE49-F238E27FC236}">
                <a16:creationId xmlns:a16="http://schemas.microsoft.com/office/drawing/2014/main" id="{BB9025D8-8705-19FD-33A0-8B9DCE464BF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91942" y="949744"/>
            <a:ext cx="9137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 k 1. 9. 2023 + Národní registr hrazených zdravotních služeb (NRHZS) k 31.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3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90601918-0B8A-2CA2-0419-0C7394789F9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21195534"/>
              </p:ext>
            </p:extLst>
          </p:nvPr>
        </p:nvGraphicFramePr>
        <p:xfrm>
          <a:off x="121032" y="1943801"/>
          <a:ext cx="2212593" cy="3342248"/>
        </p:xfrm>
        <a:graphic>
          <a:graphicData uri="http://schemas.openxmlformats.org/drawingml/2006/table">
            <a:tbl>
              <a:tblPr/>
              <a:tblGrid>
                <a:gridCol w="2212593">
                  <a:extLst>
                    <a:ext uri="{9D8B030D-6E8A-4147-A177-3AD203B41FA5}">
                      <a16:colId xmlns:a16="http://schemas.microsoft.com/office/drawing/2014/main" val="3273033133"/>
                    </a:ext>
                  </a:extLst>
                </a:gridCol>
              </a:tblGrid>
              <a:tr h="417781"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28279993"/>
                  </a:ext>
                </a:extLst>
              </a:tr>
              <a:tr h="417781"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á a dorostová psychiatri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92297590"/>
                  </a:ext>
                </a:extLst>
              </a:tr>
              <a:tr h="417781"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ontopsychiatrie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8782842"/>
                  </a:ext>
                </a:extLst>
              </a:tr>
              <a:tr h="417781"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xuologi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05025901"/>
                  </a:ext>
                </a:extLst>
              </a:tr>
              <a:tr h="417781"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ávykové nemoci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8347563"/>
                  </a:ext>
                </a:extLst>
              </a:tr>
              <a:tr h="417781"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olog ve zdravotnictví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16086083"/>
                  </a:ext>
                </a:extLst>
              </a:tr>
              <a:tr h="417781"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iktologi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32645442"/>
                  </a:ext>
                </a:extLst>
              </a:tr>
              <a:tr h="417781"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šetřovatelská péče v psychiatrii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73652471"/>
                  </a:ext>
                </a:extLst>
              </a:tr>
            </a:tbl>
          </a:graphicData>
        </a:graphic>
      </p:graphicFrame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5FDC9C54-E4AA-D936-92C8-2C744D0387EA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86443853"/>
              </p:ext>
            </p:extLst>
          </p:nvPr>
        </p:nvGraphicFramePr>
        <p:xfrm>
          <a:off x="2162175" y="1591664"/>
          <a:ext cx="8816975" cy="38264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31B0286E-2C4D-A7C4-2246-1334950B1460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496895364"/>
              </p:ext>
            </p:extLst>
          </p:nvPr>
        </p:nvGraphicFramePr>
        <p:xfrm>
          <a:off x="10821973" y="1934274"/>
          <a:ext cx="876300" cy="3376872"/>
        </p:xfrm>
        <a:graphic>
          <a:graphicData uri="http://schemas.openxmlformats.org/drawingml/2006/table">
            <a:tbl>
              <a:tblPr/>
              <a:tblGrid>
                <a:gridCol w="876300">
                  <a:extLst>
                    <a:ext uri="{9D8B030D-6E8A-4147-A177-3AD203B41FA5}">
                      <a16:colId xmlns:a16="http://schemas.microsoft.com/office/drawing/2014/main" val="2901768971"/>
                    </a:ext>
                  </a:extLst>
                </a:gridCol>
              </a:tblGrid>
              <a:tr h="42210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2754888"/>
                  </a:ext>
                </a:extLst>
              </a:tr>
              <a:tr h="42210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0901457"/>
                  </a:ext>
                </a:extLst>
              </a:tr>
              <a:tr h="42210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6335568"/>
                  </a:ext>
                </a:extLst>
              </a:tr>
              <a:tr h="42210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858274"/>
                  </a:ext>
                </a:extLst>
              </a:tr>
              <a:tr h="42210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= 7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9459626"/>
                  </a:ext>
                </a:extLst>
              </a:tr>
              <a:tr h="42210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8978911"/>
                  </a:ext>
                </a:extLst>
              </a:tr>
              <a:tr h="42210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6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8471354"/>
                  </a:ext>
                </a:extLst>
              </a:tr>
              <a:tr h="4221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707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020651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94E71A0A-79FA-C618-F198-F6021DEE034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217862" y="1171339"/>
            <a:ext cx="621188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městnán na pozici dle odbornosti            Jiné zaměstnání ve zdravotnictví                  Bez zaměstnání ve zdravotnictví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C4C7EAD5-DF02-B095-C418-66329C27665F}"/>
              </a:ext>
            </a:extLst>
          </p:cNvPr>
          <p:cNvSpPr/>
          <p:nvPr/>
        </p:nvSpPr>
        <p:spPr>
          <a:xfrm>
            <a:off x="3105150" y="1253093"/>
            <a:ext cx="144000" cy="144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CF5FFA00-0F33-F249-3E28-D8EC7DF6602C}"/>
              </a:ext>
            </a:extLst>
          </p:cNvPr>
          <p:cNvSpPr/>
          <p:nvPr/>
        </p:nvSpPr>
        <p:spPr>
          <a:xfrm>
            <a:off x="3105150" y="1477983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336A2BB6-CAEB-DF56-E826-FB03B55B36D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195450" y="1287933"/>
            <a:ext cx="144000" cy="144000"/>
          </a:xfrm>
          <a:prstGeom prst="rect">
            <a:avLst/>
          </a:prstGeom>
          <a:solidFill>
            <a:srgbClr val="F4B1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4311B358-CBD7-D313-66A6-F62709ADB6B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18278" y="5401918"/>
            <a:ext cx="1092517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městnán na pozici dle odbornost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a zaměstnaná u poskytovatele zdravotních služeb na pracovní pozici dle získané odborné způsobilosti 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ůsobilosti s nulovým úvazkem (aktuálně mimo aktivní stav, např. na mateřské či rodičovské dovolené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iné zaměstnání ve zdravotnictví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a zaměstnaná u poskytovatele zdravotních služeb na jiné pracovní pozici než dle získané odborné způsobilosti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zaměstnání ve zdravotnictví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osoba bez zjištěného zaměstnání ve zdravotnictví dle NRHZS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7891C7A4-4CC7-9AD8-FC18-450F68F4AB89}"/>
              </a:ext>
            </a:extLst>
          </p:cNvPr>
          <p:cNvSpPr/>
          <p:nvPr/>
        </p:nvSpPr>
        <p:spPr>
          <a:xfrm>
            <a:off x="378287" y="5491598"/>
            <a:ext cx="144000" cy="144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DFF6DC6A-2554-2088-C107-413FD3D91C5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378287" y="5918052"/>
            <a:ext cx="144000" cy="144000"/>
          </a:xfrm>
          <a:prstGeom prst="rect">
            <a:avLst/>
          </a:prstGeom>
          <a:solidFill>
            <a:srgbClr val="F4B1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063DB33D-8A70-7AFB-FC8D-59FF91B65075}"/>
              </a:ext>
            </a:extLst>
          </p:cNvPr>
          <p:cNvSpPr/>
          <p:nvPr/>
        </p:nvSpPr>
        <p:spPr>
          <a:xfrm>
            <a:off x="374278" y="6143129"/>
            <a:ext cx="144000" cy="14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688EAC24-F054-21F1-7939-3103432046D6}"/>
              </a:ext>
            </a:extLst>
          </p:cNvPr>
          <p:cNvSpPr txBox="1"/>
          <p:nvPr/>
        </p:nvSpPr>
        <p:spPr>
          <a:xfrm>
            <a:off x="121032" y="1613988"/>
            <a:ext cx="187023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dborná způsobilost:</a:t>
            </a:r>
          </a:p>
        </p:txBody>
      </p:sp>
    </p:spTree>
    <p:extLst>
      <p:ext uri="{BB962C8B-B14F-4D97-AF65-F5344CB8AC3E}">
        <p14:creationId xmlns:p14="http://schemas.microsoft.com/office/powerpoint/2010/main" val="398659609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ovéPole 1">
            <a:extLst>
              <a:ext uri="{FF2B5EF4-FFF2-40B4-BE49-F238E27FC236}">
                <a16:creationId xmlns:a16="http://schemas.microsoft.com/office/drawing/2014/main" id="{68E52F30-C8DB-D16F-A185-89D3CEE2AAB5}"/>
              </a:ext>
            </a:extLst>
          </p:cNvPr>
          <p:cNvSpPr txBox="1"/>
          <p:nvPr/>
        </p:nvSpPr>
        <p:spPr>
          <a:xfrm>
            <a:off x="604575" y="2463185"/>
            <a:ext cx="1098284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7000" b="1" dirty="0">
                <a:solidFill>
                  <a:schemeClr val="accent2">
                    <a:lumMod val="50000"/>
                  </a:schemeClr>
                </a:solidFill>
              </a:rPr>
              <a:t>DĚKUJI ZA POZORNOST </a:t>
            </a:r>
            <a:endParaRPr lang="en-US" sz="7000" b="1" dirty="0">
              <a:solidFill>
                <a:schemeClr val="accent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82290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ovéPole 1">
            <a:extLst>
              <a:ext uri="{FF2B5EF4-FFF2-40B4-BE49-F238E27FC236}">
                <a16:creationId xmlns:a16="http://schemas.microsoft.com/office/drawing/2014/main" id="{19E8B110-56B7-4C24-FAF6-6A3786235073}"/>
              </a:ext>
            </a:extLst>
          </p:cNvPr>
          <p:cNvSpPr txBox="1"/>
          <p:nvPr/>
        </p:nvSpPr>
        <p:spPr>
          <a:xfrm>
            <a:off x="4285797" y="4424796"/>
            <a:ext cx="3097892" cy="369332"/>
          </a:xfrm>
          <a:prstGeom prst="rect">
            <a:avLst/>
          </a:prstGeom>
          <a:solidFill>
            <a:srgbClr val="B6E5F3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ntrum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Graphic 4" descr="Man">
            <a:extLst>
              <a:ext uri="{FF2B5EF4-FFF2-40B4-BE49-F238E27FC236}">
                <a16:creationId xmlns:a16="http://schemas.microsoft.com/office/drawing/2014/main" id="{2069309E-A549-0137-6C29-ECEE9EFFFC1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0268" r="21381"/>
          <a:stretch/>
        </p:blipFill>
        <p:spPr>
          <a:xfrm>
            <a:off x="5264332" y="2469721"/>
            <a:ext cx="1140823" cy="1955075"/>
          </a:xfrm>
          <a:prstGeom prst="rect">
            <a:avLst/>
          </a:prstGeom>
        </p:spPr>
      </p:pic>
      <p:sp>
        <p:nvSpPr>
          <p:cNvPr id="4" name="Šipka: nahoru 3">
            <a:extLst>
              <a:ext uri="{FF2B5EF4-FFF2-40B4-BE49-F238E27FC236}">
                <a16:creationId xmlns:a16="http://schemas.microsoft.com/office/drawing/2014/main" id="{D04F46C8-2292-2DC5-95E2-F012D3F2485D}"/>
              </a:ext>
            </a:extLst>
          </p:cNvPr>
          <p:cNvSpPr/>
          <p:nvPr/>
        </p:nvSpPr>
        <p:spPr>
          <a:xfrm rot="5400000">
            <a:off x="3645279" y="2405207"/>
            <a:ext cx="295232" cy="2538528"/>
          </a:xfrm>
          <a:prstGeom prst="upArrow">
            <a:avLst/>
          </a:prstGeom>
          <a:solidFill>
            <a:srgbClr val="14647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FA2C47C1-B535-B64F-AF8F-694BE964E4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56413" y="1257250"/>
            <a:ext cx="928234" cy="922899"/>
          </a:xfrm>
          <a:prstGeom prst="rect">
            <a:avLst/>
          </a:prstGeom>
        </p:spPr>
      </p:pic>
      <p:sp>
        <p:nvSpPr>
          <p:cNvPr id="6" name="Šipka: nahoru 5">
            <a:extLst>
              <a:ext uri="{FF2B5EF4-FFF2-40B4-BE49-F238E27FC236}">
                <a16:creationId xmlns:a16="http://schemas.microsoft.com/office/drawing/2014/main" id="{03389DC7-30BA-B539-52B7-5F62396B9DF6}"/>
              </a:ext>
            </a:extLst>
          </p:cNvPr>
          <p:cNvSpPr/>
          <p:nvPr/>
        </p:nvSpPr>
        <p:spPr>
          <a:xfrm rot="16200000">
            <a:off x="3254804" y="1886739"/>
            <a:ext cx="295232" cy="2538528"/>
          </a:xfrm>
          <a:prstGeom prst="upArrow">
            <a:avLst/>
          </a:prstGeom>
          <a:solidFill>
            <a:srgbClr val="14647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48A8495-AD41-01FF-D06E-8C533AC4B312}"/>
              </a:ext>
            </a:extLst>
          </p:cNvPr>
          <p:cNvSpPr txBox="1"/>
          <p:nvPr/>
        </p:nvSpPr>
        <p:spPr>
          <a:xfrm>
            <a:off x="6342534" y="4909262"/>
            <a:ext cx="224816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14647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g-</a:t>
            </a: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srgbClr val="14647B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4836139D-7E29-D8C9-0CB4-2AB610F6936D}"/>
              </a:ext>
            </a:extLst>
          </p:cNvPr>
          <p:cNvSpPr txBox="1"/>
          <p:nvPr/>
        </p:nvSpPr>
        <p:spPr>
          <a:xfrm>
            <a:off x="6307038" y="3727809"/>
            <a:ext cx="224816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14647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g+</a:t>
            </a: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srgbClr val="14647B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Šipka: zahnutá nahoru 8">
            <a:extLst>
              <a:ext uri="{FF2B5EF4-FFF2-40B4-BE49-F238E27FC236}">
                <a16:creationId xmlns:a16="http://schemas.microsoft.com/office/drawing/2014/main" id="{51855706-E178-25B2-E346-CD38B5C40C02}"/>
              </a:ext>
            </a:extLst>
          </p:cNvPr>
          <p:cNvSpPr/>
          <p:nvPr/>
        </p:nvSpPr>
        <p:spPr>
          <a:xfrm>
            <a:off x="7555396" y="5847833"/>
            <a:ext cx="1999622" cy="849786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2834F9A1-C386-A196-9531-C9DB827994BD}"/>
              </a:ext>
            </a:extLst>
          </p:cNvPr>
          <p:cNvSpPr txBox="1"/>
          <p:nvPr/>
        </p:nvSpPr>
        <p:spPr>
          <a:xfrm>
            <a:off x="8758191" y="5417296"/>
            <a:ext cx="21018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sledný F-up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Šipka: zahnutá nahoru 10">
            <a:extLst>
              <a:ext uri="{FF2B5EF4-FFF2-40B4-BE49-F238E27FC236}">
                <a16:creationId xmlns:a16="http://schemas.microsoft.com/office/drawing/2014/main" id="{7D22EBAC-6DBD-3E68-D0A0-484813A7196B}"/>
              </a:ext>
            </a:extLst>
          </p:cNvPr>
          <p:cNvSpPr/>
          <p:nvPr/>
        </p:nvSpPr>
        <p:spPr>
          <a:xfrm rot="12378544">
            <a:off x="7997922" y="4137965"/>
            <a:ext cx="1999622" cy="849786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: nahoru 11">
            <a:extLst>
              <a:ext uri="{FF2B5EF4-FFF2-40B4-BE49-F238E27FC236}">
                <a16:creationId xmlns:a16="http://schemas.microsoft.com/office/drawing/2014/main" id="{47D82746-DA89-5B1E-5023-A65B70B6C3B8}"/>
              </a:ext>
            </a:extLst>
          </p:cNvPr>
          <p:cNvSpPr/>
          <p:nvPr/>
        </p:nvSpPr>
        <p:spPr>
          <a:xfrm rot="3880954">
            <a:off x="8760312" y="1936746"/>
            <a:ext cx="295232" cy="2538528"/>
          </a:xfrm>
          <a:prstGeom prst="upArrow">
            <a:avLst/>
          </a:prstGeom>
          <a:solidFill>
            <a:srgbClr val="14647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C622B43-6A94-C32F-0D62-448294AED81C}"/>
              </a:ext>
            </a:extLst>
          </p:cNvPr>
          <p:cNvSpPr txBox="1"/>
          <p:nvPr/>
        </p:nvSpPr>
        <p:spPr>
          <a:xfrm rot="20080954">
            <a:off x="7965632" y="2719326"/>
            <a:ext cx="21018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sledný F-up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D8C8A652-5A47-E64C-EA38-A91F807B0754}"/>
              </a:ext>
            </a:extLst>
          </p:cNvPr>
          <p:cNvSpPr txBox="1"/>
          <p:nvPr/>
        </p:nvSpPr>
        <p:spPr>
          <a:xfrm>
            <a:off x="10142350" y="1826206"/>
            <a:ext cx="157063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ouhodobé výsledky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53081D5A-B98B-697D-1B6F-705A8D3FEACD}"/>
              </a:ext>
            </a:extLst>
          </p:cNvPr>
          <p:cNvSpPr txBox="1"/>
          <p:nvPr/>
        </p:nvSpPr>
        <p:spPr>
          <a:xfrm>
            <a:off x="4074962" y="5278312"/>
            <a:ext cx="21018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cesy vedouc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diagnóz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Šipka: obousměrná svislá 15">
            <a:extLst>
              <a:ext uri="{FF2B5EF4-FFF2-40B4-BE49-F238E27FC236}">
                <a16:creationId xmlns:a16="http://schemas.microsoft.com/office/drawing/2014/main" id="{ACE1CD27-5746-5154-1206-E3CB425A9BE9}"/>
              </a:ext>
            </a:extLst>
          </p:cNvPr>
          <p:cNvSpPr/>
          <p:nvPr/>
        </p:nvSpPr>
        <p:spPr>
          <a:xfrm rot="5400000">
            <a:off x="4967824" y="3859760"/>
            <a:ext cx="295233" cy="2612260"/>
          </a:xfrm>
          <a:prstGeom prst="upDownArrow">
            <a:avLst/>
          </a:prstGeom>
          <a:solidFill>
            <a:srgbClr val="14647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233AFED8-B46B-F1C3-E3AD-8D4E82DF62D5}"/>
              </a:ext>
            </a:extLst>
          </p:cNvPr>
          <p:cNvSpPr txBox="1"/>
          <p:nvPr/>
        </p:nvSpPr>
        <p:spPr>
          <a:xfrm>
            <a:off x="82641" y="2985533"/>
            <a:ext cx="23659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vní kontakt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5E8278BE-4D57-D2EB-93ED-892D9C2ABEC3}"/>
              </a:ext>
            </a:extLst>
          </p:cNvPr>
          <p:cNvSpPr txBox="1"/>
          <p:nvPr/>
        </p:nvSpPr>
        <p:spPr>
          <a:xfrm>
            <a:off x="930076" y="3773721"/>
            <a:ext cx="23659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kvence vyšetření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3B6F382F-F4A8-F69D-6A2E-C0FE383168CC}"/>
              </a:ext>
            </a:extLst>
          </p:cNvPr>
          <p:cNvCxnSpPr>
            <a:cxnSpLocks/>
          </p:cNvCxnSpPr>
          <p:nvPr/>
        </p:nvCxnSpPr>
        <p:spPr>
          <a:xfrm flipV="1">
            <a:off x="8373451" y="1731272"/>
            <a:ext cx="682058" cy="12391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63CCFA5C-2FB8-2DE8-0831-E35C10F791F7}"/>
              </a:ext>
            </a:extLst>
          </p:cNvPr>
          <p:cNvSpPr txBox="1"/>
          <p:nvPr/>
        </p:nvSpPr>
        <p:spPr>
          <a:xfrm>
            <a:off x="8880388" y="710325"/>
            <a:ext cx="18208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ájení léčby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7838F615-B658-6E83-C372-8AB957FA69E3}"/>
              </a:ext>
            </a:extLst>
          </p:cNvPr>
          <p:cNvSpPr txBox="1"/>
          <p:nvPr/>
        </p:nvSpPr>
        <p:spPr>
          <a:xfrm>
            <a:off x="8892041" y="1194685"/>
            <a:ext cx="18208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éčba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Šipka: nahoru 21">
            <a:extLst>
              <a:ext uri="{FF2B5EF4-FFF2-40B4-BE49-F238E27FC236}">
                <a16:creationId xmlns:a16="http://schemas.microsoft.com/office/drawing/2014/main" id="{875AEE71-F1B3-0D28-F5A2-31CB337B212C}"/>
              </a:ext>
            </a:extLst>
          </p:cNvPr>
          <p:cNvSpPr/>
          <p:nvPr/>
        </p:nvSpPr>
        <p:spPr>
          <a:xfrm rot="4579020">
            <a:off x="3046206" y="1329757"/>
            <a:ext cx="238105" cy="2189138"/>
          </a:xfrm>
          <a:prstGeom prst="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CC1FBA01-7B5B-004D-2B66-5BA2C6990B49}"/>
              </a:ext>
            </a:extLst>
          </p:cNvPr>
          <p:cNvSpPr txBox="1"/>
          <p:nvPr/>
        </p:nvSpPr>
        <p:spPr>
          <a:xfrm>
            <a:off x="3666593" y="2324760"/>
            <a:ext cx="17180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íť center VSP</a:t>
            </a:r>
          </a:p>
        </p:txBody>
      </p:sp>
      <p:sp>
        <p:nvSpPr>
          <p:cNvPr id="24" name="Šipka: nahoru 23">
            <a:extLst>
              <a:ext uri="{FF2B5EF4-FFF2-40B4-BE49-F238E27FC236}">
                <a16:creationId xmlns:a16="http://schemas.microsoft.com/office/drawing/2014/main" id="{78528ABC-F6F9-B1D8-F1EF-456B8DD7D8D5}"/>
              </a:ext>
            </a:extLst>
          </p:cNvPr>
          <p:cNvSpPr/>
          <p:nvPr/>
        </p:nvSpPr>
        <p:spPr>
          <a:xfrm rot="2161369">
            <a:off x="1775281" y="711856"/>
            <a:ext cx="238105" cy="2189138"/>
          </a:xfrm>
          <a:prstGeom prst="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B65E0308-C3F0-96CD-C285-8DCC3C46B7FD}"/>
              </a:ext>
            </a:extLst>
          </p:cNvPr>
          <p:cNvSpPr txBox="1"/>
          <p:nvPr/>
        </p:nvSpPr>
        <p:spPr>
          <a:xfrm>
            <a:off x="2586609" y="373764"/>
            <a:ext cx="17180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iná pracoviště</a:t>
            </a:r>
          </a:p>
        </p:txBody>
      </p:sp>
      <p:sp>
        <p:nvSpPr>
          <p:cNvPr id="26" name="Šipka: nahoru 25">
            <a:extLst>
              <a:ext uri="{FF2B5EF4-FFF2-40B4-BE49-F238E27FC236}">
                <a16:creationId xmlns:a16="http://schemas.microsoft.com/office/drawing/2014/main" id="{5CC7417E-43BD-6B2D-528F-4D96F0140F6A}"/>
              </a:ext>
            </a:extLst>
          </p:cNvPr>
          <p:cNvSpPr/>
          <p:nvPr/>
        </p:nvSpPr>
        <p:spPr>
          <a:xfrm rot="5400000">
            <a:off x="6197012" y="-1135430"/>
            <a:ext cx="291043" cy="4073547"/>
          </a:xfrm>
          <a:prstGeom prst="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5AA71241-453D-84E8-A543-17176B7335AF}"/>
              </a:ext>
            </a:extLst>
          </p:cNvPr>
          <p:cNvSpPr txBox="1"/>
          <p:nvPr/>
        </p:nvSpPr>
        <p:spPr>
          <a:xfrm rot="2456685">
            <a:off x="3019623" y="3165586"/>
            <a:ext cx="1053057" cy="400110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ZS</a:t>
            </a:r>
          </a:p>
        </p:txBody>
      </p:sp>
    </p:spTree>
    <p:extLst>
      <p:ext uri="{BB962C8B-B14F-4D97-AF65-F5344CB8AC3E}">
        <p14:creationId xmlns:p14="http://schemas.microsoft.com/office/powerpoint/2010/main" val="18205531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2">
            <a:extLst>
              <a:ext uri="{FF2B5EF4-FFF2-40B4-BE49-F238E27FC236}">
                <a16:creationId xmlns:a16="http://schemas.microsoft.com/office/drawing/2014/main" id="{EBC66A28-1293-CDF2-37A6-D53252EC096C}"/>
              </a:ext>
            </a:extLst>
          </p:cNvPr>
          <p:cNvSpPr txBox="1">
            <a:spLocks/>
          </p:cNvSpPr>
          <p:nvPr/>
        </p:nvSpPr>
        <p:spPr>
          <a:xfrm>
            <a:off x="76200" y="1406664"/>
            <a:ext cx="12016508" cy="354633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0" b="1" i="0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Potenciál NZI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0" b="1" i="0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z pohledu procesů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0" b="1" i="0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a komplexních analýz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5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8777648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ovéPole 1">
            <a:extLst>
              <a:ext uri="{FF2B5EF4-FFF2-40B4-BE49-F238E27FC236}">
                <a16:creationId xmlns:a16="http://schemas.microsoft.com/office/drawing/2014/main" id="{DB8C6866-DF82-AFFB-FD97-C3F54DB79C7C}"/>
              </a:ext>
            </a:extLst>
          </p:cNvPr>
          <p:cNvSpPr txBox="1"/>
          <p:nvPr/>
        </p:nvSpPr>
        <p:spPr>
          <a:xfrm>
            <a:off x="200207" y="2549625"/>
            <a:ext cx="3214497" cy="1200329"/>
          </a:xfrm>
          <a:prstGeom prst="rect">
            <a:avLst/>
          </a:prstGeom>
          <a:solidFill>
            <a:srgbClr val="14647B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imární diagnostika onemocnění nebo hospitalizace 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BDD35FD3-FCF1-3ED3-2050-3FD10C5BE6F0}"/>
              </a:ext>
            </a:extLst>
          </p:cNvPr>
          <p:cNvSpPr txBox="1"/>
          <p:nvPr/>
        </p:nvSpPr>
        <p:spPr>
          <a:xfrm rot="16200000">
            <a:off x="2571750" y="2800440"/>
            <a:ext cx="23431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21324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př. schizofrenie</a:t>
            </a:r>
          </a:p>
        </p:txBody>
      </p:sp>
      <p:sp>
        <p:nvSpPr>
          <p:cNvPr id="4" name="Obdélník 6">
            <a:extLst>
              <a:ext uri="{FF2B5EF4-FFF2-40B4-BE49-F238E27FC236}">
                <a16:creationId xmlns:a16="http://schemas.microsoft.com/office/drawing/2014/main" id="{6332C2AB-27ED-0EC8-4F4A-654A518C3F15}"/>
              </a:ext>
            </a:extLst>
          </p:cNvPr>
          <p:cNvSpPr/>
          <p:nvPr/>
        </p:nvSpPr>
        <p:spPr>
          <a:xfrm>
            <a:off x="200207" y="4496601"/>
            <a:ext cx="400053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0" cap="none" spc="0" normalizeH="0" baseline="0" noProof="0" dirty="0">
                <a:ln>
                  <a:noFill/>
                </a:ln>
                <a:solidFill>
                  <a:srgbClr val="21324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ošně standardizované určení typu nemoci, tíže onemocnění a nákladů spojených s léčbou </a:t>
            </a:r>
          </a:p>
        </p:txBody>
      </p:sp>
      <p:cxnSp>
        <p:nvCxnSpPr>
          <p:cNvPr id="5" name="Přímá spojnice 4">
            <a:extLst>
              <a:ext uri="{FF2B5EF4-FFF2-40B4-BE49-F238E27FC236}">
                <a16:creationId xmlns:a16="http://schemas.microsoft.com/office/drawing/2014/main" id="{0FCAA850-6BCF-32E7-C230-6347BDDE6543}"/>
              </a:ext>
            </a:extLst>
          </p:cNvPr>
          <p:cNvCxnSpPr>
            <a:cxnSpLocks/>
          </p:cNvCxnSpPr>
          <p:nvPr/>
        </p:nvCxnSpPr>
        <p:spPr>
          <a:xfrm flipV="1">
            <a:off x="4324350" y="551055"/>
            <a:ext cx="5371903" cy="199857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Přímá spojnice 5">
            <a:extLst>
              <a:ext uri="{FF2B5EF4-FFF2-40B4-BE49-F238E27FC236}">
                <a16:creationId xmlns:a16="http://schemas.microsoft.com/office/drawing/2014/main" id="{D1E5714D-1FD9-F5D9-244A-1375BC9B171A}"/>
              </a:ext>
            </a:extLst>
          </p:cNvPr>
          <p:cNvCxnSpPr>
            <a:cxnSpLocks/>
          </p:cNvCxnSpPr>
          <p:nvPr/>
        </p:nvCxnSpPr>
        <p:spPr>
          <a:xfrm>
            <a:off x="4324350" y="3895844"/>
            <a:ext cx="5371903" cy="241110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ovéPole 6">
            <a:extLst>
              <a:ext uri="{FF2B5EF4-FFF2-40B4-BE49-F238E27FC236}">
                <a16:creationId xmlns:a16="http://schemas.microsoft.com/office/drawing/2014/main" id="{2B608F2C-C490-E07E-4295-E9069E9929EE}"/>
              </a:ext>
            </a:extLst>
          </p:cNvPr>
          <p:cNvSpPr txBox="1"/>
          <p:nvPr/>
        </p:nvSpPr>
        <p:spPr>
          <a:xfrm>
            <a:off x="9572564" y="2881507"/>
            <a:ext cx="2309804" cy="830997"/>
          </a:xfrm>
          <a:prstGeom prst="rect">
            <a:avLst/>
          </a:prstGeom>
          <a:solidFill>
            <a:srgbClr val="14647B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stup dalších  komponent NZIS </a:t>
            </a:r>
          </a:p>
        </p:txBody>
      </p:sp>
      <p:sp>
        <p:nvSpPr>
          <p:cNvPr id="8" name="Obdélník 6">
            <a:extLst>
              <a:ext uri="{FF2B5EF4-FFF2-40B4-BE49-F238E27FC236}">
                <a16:creationId xmlns:a16="http://schemas.microsoft.com/office/drawing/2014/main" id="{EE125D5F-89C2-06C1-96A2-BD2F0C2E59D2}"/>
              </a:ext>
            </a:extLst>
          </p:cNvPr>
          <p:cNvSpPr/>
          <p:nvPr/>
        </p:nvSpPr>
        <p:spPr>
          <a:xfrm rot="20828645">
            <a:off x="6571349" y="2476355"/>
            <a:ext cx="27241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h a doba trvání léčby </a:t>
            </a:r>
          </a:p>
        </p:txBody>
      </p:sp>
      <p:sp>
        <p:nvSpPr>
          <p:cNvPr id="9" name="Obdélník 6">
            <a:extLst>
              <a:ext uri="{FF2B5EF4-FFF2-40B4-BE49-F238E27FC236}">
                <a16:creationId xmlns:a16="http://schemas.microsoft.com/office/drawing/2014/main" id="{AB717C22-BCCE-9F53-19E1-5D35DD8DF899}"/>
              </a:ext>
            </a:extLst>
          </p:cNvPr>
          <p:cNvSpPr/>
          <p:nvPr/>
        </p:nvSpPr>
        <p:spPr>
          <a:xfrm>
            <a:off x="3943380" y="2732965"/>
            <a:ext cx="149682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jektorie vedoucí k diagnóze</a:t>
            </a:r>
          </a:p>
        </p:txBody>
      </p:sp>
      <p:sp>
        <p:nvSpPr>
          <p:cNvPr id="10" name="Obdélník 6">
            <a:extLst>
              <a:ext uri="{FF2B5EF4-FFF2-40B4-BE49-F238E27FC236}">
                <a16:creationId xmlns:a16="http://schemas.microsoft.com/office/drawing/2014/main" id="{B2FBCE15-BA83-1663-94BE-B77011D761AC}"/>
              </a:ext>
            </a:extLst>
          </p:cNvPr>
          <p:cNvSpPr/>
          <p:nvPr/>
        </p:nvSpPr>
        <p:spPr>
          <a:xfrm rot="1348167">
            <a:off x="4881901" y="4106342"/>
            <a:ext cx="27241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ypologie pacienta</a:t>
            </a:r>
          </a:p>
        </p:txBody>
      </p:sp>
      <p:sp>
        <p:nvSpPr>
          <p:cNvPr id="11" name="Obdélník 6">
            <a:extLst>
              <a:ext uri="{FF2B5EF4-FFF2-40B4-BE49-F238E27FC236}">
                <a16:creationId xmlns:a16="http://schemas.microsoft.com/office/drawing/2014/main" id="{EAD5F644-9DB8-FD6E-DFF8-634DC5EEFF79}"/>
              </a:ext>
            </a:extLst>
          </p:cNvPr>
          <p:cNvSpPr/>
          <p:nvPr/>
        </p:nvSpPr>
        <p:spPr>
          <a:xfrm rot="20351016">
            <a:off x="5163747" y="1749104"/>
            <a:ext cx="339537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é faktory, anamnéza</a:t>
            </a:r>
          </a:p>
        </p:txBody>
      </p:sp>
      <p:sp>
        <p:nvSpPr>
          <p:cNvPr id="12" name="Obdélník 6">
            <a:extLst>
              <a:ext uri="{FF2B5EF4-FFF2-40B4-BE49-F238E27FC236}">
                <a16:creationId xmlns:a16="http://schemas.microsoft.com/office/drawing/2014/main" id="{16725E29-009C-FD8E-1E46-BDC05CA6DEF6}"/>
              </a:ext>
            </a:extLst>
          </p:cNvPr>
          <p:cNvSpPr/>
          <p:nvPr/>
        </p:nvSpPr>
        <p:spPr>
          <a:xfrm>
            <a:off x="7076144" y="3194630"/>
            <a:ext cx="24160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likace, mortalita</a:t>
            </a:r>
          </a:p>
        </p:txBody>
      </p:sp>
      <p:sp>
        <p:nvSpPr>
          <p:cNvPr id="13" name="Obdélník 6">
            <a:extLst>
              <a:ext uri="{FF2B5EF4-FFF2-40B4-BE49-F238E27FC236}">
                <a16:creationId xmlns:a16="http://schemas.microsoft.com/office/drawing/2014/main" id="{441B8C2F-89BC-2467-C4B4-7CD221E9D68B}"/>
              </a:ext>
            </a:extLst>
          </p:cNvPr>
          <p:cNvSpPr/>
          <p:nvPr/>
        </p:nvSpPr>
        <p:spPr>
          <a:xfrm rot="678071">
            <a:off x="6708001" y="3904527"/>
            <a:ext cx="23098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sledky lůžkové péče</a:t>
            </a:r>
          </a:p>
        </p:txBody>
      </p:sp>
      <p:sp>
        <p:nvSpPr>
          <p:cNvPr id="14" name="Obdélník 6">
            <a:extLst>
              <a:ext uri="{FF2B5EF4-FFF2-40B4-BE49-F238E27FC236}">
                <a16:creationId xmlns:a16="http://schemas.microsoft.com/office/drawing/2014/main" id="{9D929C68-FB14-6604-274F-BEB9CF9C2B06}"/>
              </a:ext>
            </a:extLst>
          </p:cNvPr>
          <p:cNvSpPr/>
          <p:nvPr/>
        </p:nvSpPr>
        <p:spPr>
          <a:xfrm rot="20830785">
            <a:off x="8609725" y="1188559"/>
            <a:ext cx="322589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ouhodobá léčba, následky</a:t>
            </a:r>
          </a:p>
        </p:txBody>
      </p:sp>
      <p:sp>
        <p:nvSpPr>
          <p:cNvPr id="15" name="Obdélník 6">
            <a:extLst>
              <a:ext uri="{FF2B5EF4-FFF2-40B4-BE49-F238E27FC236}">
                <a16:creationId xmlns:a16="http://schemas.microsoft.com/office/drawing/2014/main" id="{5482C73B-2ED1-1DA1-5164-4C8970D8CF98}"/>
              </a:ext>
            </a:extLst>
          </p:cNvPr>
          <p:cNvSpPr/>
          <p:nvPr/>
        </p:nvSpPr>
        <p:spPr>
          <a:xfrm rot="900707">
            <a:off x="8826552" y="5283640"/>
            <a:ext cx="279224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ouhodobé výsledky léčby</a:t>
            </a:r>
          </a:p>
        </p:txBody>
      </p:sp>
      <p:sp>
        <p:nvSpPr>
          <p:cNvPr id="16" name="Šipka: dolů 15">
            <a:extLst>
              <a:ext uri="{FF2B5EF4-FFF2-40B4-BE49-F238E27FC236}">
                <a16:creationId xmlns:a16="http://schemas.microsoft.com/office/drawing/2014/main" id="{F8B3E911-2587-3DFC-7A3A-3C07306AE503}"/>
              </a:ext>
            </a:extLst>
          </p:cNvPr>
          <p:cNvSpPr/>
          <p:nvPr/>
        </p:nvSpPr>
        <p:spPr>
          <a:xfrm>
            <a:off x="903835" y="3840345"/>
            <a:ext cx="850605" cy="465548"/>
          </a:xfrm>
          <a:prstGeom prst="downArrow">
            <a:avLst/>
          </a:prstGeom>
          <a:solidFill>
            <a:srgbClr val="14647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65A5E4-FC53-29CD-CB3A-8928713F7C5F}"/>
              </a:ext>
            </a:extLst>
          </p:cNvPr>
          <p:cNvSpPr txBox="1"/>
          <p:nvPr/>
        </p:nvSpPr>
        <p:spPr>
          <a:xfrm rot="20374344">
            <a:off x="4356948" y="1117296"/>
            <a:ext cx="46745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2400" b="1" dirty="0" err="1">
                <a:solidFill>
                  <a:srgbClr val="14647B"/>
                </a:solidFill>
              </a:rPr>
              <a:t>Disease</a:t>
            </a:r>
            <a:r>
              <a:rPr lang="cs-CZ" sz="2400" b="1" dirty="0">
                <a:solidFill>
                  <a:srgbClr val="14647B"/>
                </a:solidFill>
              </a:rPr>
              <a:t> management programy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88C65FD3-BF55-1918-36C6-E9C22AEC1326}"/>
              </a:ext>
            </a:extLst>
          </p:cNvPr>
          <p:cNvSpPr txBox="1"/>
          <p:nvPr/>
        </p:nvSpPr>
        <p:spPr>
          <a:xfrm rot="1469034">
            <a:off x="4471595" y="5083284"/>
            <a:ext cx="46745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b="1" dirty="0">
                <a:solidFill>
                  <a:srgbClr val="14647B"/>
                </a:solidFill>
              </a:rPr>
              <a:t>Hodnocení výsledků a kvality</a:t>
            </a:r>
          </a:p>
        </p:txBody>
      </p:sp>
    </p:spTree>
    <p:extLst>
      <p:ext uri="{BB962C8B-B14F-4D97-AF65-F5344CB8AC3E}">
        <p14:creationId xmlns:p14="http://schemas.microsoft.com/office/powerpoint/2010/main" val="23627747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: se zakulacenými rohy na opačné straně 3">
            <a:extLst>
              <a:ext uri="{FF2B5EF4-FFF2-40B4-BE49-F238E27FC236}">
                <a16:creationId xmlns:a16="http://schemas.microsoft.com/office/drawing/2014/main" id="{167A20BD-62DA-44FE-AF48-7FBD2BEA4689}"/>
              </a:ext>
            </a:extLst>
          </p:cNvPr>
          <p:cNvSpPr/>
          <p:nvPr/>
        </p:nvSpPr>
        <p:spPr>
          <a:xfrm flipV="1">
            <a:off x="-4680" y="787665"/>
            <a:ext cx="5833745" cy="2787745"/>
          </a:xfrm>
          <a:prstGeom prst="round2DiagRect">
            <a:avLst>
              <a:gd name="adj1" fmla="val 50000"/>
              <a:gd name="adj2" fmla="val 0"/>
            </a:avLst>
          </a:prstGeom>
          <a:solidFill>
            <a:srgbClr val="5BCC72">
              <a:alpha val="49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71AFB65-5EC3-4B45-AC2F-AB3CB64FBF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846" y="1449859"/>
            <a:ext cx="5833745" cy="1688758"/>
          </a:xfrm>
        </p:spPr>
        <p:txBody>
          <a:bodyPr/>
          <a:lstStyle/>
          <a:p>
            <a:pPr algn="l"/>
            <a:r>
              <a:rPr lang="cs-CZ" sz="2400" b="1" i="1" dirty="0">
                <a:solidFill>
                  <a:schemeClr val="bg1"/>
                </a:solidFill>
              </a:rPr>
              <a:t>Analytické studie programu Zdraví 2030: </a:t>
            </a:r>
            <a:r>
              <a:rPr lang="cs-CZ" sz="3600" b="1" dirty="0">
                <a:solidFill>
                  <a:schemeClr val="bg1"/>
                </a:solidFill>
              </a:rPr>
              <a:t>Národní informační systém pro psychiatrii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164F2552-388B-4793-BF8A-077744D27E4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cs-CZ" sz="3800" dirty="0">
                <a:solidFill>
                  <a:srgbClr val="3F55A6"/>
                </a:solidFill>
              </a:rPr>
              <a:t>Přehled populačních dat …..</a:t>
            </a:r>
          </a:p>
          <a:p>
            <a:r>
              <a:rPr lang="cs-CZ" sz="3800" dirty="0">
                <a:solidFill>
                  <a:srgbClr val="3F55A6"/>
                </a:solidFill>
              </a:rPr>
              <a:t>	….. aneb JE a BUDE o koho pečovat</a:t>
            </a:r>
            <a:endParaRPr lang="en-US" sz="3800" dirty="0">
              <a:solidFill>
                <a:srgbClr val="3F55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95392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235622"/>
            <a:ext cx="11664778" cy="573989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cs-CZ" sz="2800" b="1" dirty="0">
                <a:solidFill>
                  <a:srgbClr val="308297"/>
                </a:solidFill>
                <a:latin typeface="+mn-lt"/>
              </a:rPr>
              <a:t>Celkový počet pacientů s psychiatrickou péčí: ČR</a:t>
            </a:r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0E4BE4BE-3E2C-528E-129D-086AAC9C088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8000" y="665785"/>
            <a:ext cx="116431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 (NRHZS).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9AE287BA-F8A3-5330-223D-0B0B39743B2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88000" y="1311583"/>
          <a:ext cx="11483982" cy="2532104"/>
        </p:xfrm>
        <a:graphic>
          <a:graphicData uri="http://schemas.openxmlformats.org/drawingml/2006/table">
            <a:tbl>
              <a:tblPr/>
              <a:tblGrid>
                <a:gridCol w="6314058">
                  <a:extLst>
                    <a:ext uri="{9D8B030D-6E8A-4147-A177-3AD203B41FA5}">
                      <a16:colId xmlns:a16="http://schemas.microsoft.com/office/drawing/2014/main" val="3240371422"/>
                    </a:ext>
                  </a:extLst>
                </a:gridCol>
                <a:gridCol w="1155480">
                  <a:extLst>
                    <a:ext uri="{9D8B030D-6E8A-4147-A177-3AD203B41FA5}">
                      <a16:colId xmlns:a16="http://schemas.microsoft.com/office/drawing/2014/main" val="1692491928"/>
                    </a:ext>
                  </a:extLst>
                </a:gridCol>
                <a:gridCol w="1338148">
                  <a:extLst>
                    <a:ext uri="{9D8B030D-6E8A-4147-A177-3AD203B41FA5}">
                      <a16:colId xmlns:a16="http://schemas.microsoft.com/office/drawing/2014/main" val="3217417136"/>
                    </a:ext>
                  </a:extLst>
                </a:gridCol>
                <a:gridCol w="1338148">
                  <a:extLst>
                    <a:ext uri="{9D8B030D-6E8A-4147-A177-3AD203B41FA5}">
                      <a16:colId xmlns:a16="http://schemas.microsoft.com/office/drawing/2014/main" val="4170971146"/>
                    </a:ext>
                  </a:extLst>
                </a:gridCol>
                <a:gridCol w="1338148">
                  <a:extLst>
                    <a:ext uri="{9D8B030D-6E8A-4147-A177-3AD203B41FA5}">
                      <a16:colId xmlns:a16="http://schemas.microsoft.com/office/drawing/2014/main" val="3321249052"/>
                    </a:ext>
                  </a:extLst>
                </a:gridCol>
              </a:tblGrid>
              <a:tr h="216563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Česká republika: rok 202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5B5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bsolutní počt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5B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5B5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řepočet na 100 000 ob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5B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5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2624905"/>
                  </a:ext>
                </a:extLst>
              </a:tr>
              <a:tr h="216563">
                <a:tc vMerge="1">
                  <a:txBody>
                    <a:bodyPr/>
                    <a:lstStyle/>
                    <a:p>
                      <a:pPr algn="l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Česká republika: rok 20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ospěl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ěti a mladistv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ospěl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ěti a mladistv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5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0648"/>
                  </a:ext>
                </a:extLst>
              </a:tr>
              <a:tr h="216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enti pravidelně v péči ZZ psychiatrické péč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620 45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66 25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247,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59,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7595593"/>
                  </a:ext>
                </a:extLst>
              </a:tr>
              <a:tr h="216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enti s vykázanými antidepresivy (N06A), kdekoli předepsanými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2 82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40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078,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8,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886180"/>
                  </a:ext>
                </a:extLst>
              </a:tr>
              <a:tr h="216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enti s vykázanými antipsychotiky (N05A), kdekoli předepsanými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 16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36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97,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51,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3801226"/>
                  </a:ext>
                </a:extLst>
              </a:tr>
              <a:tr h="21656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enti s vykázanými anxiolytiky (N05B), kdekoli předepsanými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6 74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31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85,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0,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9946619"/>
                  </a:ext>
                </a:extLst>
              </a:tr>
              <a:tr h="21656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enti s vykázanými hypnotika, sedativy (N05C), kdekoli předepsanými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96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7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4,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,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0650400"/>
                  </a:ext>
                </a:extLst>
              </a:tr>
              <a:tr h="21656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enti s vykázanými stabilizátory nálady</a:t>
                      </a:r>
                      <a:r>
                        <a:rPr lang="en-US" sz="16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kdekoli předepsanými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01 78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36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038,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51,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920692"/>
                  </a:ext>
                </a:extLst>
              </a:tr>
              <a:tr h="383264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enti v ZZ psych. péče nebo vykázanými psych. lék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22 91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 82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797,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08,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709725"/>
                  </a:ext>
                </a:extLst>
              </a:tr>
            </a:tbl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CB27478C-8C4B-D101-187B-24DBA4908F1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226689" y="3349911"/>
            <a:ext cx="68797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ymbol" panose="05050102010706020507" pitchFamily="18" charset="2"/>
                <a:ea typeface="+mn-ea"/>
                <a:cs typeface="+mn-cs"/>
              </a:rPr>
              <a:t>S</a:t>
            </a:r>
          </a:p>
        </p:txBody>
      </p:sp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02A23897-00F3-05C0-E0AD-49DECE16B078}"/>
              </a:ext>
            </a:extLst>
          </p:cNvPr>
          <p:cNvCxnSpPr/>
          <p:nvPr>
            <p:custDataLst>
              <p:tags r:id="rId5"/>
            </p:custDataLst>
          </p:nvPr>
        </p:nvCxnSpPr>
        <p:spPr>
          <a:xfrm>
            <a:off x="288000" y="3508089"/>
            <a:ext cx="115654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ovéPole 2">
            <a:extLst>
              <a:ext uri="{FF2B5EF4-FFF2-40B4-BE49-F238E27FC236}">
                <a16:creationId xmlns:a16="http://schemas.microsoft.com/office/drawing/2014/main" id="{5F01F365-9014-DED7-05EE-DB33E8077F0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20985" y="6104173"/>
            <a:ext cx="1117101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02 Analgetika, N03AF Deriváty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rboxamidu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N03AG Deriváty mastných kyselin, N03AX Jiná antiepileptika, N05AN Lithium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27F257CC-3D24-EAE9-819B-E5D8DF0ABDA8}"/>
              </a:ext>
            </a:extLst>
          </p:cNvPr>
          <p:cNvSpPr txBox="1"/>
          <p:nvPr/>
        </p:nvSpPr>
        <p:spPr>
          <a:xfrm>
            <a:off x="288000" y="4428585"/>
            <a:ext cx="63786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600" b="1" dirty="0">
                <a:solidFill>
                  <a:srgbClr val="FF0000"/>
                </a:solidFill>
              </a:rPr>
              <a:t>Dospělí: 7,2%                24,8%             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F4D59A06-BF10-48FD-F3B6-03EAFC996CFE}"/>
              </a:ext>
            </a:extLst>
          </p:cNvPr>
          <p:cNvSpPr txBox="1"/>
          <p:nvPr/>
        </p:nvSpPr>
        <p:spPr>
          <a:xfrm>
            <a:off x="6226689" y="4442640"/>
            <a:ext cx="59477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3600" b="1" dirty="0">
                <a:solidFill>
                  <a:srgbClr val="FF0000"/>
                </a:solidFill>
              </a:rPr>
              <a:t>Děti: 2,9%                4,3%             </a:t>
            </a:r>
          </a:p>
        </p:txBody>
      </p:sp>
      <p:sp>
        <p:nvSpPr>
          <p:cNvPr id="9" name="Šipka: doprava 8">
            <a:extLst>
              <a:ext uri="{FF2B5EF4-FFF2-40B4-BE49-F238E27FC236}">
                <a16:creationId xmlns:a16="http://schemas.microsoft.com/office/drawing/2014/main" id="{2FFF9607-7F58-BCCE-85D3-F7911DF30F8F}"/>
              </a:ext>
            </a:extLst>
          </p:cNvPr>
          <p:cNvSpPr/>
          <p:nvPr/>
        </p:nvSpPr>
        <p:spPr>
          <a:xfrm>
            <a:off x="3147237" y="4633258"/>
            <a:ext cx="1169582" cy="287079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" name="Šipka: doprava 9">
            <a:extLst>
              <a:ext uri="{FF2B5EF4-FFF2-40B4-BE49-F238E27FC236}">
                <a16:creationId xmlns:a16="http://schemas.microsoft.com/office/drawing/2014/main" id="{39EB9C4B-90B9-5F8D-5278-9CBC1E95BB7E}"/>
              </a:ext>
            </a:extLst>
          </p:cNvPr>
          <p:cNvSpPr/>
          <p:nvPr/>
        </p:nvSpPr>
        <p:spPr>
          <a:xfrm>
            <a:off x="9083928" y="4622265"/>
            <a:ext cx="1169582" cy="287079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Šipka: ohnutá 13">
            <a:extLst>
              <a:ext uri="{FF2B5EF4-FFF2-40B4-BE49-F238E27FC236}">
                <a16:creationId xmlns:a16="http://schemas.microsoft.com/office/drawing/2014/main" id="{6FB8FB69-56FD-C853-165A-7E27D1BE952C}"/>
              </a:ext>
            </a:extLst>
          </p:cNvPr>
          <p:cNvSpPr/>
          <p:nvPr/>
        </p:nvSpPr>
        <p:spPr>
          <a:xfrm flipV="1">
            <a:off x="946298" y="5156193"/>
            <a:ext cx="813816" cy="848354"/>
          </a:xfrm>
          <a:prstGeom prst="bent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45A4E4CD-A742-4361-223D-1DD4DF2EAFA7}"/>
              </a:ext>
            </a:extLst>
          </p:cNvPr>
          <p:cNvSpPr txBox="1"/>
          <p:nvPr/>
        </p:nvSpPr>
        <p:spPr>
          <a:xfrm>
            <a:off x="1912054" y="5550175"/>
            <a:ext cx="34456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000" b="1" dirty="0"/>
              <a:t>v péči 1361 lékařů </a:t>
            </a:r>
          </a:p>
        </p:txBody>
      </p:sp>
      <p:sp>
        <p:nvSpPr>
          <p:cNvPr id="16" name="Šipka: ohnutá 15">
            <a:extLst>
              <a:ext uri="{FF2B5EF4-FFF2-40B4-BE49-F238E27FC236}">
                <a16:creationId xmlns:a16="http://schemas.microsoft.com/office/drawing/2014/main" id="{0CC653CE-8BF7-D9C2-B333-D48ACC99D88D}"/>
              </a:ext>
            </a:extLst>
          </p:cNvPr>
          <p:cNvSpPr/>
          <p:nvPr/>
        </p:nvSpPr>
        <p:spPr>
          <a:xfrm flipV="1">
            <a:off x="7244317" y="5191839"/>
            <a:ext cx="813816" cy="848354"/>
          </a:xfrm>
          <a:prstGeom prst="bent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60E4E2F3-C2E4-877D-8032-DDB067AF685B}"/>
              </a:ext>
            </a:extLst>
          </p:cNvPr>
          <p:cNvSpPr txBox="1"/>
          <p:nvPr/>
        </p:nvSpPr>
        <p:spPr>
          <a:xfrm>
            <a:off x="8210073" y="5540310"/>
            <a:ext cx="308170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000" b="1" dirty="0"/>
              <a:t>v péči 157 lékařů </a:t>
            </a:r>
          </a:p>
        </p:txBody>
      </p:sp>
    </p:spTree>
    <p:extLst>
      <p:ext uri="{BB962C8B-B14F-4D97-AF65-F5344CB8AC3E}">
        <p14:creationId xmlns:p14="http://schemas.microsoft.com/office/powerpoint/2010/main" val="8816890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235622"/>
            <a:ext cx="11664778" cy="573989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cs-CZ" b="1" dirty="0">
                <a:solidFill>
                  <a:srgbClr val="308297"/>
                </a:solidFill>
                <a:latin typeface="+mn-lt"/>
              </a:rPr>
              <a:t>Celkový počet pacientů s psychiatrickou péčí: Praha</a:t>
            </a:r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0E4BE4BE-3E2C-528E-129D-086AAC9C088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8000" y="665785"/>
            <a:ext cx="116431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 (NRHZS).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9AE287BA-F8A3-5330-223D-0B0B39743B2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88000" y="1311583"/>
          <a:ext cx="11483982" cy="2530199"/>
        </p:xfrm>
        <a:graphic>
          <a:graphicData uri="http://schemas.openxmlformats.org/drawingml/2006/table">
            <a:tbl>
              <a:tblPr/>
              <a:tblGrid>
                <a:gridCol w="6314058">
                  <a:extLst>
                    <a:ext uri="{9D8B030D-6E8A-4147-A177-3AD203B41FA5}">
                      <a16:colId xmlns:a16="http://schemas.microsoft.com/office/drawing/2014/main" val="3240371422"/>
                    </a:ext>
                  </a:extLst>
                </a:gridCol>
                <a:gridCol w="1155480">
                  <a:extLst>
                    <a:ext uri="{9D8B030D-6E8A-4147-A177-3AD203B41FA5}">
                      <a16:colId xmlns:a16="http://schemas.microsoft.com/office/drawing/2014/main" val="1692491928"/>
                    </a:ext>
                  </a:extLst>
                </a:gridCol>
                <a:gridCol w="1338148">
                  <a:extLst>
                    <a:ext uri="{9D8B030D-6E8A-4147-A177-3AD203B41FA5}">
                      <a16:colId xmlns:a16="http://schemas.microsoft.com/office/drawing/2014/main" val="3217417136"/>
                    </a:ext>
                  </a:extLst>
                </a:gridCol>
                <a:gridCol w="1338148">
                  <a:extLst>
                    <a:ext uri="{9D8B030D-6E8A-4147-A177-3AD203B41FA5}">
                      <a16:colId xmlns:a16="http://schemas.microsoft.com/office/drawing/2014/main" val="4170971146"/>
                    </a:ext>
                  </a:extLst>
                </a:gridCol>
                <a:gridCol w="1338148">
                  <a:extLst>
                    <a:ext uri="{9D8B030D-6E8A-4147-A177-3AD203B41FA5}">
                      <a16:colId xmlns:a16="http://schemas.microsoft.com/office/drawing/2014/main" val="3321249052"/>
                    </a:ext>
                  </a:extLst>
                </a:gridCol>
              </a:tblGrid>
              <a:tr h="216563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acienti s bydlištěm v Hl. m. Praze: rok 202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5B5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bsolutní počt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5B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5B5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řepočet na 100 000 ob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5B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5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2624905"/>
                  </a:ext>
                </a:extLst>
              </a:tr>
              <a:tr h="216563">
                <a:tc vMerge="1">
                  <a:txBody>
                    <a:bodyPr/>
                    <a:lstStyle/>
                    <a:p>
                      <a:pPr algn="l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Česká republika: rok 20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ospěl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ěti a mladistv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ospěl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ěti a mladistv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5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0648"/>
                  </a:ext>
                </a:extLst>
              </a:tr>
              <a:tr h="216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enti pravidelně v péči ZZ psychiatrické péč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88 72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8 31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172,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79,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7595593"/>
                  </a:ext>
                </a:extLst>
              </a:tr>
              <a:tr h="216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enti s vykázanými antidepresivy (N06A), kdekoli předepsanými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78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9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480,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0,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886180"/>
                  </a:ext>
                </a:extLst>
              </a:tr>
              <a:tr h="216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enti s vykázanými antipsychotiky (N05A), kdekoli předepsanými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29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5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06,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0,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3801226"/>
                  </a:ext>
                </a:extLst>
              </a:tr>
              <a:tr h="21656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enti s vykázanými anxiolytiky (N05B), kdekoli předepsanými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14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2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76,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1,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9946619"/>
                  </a:ext>
                </a:extLst>
              </a:tr>
              <a:tr h="21656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enti s vykázanými hypnotika, sedativy (N05C), kdekoli předepsanými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87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9,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,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0650400"/>
                  </a:ext>
                </a:extLst>
              </a:tr>
              <a:tr h="21656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enti s vykázanými stabilizátory nálady</a:t>
                      </a:r>
                      <a:r>
                        <a:rPr lang="en-US" sz="16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kdekoli předepsanými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 00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7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777,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0,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920692"/>
                  </a:ext>
                </a:extLst>
              </a:tr>
              <a:tr h="383264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enti v ZZ psych. péče nebo vykázanými psych. lék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 90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45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465,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69,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709725"/>
                  </a:ext>
                </a:extLst>
              </a:tr>
            </a:tbl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CB27478C-8C4B-D101-187B-24DBA4908F1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226689" y="3349911"/>
            <a:ext cx="68797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ymbol" panose="05050102010706020507" pitchFamily="18" charset="2"/>
                <a:ea typeface="+mn-ea"/>
                <a:cs typeface="+mn-cs"/>
              </a:rPr>
              <a:t>S</a:t>
            </a:r>
          </a:p>
        </p:txBody>
      </p:sp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02A23897-00F3-05C0-E0AD-49DECE16B078}"/>
              </a:ext>
            </a:extLst>
          </p:cNvPr>
          <p:cNvCxnSpPr/>
          <p:nvPr>
            <p:custDataLst>
              <p:tags r:id="rId5"/>
            </p:custDataLst>
          </p:nvPr>
        </p:nvCxnSpPr>
        <p:spPr>
          <a:xfrm>
            <a:off x="288000" y="3508089"/>
            <a:ext cx="115654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ovéPole 3">
            <a:extLst>
              <a:ext uri="{FF2B5EF4-FFF2-40B4-BE49-F238E27FC236}">
                <a16:creationId xmlns:a16="http://schemas.microsoft.com/office/drawing/2014/main" id="{27F257CC-3D24-EAE9-819B-E5D8DF0ABDA8}"/>
              </a:ext>
            </a:extLst>
          </p:cNvPr>
          <p:cNvSpPr txBox="1"/>
          <p:nvPr/>
        </p:nvSpPr>
        <p:spPr>
          <a:xfrm>
            <a:off x="288000" y="4428585"/>
            <a:ext cx="63786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600" b="1" dirty="0">
                <a:solidFill>
                  <a:srgbClr val="FF0000"/>
                </a:solidFill>
              </a:rPr>
              <a:t>Dospělí: 8,2%                22,5%             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F4D59A06-BF10-48FD-F3B6-03EAFC996CFE}"/>
              </a:ext>
            </a:extLst>
          </p:cNvPr>
          <p:cNvSpPr txBox="1"/>
          <p:nvPr/>
        </p:nvSpPr>
        <p:spPr>
          <a:xfrm>
            <a:off x="6226689" y="4442640"/>
            <a:ext cx="59477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3600" b="1" dirty="0">
                <a:solidFill>
                  <a:srgbClr val="FF0000"/>
                </a:solidFill>
              </a:rPr>
              <a:t>Děti: 2,9%                4,0%             </a:t>
            </a:r>
          </a:p>
        </p:txBody>
      </p:sp>
      <p:sp>
        <p:nvSpPr>
          <p:cNvPr id="9" name="Šipka: doprava 8">
            <a:extLst>
              <a:ext uri="{FF2B5EF4-FFF2-40B4-BE49-F238E27FC236}">
                <a16:creationId xmlns:a16="http://schemas.microsoft.com/office/drawing/2014/main" id="{2FFF9607-7F58-BCCE-85D3-F7911DF30F8F}"/>
              </a:ext>
            </a:extLst>
          </p:cNvPr>
          <p:cNvSpPr/>
          <p:nvPr/>
        </p:nvSpPr>
        <p:spPr>
          <a:xfrm>
            <a:off x="3147237" y="4633258"/>
            <a:ext cx="1169582" cy="287079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" name="Šipka: doprava 9">
            <a:extLst>
              <a:ext uri="{FF2B5EF4-FFF2-40B4-BE49-F238E27FC236}">
                <a16:creationId xmlns:a16="http://schemas.microsoft.com/office/drawing/2014/main" id="{39EB9C4B-90B9-5F8D-5278-9CBC1E95BB7E}"/>
              </a:ext>
            </a:extLst>
          </p:cNvPr>
          <p:cNvSpPr/>
          <p:nvPr/>
        </p:nvSpPr>
        <p:spPr>
          <a:xfrm>
            <a:off x="9083928" y="4622265"/>
            <a:ext cx="1169582" cy="287079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45A4E4CD-A742-4361-223D-1DD4DF2EAFA7}"/>
              </a:ext>
            </a:extLst>
          </p:cNvPr>
          <p:cNvSpPr txBox="1"/>
          <p:nvPr/>
        </p:nvSpPr>
        <p:spPr>
          <a:xfrm>
            <a:off x="1912054" y="5550175"/>
            <a:ext cx="34456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000" b="1" dirty="0"/>
              <a:t>v péči 386 lékařů 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60E4E2F3-C2E4-877D-8032-DDB067AF685B}"/>
              </a:ext>
            </a:extLst>
          </p:cNvPr>
          <p:cNvSpPr txBox="1"/>
          <p:nvPr/>
        </p:nvSpPr>
        <p:spPr>
          <a:xfrm>
            <a:off x="8210073" y="5540310"/>
            <a:ext cx="308170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000" b="1" dirty="0"/>
              <a:t>v péči 59 lékařů 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DC4A7D4D-1097-78F4-0C17-1E8F3F3F4F6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77220" y="6204825"/>
            <a:ext cx="1117101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02 Analgetika, N03AF Deriváty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rboxamidu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N03AG Deriváty mastných kyselin, N03AX Jiná antiepileptika, N05AN Lithium</a:t>
            </a:r>
          </a:p>
        </p:txBody>
      </p:sp>
      <p:sp>
        <p:nvSpPr>
          <p:cNvPr id="12" name="Šipka: ohnutá 11">
            <a:extLst>
              <a:ext uri="{FF2B5EF4-FFF2-40B4-BE49-F238E27FC236}">
                <a16:creationId xmlns:a16="http://schemas.microsoft.com/office/drawing/2014/main" id="{8C7EBF36-A0E2-A03D-CB93-F26D1E5B920C}"/>
              </a:ext>
            </a:extLst>
          </p:cNvPr>
          <p:cNvSpPr/>
          <p:nvPr/>
        </p:nvSpPr>
        <p:spPr>
          <a:xfrm flipV="1">
            <a:off x="946298" y="5156193"/>
            <a:ext cx="813816" cy="848354"/>
          </a:xfrm>
          <a:prstGeom prst="bent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sp>
        <p:nvSpPr>
          <p:cNvPr id="21" name="Šipka: ohnutá 20">
            <a:extLst>
              <a:ext uri="{FF2B5EF4-FFF2-40B4-BE49-F238E27FC236}">
                <a16:creationId xmlns:a16="http://schemas.microsoft.com/office/drawing/2014/main" id="{E3E82887-8951-E8F5-00B2-521FB8AFC44A}"/>
              </a:ext>
            </a:extLst>
          </p:cNvPr>
          <p:cNvSpPr/>
          <p:nvPr/>
        </p:nvSpPr>
        <p:spPr>
          <a:xfrm flipV="1">
            <a:off x="7244317" y="5191839"/>
            <a:ext cx="813816" cy="848354"/>
          </a:xfrm>
          <a:prstGeom prst="bent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07713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235622"/>
            <a:ext cx="11664778" cy="573989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cs-CZ" sz="2800" b="1" dirty="0">
                <a:solidFill>
                  <a:srgbClr val="308297"/>
                </a:solidFill>
                <a:latin typeface="+mn-lt"/>
              </a:rPr>
              <a:t>Celkový počet pacientů s psychiatrickou péčí: Praha a Středočeský kraj</a:t>
            </a:r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0E4BE4BE-3E2C-528E-129D-086AAC9C088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8000" y="665785"/>
            <a:ext cx="116431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 (NRHZS).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9AE287BA-F8A3-5330-223D-0B0B39743B2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88000" y="1311583"/>
          <a:ext cx="11483982" cy="2530199"/>
        </p:xfrm>
        <a:graphic>
          <a:graphicData uri="http://schemas.openxmlformats.org/drawingml/2006/table">
            <a:tbl>
              <a:tblPr/>
              <a:tblGrid>
                <a:gridCol w="6314058">
                  <a:extLst>
                    <a:ext uri="{9D8B030D-6E8A-4147-A177-3AD203B41FA5}">
                      <a16:colId xmlns:a16="http://schemas.microsoft.com/office/drawing/2014/main" val="3240371422"/>
                    </a:ext>
                  </a:extLst>
                </a:gridCol>
                <a:gridCol w="1155480">
                  <a:extLst>
                    <a:ext uri="{9D8B030D-6E8A-4147-A177-3AD203B41FA5}">
                      <a16:colId xmlns:a16="http://schemas.microsoft.com/office/drawing/2014/main" val="1692491928"/>
                    </a:ext>
                  </a:extLst>
                </a:gridCol>
                <a:gridCol w="1338148">
                  <a:extLst>
                    <a:ext uri="{9D8B030D-6E8A-4147-A177-3AD203B41FA5}">
                      <a16:colId xmlns:a16="http://schemas.microsoft.com/office/drawing/2014/main" val="3217417136"/>
                    </a:ext>
                  </a:extLst>
                </a:gridCol>
                <a:gridCol w="1338148">
                  <a:extLst>
                    <a:ext uri="{9D8B030D-6E8A-4147-A177-3AD203B41FA5}">
                      <a16:colId xmlns:a16="http://schemas.microsoft.com/office/drawing/2014/main" val="4170971146"/>
                    </a:ext>
                  </a:extLst>
                </a:gridCol>
                <a:gridCol w="1338148">
                  <a:extLst>
                    <a:ext uri="{9D8B030D-6E8A-4147-A177-3AD203B41FA5}">
                      <a16:colId xmlns:a16="http://schemas.microsoft.com/office/drawing/2014/main" val="3321249052"/>
                    </a:ext>
                  </a:extLst>
                </a:gridCol>
              </a:tblGrid>
              <a:tr h="216563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acienti s bydlištěm v Hl. m. Praze a STČ: rok 202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5B5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bsolutní počt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5B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5B5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řepočet na 100 000 ob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5B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5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2624905"/>
                  </a:ext>
                </a:extLst>
              </a:tr>
              <a:tr h="216563">
                <a:tc vMerge="1">
                  <a:txBody>
                    <a:bodyPr/>
                    <a:lstStyle/>
                    <a:p>
                      <a:pPr algn="l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Česká republika: rok 20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ospěl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ěti a mladistv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ospěl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ěti a mladistv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5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0648"/>
                  </a:ext>
                </a:extLst>
              </a:tr>
              <a:tr h="216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enti pravidelně v péči ZZ psychiatrické péč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67 23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7 58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613,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00,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7595593"/>
                  </a:ext>
                </a:extLst>
              </a:tr>
              <a:tr h="216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enti s vykázanými antidepresivy (N06A), kdekoli předepsanými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 17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95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433,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85,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886180"/>
                  </a:ext>
                </a:extLst>
              </a:tr>
              <a:tr h="216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enti s vykázanými antipsychotiky (N05A), kdekoli předepsanými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72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8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82,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8,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3801226"/>
                  </a:ext>
                </a:extLst>
              </a:tr>
              <a:tr h="21656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enti s vykázanými anxiolytiky (N05B), kdekoli předepsanými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25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6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84,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3,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9946619"/>
                  </a:ext>
                </a:extLst>
              </a:tr>
              <a:tr h="21656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enti s vykázanými hypnotika, sedativy (N05C), kdekoli předepsanými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12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4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0,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,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0650400"/>
                  </a:ext>
                </a:extLst>
              </a:tr>
              <a:tr h="21656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enti s vykázanými stabilizátory nálady</a:t>
                      </a:r>
                      <a:r>
                        <a:rPr lang="en-US" sz="16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kdekoli předepsanými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 44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9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674,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9,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920692"/>
                  </a:ext>
                </a:extLst>
              </a:tr>
              <a:tr h="383264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enti v ZZ psych. péče nebo vykázanými psych. lék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3 18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29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907,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26,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709725"/>
                  </a:ext>
                </a:extLst>
              </a:tr>
            </a:tbl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CB27478C-8C4B-D101-187B-24DBA4908F1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226689" y="3349911"/>
            <a:ext cx="68797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ymbol" panose="05050102010706020507" pitchFamily="18" charset="2"/>
                <a:ea typeface="+mn-ea"/>
                <a:cs typeface="+mn-cs"/>
              </a:rPr>
              <a:t>S</a:t>
            </a:r>
          </a:p>
        </p:txBody>
      </p:sp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02A23897-00F3-05C0-E0AD-49DECE16B078}"/>
              </a:ext>
            </a:extLst>
          </p:cNvPr>
          <p:cNvCxnSpPr/>
          <p:nvPr>
            <p:custDataLst>
              <p:tags r:id="rId5"/>
            </p:custDataLst>
          </p:nvPr>
        </p:nvCxnSpPr>
        <p:spPr>
          <a:xfrm>
            <a:off x="288000" y="3508089"/>
            <a:ext cx="115654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ovéPole 3">
            <a:extLst>
              <a:ext uri="{FF2B5EF4-FFF2-40B4-BE49-F238E27FC236}">
                <a16:creationId xmlns:a16="http://schemas.microsoft.com/office/drawing/2014/main" id="{27F257CC-3D24-EAE9-819B-E5D8DF0ABDA8}"/>
              </a:ext>
            </a:extLst>
          </p:cNvPr>
          <p:cNvSpPr txBox="1"/>
          <p:nvPr/>
        </p:nvSpPr>
        <p:spPr>
          <a:xfrm>
            <a:off x="288000" y="4428585"/>
            <a:ext cx="63786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600" b="1" dirty="0">
                <a:solidFill>
                  <a:srgbClr val="FF0000"/>
                </a:solidFill>
              </a:rPr>
              <a:t>Dospělí: 7,6%                22,9%             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F4D59A06-BF10-48FD-F3B6-03EAFC996CFE}"/>
              </a:ext>
            </a:extLst>
          </p:cNvPr>
          <p:cNvSpPr txBox="1"/>
          <p:nvPr/>
        </p:nvSpPr>
        <p:spPr>
          <a:xfrm>
            <a:off x="6226689" y="4442640"/>
            <a:ext cx="59477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3600" b="1" dirty="0">
                <a:solidFill>
                  <a:srgbClr val="FF0000"/>
                </a:solidFill>
              </a:rPr>
              <a:t>Děti: 2,8%                4,0%             </a:t>
            </a:r>
          </a:p>
        </p:txBody>
      </p:sp>
      <p:sp>
        <p:nvSpPr>
          <p:cNvPr id="9" name="Šipka: doprava 8">
            <a:extLst>
              <a:ext uri="{FF2B5EF4-FFF2-40B4-BE49-F238E27FC236}">
                <a16:creationId xmlns:a16="http://schemas.microsoft.com/office/drawing/2014/main" id="{2FFF9607-7F58-BCCE-85D3-F7911DF30F8F}"/>
              </a:ext>
            </a:extLst>
          </p:cNvPr>
          <p:cNvSpPr/>
          <p:nvPr/>
        </p:nvSpPr>
        <p:spPr>
          <a:xfrm>
            <a:off x="3147237" y="4633258"/>
            <a:ext cx="1169582" cy="287079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" name="Šipka: doprava 9">
            <a:extLst>
              <a:ext uri="{FF2B5EF4-FFF2-40B4-BE49-F238E27FC236}">
                <a16:creationId xmlns:a16="http://schemas.microsoft.com/office/drawing/2014/main" id="{39EB9C4B-90B9-5F8D-5278-9CBC1E95BB7E}"/>
              </a:ext>
            </a:extLst>
          </p:cNvPr>
          <p:cNvSpPr/>
          <p:nvPr/>
        </p:nvSpPr>
        <p:spPr>
          <a:xfrm>
            <a:off x="9083928" y="4622265"/>
            <a:ext cx="1169582" cy="287079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45A4E4CD-A742-4361-223D-1DD4DF2EAFA7}"/>
              </a:ext>
            </a:extLst>
          </p:cNvPr>
          <p:cNvSpPr txBox="1"/>
          <p:nvPr/>
        </p:nvSpPr>
        <p:spPr>
          <a:xfrm>
            <a:off x="1912054" y="5550175"/>
            <a:ext cx="34456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000" b="1" dirty="0"/>
              <a:t>v péči 496 lékařů 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60E4E2F3-C2E4-877D-8032-DDB067AF685B}"/>
              </a:ext>
            </a:extLst>
          </p:cNvPr>
          <p:cNvSpPr txBox="1"/>
          <p:nvPr/>
        </p:nvSpPr>
        <p:spPr>
          <a:xfrm>
            <a:off x="8210073" y="5540310"/>
            <a:ext cx="308170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000" b="1" dirty="0"/>
              <a:t>v péči 63 lékařů 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3AFBB41C-95C8-744C-B065-C11C3FC8C85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77220" y="6204825"/>
            <a:ext cx="1117101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02 Analgetika, N03AF Deriváty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rboxamidu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N03AG Deriváty mastných kyselin, N03AX Jiná antiepileptika, N05AN Lithium</a:t>
            </a:r>
          </a:p>
        </p:txBody>
      </p:sp>
      <p:sp>
        <p:nvSpPr>
          <p:cNvPr id="12" name="Šipka: ohnutá 11">
            <a:extLst>
              <a:ext uri="{FF2B5EF4-FFF2-40B4-BE49-F238E27FC236}">
                <a16:creationId xmlns:a16="http://schemas.microsoft.com/office/drawing/2014/main" id="{FB993D20-F157-52C7-853C-457347FD22BC}"/>
              </a:ext>
            </a:extLst>
          </p:cNvPr>
          <p:cNvSpPr/>
          <p:nvPr/>
        </p:nvSpPr>
        <p:spPr>
          <a:xfrm flipV="1">
            <a:off x="946298" y="5156193"/>
            <a:ext cx="813816" cy="848354"/>
          </a:xfrm>
          <a:prstGeom prst="bent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sp>
        <p:nvSpPr>
          <p:cNvPr id="17" name="Šipka: ohnutá 16">
            <a:extLst>
              <a:ext uri="{FF2B5EF4-FFF2-40B4-BE49-F238E27FC236}">
                <a16:creationId xmlns:a16="http://schemas.microsoft.com/office/drawing/2014/main" id="{7BC2D6EF-F6ED-48AD-B266-8B88102CFEDF}"/>
              </a:ext>
            </a:extLst>
          </p:cNvPr>
          <p:cNvSpPr/>
          <p:nvPr/>
        </p:nvSpPr>
        <p:spPr>
          <a:xfrm flipV="1">
            <a:off x="7244317" y="5191839"/>
            <a:ext cx="813816" cy="848354"/>
          </a:xfrm>
          <a:prstGeom prst="bent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9064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235622"/>
            <a:ext cx="11664778" cy="573989"/>
          </a:xfrm>
        </p:spPr>
        <p:txBody>
          <a:bodyPr anchor="t">
            <a:normAutofit/>
          </a:bodyPr>
          <a:lstStyle/>
          <a:p>
            <a:r>
              <a:rPr lang="cs-CZ" dirty="0"/>
              <a:t>Celkový počet pacientů s psychiatrickou péčí</a:t>
            </a:r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0E4BE4BE-3E2C-528E-129D-086AAC9C088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8000" y="665785"/>
            <a:ext cx="116431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 (NRHZS).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, kteří mají v daném roce vykázanou jakoukoli péči (ambulantní nebo hospitalizační) u odbornosti psychiatrie, na 100 000 obyvatel. </a:t>
            </a: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FA26F477-0069-A691-804D-3C557045D1AB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486884" y="1703947"/>
          <a:ext cx="3933012" cy="4545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5" name="Obdélník 3">
            <a:extLst>
              <a:ext uri="{FF2B5EF4-FFF2-40B4-BE49-F238E27FC236}">
                <a16:creationId xmlns:a16="http://schemas.microsoft.com/office/drawing/2014/main" id="{052FAB3E-0294-99A4-43FD-46C71CF580F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63459" y="1415413"/>
            <a:ext cx="4879093" cy="5231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 v roce 2023 </a:t>
            </a:r>
            <a:b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 100 tisíc obyvatel</a:t>
            </a:r>
          </a:p>
        </p:txBody>
      </p:sp>
      <p:sp>
        <p:nvSpPr>
          <p:cNvPr id="7" name="TextBox 2">
            <a:extLst>
              <a:ext uri="{FF2B5EF4-FFF2-40B4-BE49-F238E27FC236}">
                <a16:creationId xmlns:a16="http://schemas.microsoft.com/office/drawing/2014/main" id="{9076C295-9109-FDAA-7076-6ADDD381D2C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240366" y="1663824"/>
            <a:ext cx="57179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počtu pacientů v přepočtu na 100 tisíc obyvatel</a:t>
            </a:r>
            <a:endParaRPr kumimoji="0" lang="cs-CZ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8ABECF1D-96E0-E836-7941-5DD53394B2BA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89071084"/>
              </p:ext>
            </p:extLst>
          </p:nvPr>
        </p:nvGraphicFramePr>
        <p:xfrm>
          <a:off x="6046179" y="2270859"/>
          <a:ext cx="5551121" cy="2630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1090C167-2B2D-9BB4-44C0-554A6E8E8154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4515221" y="1938550"/>
          <a:ext cx="999869" cy="4222477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999869">
                  <a:extLst>
                    <a:ext uri="{9D8B030D-6E8A-4147-A177-3AD203B41FA5}">
                      <a16:colId xmlns:a16="http://schemas.microsoft.com/office/drawing/2014/main" val="2874764292"/>
                    </a:ext>
                  </a:extLst>
                </a:gridCol>
              </a:tblGrid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298539376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842846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657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986670882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037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34283177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351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70791503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705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73776045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258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50666527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6 707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92849968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388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09903132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852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804707030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783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366958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549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1285122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748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42976251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192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6990964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878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42291403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653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28010984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624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43920033"/>
                  </a:ext>
                </a:extLst>
              </a:tr>
            </a:tbl>
          </a:graphicData>
        </a:graphic>
      </p:graphicFrame>
      <p:sp>
        <p:nvSpPr>
          <p:cNvPr id="3" name="TextovéPole 2">
            <a:extLst>
              <a:ext uri="{FF2B5EF4-FFF2-40B4-BE49-F238E27FC236}">
                <a16:creationId xmlns:a16="http://schemas.microsoft.com/office/drawing/2014/main" id="{742D5A7A-8F59-FC0A-9BDE-BE525ED05CF9}"/>
              </a:ext>
            </a:extLst>
          </p:cNvPr>
          <p:cNvSpPr txBox="1"/>
          <p:nvPr/>
        </p:nvSpPr>
        <p:spPr>
          <a:xfrm>
            <a:off x="7681030" y="4714887"/>
            <a:ext cx="451097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. město Prah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2013 -&gt; 2023)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čně + 3,6% </a:t>
            </a:r>
            <a:r>
              <a:rPr lang="cs-CZ" sz="3000" b="1" dirty="0">
                <a:solidFill>
                  <a:srgbClr val="FF0000"/>
                </a:solidFill>
                <a:latin typeface="Calibri" panose="020F0502020204030204"/>
              </a:rPr>
              <a:t>(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1400 pac.)</a:t>
            </a:r>
          </a:p>
        </p:txBody>
      </p:sp>
      <p:sp>
        <p:nvSpPr>
          <p:cNvPr id="6" name="Šipka: ohnutá 5">
            <a:extLst>
              <a:ext uri="{FF2B5EF4-FFF2-40B4-BE49-F238E27FC236}">
                <a16:creationId xmlns:a16="http://schemas.microsoft.com/office/drawing/2014/main" id="{90F2F2BF-356A-1FCC-9101-33ECB7357309}"/>
              </a:ext>
            </a:extLst>
          </p:cNvPr>
          <p:cNvSpPr/>
          <p:nvPr/>
        </p:nvSpPr>
        <p:spPr>
          <a:xfrm flipV="1">
            <a:off x="6713427" y="4877007"/>
            <a:ext cx="813816" cy="848354"/>
          </a:xfrm>
          <a:prstGeom prst="bent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4CD2C327-6E6D-27C2-B5AD-AAF293673D92}"/>
              </a:ext>
            </a:extLst>
          </p:cNvPr>
          <p:cNvSpPr txBox="1"/>
          <p:nvPr/>
        </p:nvSpPr>
        <p:spPr>
          <a:xfrm>
            <a:off x="502927" y="2654969"/>
            <a:ext cx="5012164" cy="276999"/>
          </a:xfrm>
          <a:prstGeom prst="rect">
            <a:avLst/>
          </a:prstGeom>
          <a:noFill/>
          <a:ln w="2222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384743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235622"/>
            <a:ext cx="11664778" cy="573989"/>
          </a:xfrm>
        </p:spPr>
        <p:txBody>
          <a:bodyPr anchor="t">
            <a:normAutofit/>
          </a:bodyPr>
          <a:lstStyle/>
          <a:p>
            <a:r>
              <a:rPr lang="cs-CZ" dirty="0"/>
              <a:t>Celkový počet </a:t>
            </a:r>
            <a:r>
              <a:rPr lang="cs-CZ" u="sng" dirty="0"/>
              <a:t>dětí a mladistvých</a:t>
            </a:r>
            <a:r>
              <a:rPr lang="cs-CZ" dirty="0"/>
              <a:t> s psychiatrickou péčí</a:t>
            </a:r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0E4BE4BE-3E2C-528E-129D-086AAC9C088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8000" y="665785"/>
            <a:ext cx="116431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 (NRHZS).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, kteří mají v daném roce vykázanou jakoukoli péči (ambulantní nebo hospitalizační) u odbornosti psychiatrie, na 100 000 obyvatel. </a:t>
            </a: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FA26F477-0069-A691-804D-3C557045D1AB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486884" y="1703947"/>
          <a:ext cx="3933012" cy="4545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5" name="Obdélník 3">
            <a:extLst>
              <a:ext uri="{FF2B5EF4-FFF2-40B4-BE49-F238E27FC236}">
                <a16:creationId xmlns:a16="http://schemas.microsoft.com/office/drawing/2014/main" id="{052FAB3E-0294-99A4-43FD-46C71CF580F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63459" y="1415413"/>
            <a:ext cx="4879093" cy="5231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 0–19 let v roce 2023 </a:t>
            </a:r>
            <a:b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 100 tisíc obyvatel</a:t>
            </a:r>
          </a:p>
        </p:txBody>
      </p:sp>
      <p:sp>
        <p:nvSpPr>
          <p:cNvPr id="7" name="TextBox 2">
            <a:extLst>
              <a:ext uri="{FF2B5EF4-FFF2-40B4-BE49-F238E27FC236}">
                <a16:creationId xmlns:a16="http://schemas.microsoft.com/office/drawing/2014/main" id="{9076C295-9109-FDAA-7076-6ADDD381D2C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240366" y="1663824"/>
            <a:ext cx="57179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počtu pacientů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–19 let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 přepočtu na 100 tisíc obyvatel</a:t>
            </a:r>
            <a:endParaRPr kumimoji="0" lang="cs-CZ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1090C167-2B2D-9BB4-44C0-554A6E8E8154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4515221" y="1938550"/>
          <a:ext cx="999869" cy="4222477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999869">
                  <a:extLst>
                    <a:ext uri="{9D8B030D-6E8A-4147-A177-3AD203B41FA5}">
                      <a16:colId xmlns:a16="http://schemas.microsoft.com/office/drawing/2014/main" val="2874764292"/>
                    </a:ext>
                  </a:extLst>
                </a:gridCol>
              </a:tblGrid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298539376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842846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49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986670882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64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334283177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89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670791503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442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073776045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33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050666527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04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92849968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311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109903132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 257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804707030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79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366958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276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11285122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5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42976251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96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86990964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35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842291403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53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628010984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47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043920033"/>
                  </a:ext>
                </a:extLst>
              </a:tr>
            </a:tbl>
          </a:graphicData>
        </a:graphic>
      </p:graphicFrame>
      <p:sp>
        <p:nvSpPr>
          <p:cNvPr id="6" name="Šipka: ohnutá 5">
            <a:extLst>
              <a:ext uri="{FF2B5EF4-FFF2-40B4-BE49-F238E27FC236}">
                <a16:creationId xmlns:a16="http://schemas.microsoft.com/office/drawing/2014/main" id="{90F2F2BF-356A-1FCC-9101-33ECB7357309}"/>
              </a:ext>
            </a:extLst>
          </p:cNvPr>
          <p:cNvSpPr/>
          <p:nvPr/>
        </p:nvSpPr>
        <p:spPr>
          <a:xfrm flipV="1">
            <a:off x="6821992" y="5048520"/>
            <a:ext cx="813816" cy="848354"/>
          </a:xfrm>
          <a:prstGeom prst="bent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5" name="Graf 14">
            <a:extLst>
              <a:ext uri="{FF2B5EF4-FFF2-40B4-BE49-F238E27FC236}">
                <a16:creationId xmlns:a16="http://schemas.microsoft.com/office/drawing/2014/main" id="{72B9DB8F-E0B0-C273-5892-12BCE9DD4599}"/>
              </a:ext>
            </a:extLst>
          </p:cNvPr>
          <p:cNvGraphicFramePr/>
          <p:nvPr>
            <p:custDataLst>
              <p:tags r:id="rId7"/>
            </p:custDataLst>
          </p:nvPr>
        </p:nvGraphicFramePr>
        <p:xfrm>
          <a:off x="6046179" y="2270859"/>
          <a:ext cx="5551121" cy="2630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6" name="TextovéPole 15">
            <a:extLst>
              <a:ext uri="{FF2B5EF4-FFF2-40B4-BE49-F238E27FC236}">
                <a16:creationId xmlns:a16="http://schemas.microsoft.com/office/drawing/2014/main" id="{016E685A-FF0D-F2F9-F2AF-06E575666C15}"/>
              </a:ext>
            </a:extLst>
          </p:cNvPr>
          <p:cNvSpPr txBox="1"/>
          <p:nvPr/>
        </p:nvSpPr>
        <p:spPr>
          <a:xfrm>
            <a:off x="7701363" y="4886400"/>
            <a:ext cx="418469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. město Prah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2013 -&gt; 2023)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čně + 7,5% </a:t>
            </a:r>
            <a:r>
              <a:rPr lang="cs-CZ" sz="3000" b="1" dirty="0">
                <a:solidFill>
                  <a:srgbClr val="FF0000"/>
                </a:solidFill>
                <a:latin typeface="Calibri" panose="020F0502020204030204"/>
              </a:rPr>
              <a:t>(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360 pac.)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D90C442A-F708-8385-149F-0FAC96D491D9}"/>
              </a:ext>
            </a:extLst>
          </p:cNvPr>
          <p:cNvSpPr txBox="1"/>
          <p:nvPr/>
        </p:nvSpPr>
        <p:spPr>
          <a:xfrm>
            <a:off x="502927" y="3910190"/>
            <a:ext cx="5012164" cy="276999"/>
          </a:xfrm>
          <a:prstGeom prst="rect">
            <a:avLst/>
          </a:prstGeom>
          <a:noFill/>
          <a:ln w="2222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58634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: se zakulacenými rohy na opačné straně 3">
            <a:extLst>
              <a:ext uri="{FF2B5EF4-FFF2-40B4-BE49-F238E27FC236}">
                <a16:creationId xmlns:a16="http://schemas.microsoft.com/office/drawing/2014/main" id="{167A20BD-62DA-44FE-AF48-7FBD2BEA4689}"/>
              </a:ext>
            </a:extLst>
          </p:cNvPr>
          <p:cNvSpPr/>
          <p:nvPr/>
        </p:nvSpPr>
        <p:spPr>
          <a:xfrm flipV="1">
            <a:off x="-4680" y="787665"/>
            <a:ext cx="5833745" cy="2787745"/>
          </a:xfrm>
          <a:prstGeom prst="round2DiagRect">
            <a:avLst>
              <a:gd name="adj1" fmla="val 50000"/>
              <a:gd name="adj2" fmla="val 0"/>
            </a:avLst>
          </a:prstGeom>
          <a:solidFill>
            <a:srgbClr val="5BCC72">
              <a:alpha val="49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71AFB65-5EC3-4B45-AC2F-AB3CB64FBF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846" y="1449859"/>
            <a:ext cx="5833745" cy="1688758"/>
          </a:xfrm>
        </p:spPr>
        <p:txBody>
          <a:bodyPr/>
          <a:lstStyle/>
          <a:p>
            <a:pPr algn="l"/>
            <a:r>
              <a:rPr lang="cs-CZ" sz="2400" b="1" i="1" dirty="0">
                <a:solidFill>
                  <a:schemeClr val="bg1"/>
                </a:solidFill>
              </a:rPr>
              <a:t>Analytické studie programu Zdraví 2030: </a:t>
            </a:r>
            <a:r>
              <a:rPr lang="cs-CZ" sz="3600" b="1" dirty="0">
                <a:solidFill>
                  <a:schemeClr val="bg1"/>
                </a:solidFill>
              </a:rPr>
              <a:t>Národní informační systém pro psychiatrii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164F2552-388B-4793-BF8A-077744D27E4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cs-CZ" sz="3800" dirty="0">
                <a:solidFill>
                  <a:srgbClr val="3F55A6"/>
                </a:solidFill>
              </a:rPr>
              <a:t>Hlavní zdroj dat: </a:t>
            </a:r>
          </a:p>
          <a:p>
            <a:r>
              <a:rPr lang="cs-CZ" sz="3800" dirty="0">
                <a:solidFill>
                  <a:srgbClr val="3F55A6"/>
                </a:solidFill>
              </a:rPr>
              <a:t>Národní zdravotnický informační systém (NZIS) </a:t>
            </a:r>
            <a:endParaRPr lang="en-US" sz="3800" dirty="0">
              <a:solidFill>
                <a:srgbClr val="3F55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80800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235622"/>
            <a:ext cx="11664778" cy="573989"/>
          </a:xfrm>
        </p:spPr>
        <p:txBody>
          <a:bodyPr anchor="t">
            <a:normAutofit/>
          </a:bodyPr>
          <a:lstStyle/>
          <a:p>
            <a:r>
              <a:rPr lang="cs-CZ" dirty="0"/>
              <a:t>Celkový počet pacientů </a:t>
            </a:r>
            <a:r>
              <a:rPr lang="cs-CZ" u="sng" dirty="0"/>
              <a:t>20–64 let</a:t>
            </a:r>
            <a:r>
              <a:rPr lang="cs-CZ" dirty="0"/>
              <a:t> s psychiatrickou péčí</a:t>
            </a:r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0E4BE4BE-3E2C-528E-129D-086AAC9C088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8000" y="665785"/>
            <a:ext cx="116431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 (NRHZS).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, kteří mají v daném roce vykázanou jakoukoli péči (ambulantní nebo hospitalizační) u odbornosti psychiatrie, na 100 000 obyvatel. </a:t>
            </a: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FA26F477-0069-A691-804D-3C557045D1AB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486884" y="1703947"/>
          <a:ext cx="3933012" cy="4545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5" name="Obdélník 3">
            <a:extLst>
              <a:ext uri="{FF2B5EF4-FFF2-40B4-BE49-F238E27FC236}">
                <a16:creationId xmlns:a16="http://schemas.microsoft.com/office/drawing/2014/main" id="{052FAB3E-0294-99A4-43FD-46C71CF580F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63459" y="1415413"/>
            <a:ext cx="4879093" cy="5231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 20–64 let v roce 2023 </a:t>
            </a:r>
            <a:b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 100 tisíc obyvatel</a:t>
            </a:r>
          </a:p>
        </p:txBody>
      </p:sp>
      <p:sp>
        <p:nvSpPr>
          <p:cNvPr id="7" name="TextBox 2">
            <a:extLst>
              <a:ext uri="{FF2B5EF4-FFF2-40B4-BE49-F238E27FC236}">
                <a16:creationId xmlns:a16="http://schemas.microsoft.com/office/drawing/2014/main" id="{9076C295-9109-FDAA-7076-6ADDD381D2C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240366" y="1663824"/>
            <a:ext cx="57179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počtu pacientů 20–64 let v přepočtu na 100 tisíc obyvatel</a:t>
            </a:r>
            <a:endParaRPr kumimoji="0" lang="cs-CZ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1090C167-2B2D-9BB4-44C0-554A6E8E8154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4515221" y="1938550"/>
          <a:ext cx="999869" cy="4222477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999869">
                  <a:extLst>
                    <a:ext uri="{9D8B030D-6E8A-4147-A177-3AD203B41FA5}">
                      <a16:colId xmlns:a16="http://schemas.microsoft.com/office/drawing/2014/main" val="2874764292"/>
                    </a:ext>
                  </a:extLst>
                </a:gridCol>
              </a:tblGrid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298539376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842846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713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986670882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309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334283177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172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670791503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306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073776045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359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050666527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3 157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92849968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595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109903132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541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804707030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492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366958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577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11285122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059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42976251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069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86990964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484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842291403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942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628010984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619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043920033"/>
                  </a:ext>
                </a:extLst>
              </a:tr>
            </a:tbl>
          </a:graphicData>
        </a:graphic>
      </p:graphicFrame>
      <p:sp>
        <p:nvSpPr>
          <p:cNvPr id="6" name="Šipka: ohnutá 5">
            <a:extLst>
              <a:ext uri="{FF2B5EF4-FFF2-40B4-BE49-F238E27FC236}">
                <a16:creationId xmlns:a16="http://schemas.microsoft.com/office/drawing/2014/main" id="{90F2F2BF-356A-1FCC-9101-33ECB7357309}"/>
              </a:ext>
            </a:extLst>
          </p:cNvPr>
          <p:cNvSpPr/>
          <p:nvPr/>
        </p:nvSpPr>
        <p:spPr>
          <a:xfrm flipV="1">
            <a:off x="6982412" y="5048520"/>
            <a:ext cx="813816" cy="848354"/>
          </a:xfrm>
          <a:prstGeom prst="bent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5" name="Graf 14">
            <a:extLst>
              <a:ext uri="{FF2B5EF4-FFF2-40B4-BE49-F238E27FC236}">
                <a16:creationId xmlns:a16="http://schemas.microsoft.com/office/drawing/2014/main" id="{518136CC-3236-9DD3-188C-7A33FDFDE5A0}"/>
              </a:ext>
            </a:extLst>
          </p:cNvPr>
          <p:cNvGraphicFramePr/>
          <p:nvPr>
            <p:custDataLst>
              <p:tags r:id="rId7"/>
            </p:custDataLst>
          </p:nvPr>
        </p:nvGraphicFramePr>
        <p:xfrm>
          <a:off x="6046179" y="2270859"/>
          <a:ext cx="5551121" cy="2630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6" name="TextovéPole 15">
            <a:extLst>
              <a:ext uri="{FF2B5EF4-FFF2-40B4-BE49-F238E27FC236}">
                <a16:creationId xmlns:a16="http://schemas.microsoft.com/office/drawing/2014/main" id="{2C818AD4-547D-4538-7FC9-50FCB349DB70}"/>
              </a:ext>
            </a:extLst>
          </p:cNvPr>
          <p:cNvSpPr txBox="1"/>
          <p:nvPr/>
        </p:nvSpPr>
        <p:spPr>
          <a:xfrm>
            <a:off x="7860396" y="4886400"/>
            <a:ext cx="433160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. město Prah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2013 -&gt; 2023)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čně + 0,8% </a:t>
            </a:r>
            <a:r>
              <a:rPr lang="cs-CZ" sz="3000" b="1" dirty="0">
                <a:solidFill>
                  <a:srgbClr val="FF0000"/>
                </a:solidFill>
                <a:latin typeface="Calibri" panose="020F0502020204030204"/>
              </a:rPr>
              <a:t>(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460 pac.)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406CB6F6-8A03-FA3A-6C72-19C919CC6DE5}"/>
              </a:ext>
            </a:extLst>
          </p:cNvPr>
          <p:cNvSpPr txBox="1"/>
          <p:nvPr/>
        </p:nvSpPr>
        <p:spPr>
          <a:xfrm>
            <a:off x="502927" y="2646659"/>
            <a:ext cx="5012164" cy="276999"/>
          </a:xfrm>
          <a:prstGeom prst="rect">
            <a:avLst/>
          </a:prstGeom>
          <a:noFill/>
          <a:ln w="2222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763391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235622"/>
            <a:ext cx="11664778" cy="573989"/>
          </a:xfrm>
        </p:spPr>
        <p:txBody>
          <a:bodyPr anchor="t">
            <a:normAutofit/>
          </a:bodyPr>
          <a:lstStyle/>
          <a:p>
            <a:r>
              <a:rPr lang="cs-CZ" dirty="0"/>
              <a:t>Celkový počet pacientů </a:t>
            </a:r>
            <a:r>
              <a:rPr lang="cs-CZ" u="sng" dirty="0"/>
              <a:t>65+ let</a:t>
            </a:r>
            <a:r>
              <a:rPr lang="cs-CZ" dirty="0"/>
              <a:t> s psychiatrickou péčí</a:t>
            </a:r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0E4BE4BE-3E2C-528E-129D-086AAC9C088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8000" y="665785"/>
            <a:ext cx="116431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 (NRHZS).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, kteří mají v daném roce vykázanou jakoukoli péči (ambulantní nebo hospitalizační) u odbornosti psychiatrie, na 100 000 obyvatel. </a:t>
            </a: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FA26F477-0069-A691-804D-3C557045D1AB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486884" y="1703947"/>
          <a:ext cx="3933012" cy="4545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5" name="Obdélník 3">
            <a:extLst>
              <a:ext uri="{FF2B5EF4-FFF2-40B4-BE49-F238E27FC236}">
                <a16:creationId xmlns:a16="http://schemas.microsoft.com/office/drawing/2014/main" id="{052FAB3E-0294-99A4-43FD-46C71CF580F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63459" y="1415413"/>
            <a:ext cx="4879093" cy="5231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 65+ let v roce 2023 </a:t>
            </a:r>
            <a:b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 100 tisíc obyvatel</a:t>
            </a:r>
          </a:p>
        </p:txBody>
      </p:sp>
      <p:sp>
        <p:nvSpPr>
          <p:cNvPr id="7" name="TextBox 2">
            <a:extLst>
              <a:ext uri="{FF2B5EF4-FFF2-40B4-BE49-F238E27FC236}">
                <a16:creationId xmlns:a16="http://schemas.microsoft.com/office/drawing/2014/main" id="{9076C295-9109-FDAA-7076-6ADDD381D2C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240366" y="1663824"/>
            <a:ext cx="57179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počtu pacientů 65+ let v přepočtu na 100 tisíc obyvatel</a:t>
            </a:r>
            <a:endParaRPr kumimoji="0" lang="cs-CZ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1090C167-2B2D-9BB4-44C0-554A6E8E8154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4515221" y="1938550"/>
          <a:ext cx="999869" cy="4222477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999869">
                  <a:extLst>
                    <a:ext uri="{9D8B030D-6E8A-4147-A177-3AD203B41FA5}">
                      <a16:colId xmlns:a16="http://schemas.microsoft.com/office/drawing/2014/main" val="2874764292"/>
                    </a:ext>
                  </a:extLst>
                </a:gridCol>
              </a:tblGrid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298539376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842846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417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986670882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09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334283177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503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670791503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911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073776045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058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050666527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117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92849968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293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109903132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912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804707030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75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366958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854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11285122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822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42976251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722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86990964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681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842291403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32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628010984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41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043920033"/>
                  </a:ext>
                </a:extLst>
              </a:tr>
            </a:tbl>
          </a:graphicData>
        </a:graphic>
      </p:graphicFrame>
      <p:sp>
        <p:nvSpPr>
          <p:cNvPr id="6" name="Šipka: ohnutá 5">
            <a:extLst>
              <a:ext uri="{FF2B5EF4-FFF2-40B4-BE49-F238E27FC236}">
                <a16:creationId xmlns:a16="http://schemas.microsoft.com/office/drawing/2014/main" id="{90F2F2BF-356A-1FCC-9101-33ECB7357309}"/>
              </a:ext>
            </a:extLst>
          </p:cNvPr>
          <p:cNvSpPr/>
          <p:nvPr/>
        </p:nvSpPr>
        <p:spPr>
          <a:xfrm flipV="1">
            <a:off x="6804504" y="4877007"/>
            <a:ext cx="813816" cy="848354"/>
          </a:xfrm>
          <a:prstGeom prst="bent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5" name="Graf 14">
            <a:extLst>
              <a:ext uri="{FF2B5EF4-FFF2-40B4-BE49-F238E27FC236}">
                <a16:creationId xmlns:a16="http://schemas.microsoft.com/office/drawing/2014/main" id="{10BE3CAD-D90D-E1DC-7ED6-605857999DCC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93479270"/>
              </p:ext>
            </p:extLst>
          </p:nvPr>
        </p:nvGraphicFramePr>
        <p:xfrm>
          <a:off x="5971751" y="2162307"/>
          <a:ext cx="5551121" cy="2630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6" name="TextovéPole 15">
            <a:extLst>
              <a:ext uri="{FF2B5EF4-FFF2-40B4-BE49-F238E27FC236}">
                <a16:creationId xmlns:a16="http://schemas.microsoft.com/office/drawing/2014/main" id="{AE567C2A-B3C4-0345-73B1-6AF116F02340}"/>
              </a:ext>
            </a:extLst>
          </p:cNvPr>
          <p:cNvSpPr txBox="1"/>
          <p:nvPr/>
        </p:nvSpPr>
        <p:spPr>
          <a:xfrm>
            <a:off x="7772106" y="4714887"/>
            <a:ext cx="417781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. město Prah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2013 -&gt; 2023)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čně + 2,5% </a:t>
            </a:r>
            <a:r>
              <a:rPr lang="cs-CZ" sz="3000" b="1" dirty="0">
                <a:solidFill>
                  <a:srgbClr val="FF0000"/>
                </a:solidFill>
                <a:latin typeface="Calibri" panose="020F0502020204030204"/>
              </a:rPr>
              <a:t>(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550 pac.)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CD21939C-820C-43E0-91D1-E3632AD1CDEA}"/>
              </a:ext>
            </a:extLst>
          </p:cNvPr>
          <p:cNvSpPr txBox="1"/>
          <p:nvPr/>
        </p:nvSpPr>
        <p:spPr>
          <a:xfrm>
            <a:off x="502927" y="2398008"/>
            <a:ext cx="5012164" cy="276999"/>
          </a:xfrm>
          <a:prstGeom prst="rect">
            <a:avLst/>
          </a:prstGeom>
          <a:noFill/>
          <a:ln w="2222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26821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160761"/>
            <a:ext cx="11664778" cy="573989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cs-CZ" sz="2800" dirty="0"/>
              <a:t>Pacienti</a:t>
            </a:r>
            <a:r>
              <a:rPr lang="en-US" sz="2800" dirty="0"/>
              <a:t> </a:t>
            </a:r>
            <a:r>
              <a:rPr lang="cs-CZ" sz="2800" dirty="0"/>
              <a:t>s vybranými psychiatrickými onemocněními</a:t>
            </a:r>
            <a:r>
              <a:rPr lang="en-US" sz="2800" dirty="0"/>
              <a:t> </a:t>
            </a:r>
            <a:r>
              <a:rPr lang="cs-CZ" sz="2800" dirty="0"/>
              <a:t>na 100 000 obyvatel</a:t>
            </a:r>
            <a:endParaRPr lang="cs-CZ" sz="2800" b="1" dirty="0">
              <a:solidFill>
                <a:srgbClr val="308297"/>
              </a:solidFill>
              <a:latin typeface="+mn-lt"/>
            </a:endParaRPr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0E4BE4BE-3E2C-528E-129D-086AAC9C088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61632" y="680612"/>
            <a:ext cx="116431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RHZS. Počet pacientů, kteří mají v daném roce péči pro sledovanou diagnózu (ambulantní nebo hospitalizační) u odbornosti psychiatrie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6DCC15D9-7C93-DB28-0FA6-7B593CC5008B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352322" y="1890136"/>
          <a:ext cx="3600000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9" name="Obdélník 8">
            <a:extLst>
              <a:ext uri="{FF2B5EF4-FFF2-40B4-BE49-F238E27FC236}">
                <a16:creationId xmlns:a16="http://schemas.microsoft.com/office/drawing/2014/main" id="{C5CE6A87-49CB-CB93-C72E-B0977A6501F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61632" y="2190346"/>
            <a:ext cx="114948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 bydliště: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B97928D4-794F-1F9D-5F4A-72B2287F396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77751" y="1191250"/>
            <a:ext cx="37251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00-F09, G30 (Organické duševní poruchy, Alzheimerova nemoc) </a:t>
            </a: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19E096FC-2924-8A9E-7DB0-BCBE321D81D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558646" y="1173365"/>
            <a:ext cx="30490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10 (Poruchy duševní a poruchy chování způsobené užíváním alkoholu)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C75B8AE0-5F73-CD5C-6F2A-CC736EF7FEC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170097" y="1195659"/>
            <a:ext cx="350198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11-F19 (Poruchy duševní a poruchy chování způsobené užíváním psychoaktivních látek) </a:t>
            </a:r>
          </a:p>
        </p:txBody>
      </p:sp>
      <p:graphicFrame>
        <p:nvGraphicFramePr>
          <p:cNvPr id="40" name="Graf 39">
            <a:extLst>
              <a:ext uri="{FF2B5EF4-FFF2-40B4-BE49-F238E27FC236}">
                <a16:creationId xmlns:a16="http://schemas.microsoft.com/office/drawing/2014/main" id="{73287BA3-0A4C-EF4E-E680-1334333796E1}"/>
              </a:ext>
            </a:extLst>
          </p:cNvPr>
          <p:cNvGraphicFramePr/>
          <p:nvPr>
            <p:custDataLst>
              <p:tags r:id="rId8"/>
            </p:custDataLst>
          </p:nvPr>
        </p:nvGraphicFramePr>
        <p:xfrm>
          <a:off x="3899432" y="1882516"/>
          <a:ext cx="3600000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41" name="Graf 40">
            <a:extLst>
              <a:ext uri="{FF2B5EF4-FFF2-40B4-BE49-F238E27FC236}">
                <a16:creationId xmlns:a16="http://schemas.microsoft.com/office/drawing/2014/main" id="{744E41FE-BBF7-8417-3D49-74EB2930346E}"/>
              </a:ext>
            </a:extLst>
          </p:cNvPr>
          <p:cNvGraphicFramePr/>
          <p:nvPr>
            <p:custDataLst>
              <p:tags r:id="rId9"/>
            </p:custDataLst>
          </p:nvPr>
        </p:nvGraphicFramePr>
        <p:xfrm>
          <a:off x="7503692" y="1886326"/>
          <a:ext cx="3600000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</p:spTree>
    <p:extLst>
      <p:ext uri="{BB962C8B-B14F-4D97-AF65-F5344CB8AC3E}">
        <p14:creationId xmlns:p14="http://schemas.microsoft.com/office/powerpoint/2010/main" val="310129113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235622"/>
            <a:ext cx="11664778" cy="573989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cs-CZ" sz="2800" dirty="0"/>
              <a:t>Pacienti</a:t>
            </a:r>
            <a:r>
              <a:rPr lang="en-US" sz="2800" dirty="0"/>
              <a:t> </a:t>
            </a:r>
            <a:r>
              <a:rPr lang="cs-CZ" sz="2800" dirty="0"/>
              <a:t>s vybranými psychiatrickými onemocněními</a:t>
            </a:r>
            <a:r>
              <a:rPr lang="en-US" sz="2800" dirty="0"/>
              <a:t> </a:t>
            </a:r>
            <a:r>
              <a:rPr lang="cs-CZ" sz="2800" dirty="0"/>
              <a:t>na 100 000 obyvatel</a:t>
            </a:r>
            <a:endParaRPr lang="cs-CZ" sz="2800" b="1" dirty="0">
              <a:solidFill>
                <a:srgbClr val="308297"/>
              </a:solidFill>
              <a:latin typeface="+mn-lt"/>
            </a:endParaRP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6DCC15D9-7C93-DB28-0FA6-7B593CC5008B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384221" y="1911397"/>
          <a:ext cx="3600000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9" name="Obdélník 8">
            <a:extLst>
              <a:ext uri="{FF2B5EF4-FFF2-40B4-BE49-F238E27FC236}">
                <a16:creationId xmlns:a16="http://schemas.microsoft.com/office/drawing/2014/main" id="{C5CE6A87-49CB-CB93-C72E-B0977A6501F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93531" y="2211607"/>
            <a:ext cx="114948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 bydliště:</a:t>
            </a:r>
          </a:p>
        </p:txBody>
      </p:sp>
      <p:graphicFrame>
        <p:nvGraphicFramePr>
          <p:cNvPr id="40" name="Graf 39">
            <a:extLst>
              <a:ext uri="{FF2B5EF4-FFF2-40B4-BE49-F238E27FC236}">
                <a16:creationId xmlns:a16="http://schemas.microsoft.com/office/drawing/2014/main" id="{73287BA3-0A4C-EF4E-E680-1334333796E1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4175885" y="1903777"/>
          <a:ext cx="3600000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41" name="Graf 40">
            <a:extLst>
              <a:ext uri="{FF2B5EF4-FFF2-40B4-BE49-F238E27FC236}">
                <a16:creationId xmlns:a16="http://schemas.microsoft.com/office/drawing/2014/main" id="{744E41FE-BBF7-8417-3D49-74EB2930346E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7695083" y="1907587"/>
          <a:ext cx="3600000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3" name="TextovéPole 2">
            <a:extLst>
              <a:ext uri="{FF2B5EF4-FFF2-40B4-BE49-F238E27FC236}">
                <a16:creationId xmlns:a16="http://schemas.microsoft.com/office/drawing/2014/main" id="{E5154DC5-17EE-0D52-F05F-5F22812132A3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31530" y="1208184"/>
            <a:ext cx="26960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20-F29 (Schizofrenie‚ poruchy </a:t>
            </a:r>
            <a:r>
              <a:rPr kumimoji="0" lang="cs-CZ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hizotypální</a:t>
            </a: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 poruchy s bludy)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E3BB2FFC-03AF-A612-2923-6DD0A52A509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907976" y="1219179"/>
            <a:ext cx="3208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30-F39 bez F32, F33 (Afektivní poruchy, bez deprese)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2A81741B-70C5-54A4-E55B-E1FDA90167F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630864" y="1220747"/>
            <a:ext cx="26960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32, F33 (Depresivní porucha)</a:t>
            </a:r>
            <a:endParaRPr kumimoji="0" lang="cs-CZ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34811DB4-1339-75BB-AB4B-6B6C5041D11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61632" y="680612"/>
            <a:ext cx="116431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RHZS. Počet pacientů, kteří mají v daném roce péči pro sledovanou diagnózu (ambulantní nebo hospitalizační) u odbornosti psychiatrie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171715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8">
            <a:extLst>
              <a:ext uri="{FF2B5EF4-FFF2-40B4-BE49-F238E27FC236}">
                <a16:creationId xmlns:a16="http://schemas.microsoft.com/office/drawing/2014/main" id="{63496C50-5D62-64DC-3B6E-D3957339DD1B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3162318"/>
              </p:ext>
            </p:extLst>
          </p:nvPr>
        </p:nvGraphicFramePr>
        <p:xfrm>
          <a:off x="529074" y="1563763"/>
          <a:ext cx="10884316" cy="46284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84831">
                  <a:extLst>
                    <a:ext uri="{9D8B030D-6E8A-4147-A177-3AD203B41FA5}">
                      <a16:colId xmlns:a16="http://schemas.microsoft.com/office/drawing/2014/main" val="1450522724"/>
                    </a:ext>
                  </a:extLst>
                </a:gridCol>
                <a:gridCol w="1479666">
                  <a:extLst>
                    <a:ext uri="{9D8B030D-6E8A-4147-A177-3AD203B41FA5}">
                      <a16:colId xmlns:a16="http://schemas.microsoft.com/office/drawing/2014/main" val="3948739247"/>
                    </a:ext>
                  </a:extLst>
                </a:gridCol>
                <a:gridCol w="1110467">
                  <a:extLst>
                    <a:ext uri="{9D8B030D-6E8A-4147-A177-3AD203B41FA5}">
                      <a16:colId xmlns:a16="http://schemas.microsoft.com/office/drawing/2014/main" val="3598116846"/>
                    </a:ext>
                  </a:extLst>
                </a:gridCol>
                <a:gridCol w="1609352">
                  <a:extLst>
                    <a:ext uri="{9D8B030D-6E8A-4147-A177-3AD203B41FA5}">
                      <a16:colId xmlns:a16="http://schemas.microsoft.com/office/drawing/2014/main" val="3739354688"/>
                    </a:ext>
                  </a:extLst>
                </a:gridCol>
              </a:tblGrid>
              <a:tr h="382065">
                <a:tc>
                  <a:txBody>
                    <a:bodyPr/>
                    <a:lstStyle/>
                    <a:p>
                      <a:pPr algn="r" fontAlgn="b"/>
                      <a:endParaRPr lang="en-US" sz="2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805" marR="5805" marT="580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effectLst/>
                          <a:latin typeface="+mn-lt"/>
                        </a:rPr>
                        <a:t>201</a:t>
                      </a:r>
                      <a:r>
                        <a:rPr lang="cs-CZ" sz="1800" b="1" u="none" strike="noStrike" dirty="0">
                          <a:effectLst/>
                          <a:latin typeface="+mn-lt"/>
                        </a:rPr>
                        <a:t>3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805" marR="5805" marT="580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3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805" marR="5805" marT="580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změna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805" marR="5805" marT="580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5659930"/>
                  </a:ext>
                </a:extLst>
              </a:tr>
              <a:tr h="317245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uchy chování a emocí s obvyklým nástupem v dětství a v </a:t>
                      </a:r>
                      <a:r>
                        <a:rPr lang="cs-CZ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sp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(F90-F98)</a:t>
                      </a:r>
                    </a:p>
                  </a:txBody>
                  <a:tcPr marL="396000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8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7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6269519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eurotické‚ stresové a somatoformní poruchy (F40-F48 bez F42)</a:t>
                      </a:r>
                    </a:p>
                  </a:txBody>
                  <a:tcPr marL="396000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 14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 79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43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9354853"/>
                  </a:ext>
                </a:extLst>
              </a:tr>
              <a:tr h="315501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ruchy psychického vývoje (F80-F89)</a:t>
                      </a:r>
                    </a:p>
                  </a:txBody>
                  <a:tcPr marL="396000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98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5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7196661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epresivní porucha (F32, F33)</a:t>
                      </a:r>
                    </a:p>
                  </a:txBody>
                  <a:tcPr marL="396000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67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73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629295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yndromy poruch chování‚ spoj. s fyziolog. poruch. a </a:t>
                      </a:r>
                      <a:r>
                        <a:rPr lang="cs-CZ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omat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. faktory (F50-F59)</a:t>
                      </a:r>
                    </a:p>
                  </a:txBody>
                  <a:tcPr marL="396000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98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8098871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ruchy osobnosti a chování (F60, F61)</a:t>
                      </a:r>
                    </a:p>
                  </a:txBody>
                  <a:tcPr marL="396000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77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739388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bsedantně-nutkavá porucha (F42)</a:t>
                      </a:r>
                    </a:p>
                  </a:txBody>
                  <a:tcPr marL="396000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13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0150853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Změny osobnosti a chování (F62-F69)</a:t>
                      </a:r>
                    </a:p>
                  </a:txBody>
                  <a:tcPr marL="396000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10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5494669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ntální retardace (F70-F79)</a:t>
                      </a:r>
                    </a:p>
                  </a:txBody>
                  <a:tcPr marL="396000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1348655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uchy duševní a poruchy chování </a:t>
                      </a:r>
                      <a:r>
                        <a:rPr lang="cs-CZ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půs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užíváním </a:t>
                      </a:r>
                      <a:r>
                        <a:rPr lang="cs-CZ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oak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látek (F11-F19)</a:t>
                      </a:r>
                    </a:p>
                  </a:txBody>
                  <a:tcPr marL="396000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6939928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hizofrenie‚ poruchy </a:t>
                      </a:r>
                      <a:r>
                        <a:rPr lang="cs-CZ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hizotypální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 poruchy s bludy (F20-F29)</a:t>
                      </a:r>
                    </a:p>
                  </a:txBody>
                  <a:tcPr marL="396000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7234031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fektivní poruchy (bez deprese) (F30-F39 bez F32, F33)</a:t>
                      </a:r>
                    </a:p>
                  </a:txBody>
                  <a:tcPr marL="396000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005264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uchy duševní a poruchy chování způsobené užíváním alkoholu (F10)</a:t>
                      </a:r>
                    </a:p>
                  </a:txBody>
                  <a:tcPr marL="396000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7932262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cké duševní poruchy, Alzheimerova nemoc (F00-F09, G30)</a:t>
                      </a:r>
                    </a:p>
                  </a:txBody>
                  <a:tcPr marL="396000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5941665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</a:t>
                      </a:r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3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31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2320944"/>
                  </a:ext>
                </a:extLst>
              </a:tr>
            </a:tbl>
          </a:graphicData>
        </a:graphic>
      </p:graphicFrame>
      <p:sp>
        <p:nvSpPr>
          <p:cNvPr id="4" name="Šipka doprava 12">
            <a:extLst>
              <a:ext uri="{FF2B5EF4-FFF2-40B4-BE49-F238E27FC236}">
                <a16:creationId xmlns:a16="http://schemas.microsoft.com/office/drawing/2014/main" id="{3B91738E-B0D5-B618-B299-93CCC634CF5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16200000">
            <a:off x="256317" y="2017417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4EE62448-622D-D362-A12E-ED9E2E6843E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88000" y="794121"/>
            <a:ext cx="116431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 (NRHZS).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, kteří mají v daném roce vykázánu jakoukoli péči pro sledovanou diagnózu (ambulantní nebo hospitalizační) u odbornosti psychiatrie. </a:t>
            </a:r>
          </a:p>
        </p:txBody>
      </p:sp>
      <p:sp>
        <p:nvSpPr>
          <p:cNvPr id="6" name="Šipka doprava 12">
            <a:extLst>
              <a:ext uri="{FF2B5EF4-FFF2-40B4-BE49-F238E27FC236}">
                <a16:creationId xmlns:a16="http://schemas.microsoft.com/office/drawing/2014/main" id="{A8169560-2629-2DC0-9311-61752FF5F32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16200000">
            <a:off x="256317" y="2295254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Šipka doprava 12">
            <a:extLst>
              <a:ext uri="{FF2B5EF4-FFF2-40B4-BE49-F238E27FC236}">
                <a16:creationId xmlns:a16="http://schemas.microsoft.com/office/drawing/2014/main" id="{AF4F08DC-F3E2-E3C9-09A8-9410D34DECF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6200000">
            <a:off x="256317" y="2573091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Šipka doprava 12">
            <a:extLst>
              <a:ext uri="{FF2B5EF4-FFF2-40B4-BE49-F238E27FC236}">
                <a16:creationId xmlns:a16="http://schemas.microsoft.com/office/drawing/2014/main" id="{39F21B06-3405-8FD9-0A69-0FC8FD8F398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16200000">
            <a:off x="256317" y="2850928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Šipka doprava 12">
            <a:extLst>
              <a:ext uri="{FF2B5EF4-FFF2-40B4-BE49-F238E27FC236}">
                <a16:creationId xmlns:a16="http://schemas.microsoft.com/office/drawing/2014/main" id="{18E3B719-F472-5FEE-661C-BB909DF45D1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 rot="16200000">
            <a:off x="256317" y="3128765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prava 12">
            <a:extLst>
              <a:ext uri="{FF2B5EF4-FFF2-40B4-BE49-F238E27FC236}">
                <a16:creationId xmlns:a16="http://schemas.microsoft.com/office/drawing/2014/main" id="{EE86B211-F17C-704B-35A4-88BCA91289C2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 rot="16200000">
            <a:off x="256317" y="3406602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Šipka doprava 12">
            <a:extLst>
              <a:ext uri="{FF2B5EF4-FFF2-40B4-BE49-F238E27FC236}">
                <a16:creationId xmlns:a16="http://schemas.microsoft.com/office/drawing/2014/main" id="{864426FE-8575-72C9-66D9-E52E05CAB90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 rot="16200000">
            <a:off x="256317" y="3684439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prava 12">
            <a:extLst>
              <a:ext uri="{FF2B5EF4-FFF2-40B4-BE49-F238E27FC236}">
                <a16:creationId xmlns:a16="http://schemas.microsoft.com/office/drawing/2014/main" id="{3A2BE0BB-0698-5244-0D0A-200756054FB9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 rot="16200000">
            <a:off x="256317" y="3962276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Šipka doprava 12">
            <a:extLst>
              <a:ext uri="{FF2B5EF4-FFF2-40B4-BE49-F238E27FC236}">
                <a16:creationId xmlns:a16="http://schemas.microsoft.com/office/drawing/2014/main" id="{1120574D-4281-02C7-BBC5-7850947D3AFE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 rot="16200000">
            <a:off x="256317" y="4240113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Šipka doprava 12">
            <a:extLst>
              <a:ext uri="{FF2B5EF4-FFF2-40B4-BE49-F238E27FC236}">
                <a16:creationId xmlns:a16="http://schemas.microsoft.com/office/drawing/2014/main" id="{41B2DF32-3477-0A8B-8940-CB547A664D48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 rot="16200000">
            <a:off x="256317" y="4517950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Šipka doprava 12">
            <a:extLst>
              <a:ext uri="{FF2B5EF4-FFF2-40B4-BE49-F238E27FC236}">
                <a16:creationId xmlns:a16="http://schemas.microsoft.com/office/drawing/2014/main" id="{328FB9E1-EEAF-F6DD-9171-DB4E9712D7A6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 rot="16200000">
            <a:off x="256317" y="4795787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Šipka doprava 12">
            <a:extLst>
              <a:ext uri="{FF2B5EF4-FFF2-40B4-BE49-F238E27FC236}">
                <a16:creationId xmlns:a16="http://schemas.microsoft.com/office/drawing/2014/main" id="{33533546-CDCC-34FF-EB76-A5B64B06131B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 rot="16200000">
            <a:off x="256317" y="5073624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Šipka doprava 12">
            <a:extLst>
              <a:ext uri="{FF2B5EF4-FFF2-40B4-BE49-F238E27FC236}">
                <a16:creationId xmlns:a16="http://schemas.microsoft.com/office/drawing/2014/main" id="{E66A9E57-1289-A6A2-AB9E-3AE608CEFB8F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 rot="16200000">
            <a:off x="256317" y="5629297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Šipka doprava 12">
            <a:extLst>
              <a:ext uri="{FF2B5EF4-FFF2-40B4-BE49-F238E27FC236}">
                <a16:creationId xmlns:a16="http://schemas.microsoft.com/office/drawing/2014/main" id="{E1CC478B-6206-4482-8064-D02ACFE0CFC8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 rot="16200000">
            <a:off x="271557" y="5887684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Šipka doprava 12">
            <a:extLst>
              <a:ext uri="{FF2B5EF4-FFF2-40B4-BE49-F238E27FC236}">
                <a16:creationId xmlns:a16="http://schemas.microsoft.com/office/drawing/2014/main" id="{04CFF62F-1C8D-744D-2EA6-B8B9C998C295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 rot="16200000">
            <a:off x="256318" y="5343254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Nadpis 1">
            <a:extLst>
              <a:ext uri="{FF2B5EF4-FFF2-40B4-BE49-F238E27FC236}">
                <a16:creationId xmlns:a16="http://schemas.microsoft.com/office/drawing/2014/main" id="{E319ED66-E489-C0B6-181A-8407406E6DD0}"/>
              </a:ext>
            </a:extLst>
          </p:cNvPr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>
          <a:xfrm>
            <a:off x="263611" y="235622"/>
            <a:ext cx="11664778" cy="573989"/>
          </a:xfrm>
        </p:spPr>
        <p:txBody>
          <a:bodyPr anchor="t">
            <a:normAutofit/>
          </a:bodyPr>
          <a:lstStyle/>
          <a:p>
            <a:r>
              <a:rPr lang="cs-CZ" sz="2800" dirty="0"/>
              <a:t>Praha: vývoj počtu dětí a mladistvých s psychiatrickou péčí</a:t>
            </a:r>
          </a:p>
        </p:txBody>
      </p:sp>
    </p:spTree>
    <p:extLst>
      <p:ext uri="{BB962C8B-B14F-4D97-AF65-F5344CB8AC3E}">
        <p14:creationId xmlns:p14="http://schemas.microsoft.com/office/powerpoint/2010/main" val="281465830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235622"/>
            <a:ext cx="11664778" cy="573989"/>
          </a:xfrm>
        </p:spPr>
        <p:txBody>
          <a:bodyPr anchor="t">
            <a:normAutofit/>
          </a:bodyPr>
          <a:lstStyle/>
          <a:p>
            <a:r>
              <a:rPr lang="cs-CZ" sz="2800" dirty="0"/>
              <a:t>Praha: počet dětí a mladistvých s psychiatrickou péčí pro vybrané diagnózy</a:t>
            </a:r>
          </a:p>
        </p:txBody>
      </p:sp>
      <p:graphicFrame>
        <p:nvGraphicFramePr>
          <p:cNvPr id="3" name="Chart 6">
            <a:extLst>
              <a:ext uri="{FF2B5EF4-FFF2-40B4-BE49-F238E27FC236}">
                <a16:creationId xmlns:a16="http://schemas.microsoft.com/office/drawing/2014/main" id="{D9A39343-CF1E-2FC3-01BD-912E8632007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8251595" y="1619168"/>
          <a:ext cx="3355940" cy="2122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4" name="TextovéPole 3">
            <a:extLst>
              <a:ext uri="{FF2B5EF4-FFF2-40B4-BE49-F238E27FC236}">
                <a16:creationId xmlns:a16="http://schemas.microsoft.com/office/drawing/2014/main" id="{8C1AD482-DCC6-83A9-BC98-991A241462C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677367" y="1249846"/>
            <a:ext cx="26960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20-F29 (Schizofrenie‚ poruchy 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hizotypál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 poruchy s bludy)</a:t>
            </a:r>
          </a:p>
        </p:txBody>
      </p:sp>
      <p:graphicFrame>
        <p:nvGraphicFramePr>
          <p:cNvPr id="5" name="Chart 6">
            <a:extLst>
              <a:ext uri="{FF2B5EF4-FFF2-40B4-BE49-F238E27FC236}">
                <a16:creationId xmlns:a16="http://schemas.microsoft.com/office/drawing/2014/main" id="{CD80D3B8-54AF-8E78-9288-E1E0618C2B16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89577262"/>
              </p:ext>
            </p:extLst>
          </p:nvPr>
        </p:nvGraphicFramePr>
        <p:xfrm>
          <a:off x="584465" y="1717021"/>
          <a:ext cx="3348081" cy="2122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F0A6ACE4-E3FD-1401-944A-5A6D14DDD59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4309" y="1151006"/>
            <a:ext cx="30490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10 (Poruchy duševní a poruchy chování způsobené užíváním alkoholu)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84524149-3410-3724-D1F0-C86DFB95D933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626345" y="4367253"/>
          <a:ext cx="3355940" cy="2122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1E04F348-2F82-521C-7199-49AE0E1C9A5B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75274" y="3997931"/>
            <a:ext cx="32087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30-F39 bez F32, F33 (Afektivní poruchy (bez deprese))</a:t>
            </a: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9F239788-00D9-DF82-D71B-CB9CDDFA8344}"/>
              </a:ext>
            </a:extLst>
          </p:cNvPr>
          <p:cNvGraphicFramePr/>
          <p:nvPr>
            <p:custDataLst>
              <p:tags r:id="rId8"/>
            </p:custDataLst>
          </p:nvPr>
        </p:nvGraphicFramePr>
        <p:xfrm>
          <a:off x="4130510" y="1718589"/>
          <a:ext cx="3348081" cy="2122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C19C00AE-4162-2A26-958C-23AA9A85D27C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298139" y="1164632"/>
            <a:ext cx="35019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11-F19 (Poruchy duševní a poruchy chování způsobené užíváním psychoaktivních látek) </a:t>
            </a:r>
          </a:p>
        </p:txBody>
      </p:sp>
      <p:graphicFrame>
        <p:nvGraphicFramePr>
          <p:cNvPr id="11" name="Chart 6">
            <a:extLst>
              <a:ext uri="{FF2B5EF4-FFF2-40B4-BE49-F238E27FC236}">
                <a16:creationId xmlns:a16="http://schemas.microsoft.com/office/drawing/2014/main" id="{CCEF2BD4-2B2F-BB25-9952-FAECBFBEC132}"/>
              </a:ext>
            </a:extLst>
          </p:cNvPr>
          <p:cNvGraphicFramePr/>
          <p:nvPr>
            <p:custDataLst>
              <p:tags r:id="rId10"/>
            </p:custDataLst>
          </p:nvPr>
        </p:nvGraphicFramePr>
        <p:xfrm>
          <a:off x="4172390" y="4368821"/>
          <a:ext cx="3355940" cy="2122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7AD21ADC-49B6-0452-B265-CE0DE35DD34B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4598162" y="3999499"/>
            <a:ext cx="26960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32, F33 (Depresivní porucha)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E89A65D7-E0BD-AD27-EDA2-49C0AD1537AB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288000" y="665785"/>
            <a:ext cx="116431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 (NRHZS)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, kteří mají v daném roce vykázánu jakoukoli péči pro sledovanou diagnózu (ambulantní nebo hospitalizační) u odbornosti psychiatrie.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AEB4E718-C64B-A491-9A95-A98A05BFB18D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 rot="16200000">
            <a:off x="7138466" y="2174945"/>
            <a:ext cx="19764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77EA0CB3-AF2E-FBBA-E452-76DE47BD73B0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 rot="16200000">
            <a:off x="-500383" y="2255216"/>
            <a:ext cx="19764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FF0E485A-182E-947A-6DD6-F0F03BDCBDEF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 rot="16200000">
            <a:off x="-449074" y="4904178"/>
            <a:ext cx="19764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4CB4E5C-A895-F155-727E-097A3A6561C3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 rot="16200000">
            <a:off x="3064518" y="2256784"/>
            <a:ext cx="19764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850004BC-E4FB-26C5-0E94-DC5685C0B89C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 rot="16200000">
            <a:off x="3115827" y="4905746"/>
            <a:ext cx="19764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294492975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235622"/>
            <a:ext cx="11664778" cy="573989"/>
          </a:xfrm>
        </p:spPr>
        <p:txBody>
          <a:bodyPr anchor="t">
            <a:normAutofit/>
          </a:bodyPr>
          <a:lstStyle/>
          <a:p>
            <a:r>
              <a:rPr lang="cs-CZ" sz="2800" dirty="0"/>
              <a:t>Praha: počet dětí a mladistvých s psychiatrickou péčí pro vybrané diagnózy</a:t>
            </a:r>
          </a:p>
        </p:txBody>
      </p:sp>
      <p:graphicFrame>
        <p:nvGraphicFramePr>
          <p:cNvPr id="3" name="Chart 6">
            <a:extLst>
              <a:ext uri="{FF2B5EF4-FFF2-40B4-BE49-F238E27FC236}">
                <a16:creationId xmlns:a16="http://schemas.microsoft.com/office/drawing/2014/main" id="{F2DCEA0A-6425-88C1-C188-ADA60C8C400D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805015" y="1850440"/>
          <a:ext cx="3348081" cy="2122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4" name="TextovéPole 3">
            <a:extLst>
              <a:ext uri="{FF2B5EF4-FFF2-40B4-BE49-F238E27FC236}">
                <a16:creationId xmlns:a16="http://schemas.microsoft.com/office/drawing/2014/main" id="{DA288710-4237-95FF-2CE9-8919A65D24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32831" y="1303275"/>
            <a:ext cx="37251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40-F48 bez F42 (Neurotické‚ stresové a somatoformní poruchy)</a:t>
            </a:r>
          </a:p>
        </p:txBody>
      </p:sp>
      <p:graphicFrame>
        <p:nvGraphicFramePr>
          <p:cNvPr id="5" name="Chart 6">
            <a:extLst>
              <a:ext uri="{FF2B5EF4-FFF2-40B4-BE49-F238E27FC236}">
                <a16:creationId xmlns:a16="http://schemas.microsoft.com/office/drawing/2014/main" id="{A03C63C8-66DE-49B2-FD50-F89A7E3C592F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797156" y="4426800"/>
          <a:ext cx="3355940" cy="2122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4B6B624B-3307-D27D-B994-33CDD74692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200365" y="4057478"/>
            <a:ext cx="29181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60, F61 (Poruchy osobnosti a chování)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CC940312-E31A-B6BE-D454-94EB9C0D9546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1760515"/>
              </p:ext>
            </p:extLst>
          </p:nvPr>
        </p:nvGraphicFramePr>
        <p:xfrm>
          <a:off x="4417049" y="1861435"/>
          <a:ext cx="3348081" cy="2122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393B5466-FB10-7444-0036-81FB86156B7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880529" y="1295420"/>
            <a:ext cx="26960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42 (Obsedantně-nutkavá porucha)</a:t>
            </a: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CF10E15B-85EF-2011-7EC3-AD2297A770EE}"/>
              </a:ext>
            </a:extLst>
          </p:cNvPr>
          <p:cNvGraphicFramePr/>
          <p:nvPr>
            <p:custDataLst>
              <p:tags r:id="rId8"/>
            </p:custDataLst>
          </p:nvPr>
        </p:nvGraphicFramePr>
        <p:xfrm>
          <a:off x="4409190" y="4437795"/>
          <a:ext cx="3355940" cy="2122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7DD14F23-04DB-9BE9-3B92-9D9614A8428A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417049" y="4068473"/>
            <a:ext cx="36671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62-F69 (Změny osobnosti a chování)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1" name="Chart 6">
            <a:extLst>
              <a:ext uri="{FF2B5EF4-FFF2-40B4-BE49-F238E27FC236}">
                <a16:creationId xmlns:a16="http://schemas.microsoft.com/office/drawing/2014/main" id="{ADF6FBC4-ADE3-E898-9713-D16DC6D08200}"/>
              </a:ext>
            </a:extLst>
          </p:cNvPr>
          <p:cNvGraphicFramePr/>
          <p:nvPr>
            <p:custDataLst>
              <p:tags r:id="rId10"/>
            </p:custDataLst>
          </p:nvPr>
        </p:nvGraphicFramePr>
        <p:xfrm>
          <a:off x="7963094" y="1863003"/>
          <a:ext cx="3348081" cy="2122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663A212D-E677-FE6A-D73C-9882FA033D27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045879" y="1309046"/>
            <a:ext cx="35868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50-F59 (Syndromy poruch chování‚ spojené </a:t>
            </a:r>
            <a:b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fyziolog. poruchami a 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mat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faktory)</a:t>
            </a:r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97622EFC-0C3E-A6C4-A686-88D61B1DD387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288000" y="828000"/>
            <a:ext cx="116431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 (NRHZS)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, kteří mají v daném roce vykázánu jakoukoli péči pro sledovanou diagnózu (ambulantní nebo hospitalizační) u odbornosti psychiatrie.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86D1C8C-B665-E1FE-1053-5E1D2245C3F3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 rot="16200000">
            <a:off x="-317543" y="2407487"/>
            <a:ext cx="19764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5333892-392C-DE37-95A2-3EC23A740F6C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 rot="16200000">
            <a:off x="-315973" y="4982577"/>
            <a:ext cx="19764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9D3EDE6-D2B3-DFC1-84D4-965B0B2CEC1A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 rot="16200000">
            <a:off x="3332201" y="2399630"/>
            <a:ext cx="19764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73F84EB6-EC7F-110F-4B2B-0AE2A20F7894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 rot="16200000">
            <a:off x="3333771" y="4974720"/>
            <a:ext cx="19764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98DA5815-9AB6-6FC8-6C10-FAB93629FA57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 rot="16200000">
            <a:off x="6897102" y="2401198"/>
            <a:ext cx="19764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</a:t>
            </a:r>
          </a:p>
        </p:txBody>
      </p:sp>
      <p:graphicFrame>
        <p:nvGraphicFramePr>
          <p:cNvPr id="19" name="Chart 6">
            <a:extLst>
              <a:ext uri="{FF2B5EF4-FFF2-40B4-BE49-F238E27FC236}">
                <a16:creationId xmlns:a16="http://schemas.microsoft.com/office/drawing/2014/main" id="{5FFF2EB1-0928-6D80-98AB-3ED9D237A42E}"/>
              </a:ext>
            </a:extLst>
          </p:cNvPr>
          <p:cNvGraphicFramePr/>
          <p:nvPr>
            <p:custDataLst>
              <p:tags r:id="rId18"/>
            </p:custDataLst>
          </p:nvPr>
        </p:nvGraphicFramePr>
        <p:xfrm>
          <a:off x="7998680" y="4604643"/>
          <a:ext cx="3348081" cy="2122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20" name="TextovéPole 19">
            <a:extLst>
              <a:ext uri="{FF2B5EF4-FFF2-40B4-BE49-F238E27FC236}">
                <a16:creationId xmlns:a16="http://schemas.microsoft.com/office/drawing/2014/main" id="{4D486FBF-3D26-0ACD-7C82-E5DD16434132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8002053" y="4057478"/>
            <a:ext cx="37251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80-F89 (Poruchy psychického vývoje)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2096B00C-881B-BF44-B64E-8B549F3EB378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 rot="16200000">
            <a:off x="6876122" y="5161690"/>
            <a:ext cx="19764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392899072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235622"/>
            <a:ext cx="11664778" cy="573989"/>
          </a:xfrm>
        </p:spPr>
        <p:txBody>
          <a:bodyPr anchor="t">
            <a:normAutofit/>
          </a:bodyPr>
          <a:lstStyle/>
          <a:p>
            <a:r>
              <a:rPr lang="cs-CZ" sz="2800" dirty="0"/>
              <a:t>Praha: vývoj počtu pacientů ve věku 20 – 64 let s psychiatrickou péčí</a:t>
            </a:r>
          </a:p>
        </p:txBody>
      </p:sp>
      <p:graphicFrame>
        <p:nvGraphicFramePr>
          <p:cNvPr id="3" name="Table 8">
            <a:extLst>
              <a:ext uri="{FF2B5EF4-FFF2-40B4-BE49-F238E27FC236}">
                <a16:creationId xmlns:a16="http://schemas.microsoft.com/office/drawing/2014/main" id="{916CA73E-E515-CE1A-2FB2-9E41DCD4A466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231358" y="1400455"/>
          <a:ext cx="10884316" cy="46284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84831">
                  <a:extLst>
                    <a:ext uri="{9D8B030D-6E8A-4147-A177-3AD203B41FA5}">
                      <a16:colId xmlns:a16="http://schemas.microsoft.com/office/drawing/2014/main" val="1450522724"/>
                    </a:ext>
                  </a:extLst>
                </a:gridCol>
                <a:gridCol w="1479666">
                  <a:extLst>
                    <a:ext uri="{9D8B030D-6E8A-4147-A177-3AD203B41FA5}">
                      <a16:colId xmlns:a16="http://schemas.microsoft.com/office/drawing/2014/main" val="3948739247"/>
                    </a:ext>
                  </a:extLst>
                </a:gridCol>
                <a:gridCol w="1110467">
                  <a:extLst>
                    <a:ext uri="{9D8B030D-6E8A-4147-A177-3AD203B41FA5}">
                      <a16:colId xmlns:a16="http://schemas.microsoft.com/office/drawing/2014/main" val="3598116846"/>
                    </a:ext>
                  </a:extLst>
                </a:gridCol>
                <a:gridCol w="1609352">
                  <a:extLst>
                    <a:ext uri="{9D8B030D-6E8A-4147-A177-3AD203B41FA5}">
                      <a16:colId xmlns:a16="http://schemas.microsoft.com/office/drawing/2014/main" val="3739354688"/>
                    </a:ext>
                  </a:extLst>
                </a:gridCol>
              </a:tblGrid>
              <a:tr h="382065">
                <a:tc>
                  <a:txBody>
                    <a:bodyPr/>
                    <a:lstStyle/>
                    <a:p>
                      <a:pPr algn="r" fontAlgn="b"/>
                      <a:endParaRPr lang="en-US" sz="2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805" marR="5805" marT="580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effectLst/>
                          <a:latin typeface="+mn-lt"/>
                        </a:rPr>
                        <a:t>201</a:t>
                      </a:r>
                      <a:r>
                        <a:rPr lang="cs-CZ" sz="1800" b="1" u="none" strike="noStrike" dirty="0">
                          <a:effectLst/>
                          <a:latin typeface="+mn-lt"/>
                        </a:rPr>
                        <a:t>3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805" marR="5805" marT="580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3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805" marR="5805" marT="580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změna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805" marR="5805" marT="580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5659930"/>
                  </a:ext>
                </a:extLst>
              </a:tr>
              <a:tr h="317245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urotické‚ stresové a somatoformní poruchy (F40-F48 bez F42)</a:t>
                      </a:r>
                    </a:p>
                  </a:txBody>
                  <a:tcPr marL="360000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67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74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6269519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presivní porucha (F32, F33)</a:t>
                      </a:r>
                    </a:p>
                  </a:txBody>
                  <a:tcPr marL="360000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73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00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9354853"/>
                  </a:ext>
                </a:extLst>
              </a:tr>
              <a:tr h="315501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hizofrenie‚ poruchy </a:t>
                      </a:r>
                      <a:r>
                        <a:rPr lang="cs-CZ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hizotypální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 poruchy s bludy (F20-F29)</a:t>
                      </a:r>
                    </a:p>
                  </a:txBody>
                  <a:tcPr marL="360000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83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7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7196661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uchy osobnosti a chování (F60, F61)</a:t>
                      </a:r>
                    </a:p>
                  </a:txBody>
                  <a:tcPr marL="360000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5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7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629295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uchy duševní a poruchy chování způs. užíváním psychoakt. látek (F11-F19)</a:t>
                      </a:r>
                    </a:p>
                  </a:txBody>
                  <a:tcPr marL="360000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5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7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8098871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yndromy poruch chování‚ spoj. s fyziolog. poruch. a </a:t>
                      </a:r>
                      <a:r>
                        <a:rPr lang="cs-CZ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ma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faktory (F50-F59)</a:t>
                      </a:r>
                    </a:p>
                  </a:txBody>
                  <a:tcPr marL="360000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9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7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9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8739388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uchy duševní a poruchy chování způsobené užíváním alkoholu (F10)</a:t>
                      </a:r>
                    </a:p>
                  </a:txBody>
                  <a:tcPr marL="360000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0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4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0150853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fektivní poruchy (bez deprese) (F30-F39 bez F32, F33)</a:t>
                      </a:r>
                    </a:p>
                  </a:txBody>
                  <a:tcPr marL="360000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0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3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7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5494669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cké duševní poruchy, Alzheimerova nemoc (F00-F09, G30)</a:t>
                      </a:r>
                    </a:p>
                  </a:txBody>
                  <a:tcPr marL="360000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0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3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1348655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uchy chování a emocí s obvyklým nástupem v dětství a v </a:t>
                      </a:r>
                      <a:r>
                        <a:rPr lang="cs-CZ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sp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(F90-F98)</a:t>
                      </a:r>
                    </a:p>
                  </a:txBody>
                  <a:tcPr marL="360000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9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6939928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sedantně-nutkavá porucha (F42)</a:t>
                      </a:r>
                    </a:p>
                  </a:txBody>
                  <a:tcPr marL="360000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4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7234031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ěny osobnosti a chování (F62-F69)</a:t>
                      </a:r>
                    </a:p>
                  </a:txBody>
                  <a:tcPr marL="360000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005264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ntální retardace (F70-F79)</a:t>
                      </a:r>
                    </a:p>
                  </a:txBody>
                  <a:tcPr marL="360000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7932262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uchy psychického vývoje (F80-F89)</a:t>
                      </a:r>
                    </a:p>
                  </a:txBody>
                  <a:tcPr marL="360000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5941665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</a:t>
                      </a:r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726</a:t>
                      </a: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309</a:t>
                      </a: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%</a:t>
                      </a: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2186724"/>
                  </a:ext>
                </a:extLst>
              </a:tr>
            </a:tbl>
          </a:graphicData>
        </a:graphic>
      </p:graphicFrame>
      <p:sp>
        <p:nvSpPr>
          <p:cNvPr id="4" name="Šipka doprava 12">
            <a:extLst>
              <a:ext uri="{FF2B5EF4-FFF2-40B4-BE49-F238E27FC236}">
                <a16:creationId xmlns:a16="http://schemas.microsoft.com/office/drawing/2014/main" id="{AFFBBDDC-AEC0-A175-EC04-149E44A3B6B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6200000">
            <a:off x="309479" y="1854109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B0DB7CB5-3F33-EE0F-F0E2-71D66B3B478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88000" y="665785"/>
            <a:ext cx="116431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 (NRHZS).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, kteří mají v daném roce vykázánu jakoukoli péči pro sledovanou diagnózu (ambulantní nebo hospitalizační) u odbornosti psychiatrie. </a:t>
            </a:r>
          </a:p>
        </p:txBody>
      </p:sp>
      <p:sp>
        <p:nvSpPr>
          <p:cNvPr id="6" name="Šipka doprava 12">
            <a:extLst>
              <a:ext uri="{FF2B5EF4-FFF2-40B4-BE49-F238E27FC236}">
                <a16:creationId xmlns:a16="http://schemas.microsoft.com/office/drawing/2014/main" id="{DF467A58-E437-B5B6-4FF3-3C56EEDC671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6200000">
            <a:off x="309479" y="2965455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Šipka doprava 12">
            <a:extLst>
              <a:ext uri="{FF2B5EF4-FFF2-40B4-BE49-F238E27FC236}">
                <a16:creationId xmlns:a16="http://schemas.microsoft.com/office/drawing/2014/main" id="{8A750D03-C893-D2E6-7BCC-051D2F7B00E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16200000">
            <a:off x="309479" y="4632479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Šipka doprava 12">
            <a:extLst>
              <a:ext uri="{FF2B5EF4-FFF2-40B4-BE49-F238E27FC236}">
                <a16:creationId xmlns:a16="http://schemas.microsoft.com/office/drawing/2014/main" id="{ACA9A9E7-4DBF-8354-DE3E-F579D59EB24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 rot="16200000">
            <a:off x="309479" y="4910317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Šipka doprava 12">
            <a:extLst>
              <a:ext uri="{FF2B5EF4-FFF2-40B4-BE49-F238E27FC236}">
                <a16:creationId xmlns:a16="http://schemas.microsoft.com/office/drawing/2014/main" id="{BE56C206-8C01-3973-4CB2-EE981C31D36F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 rot="16200000">
            <a:off x="309479" y="5465989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prava 12">
            <a:extLst>
              <a:ext uri="{FF2B5EF4-FFF2-40B4-BE49-F238E27FC236}">
                <a16:creationId xmlns:a16="http://schemas.microsoft.com/office/drawing/2014/main" id="{37E51149-0DCC-8B2C-ED76-BD1D850544C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 rot="16200000">
            <a:off x="309479" y="5188155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Šipka doprava 12">
            <a:extLst>
              <a:ext uri="{FF2B5EF4-FFF2-40B4-BE49-F238E27FC236}">
                <a16:creationId xmlns:a16="http://schemas.microsoft.com/office/drawing/2014/main" id="{4E4E8DFB-A1C5-51B6-7423-B99669CCFB20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 rot="16200000">
            <a:off x="324719" y="5724376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prava 12">
            <a:extLst>
              <a:ext uri="{FF2B5EF4-FFF2-40B4-BE49-F238E27FC236}">
                <a16:creationId xmlns:a16="http://schemas.microsoft.com/office/drawing/2014/main" id="{C84CDA8B-2AD5-8468-054E-385ACB82BDF1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 rot="16200000">
            <a:off x="297757" y="2712243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Šipka doprava 12">
            <a:extLst>
              <a:ext uri="{FF2B5EF4-FFF2-40B4-BE49-F238E27FC236}">
                <a16:creationId xmlns:a16="http://schemas.microsoft.com/office/drawing/2014/main" id="{5A9FC97B-1CA8-3EBE-19E8-1115E3AB551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 rot="16200000">
            <a:off x="309481" y="2419169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Šipka doprava 12">
            <a:extLst>
              <a:ext uri="{FF2B5EF4-FFF2-40B4-BE49-F238E27FC236}">
                <a16:creationId xmlns:a16="http://schemas.microsoft.com/office/drawing/2014/main" id="{07FBDF5E-DE24-B4D4-A46B-3C2BB7F2C64D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 rot="16200000">
            <a:off x="321205" y="4353476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538284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235622"/>
            <a:ext cx="11664778" cy="573989"/>
          </a:xfrm>
        </p:spPr>
        <p:txBody>
          <a:bodyPr anchor="t">
            <a:normAutofit/>
          </a:bodyPr>
          <a:lstStyle/>
          <a:p>
            <a:r>
              <a:rPr lang="cs-CZ" sz="2800" dirty="0"/>
              <a:t>Praha: vývoj počtu pacientů ve věku 65+ let s psychiatrickou péčí</a:t>
            </a:r>
          </a:p>
        </p:txBody>
      </p:sp>
      <p:graphicFrame>
        <p:nvGraphicFramePr>
          <p:cNvPr id="3" name="Table 8">
            <a:extLst>
              <a:ext uri="{FF2B5EF4-FFF2-40B4-BE49-F238E27FC236}">
                <a16:creationId xmlns:a16="http://schemas.microsoft.com/office/drawing/2014/main" id="{8D938DA4-EF1E-B203-0ACE-81CB3BD0BAA8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231358" y="1400455"/>
          <a:ext cx="10884316" cy="46284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84831">
                  <a:extLst>
                    <a:ext uri="{9D8B030D-6E8A-4147-A177-3AD203B41FA5}">
                      <a16:colId xmlns:a16="http://schemas.microsoft.com/office/drawing/2014/main" val="1450522724"/>
                    </a:ext>
                  </a:extLst>
                </a:gridCol>
                <a:gridCol w="1479666">
                  <a:extLst>
                    <a:ext uri="{9D8B030D-6E8A-4147-A177-3AD203B41FA5}">
                      <a16:colId xmlns:a16="http://schemas.microsoft.com/office/drawing/2014/main" val="3948739247"/>
                    </a:ext>
                  </a:extLst>
                </a:gridCol>
                <a:gridCol w="1110467">
                  <a:extLst>
                    <a:ext uri="{9D8B030D-6E8A-4147-A177-3AD203B41FA5}">
                      <a16:colId xmlns:a16="http://schemas.microsoft.com/office/drawing/2014/main" val="3598116846"/>
                    </a:ext>
                  </a:extLst>
                </a:gridCol>
                <a:gridCol w="1609352">
                  <a:extLst>
                    <a:ext uri="{9D8B030D-6E8A-4147-A177-3AD203B41FA5}">
                      <a16:colId xmlns:a16="http://schemas.microsoft.com/office/drawing/2014/main" val="3739354688"/>
                    </a:ext>
                  </a:extLst>
                </a:gridCol>
              </a:tblGrid>
              <a:tr h="382065">
                <a:tc>
                  <a:txBody>
                    <a:bodyPr/>
                    <a:lstStyle/>
                    <a:p>
                      <a:pPr algn="r" fontAlgn="b"/>
                      <a:endParaRPr lang="en-US" sz="2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805" marR="5805" marT="580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effectLst/>
                          <a:latin typeface="+mn-lt"/>
                        </a:rPr>
                        <a:t>201</a:t>
                      </a:r>
                      <a:r>
                        <a:rPr lang="cs-CZ" sz="1800" b="1" u="none" strike="noStrike" dirty="0">
                          <a:effectLst/>
                          <a:latin typeface="+mn-lt"/>
                        </a:rPr>
                        <a:t>3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805" marR="5805" marT="580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3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805" marR="5805" marT="580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změna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805" marR="5805" marT="580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5659930"/>
                  </a:ext>
                </a:extLst>
              </a:tr>
              <a:tr h="317245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cké duševní poruchy, Alzheimerova nemoc (F00-F09, G30)</a:t>
                      </a:r>
                    </a:p>
                  </a:txBody>
                  <a:tcPr marL="360000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59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62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6269519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urotické‚ stresové a somatoformní poruchy (F40-F48 bez F42)</a:t>
                      </a:r>
                    </a:p>
                  </a:txBody>
                  <a:tcPr marL="360000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9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98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9354853"/>
                  </a:ext>
                </a:extLst>
              </a:tr>
              <a:tr h="315501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presivní porucha (F32, F33)</a:t>
                      </a:r>
                    </a:p>
                  </a:txBody>
                  <a:tcPr marL="360000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59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84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7196661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hizofrenie‚ poruchy schizotypální a poruchy s bludy (F20-F29)</a:t>
                      </a:r>
                    </a:p>
                  </a:txBody>
                  <a:tcPr marL="360000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629295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yndromy poruch chování‚ spoj. s fyziolog. poruch. a somat. Faktory (F50-F59)</a:t>
                      </a:r>
                    </a:p>
                  </a:txBody>
                  <a:tcPr marL="360000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8098871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fektivní poruchy (bez deprese) (F30-F39 bez F32, F33)</a:t>
                      </a:r>
                    </a:p>
                  </a:txBody>
                  <a:tcPr marL="360000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739388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uchy duševní a poruchy chování způsobené užíváním alkoholu (F10)</a:t>
                      </a:r>
                    </a:p>
                  </a:txBody>
                  <a:tcPr marL="360000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0150853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uchy osobnosti a chování (F60, F61)</a:t>
                      </a:r>
                    </a:p>
                  </a:txBody>
                  <a:tcPr marL="360000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7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5494669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uchy duševní a poruchy chování </a:t>
                      </a:r>
                      <a:r>
                        <a:rPr lang="cs-CZ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půs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užíváním </a:t>
                      </a:r>
                      <a:r>
                        <a:rPr lang="cs-CZ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oak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látek (F11-F19)</a:t>
                      </a:r>
                    </a:p>
                  </a:txBody>
                  <a:tcPr marL="360000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1348655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sedantně-nutkavá porucha (F42)</a:t>
                      </a:r>
                    </a:p>
                  </a:txBody>
                  <a:tcPr marL="360000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6939928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ntální retardace (F70-F79)</a:t>
                      </a:r>
                    </a:p>
                  </a:txBody>
                  <a:tcPr marL="360000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7234031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uchy chování a emocí s obvyklým nástupem v dětství a v </a:t>
                      </a:r>
                      <a:r>
                        <a:rPr lang="cs-CZ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sp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(F90-F98)</a:t>
                      </a:r>
                    </a:p>
                  </a:txBody>
                  <a:tcPr marL="360000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6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005264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ěny osobnosti a chování (F62-F69)</a:t>
                      </a:r>
                    </a:p>
                  </a:txBody>
                  <a:tcPr marL="360000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7932262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uchy psychického vývoje (F80-F89)</a:t>
                      </a:r>
                    </a:p>
                  </a:txBody>
                  <a:tcPr marL="360000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5941665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Celkem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886</a:t>
                      </a: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417</a:t>
                      </a: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%</a:t>
                      </a: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8104213"/>
                  </a:ext>
                </a:extLst>
              </a:tr>
            </a:tbl>
          </a:graphicData>
        </a:graphic>
      </p:graphicFrame>
      <p:sp>
        <p:nvSpPr>
          <p:cNvPr id="4" name="Šipka doprava 12">
            <a:extLst>
              <a:ext uri="{FF2B5EF4-FFF2-40B4-BE49-F238E27FC236}">
                <a16:creationId xmlns:a16="http://schemas.microsoft.com/office/drawing/2014/main" id="{AD46B783-3747-4E6D-9607-ADC2270003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6200000">
            <a:off x="309479" y="1854109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FA458DF8-3295-D7DA-2B9A-3276CBBACB0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88000" y="665785"/>
            <a:ext cx="116431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 (NRHZS).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, kteří mají v daném roce vykázánu jakoukoli péči pro sledovanou diagnózu (ambulantní nebo hospitalizační) u odbornosti psychiatrie. </a:t>
            </a:r>
          </a:p>
        </p:txBody>
      </p:sp>
      <p:sp>
        <p:nvSpPr>
          <p:cNvPr id="6" name="Šipka doprava 12">
            <a:extLst>
              <a:ext uri="{FF2B5EF4-FFF2-40B4-BE49-F238E27FC236}">
                <a16:creationId xmlns:a16="http://schemas.microsoft.com/office/drawing/2014/main" id="{BFA2B330-C0B1-BEC9-71FB-3CDABA54B4E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6200000">
            <a:off x="309479" y="2131946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Šipka doprava 12">
            <a:extLst>
              <a:ext uri="{FF2B5EF4-FFF2-40B4-BE49-F238E27FC236}">
                <a16:creationId xmlns:a16="http://schemas.microsoft.com/office/drawing/2014/main" id="{611B10E2-D52F-004A-5BE0-84DE2D5EF7A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16200000">
            <a:off x="309479" y="2409783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Šipka doprava 12">
            <a:extLst>
              <a:ext uri="{FF2B5EF4-FFF2-40B4-BE49-F238E27FC236}">
                <a16:creationId xmlns:a16="http://schemas.microsoft.com/office/drawing/2014/main" id="{F57E470B-6BAE-D503-E085-62795390EFB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 rot="16200000">
            <a:off x="309479" y="2687620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Šipka doprava 12">
            <a:extLst>
              <a:ext uri="{FF2B5EF4-FFF2-40B4-BE49-F238E27FC236}">
                <a16:creationId xmlns:a16="http://schemas.microsoft.com/office/drawing/2014/main" id="{000CF361-6732-6355-1EC2-19CDA2BCEFCB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 rot="16200000">
            <a:off x="309479" y="2965457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prava 12">
            <a:extLst>
              <a:ext uri="{FF2B5EF4-FFF2-40B4-BE49-F238E27FC236}">
                <a16:creationId xmlns:a16="http://schemas.microsoft.com/office/drawing/2014/main" id="{1C5CC670-6AF0-AE6A-76A4-BD33C92A8C46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 rot="16200000">
            <a:off x="309479" y="3243294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Šipka doprava 12">
            <a:extLst>
              <a:ext uri="{FF2B5EF4-FFF2-40B4-BE49-F238E27FC236}">
                <a16:creationId xmlns:a16="http://schemas.microsoft.com/office/drawing/2014/main" id="{FAC2D853-A048-39A2-C2BE-6D8254E5695B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 rot="16200000">
            <a:off x="309479" y="3521131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prava 12">
            <a:extLst>
              <a:ext uri="{FF2B5EF4-FFF2-40B4-BE49-F238E27FC236}">
                <a16:creationId xmlns:a16="http://schemas.microsoft.com/office/drawing/2014/main" id="{01BE927E-BF0B-4CB3-3753-7EA6160BFDA5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 rot="16200000">
            <a:off x="309479" y="4076805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Šipka doprava 12">
            <a:extLst>
              <a:ext uri="{FF2B5EF4-FFF2-40B4-BE49-F238E27FC236}">
                <a16:creationId xmlns:a16="http://schemas.microsoft.com/office/drawing/2014/main" id="{E313B19C-4B37-97F7-3AFA-4F9FA6087B95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 rot="16200000">
            <a:off x="309479" y="4354642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Šipka doprava 12">
            <a:extLst>
              <a:ext uri="{FF2B5EF4-FFF2-40B4-BE49-F238E27FC236}">
                <a16:creationId xmlns:a16="http://schemas.microsoft.com/office/drawing/2014/main" id="{8D8A6D9F-51A7-4831-F5F3-F78D5B418637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 rot="16200000">
            <a:off x="309479" y="4632479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Šipka doprava 12">
            <a:extLst>
              <a:ext uri="{FF2B5EF4-FFF2-40B4-BE49-F238E27FC236}">
                <a16:creationId xmlns:a16="http://schemas.microsoft.com/office/drawing/2014/main" id="{69A2D431-FA75-1056-3613-B450081A887A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 rot="16200000">
            <a:off x="309479" y="5194786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Šipka doprava 12">
            <a:extLst>
              <a:ext uri="{FF2B5EF4-FFF2-40B4-BE49-F238E27FC236}">
                <a16:creationId xmlns:a16="http://schemas.microsoft.com/office/drawing/2014/main" id="{00F5A2F2-F094-4002-62A5-67363B78446A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 rot="16200000">
            <a:off x="324719" y="5724376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Šipka doprava 12">
            <a:extLst>
              <a:ext uri="{FF2B5EF4-FFF2-40B4-BE49-F238E27FC236}">
                <a16:creationId xmlns:a16="http://schemas.microsoft.com/office/drawing/2014/main" id="{2E96E3D8-D02C-5711-70AC-841250E91BB9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 rot="16200000">
            <a:off x="305764" y="4912289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662367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: se zakulacenými rohy na opačné straně 3">
            <a:extLst>
              <a:ext uri="{FF2B5EF4-FFF2-40B4-BE49-F238E27FC236}">
                <a16:creationId xmlns:a16="http://schemas.microsoft.com/office/drawing/2014/main" id="{167A20BD-62DA-44FE-AF48-7FBD2BEA4689}"/>
              </a:ext>
            </a:extLst>
          </p:cNvPr>
          <p:cNvSpPr/>
          <p:nvPr/>
        </p:nvSpPr>
        <p:spPr>
          <a:xfrm flipV="1">
            <a:off x="-4680" y="787665"/>
            <a:ext cx="5833745" cy="2787745"/>
          </a:xfrm>
          <a:prstGeom prst="round2DiagRect">
            <a:avLst>
              <a:gd name="adj1" fmla="val 50000"/>
              <a:gd name="adj2" fmla="val 0"/>
            </a:avLst>
          </a:prstGeom>
          <a:solidFill>
            <a:srgbClr val="5BCC72">
              <a:alpha val="49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71AFB65-5EC3-4B45-AC2F-AB3CB64FBF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846" y="1449859"/>
            <a:ext cx="5833745" cy="1688758"/>
          </a:xfrm>
        </p:spPr>
        <p:txBody>
          <a:bodyPr/>
          <a:lstStyle/>
          <a:p>
            <a:pPr algn="l"/>
            <a:r>
              <a:rPr lang="cs-CZ" sz="2400" b="1" i="1" dirty="0">
                <a:solidFill>
                  <a:schemeClr val="bg1"/>
                </a:solidFill>
              </a:rPr>
              <a:t>Analytické studie programu Zdraví 2030: </a:t>
            </a:r>
            <a:r>
              <a:rPr lang="cs-CZ" sz="3600" b="1" dirty="0">
                <a:solidFill>
                  <a:schemeClr val="bg1"/>
                </a:solidFill>
              </a:rPr>
              <a:t>Národní informační systém pro psychiatrii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164F2552-388B-4793-BF8A-077744D27E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5416" y="4933507"/>
            <a:ext cx="10952034" cy="1156143"/>
          </a:xfrm>
        </p:spPr>
        <p:txBody>
          <a:bodyPr>
            <a:normAutofit/>
          </a:bodyPr>
          <a:lstStyle/>
          <a:p>
            <a:r>
              <a:rPr lang="cs-CZ" sz="3800" dirty="0">
                <a:solidFill>
                  <a:srgbClr val="3F55A6"/>
                </a:solidFill>
              </a:rPr>
              <a:t>Ukázka hodnocení zátěže: sebevražednost</a:t>
            </a:r>
            <a:endParaRPr lang="en-US" sz="3800" dirty="0">
              <a:solidFill>
                <a:srgbClr val="3F55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07599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BABE828-DE55-CA7D-D763-0B3831701602}"/>
              </a:ext>
            </a:extLst>
          </p:cNvPr>
          <p:cNvSpPr txBox="1">
            <a:spLocks/>
          </p:cNvSpPr>
          <p:nvPr/>
        </p:nvSpPr>
        <p:spPr>
          <a:xfrm>
            <a:off x="101037" y="124107"/>
            <a:ext cx="5123118" cy="1755424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308297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cs-CZ" sz="3400" dirty="0"/>
              <a:t>Národní zdravotnický informační systém </a:t>
            </a:r>
            <a:br>
              <a:rPr lang="cs-CZ" sz="3400" dirty="0"/>
            </a:br>
            <a:r>
              <a:rPr lang="cs-CZ" sz="3400" dirty="0"/>
              <a:t>je dobudován ……</a:t>
            </a:r>
          </a:p>
        </p:txBody>
      </p:sp>
      <p:sp>
        <p:nvSpPr>
          <p:cNvPr id="3" name="Zástupný symbol pro číslo snímku 3">
            <a:extLst>
              <a:ext uri="{FF2B5EF4-FFF2-40B4-BE49-F238E27FC236}">
                <a16:creationId xmlns:a16="http://schemas.microsoft.com/office/drawing/2014/main" id="{4C3A6034-6958-6EF5-373A-B8B124F57439}"/>
              </a:ext>
            </a:extLst>
          </p:cNvPr>
          <p:cNvSpPr txBox="1">
            <a:spLocks/>
          </p:cNvSpPr>
          <p:nvPr/>
        </p:nvSpPr>
        <p:spPr>
          <a:xfrm>
            <a:off x="10097023" y="6106244"/>
            <a:ext cx="831986" cy="211101"/>
          </a:xfrm>
          <a:prstGeom prst="rect">
            <a:avLst/>
          </a:prstGeom>
        </p:spPr>
        <p:txBody>
          <a:bodyPr/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C9401D-42AF-4231-A83B-9F6747628248}" type="slidenum">
              <a:rPr kumimoji="0" lang="cs-CZ" sz="1050" b="0" i="0" u="none" strike="noStrike" kern="1200" cap="none" spc="0" normalizeH="0" baseline="0" noProof="0" smtClean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050" b="0" i="0" u="none" strike="noStrike" kern="1200" cap="none" spc="0" normalizeH="0" baseline="0" noProof="0" dirty="0">
              <a:ln>
                <a:noFill/>
              </a:ln>
              <a:solidFill>
                <a:srgbClr val="5F5F5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ext Box 17">
            <a:extLst>
              <a:ext uri="{FF2B5EF4-FFF2-40B4-BE49-F238E27FC236}">
                <a16:creationId xmlns:a16="http://schemas.microsoft.com/office/drawing/2014/main" id="{6E6D727A-9FD0-9229-CE3C-E295CA925A5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5046" y="723150"/>
            <a:ext cx="3851920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Tx/>
              <a:buNone/>
              <a:tabLst/>
              <a:defRPr/>
            </a:pPr>
            <a:r>
              <a:rPr kumimoji="0" lang="cs-CZ" altLang="cs-CZ" sz="6000" b="0" i="1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lgerian" panose="04020705040A02060702" pitchFamily="82" charset="0"/>
                <a:ea typeface="+mn-ea"/>
                <a:cs typeface="+mn-cs"/>
              </a:rPr>
              <a:t>NZIS</a:t>
            </a:r>
          </a:p>
        </p:txBody>
      </p:sp>
      <p:pic>
        <p:nvPicPr>
          <p:cNvPr id="5" name="Picture 14" descr="https://encrypted-tbn0.gstatic.com/images?q=tbn:ANd9GcSGSRoGMu0TlCRBZQioYL2jBYMv_ynj9IHg4PY9OHI-v7v3bl_tPlAPaZ6U">
            <a:extLst>
              <a:ext uri="{FF2B5EF4-FFF2-40B4-BE49-F238E27FC236}">
                <a16:creationId xmlns:a16="http://schemas.microsoft.com/office/drawing/2014/main" id="{67328CFB-2138-598B-8800-82B180EF7B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5366" y="865313"/>
            <a:ext cx="694929" cy="749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7">
            <a:extLst>
              <a:ext uri="{FF2B5EF4-FFF2-40B4-BE49-F238E27FC236}">
                <a16:creationId xmlns:a16="http://schemas.microsoft.com/office/drawing/2014/main" id="{1294F0B8-DD06-A577-780C-E808745D5D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178" b="854"/>
          <a:stretch>
            <a:fillRect/>
          </a:stretch>
        </p:blipFill>
        <p:spPr bwMode="auto">
          <a:xfrm>
            <a:off x="7044333" y="1371477"/>
            <a:ext cx="775648" cy="4434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113E8217-3A41-213D-1560-A8F2D20987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6936" y="5495136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2FE263E3-A9E8-54D7-4192-64F4E535CD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9336" y="5647536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9AB347C2-5239-CF11-3746-44E70F652F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1736" y="5799936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15420539-C4F6-A202-7B0D-E85A60A2CD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9336" y="5647536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B5F10083-2B56-B213-B8FA-18A46D25AC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1736" y="5799936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BB54B160-263A-6604-9B7A-0DCDDA49EE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701" y="5506749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BB157A82-A811-1B85-E950-FA632DE4B7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1736" y="5799936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2708D73D-0D2E-90E5-87A6-ADF8D57C99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701" y="5506749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AD801C7A-F052-6476-064F-1C193A2FCA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101" y="5659149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C23C25C4-DB14-41DB-8AF8-4E03FBAFDE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501" y="5811549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Přímá spojnice se šipkou 16">
            <a:extLst>
              <a:ext uri="{FF2B5EF4-FFF2-40B4-BE49-F238E27FC236}">
                <a16:creationId xmlns:a16="http://schemas.microsoft.com/office/drawing/2014/main" id="{3F90C1F3-212C-2E84-305D-70D60A9054DD}"/>
              </a:ext>
            </a:extLst>
          </p:cNvPr>
          <p:cNvCxnSpPr>
            <a:cxnSpLocks/>
          </p:cNvCxnSpPr>
          <p:nvPr/>
        </p:nvCxnSpPr>
        <p:spPr bwMode="auto">
          <a:xfrm flipV="1">
            <a:off x="2317346" y="1752557"/>
            <a:ext cx="2847234" cy="2539158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grpSp>
        <p:nvGrpSpPr>
          <p:cNvPr id="18" name="Group 226">
            <a:extLst>
              <a:ext uri="{FF2B5EF4-FFF2-40B4-BE49-F238E27FC236}">
                <a16:creationId xmlns:a16="http://schemas.microsoft.com/office/drawing/2014/main" id="{08F77F34-9581-74EF-02F9-79923372DE19}"/>
              </a:ext>
            </a:extLst>
          </p:cNvPr>
          <p:cNvGrpSpPr>
            <a:grpSpLocks/>
          </p:cNvGrpSpPr>
          <p:nvPr/>
        </p:nvGrpSpPr>
        <p:grpSpPr bwMode="auto">
          <a:xfrm>
            <a:off x="8804378" y="4527840"/>
            <a:ext cx="2598737" cy="1816100"/>
            <a:chOff x="457" y="2680"/>
            <a:chExt cx="1800" cy="1238"/>
          </a:xfrm>
        </p:grpSpPr>
        <p:grpSp>
          <p:nvGrpSpPr>
            <p:cNvPr id="19" name="Group 53">
              <a:extLst>
                <a:ext uri="{FF2B5EF4-FFF2-40B4-BE49-F238E27FC236}">
                  <a16:creationId xmlns:a16="http://schemas.microsoft.com/office/drawing/2014/main" id="{54CDB907-E59A-58CE-9AEA-7540D7F3C4A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93" y="2680"/>
              <a:ext cx="485" cy="415"/>
              <a:chOff x="693" y="2680"/>
              <a:chExt cx="485" cy="415"/>
            </a:xfrm>
          </p:grpSpPr>
          <p:sp>
            <p:nvSpPr>
              <p:cNvPr id="192" name="Freeform 51">
                <a:extLst>
                  <a:ext uri="{FF2B5EF4-FFF2-40B4-BE49-F238E27FC236}">
                    <a16:creationId xmlns:a16="http://schemas.microsoft.com/office/drawing/2014/main" id="{1F0F197C-6D52-4DC7-9DD7-0054ED4A99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" y="2680"/>
                <a:ext cx="485" cy="415"/>
              </a:xfrm>
              <a:custGeom>
                <a:avLst/>
                <a:gdLst>
                  <a:gd name="T0" fmla="*/ 471 w 485"/>
                  <a:gd name="T1" fmla="*/ 53 h 415"/>
                  <a:gd name="T2" fmla="*/ 460 w 485"/>
                  <a:gd name="T3" fmla="*/ 30 h 415"/>
                  <a:gd name="T4" fmla="*/ 433 w 485"/>
                  <a:gd name="T5" fmla="*/ 19 h 415"/>
                  <a:gd name="T6" fmla="*/ 400 w 485"/>
                  <a:gd name="T7" fmla="*/ 0 h 415"/>
                  <a:gd name="T8" fmla="*/ 384 w 485"/>
                  <a:gd name="T9" fmla="*/ 29 h 415"/>
                  <a:gd name="T10" fmla="*/ 398 w 485"/>
                  <a:gd name="T11" fmla="*/ 46 h 415"/>
                  <a:gd name="T12" fmla="*/ 415 w 485"/>
                  <a:gd name="T13" fmla="*/ 66 h 415"/>
                  <a:gd name="T14" fmla="*/ 397 w 485"/>
                  <a:gd name="T15" fmla="*/ 78 h 415"/>
                  <a:gd name="T16" fmla="*/ 351 w 485"/>
                  <a:gd name="T17" fmla="*/ 91 h 415"/>
                  <a:gd name="T18" fmla="*/ 310 w 485"/>
                  <a:gd name="T19" fmla="*/ 102 h 415"/>
                  <a:gd name="T20" fmla="*/ 277 w 485"/>
                  <a:gd name="T21" fmla="*/ 108 h 415"/>
                  <a:gd name="T22" fmla="*/ 257 w 485"/>
                  <a:gd name="T23" fmla="*/ 133 h 415"/>
                  <a:gd name="T24" fmla="*/ 232 w 485"/>
                  <a:gd name="T25" fmla="*/ 129 h 415"/>
                  <a:gd name="T26" fmla="*/ 191 w 485"/>
                  <a:gd name="T27" fmla="*/ 129 h 415"/>
                  <a:gd name="T28" fmla="*/ 173 w 485"/>
                  <a:gd name="T29" fmla="*/ 147 h 415"/>
                  <a:gd name="T30" fmla="*/ 142 w 485"/>
                  <a:gd name="T31" fmla="*/ 168 h 415"/>
                  <a:gd name="T32" fmla="*/ 128 w 485"/>
                  <a:gd name="T33" fmla="*/ 160 h 415"/>
                  <a:gd name="T34" fmla="*/ 109 w 485"/>
                  <a:gd name="T35" fmla="*/ 179 h 415"/>
                  <a:gd name="T36" fmla="*/ 85 w 485"/>
                  <a:gd name="T37" fmla="*/ 184 h 415"/>
                  <a:gd name="T38" fmla="*/ 60 w 485"/>
                  <a:gd name="T39" fmla="*/ 202 h 415"/>
                  <a:gd name="T40" fmla="*/ 24 w 485"/>
                  <a:gd name="T41" fmla="*/ 220 h 415"/>
                  <a:gd name="T42" fmla="*/ 8 w 485"/>
                  <a:gd name="T43" fmla="*/ 251 h 415"/>
                  <a:gd name="T44" fmla="*/ 40 w 485"/>
                  <a:gd name="T45" fmla="*/ 260 h 415"/>
                  <a:gd name="T46" fmla="*/ 45 w 485"/>
                  <a:gd name="T47" fmla="*/ 276 h 415"/>
                  <a:gd name="T48" fmla="*/ 66 w 485"/>
                  <a:gd name="T49" fmla="*/ 276 h 415"/>
                  <a:gd name="T50" fmla="*/ 69 w 485"/>
                  <a:gd name="T51" fmla="*/ 300 h 415"/>
                  <a:gd name="T52" fmla="*/ 64 w 485"/>
                  <a:gd name="T53" fmla="*/ 316 h 415"/>
                  <a:gd name="T54" fmla="*/ 69 w 485"/>
                  <a:gd name="T55" fmla="*/ 336 h 415"/>
                  <a:gd name="T56" fmla="*/ 70 w 485"/>
                  <a:gd name="T57" fmla="*/ 352 h 415"/>
                  <a:gd name="T58" fmla="*/ 70 w 485"/>
                  <a:gd name="T59" fmla="*/ 375 h 415"/>
                  <a:gd name="T60" fmla="*/ 65 w 485"/>
                  <a:gd name="T61" fmla="*/ 379 h 415"/>
                  <a:gd name="T62" fmla="*/ 72 w 485"/>
                  <a:gd name="T63" fmla="*/ 390 h 415"/>
                  <a:gd name="T64" fmla="*/ 84 w 485"/>
                  <a:gd name="T65" fmla="*/ 408 h 415"/>
                  <a:gd name="T66" fmla="*/ 94 w 485"/>
                  <a:gd name="T67" fmla="*/ 413 h 415"/>
                  <a:gd name="T68" fmla="*/ 110 w 485"/>
                  <a:gd name="T69" fmla="*/ 402 h 415"/>
                  <a:gd name="T70" fmla="*/ 124 w 485"/>
                  <a:gd name="T71" fmla="*/ 396 h 415"/>
                  <a:gd name="T72" fmla="*/ 136 w 485"/>
                  <a:gd name="T73" fmla="*/ 379 h 415"/>
                  <a:gd name="T74" fmla="*/ 150 w 485"/>
                  <a:gd name="T75" fmla="*/ 368 h 415"/>
                  <a:gd name="T76" fmla="*/ 174 w 485"/>
                  <a:gd name="T77" fmla="*/ 361 h 415"/>
                  <a:gd name="T78" fmla="*/ 206 w 485"/>
                  <a:gd name="T79" fmla="*/ 359 h 415"/>
                  <a:gd name="T80" fmla="*/ 226 w 485"/>
                  <a:gd name="T81" fmla="*/ 349 h 415"/>
                  <a:gd name="T82" fmla="*/ 254 w 485"/>
                  <a:gd name="T83" fmla="*/ 347 h 415"/>
                  <a:gd name="T84" fmla="*/ 265 w 485"/>
                  <a:gd name="T85" fmla="*/ 335 h 415"/>
                  <a:gd name="T86" fmla="*/ 274 w 485"/>
                  <a:gd name="T87" fmla="*/ 321 h 415"/>
                  <a:gd name="T88" fmla="*/ 297 w 485"/>
                  <a:gd name="T89" fmla="*/ 326 h 415"/>
                  <a:gd name="T90" fmla="*/ 330 w 485"/>
                  <a:gd name="T91" fmla="*/ 329 h 415"/>
                  <a:gd name="T92" fmla="*/ 350 w 485"/>
                  <a:gd name="T93" fmla="*/ 326 h 415"/>
                  <a:gd name="T94" fmla="*/ 369 w 485"/>
                  <a:gd name="T95" fmla="*/ 327 h 415"/>
                  <a:gd name="T96" fmla="*/ 378 w 485"/>
                  <a:gd name="T97" fmla="*/ 326 h 415"/>
                  <a:gd name="T98" fmla="*/ 378 w 485"/>
                  <a:gd name="T99" fmla="*/ 305 h 415"/>
                  <a:gd name="T100" fmla="*/ 381 w 485"/>
                  <a:gd name="T101" fmla="*/ 293 h 415"/>
                  <a:gd name="T102" fmla="*/ 396 w 485"/>
                  <a:gd name="T103" fmla="*/ 293 h 415"/>
                  <a:gd name="T104" fmla="*/ 411 w 485"/>
                  <a:gd name="T105" fmla="*/ 279 h 415"/>
                  <a:gd name="T106" fmla="*/ 411 w 485"/>
                  <a:gd name="T107" fmla="*/ 253 h 415"/>
                  <a:gd name="T108" fmla="*/ 405 w 485"/>
                  <a:gd name="T109" fmla="*/ 242 h 415"/>
                  <a:gd name="T110" fmla="*/ 397 w 485"/>
                  <a:gd name="T111" fmla="*/ 219 h 415"/>
                  <a:gd name="T112" fmla="*/ 392 w 485"/>
                  <a:gd name="T113" fmla="*/ 187 h 415"/>
                  <a:gd name="T114" fmla="*/ 408 w 485"/>
                  <a:gd name="T115" fmla="*/ 157 h 415"/>
                  <a:gd name="T116" fmla="*/ 418 w 485"/>
                  <a:gd name="T117" fmla="*/ 136 h 415"/>
                  <a:gd name="T118" fmla="*/ 427 w 485"/>
                  <a:gd name="T119" fmla="*/ 123 h 415"/>
                  <a:gd name="T120" fmla="*/ 434 w 485"/>
                  <a:gd name="T121" fmla="*/ 121 h 415"/>
                  <a:gd name="T122" fmla="*/ 454 w 485"/>
                  <a:gd name="T123" fmla="*/ 122 h 415"/>
                  <a:gd name="T124" fmla="*/ 484 w 485"/>
                  <a:gd name="T125" fmla="*/ 83 h 415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485"/>
                  <a:gd name="T190" fmla="*/ 0 h 415"/>
                  <a:gd name="T191" fmla="*/ 485 w 485"/>
                  <a:gd name="T192" fmla="*/ 415 h 415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485" h="415">
                    <a:moveTo>
                      <a:pt x="484" y="72"/>
                    </a:moveTo>
                    <a:lnTo>
                      <a:pt x="482" y="71"/>
                    </a:lnTo>
                    <a:lnTo>
                      <a:pt x="478" y="73"/>
                    </a:lnTo>
                    <a:lnTo>
                      <a:pt x="475" y="73"/>
                    </a:lnTo>
                    <a:lnTo>
                      <a:pt x="473" y="74"/>
                    </a:lnTo>
                    <a:lnTo>
                      <a:pt x="470" y="74"/>
                    </a:lnTo>
                    <a:lnTo>
                      <a:pt x="465" y="77"/>
                    </a:lnTo>
                    <a:lnTo>
                      <a:pt x="464" y="76"/>
                    </a:lnTo>
                    <a:lnTo>
                      <a:pt x="461" y="74"/>
                    </a:lnTo>
                    <a:lnTo>
                      <a:pt x="460" y="71"/>
                    </a:lnTo>
                    <a:lnTo>
                      <a:pt x="463" y="66"/>
                    </a:lnTo>
                    <a:lnTo>
                      <a:pt x="467" y="62"/>
                    </a:lnTo>
                    <a:lnTo>
                      <a:pt x="468" y="60"/>
                    </a:lnTo>
                    <a:lnTo>
                      <a:pt x="471" y="55"/>
                    </a:lnTo>
                    <a:lnTo>
                      <a:pt x="471" y="53"/>
                    </a:lnTo>
                    <a:lnTo>
                      <a:pt x="472" y="52"/>
                    </a:lnTo>
                    <a:lnTo>
                      <a:pt x="472" y="49"/>
                    </a:lnTo>
                    <a:lnTo>
                      <a:pt x="473" y="48"/>
                    </a:lnTo>
                    <a:lnTo>
                      <a:pt x="474" y="43"/>
                    </a:lnTo>
                    <a:lnTo>
                      <a:pt x="473" y="43"/>
                    </a:lnTo>
                    <a:lnTo>
                      <a:pt x="470" y="40"/>
                    </a:lnTo>
                    <a:lnTo>
                      <a:pt x="470" y="37"/>
                    </a:lnTo>
                    <a:lnTo>
                      <a:pt x="467" y="33"/>
                    </a:lnTo>
                    <a:lnTo>
                      <a:pt x="466" y="32"/>
                    </a:lnTo>
                    <a:lnTo>
                      <a:pt x="465" y="32"/>
                    </a:lnTo>
                    <a:lnTo>
                      <a:pt x="459" y="33"/>
                    </a:lnTo>
                    <a:lnTo>
                      <a:pt x="458" y="32"/>
                    </a:lnTo>
                    <a:lnTo>
                      <a:pt x="459" y="31"/>
                    </a:lnTo>
                    <a:lnTo>
                      <a:pt x="460" y="30"/>
                    </a:lnTo>
                    <a:lnTo>
                      <a:pt x="460" y="29"/>
                    </a:lnTo>
                    <a:lnTo>
                      <a:pt x="458" y="26"/>
                    </a:lnTo>
                    <a:lnTo>
                      <a:pt x="450" y="23"/>
                    </a:lnTo>
                    <a:lnTo>
                      <a:pt x="451" y="19"/>
                    </a:lnTo>
                    <a:lnTo>
                      <a:pt x="453" y="14"/>
                    </a:lnTo>
                    <a:lnTo>
                      <a:pt x="452" y="12"/>
                    </a:lnTo>
                    <a:lnTo>
                      <a:pt x="449" y="13"/>
                    </a:lnTo>
                    <a:lnTo>
                      <a:pt x="449" y="17"/>
                    </a:lnTo>
                    <a:lnTo>
                      <a:pt x="448" y="22"/>
                    </a:lnTo>
                    <a:lnTo>
                      <a:pt x="444" y="21"/>
                    </a:lnTo>
                    <a:lnTo>
                      <a:pt x="444" y="19"/>
                    </a:lnTo>
                    <a:lnTo>
                      <a:pt x="443" y="18"/>
                    </a:lnTo>
                    <a:lnTo>
                      <a:pt x="441" y="15"/>
                    </a:lnTo>
                    <a:lnTo>
                      <a:pt x="439" y="15"/>
                    </a:lnTo>
                    <a:lnTo>
                      <a:pt x="433" y="19"/>
                    </a:lnTo>
                    <a:lnTo>
                      <a:pt x="432" y="19"/>
                    </a:lnTo>
                    <a:lnTo>
                      <a:pt x="429" y="21"/>
                    </a:lnTo>
                    <a:lnTo>
                      <a:pt x="427" y="21"/>
                    </a:lnTo>
                    <a:lnTo>
                      <a:pt x="423" y="19"/>
                    </a:lnTo>
                    <a:lnTo>
                      <a:pt x="421" y="18"/>
                    </a:lnTo>
                    <a:lnTo>
                      <a:pt x="419" y="16"/>
                    </a:lnTo>
                    <a:lnTo>
                      <a:pt x="419" y="11"/>
                    </a:lnTo>
                    <a:lnTo>
                      <a:pt x="418" y="10"/>
                    </a:lnTo>
                    <a:lnTo>
                      <a:pt x="415" y="7"/>
                    </a:lnTo>
                    <a:lnTo>
                      <a:pt x="411" y="8"/>
                    </a:lnTo>
                    <a:lnTo>
                      <a:pt x="410" y="8"/>
                    </a:lnTo>
                    <a:lnTo>
                      <a:pt x="408" y="8"/>
                    </a:lnTo>
                    <a:lnTo>
                      <a:pt x="406" y="4"/>
                    </a:lnTo>
                    <a:lnTo>
                      <a:pt x="403" y="0"/>
                    </a:lnTo>
                    <a:lnTo>
                      <a:pt x="400" y="0"/>
                    </a:lnTo>
                    <a:lnTo>
                      <a:pt x="398" y="2"/>
                    </a:lnTo>
                    <a:lnTo>
                      <a:pt x="395" y="6"/>
                    </a:lnTo>
                    <a:lnTo>
                      <a:pt x="392" y="5"/>
                    </a:lnTo>
                    <a:lnTo>
                      <a:pt x="392" y="7"/>
                    </a:lnTo>
                    <a:lnTo>
                      <a:pt x="393" y="8"/>
                    </a:lnTo>
                    <a:lnTo>
                      <a:pt x="394" y="10"/>
                    </a:lnTo>
                    <a:lnTo>
                      <a:pt x="394" y="13"/>
                    </a:lnTo>
                    <a:lnTo>
                      <a:pt x="392" y="15"/>
                    </a:lnTo>
                    <a:lnTo>
                      <a:pt x="392" y="17"/>
                    </a:lnTo>
                    <a:lnTo>
                      <a:pt x="388" y="19"/>
                    </a:lnTo>
                    <a:lnTo>
                      <a:pt x="387" y="19"/>
                    </a:lnTo>
                    <a:lnTo>
                      <a:pt x="386" y="21"/>
                    </a:lnTo>
                    <a:lnTo>
                      <a:pt x="388" y="24"/>
                    </a:lnTo>
                    <a:lnTo>
                      <a:pt x="385" y="27"/>
                    </a:lnTo>
                    <a:lnTo>
                      <a:pt x="384" y="29"/>
                    </a:lnTo>
                    <a:lnTo>
                      <a:pt x="386" y="31"/>
                    </a:lnTo>
                    <a:lnTo>
                      <a:pt x="389" y="32"/>
                    </a:lnTo>
                    <a:lnTo>
                      <a:pt x="391" y="35"/>
                    </a:lnTo>
                    <a:lnTo>
                      <a:pt x="392" y="35"/>
                    </a:lnTo>
                    <a:lnTo>
                      <a:pt x="394" y="35"/>
                    </a:lnTo>
                    <a:lnTo>
                      <a:pt x="398" y="33"/>
                    </a:lnTo>
                    <a:lnTo>
                      <a:pt x="401" y="33"/>
                    </a:lnTo>
                    <a:lnTo>
                      <a:pt x="402" y="35"/>
                    </a:lnTo>
                    <a:lnTo>
                      <a:pt x="402" y="36"/>
                    </a:lnTo>
                    <a:lnTo>
                      <a:pt x="402" y="39"/>
                    </a:lnTo>
                    <a:lnTo>
                      <a:pt x="400" y="39"/>
                    </a:lnTo>
                    <a:lnTo>
                      <a:pt x="398" y="38"/>
                    </a:lnTo>
                    <a:lnTo>
                      <a:pt x="394" y="42"/>
                    </a:lnTo>
                    <a:lnTo>
                      <a:pt x="398" y="45"/>
                    </a:lnTo>
                    <a:lnTo>
                      <a:pt x="398" y="46"/>
                    </a:lnTo>
                    <a:lnTo>
                      <a:pt x="397" y="47"/>
                    </a:lnTo>
                    <a:lnTo>
                      <a:pt x="400" y="50"/>
                    </a:lnTo>
                    <a:lnTo>
                      <a:pt x="405" y="51"/>
                    </a:lnTo>
                    <a:lnTo>
                      <a:pt x="406" y="53"/>
                    </a:lnTo>
                    <a:lnTo>
                      <a:pt x="407" y="53"/>
                    </a:lnTo>
                    <a:lnTo>
                      <a:pt x="409" y="55"/>
                    </a:lnTo>
                    <a:lnTo>
                      <a:pt x="411" y="55"/>
                    </a:lnTo>
                    <a:lnTo>
                      <a:pt x="411" y="57"/>
                    </a:lnTo>
                    <a:lnTo>
                      <a:pt x="412" y="57"/>
                    </a:lnTo>
                    <a:lnTo>
                      <a:pt x="416" y="56"/>
                    </a:lnTo>
                    <a:lnTo>
                      <a:pt x="418" y="59"/>
                    </a:lnTo>
                    <a:lnTo>
                      <a:pt x="419" y="61"/>
                    </a:lnTo>
                    <a:lnTo>
                      <a:pt x="418" y="62"/>
                    </a:lnTo>
                    <a:lnTo>
                      <a:pt x="418" y="65"/>
                    </a:lnTo>
                    <a:lnTo>
                      <a:pt x="415" y="66"/>
                    </a:lnTo>
                    <a:lnTo>
                      <a:pt x="416" y="66"/>
                    </a:lnTo>
                    <a:lnTo>
                      <a:pt x="416" y="68"/>
                    </a:lnTo>
                    <a:lnTo>
                      <a:pt x="414" y="67"/>
                    </a:lnTo>
                    <a:lnTo>
                      <a:pt x="414" y="68"/>
                    </a:lnTo>
                    <a:lnTo>
                      <a:pt x="414" y="72"/>
                    </a:lnTo>
                    <a:lnTo>
                      <a:pt x="413" y="76"/>
                    </a:lnTo>
                    <a:lnTo>
                      <a:pt x="410" y="76"/>
                    </a:lnTo>
                    <a:lnTo>
                      <a:pt x="405" y="74"/>
                    </a:lnTo>
                    <a:lnTo>
                      <a:pt x="405" y="75"/>
                    </a:lnTo>
                    <a:lnTo>
                      <a:pt x="403" y="73"/>
                    </a:lnTo>
                    <a:lnTo>
                      <a:pt x="403" y="76"/>
                    </a:lnTo>
                    <a:lnTo>
                      <a:pt x="402" y="78"/>
                    </a:lnTo>
                    <a:lnTo>
                      <a:pt x="397" y="78"/>
                    </a:lnTo>
                    <a:lnTo>
                      <a:pt x="395" y="78"/>
                    </a:lnTo>
                    <a:lnTo>
                      <a:pt x="390" y="79"/>
                    </a:lnTo>
                    <a:lnTo>
                      <a:pt x="387" y="78"/>
                    </a:lnTo>
                    <a:lnTo>
                      <a:pt x="386" y="75"/>
                    </a:lnTo>
                    <a:lnTo>
                      <a:pt x="382" y="73"/>
                    </a:lnTo>
                    <a:lnTo>
                      <a:pt x="377" y="76"/>
                    </a:lnTo>
                    <a:lnTo>
                      <a:pt x="375" y="76"/>
                    </a:lnTo>
                    <a:lnTo>
                      <a:pt x="372" y="75"/>
                    </a:lnTo>
                    <a:lnTo>
                      <a:pt x="372" y="79"/>
                    </a:lnTo>
                    <a:lnTo>
                      <a:pt x="367" y="87"/>
                    </a:lnTo>
                    <a:lnTo>
                      <a:pt x="366" y="87"/>
                    </a:lnTo>
                    <a:lnTo>
                      <a:pt x="361" y="90"/>
                    </a:lnTo>
                    <a:lnTo>
                      <a:pt x="360" y="90"/>
                    </a:lnTo>
                    <a:lnTo>
                      <a:pt x="358" y="91"/>
                    </a:lnTo>
                    <a:lnTo>
                      <a:pt x="351" y="91"/>
                    </a:lnTo>
                    <a:lnTo>
                      <a:pt x="342" y="96"/>
                    </a:lnTo>
                    <a:lnTo>
                      <a:pt x="340" y="95"/>
                    </a:lnTo>
                    <a:lnTo>
                      <a:pt x="337" y="97"/>
                    </a:lnTo>
                    <a:lnTo>
                      <a:pt x="335" y="97"/>
                    </a:lnTo>
                    <a:lnTo>
                      <a:pt x="333" y="98"/>
                    </a:lnTo>
                    <a:lnTo>
                      <a:pt x="330" y="98"/>
                    </a:lnTo>
                    <a:lnTo>
                      <a:pt x="327" y="101"/>
                    </a:lnTo>
                    <a:lnTo>
                      <a:pt x="326" y="103"/>
                    </a:lnTo>
                    <a:lnTo>
                      <a:pt x="325" y="104"/>
                    </a:lnTo>
                    <a:lnTo>
                      <a:pt x="322" y="104"/>
                    </a:lnTo>
                    <a:lnTo>
                      <a:pt x="321" y="103"/>
                    </a:lnTo>
                    <a:lnTo>
                      <a:pt x="318" y="103"/>
                    </a:lnTo>
                    <a:lnTo>
                      <a:pt x="316" y="103"/>
                    </a:lnTo>
                    <a:lnTo>
                      <a:pt x="314" y="106"/>
                    </a:lnTo>
                    <a:lnTo>
                      <a:pt x="310" y="102"/>
                    </a:lnTo>
                    <a:lnTo>
                      <a:pt x="307" y="101"/>
                    </a:lnTo>
                    <a:lnTo>
                      <a:pt x="307" y="99"/>
                    </a:lnTo>
                    <a:lnTo>
                      <a:pt x="304" y="96"/>
                    </a:lnTo>
                    <a:lnTo>
                      <a:pt x="302" y="98"/>
                    </a:lnTo>
                    <a:lnTo>
                      <a:pt x="298" y="100"/>
                    </a:lnTo>
                    <a:lnTo>
                      <a:pt x="294" y="100"/>
                    </a:lnTo>
                    <a:lnTo>
                      <a:pt x="293" y="100"/>
                    </a:lnTo>
                    <a:lnTo>
                      <a:pt x="293" y="104"/>
                    </a:lnTo>
                    <a:lnTo>
                      <a:pt x="291" y="105"/>
                    </a:lnTo>
                    <a:lnTo>
                      <a:pt x="290" y="106"/>
                    </a:lnTo>
                    <a:lnTo>
                      <a:pt x="288" y="108"/>
                    </a:lnTo>
                    <a:lnTo>
                      <a:pt x="283" y="107"/>
                    </a:lnTo>
                    <a:lnTo>
                      <a:pt x="280" y="104"/>
                    </a:lnTo>
                    <a:lnTo>
                      <a:pt x="277" y="106"/>
                    </a:lnTo>
                    <a:lnTo>
                      <a:pt x="277" y="108"/>
                    </a:lnTo>
                    <a:lnTo>
                      <a:pt x="276" y="111"/>
                    </a:lnTo>
                    <a:lnTo>
                      <a:pt x="275" y="113"/>
                    </a:lnTo>
                    <a:lnTo>
                      <a:pt x="273" y="116"/>
                    </a:lnTo>
                    <a:lnTo>
                      <a:pt x="274" y="119"/>
                    </a:lnTo>
                    <a:lnTo>
                      <a:pt x="276" y="123"/>
                    </a:lnTo>
                    <a:lnTo>
                      <a:pt x="274" y="127"/>
                    </a:lnTo>
                    <a:lnTo>
                      <a:pt x="271" y="129"/>
                    </a:lnTo>
                    <a:lnTo>
                      <a:pt x="269" y="130"/>
                    </a:lnTo>
                    <a:lnTo>
                      <a:pt x="267" y="127"/>
                    </a:lnTo>
                    <a:lnTo>
                      <a:pt x="265" y="127"/>
                    </a:lnTo>
                    <a:lnTo>
                      <a:pt x="264" y="130"/>
                    </a:lnTo>
                    <a:lnTo>
                      <a:pt x="263" y="134"/>
                    </a:lnTo>
                    <a:lnTo>
                      <a:pt x="260" y="134"/>
                    </a:lnTo>
                    <a:lnTo>
                      <a:pt x="257" y="133"/>
                    </a:lnTo>
                    <a:lnTo>
                      <a:pt x="256" y="134"/>
                    </a:lnTo>
                    <a:lnTo>
                      <a:pt x="255" y="134"/>
                    </a:lnTo>
                    <a:lnTo>
                      <a:pt x="252" y="130"/>
                    </a:lnTo>
                    <a:lnTo>
                      <a:pt x="250" y="129"/>
                    </a:lnTo>
                    <a:lnTo>
                      <a:pt x="248" y="128"/>
                    </a:lnTo>
                    <a:lnTo>
                      <a:pt x="246" y="129"/>
                    </a:lnTo>
                    <a:lnTo>
                      <a:pt x="245" y="127"/>
                    </a:lnTo>
                    <a:lnTo>
                      <a:pt x="244" y="128"/>
                    </a:lnTo>
                    <a:lnTo>
                      <a:pt x="243" y="126"/>
                    </a:lnTo>
                    <a:lnTo>
                      <a:pt x="241" y="127"/>
                    </a:lnTo>
                    <a:lnTo>
                      <a:pt x="239" y="126"/>
                    </a:lnTo>
                    <a:lnTo>
                      <a:pt x="237" y="126"/>
                    </a:lnTo>
                    <a:lnTo>
                      <a:pt x="236" y="128"/>
                    </a:lnTo>
                    <a:lnTo>
                      <a:pt x="234" y="129"/>
                    </a:lnTo>
                    <a:lnTo>
                      <a:pt x="232" y="129"/>
                    </a:lnTo>
                    <a:lnTo>
                      <a:pt x="229" y="125"/>
                    </a:lnTo>
                    <a:lnTo>
                      <a:pt x="225" y="129"/>
                    </a:lnTo>
                    <a:lnTo>
                      <a:pt x="223" y="129"/>
                    </a:lnTo>
                    <a:lnTo>
                      <a:pt x="224" y="131"/>
                    </a:lnTo>
                    <a:lnTo>
                      <a:pt x="223" y="133"/>
                    </a:lnTo>
                    <a:lnTo>
                      <a:pt x="219" y="130"/>
                    </a:lnTo>
                    <a:lnTo>
                      <a:pt x="217" y="127"/>
                    </a:lnTo>
                    <a:lnTo>
                      <a:pt x="212" y="123"/>
                    </a:lnTo>
                    <a:lnTo>
                      <a:pt x="207" y="123"/>
                    </a:lnTo>
                    <a:lnTo>
                      <a:pt x="204" y="125"/>
                    </a:lnTo>
                    <a:lnTo>
                      <a:pt x="201" y="126"/>
                    </a:lnTo>
                    <a:lnTo>
                      <a:pt x="201" y="129"/>
                    </a:lnTo>
                    <a:lnTo>
                      <a:pt x="197" y="129"/>
                    </a:lnTo>
                    <a:lnTo>
                      <a:pt x="195" y="130"/>
                    </a:lnTo>
                    <a:lnTo>
                      <a:pt x="191" y="129"/>
                    </a:lnTo>
                    <a:lnTo>
                      <a:pt x="187" y="127"/>
                    </a:lnTo>
                    <a:lnTo>
                      <a:pt x="186" y="128"/>
                    </a:lnTo>
                    <a:lnTo>
                      <a:pt x="184" y="127"/>
                    </a:lnTo>
                    <a:lnTo>
                      <a:pt x="182" y="127"/>
                    </a:lnTo>
                    <a:lnTo>
                      <a:pt x="179" y="127"/>
                    </a:lnTo>
                    <a:lnTo>
                      <a:pt x="177" y="130"/>
                    </a:lnTo>
                    <a:lnTo>
                      <a:pt x="174" y="129"/>
                    </a:lnTo>
                    <a:lnTo>
                      <a:pt x="174" y="133"/>
                    </a:lnTo>
                    <a:lnTo>
                      <a:pt x="176" y="137"/>
                    </a:lnTo>
                    <a:lnTo>
                      <a:pt x="177" y="139"/>
                    </a:lnTo>
                    <a:lnTo>
                      <a:pt x="177" y="143"/>
                    </a:lnTo>
                    <a:lnTo>
                      <a:pt x="176" y="144"/>
                    </a:lnTo>
                    <a:lnTo>
                      <a:pt x="176" y="147"/>
                    </a:lnTo>
                    <a:lnTo>
                      <a:pt x="175" y="147"/>
                    </a:lnTo>
                    <a:lnTo>
                      <a:pt x="173" y="147"/>
                    </a:lnTo>
                    <a:lnTo>
                      <a:pt x="167" y="153"/>
                    </a:lnTo>
                    <a:lnTo>
                      <a:pt x="168" y="156"/>
                    </a:lnTo>
                    <a:lnTo>
                      <a:pt x="170" y="156"/>
                    </a:lnTo>
                    <a:lnTo>
                      <a:pt x="170" y="160"/>
                    </a:lnTo>
                    <a:lnTo>
                      <a:pt x="168" y="161"/>
                    </a:lnTo>
                    <a:lnTo>
                      <a:pt x="163" y="161"/>
                    </a:lnTo>
                    <a:lnTo>
                      <a:pt x="162" y="163"/>
                    </a:lnTo>
                    <a:lnTo>
                      <a:pt x="161" y="166"/>
                    </a:lnTo>
                    <a:lnTo>
                      <a:pt x="155" y="169"/>
                    </a:lnTo>
                    <a:lnTo>
                      <a:pt x="155" y="170"/>
                    </a:lnTo>
                    <a:lnTo>
                      <a:pt x="154" y="172"/>
                    </a:lnTo>
                    <a:lnTo>
                      <a:pt x="151" y="174"/>
                    </a:lnTo>
                    <a:lnTo>
                      <a:pt x="146" y="170"/>
                    </a:lnTo>
                    <a:lnTo>
                      <a:pt x="143" y="169"/>
                    </a:lnTo>
                    <a:lnTo>
                      <a:pt x="142" y="168"/>
                    </a:lnTo>
                    <a:lnTo>
                      <a:pt x="142" y="166"/>
                    </a:lnTo>
                    <a:lnTo>
                      <a:pt x="139" y="166"/>
                    </a:lnTo>
                    <a:lnTo>
                      <a:pt x="139" y="165"/>
                    </a:lnTo>
                    <a:lnTo>
                      <a:pt x="139" y="163"/>
                    </a:lnTo>
                    <a:lnTo>
                      <a:pt x="138" y="157"/>
                    </a:lnTo>
                    <a:lnTo>
                      <a:pt x="135" y="153"/>
                    </a:lnTo>
                    <a:lnTo>
                      <a:pt x="135" y="151"/>
                    </a:lnTo>
                    <a:lnTo>
                      <a:pt x="133" y="150"/>
                    </a:lnTo>
                    <a:lnTo>
                      <a:pt x="133" y="151"/>
                    </a:lnTo>
                    <a:lnTo>
                      <a:pt x="131" y="149"/>
                    </a:lnTo>
                    <a:lnTo>
                      <a:pt x="130" y="147"/>
                    </a:lnTo>
                    <a:lnTo>
                      <a:pt x="130" y="157"/>
                    </a:lnTo>
                    <a:lnTo>
                      <a:pt x="130" y="159"/>
                    </a:lnTo>
                    <a:lnTo>
                      <a:pt x="128" y="160"/>
                    </a:lnTo>
                    <a:lnTo>
                      <a:pt x="127" y="162"/>
                    </a:lnTo>
                    <a:lnTo>
                      <a:pt x="126" y="163"/>
                    </a:lnTo>
                    <a:lnTo>
                      <a:pt x="125" y="163"/>
                    </a:lnTo>
                    <a:lnTo>
                      <a:pt x="124" y="163"/>
                    </a:lnTo>
                    <a:lnTo>
                      <a:pt x="118" y="164"/>
                    </a:lnTo>
                    <a:lnTo>
                      <a:pt x="119" y="165"/>
                    </a:lnTo>
                    <a:lnTo>
                      <a:pt x="118" y="166"/>
                    </a:lnTo>
                    <a:lnTo>
                      <a:pt x="114" y="166"/>
                    </a:lnTo>
                    <a:lnTo>
                      <a:pt x="114" y="167"/>
                    </a:lnTo>
                    <a:lnTo>
                      <a:pt x="113" y="168"/>
                    </a:lnTo>
                    <a:lnTo>
                      <a:pt x="113" y="171"/>
                    </a:lnTo>
                    <a:lnTo>
                      <a:pt x="113" y="174"/>
                    </a:lnTo>
                    <a:lnTo>
                      <a:pt x="113" y="175"/>
                    </a:lnTo>
                    <a:lnTo>
                      <a:pt x="113" y="178"/>
                    </a:lnTo>
                    <a:lnTo>
                      <a:pt x="109" y="179"/>
                    </a:lnTo>
                    <a:lnTo>
                      <a:pt x="106" y="178"/>
                    </a:lnTo>
                    <a:lnTo>
                      <a:pt x="104" y="180"/>
                    </a:lnTo>
                    <a:lnTo>
                      <a:pt x="103" y="174"/>
                    </a:lnTo>
                    <a:lnTo>
                      <a:pt x="103" y="173"/>
                    </a:lnTo>
                    <a:lnTo>
                      <a:pt x="102" y="171"/>
                    </a:lnTo>
                    <a:lnTo>
                      <a:pt x="97" y="170"/>
                    </a:lnTo>
                    <a:lnTo>
                      <a:pt x="95" y="168"/>
                    </a:lnTo>
                    <a:lnTo>
                      <a:pt x="93" y="170"/>
                    </a:lnTo>
                    <a:lnTo>
                      <a:pt x="93" y="172"/>
                    </a:lnTo>
                    <a:lnTo>
                      <a:pt x="91" y="173"/>
                    </a:lnTo>
                    <a:lnTo>
                      <a:pt x="89" y="175"/>
                    </a:lnTo>
                    <a:lnTo>
                      <a:pt x="89" y="176"/>
                    </a:lnTo>
                    <a:lnTo>
                      <a:pt x="89" y="179"/>
                    </a:lnTo>
                    <a:lnTo>
                      <a:pt x="85" y="182"/>
                    </a:lnTo>
                    <a:lnTo>
                      <a:pt x="85" y="184"/>
                    </a:lnTo>
                    <a:lnTo>
                      <a:pt x="85" y="186"/>
                    </a:lnTo>
                    <a:lnTo>
                      <a:pt x="85" y="189"/>
                    </a:lnTo>
                    <a:lnTo>
                      <a:pt x="84" y="190"/>
                    </a:lnTo>
                    <a:lnTo>
                      <a:pt x="83" y="192"/>
                    </a:lnTo>
                    <a:lnTo>
                      <a:pt x="79" y="197"/>
                    </a:lnTo>
                    <a:lnTo>
                      <a:pt x="78" y="200"/>
                    </a:lnTo>
                    <a:lnTo>
                      <a:pt x="74" y="202"/>
                    </a:lnTo>
                    <a:lnTo>
                      <a:pt x="74" y="208"/>
                    </a:lnTo>
                    <a:lnTo>
                      <a:pt x="73" y="208"/>
                    </a:lnTo>
                    <a:lnTo>
                      <a:pt x="72" y="208"/>
                    </a:lnTo>
                    <a:lnTo>
                      <a:pt x="69" y="207"/>
                    </a:lnTo>
                    <a:lnTo>
                      <a:pt x="63" y="204"/>
                    </a:lnTo>
                    <a:lnTo>
                      <a:pt x="61" y="205"/>
                    </a:lnTo>
                    <a:lnTo>
                      <a:pt x="59" y="204"/>
                    </a:lnTo>
                    <a:lnTo>
                      <a:pt x="60" y="202"/>
                    </a:lnTo>
                    <a:lnTo>
                      <a:pt x="59" y="200"/>
                    </a:lnTo>
                    <a:lnTo>
                      <a:pt x="58" y="198"/>
                    </a:lnTo>
                    <a:lnTo>
                      <a:pt x="54" y="200"/>
                    </a:lnTo>
                    <a:lnTo>
                      <a:pt x="49" y="204"/>
                    </a:lnTo>
                    <a:lnTo>
                      <a:pt x="46" y="204"/>
                    </a:lnTo>
                    <a:lnTo>
                      <a:pt x="45" y="205"/>
                    </a:lnTo>
                    <a:lnTo>
                      <a:pt x="37" y="203"/>
                    </a:lnTo>
                    <a:lnTo>
                      <a:pt x="36" y="201"/>
                    </a:lnTo>
                    <a:lnTo>
                      <a:pt x="35" y="198"/>
                    </a:lnTo>
                    <a:lnTo>
                      <a:pt x="33" y="198"/>
                    </a:lnTo>
                    <a:lnTo>
                      <a:pt x="31" y="198"/>
                    </a:lnTo>
                    <a:lnTo>
                      <a:pt x="30" y="202"/>
                    </a:lnTo>
                    <a:lnTo>
                      <a:pt x="27" y="208"/>
                    </a:lnTo>
                    <a:lnTo>
                      <a:pt x="25" y="216"/>
                    </a:lnTo>
                    <a:lnTo>
                      <a:pt x="24" y="220"/>
                    </a:lnTo>
                    <a:lnTo>
                      <a:pt x="24" y="224"/>
                    </a:lnTo>
                    <a:lnTo>
                      <a:pt x="23" y="228"/>
                    </a:lnTo>
                    <a:lnTo>
                      <a:pt x="17" y="231"/>
                    </a:lnTo>
                    <a:lnTo>
                      <a:pt x="15" y="233"/>
                    </a:lnTo>
                    <a:lnTo>
                      <a:pt x="13" y="237"/>
                    </a:lnTo>
                    <a:lnTo>
                      <a:pt x="12" y="238"/>
                    </a:lnTo>
                    <a:lnTo>
                      <a:pt x="7" y="239"/>
                    </a:lnTo>
                    <a:lnTo>
                      <a:pt x="2" y="239"/>
                    </a:lnTo>
                    <a:lnTo>
                      <a:pt x="0" y="240"/>
                    </a:lnTo>
                    <a:lnTo>
                      <a:pt x="0" y="241"/>
                    </a:lnTo>
                    <a:lnTo>
                      <a:pt x="2" y="242"/>
                    </a:lnTo>
                    <a:lnTo>
                      <a:pt x="2" y="243"/>
                    </a:lnTo>
                    <a:lnTo>
                      <a:pt x="6" y="245"/>
                    </a:lnTo>
                    <a:lnTo>
                      <a:pt x="7" y="248"/>
                    </a:lnTo>
                    <a:lnTo>
                      <a:pt x="8" y="251"/>
                    </a:lnTo>
                    <a:lnTo>
                      <a:pt x="12" y="250"/>
                    </a:lnTo>
                    <a:lnTo>
                      <a:pt x="13" y="251"/>
                    </a:lnTo>
                    <a:lnTo>
                      <a:pt x="14" y="251"/>
                    </a:lnTo>
                    <a:lnTo>
                      <a:pt x="13" y="252"/>
                    </a:lnTo>
                    <a:lnTo>
                      <a:pt x="14" y="253"/>
                    </a:lnTo>
                    <a:lnTo>
                      <a:pt x="18" y="251"/>
                    </a:lnTo>
                    <a:lnTo>
                      <a:pt x="21" y="250"/>
                    </a:lnTo>
                    <a:lnTo>
                      <a:pt x="21" y="254"/>
                    </a:lnTo>
                    <a:lnTo>
                      <a:pt x="26" y="257"/>
                    </a:lnTo>
                    <a:lnTo>
                      <a:pt x="27" y="255"/>
                    </a:lnTo>
                    <a:lnTo>
                      <a:pt x="33" y="257"/>
                    </a:lnTo>
                    <a:lnTo>
                      <a:pt x="33" y="255"/>
                    </a:lnTo>
                    <a:lnTo>
                      <a:pt x="36" y="260"/>
                    </a:lnTo>
                    <a:lnTo>
                      <a:pt x="38" y="261"/>
                    </a:lnTo>
                    <a:lnTo>
                      <a:pt x="40" y="260"/>
                    </a:lnTo>
                    <a:lnTo>
                      <a:pt x="40" y="261"/>
                    </a:lnTo>
                    <a:lnTo>
                      <a:pt x="43" y="266"/>
                    </a:lnTo>
                    <a:lnTo>
                      <a:pt x="43" y="267"/>
                    </a:lnTo>
                    <a:lnTo>
                      <a:pt x="40" y="267"/>
                    </a:lnTo>
                    <a:lnTo>
                      <a:pt x="39" y="270"/>
                    </a:lnTo>
                    <a:lnTo>
                      <a:pt x="37" y="271"/>
                    </a:lnTo>
                    <a:lnTo>
                      <a:pt x="37" y="273"/>
                    </a:lnTo>
                    <a:lnTo>
                      <a:pt x="38" y="272"/>
                    </a:lnTo>
                    <a:lnTo>
                      <a:pt x="40" y="274"/>
                    </a:lnTo>
                    <a:lnTo>
                      <a:pt x="41" y="274"/>
                    </a:lnTo>
                    <a:lnTo>
                      <a:pt x="42" y="275"/>
                    </a:lnTo>
                    <a:lnTo>
                      <a:pt x="41" y="275"/>
                    </a:lnTo>
                    <a:lnTo>
                      <a:pt x="43" y="277"/>
                    </a:lnTo>
                    <a:lnTo>
                      <a:pt x="44" y="276"/>
                    </a:lnTo>
                    <a:lnTo>
                      <a:pt x="45" y="276"/>
                    </a:lnTo>
                    <a:lnTo>
                      <a:pt x="45" y="274"/>
                    </a:lnTo>
                    <a:lnTo>
                      <a:pt x="48" y="273"/>
                    </a:lnTo>
                    <a:lnTo>
                      <a:pt x="49" y="274"/>
                    </a:lnTo>
                    <a:lnTo>
                      <a:pt x="53" y="274"/>
                    </a:lnTo>
                    <a:lnTo>
                      <a:pt x="53" y="276"/>
                    </a:lnTo>
                    <a:lnTo>
                      <a:pt x="54" y="276"/>
                    </a:lnTo>
                    <a:lnTo>
                      <a:pt x="54" y="277"/>
                    </a:lnTo>
                    <a:lnTo>
                      <a:pt x="56" y="277"/>
                    </a:lnTo>
                    <a:lnTo>
                      <a:pt x="57" y="278"/>
                    </a:lnTo>
                    <a:lnTo>
                      <a:pt x="61" y="278"/>
                    </a:lnTo>
                    <a:lnTo>
                      <a:pt x="61" y="279"/>
                    </a:lnTo>
                    <a:lnTo>
                      <a:pt x="62" y="278"/>
                    </a:lnTo>
                    <a:lnTo>
                      <a:pt x="64" y="278"/>
                    </a:lnTo>
                    <a:lnTo>
                      <a:pt x="66" y="276"/>
                    </a:lnTo>
                    <a:lnTo>
                      <a:pt x="69" y="275"/>
                    </a:lnTo>
                    <a:lnTo>
                      <a:pt x="69" y="276"/>
                    </a:lnTo>
                    <a:lnTo>
                      <a:pt x="67" y="278"/>
                    </a:lnTo>
                    <a:lnTo>
                      <a:pt x="71" y="281"/>
                    </a:lnTo>
                    <a:lnTo>
                      <a:pt x="72" y="286"/>
                    </a:lnTo>
                    <a:lnTo>
                      <a:pt x="74" y="288"/>
                    </a:lnTo>
                    <a:lnTo>
                      <a:pt x="73" y="289"/>
                    </a:lnTo>
                    <a:lnTo>
                      <a:pt x="73" y="292"/>
                    </a:lnTo>
                    <a:lnTo>
                      <a:pt x="73" y="293"/>
                    </a:lnTo>
                    <a:lnTo>
                      <a:pt x="73" y="295"/>
                    </a:lnTo>
                    <a:lnTo>
                      <a:pt x="71" y="295"/>
                    </a:lnTo>
                    <a:lnTo>
                      <a:pt x="70" y="296"/>
                    </a:lnTo>
                    <a:lnTo>
                      <a:pt x="69" y="297"/>
                    </a:lnTo>
                    <a:lnTo>
                      <a:pt x="69" y="298"/>
                    </a:lnTo>
                    <a:lnTo>
                      <a:pt x="69" y="300"/>
                    </a:lnTo>
                    <a:lnTo>
                      <a:pt x="69" y="301"/>
                    </a:lnTo>
                    <a:lnTo>
                      <a:pt x="70" y="301"/>
                    </a:lnTo>
                    <a:lnTo>
                      <a:pt x="69" y="303"/>
                    </a:lnTo>
                    <a:lnTo>
                      <a:pt x="71" y="304"/>
                    </a:lnTo>
                    <a:lnTo>
                      <a:pt x="70" y="306"/>
                    </a:lnTo>
                    <a:lnTo>
                      <a:pt x="68" y="307"/>
                    </a:lnTo>
                    <a:lnTo>
                      <a:pt x="68" y="309"/>
                    </a:lnTo>
                    <a:lnTo>
                      <a:pt x="69" y="309"/>
                    </a:lnTo>
                    <a:lnTo>
                      <a:pt x="67" y="311"/>
                    </a:lnTo>
                    <a:lnTo>
                      <a:pt x="66" y="311"/>
                    </a:lnTo>
                    <a:lnTo>
                      <a:pt x="67" y="312"/>
                    </a:lnTo>
                    <a:lnTo>
                      <a:pt x="65" y="315"/>
                    </a:lnTo>
                    <a:lnTo>
                      <a:pt x="64" y="315"/>
                    </a:lnTo>
                    <a:lnTo>
                      <a:pt x="64" y="316"/>
                    </a:lnTo>
                    <a:lnTo>
                      <a:pt x="65" y="316"/>
                    </a:lnTo>
                    <a:lnTo>
                      <a:pt x="69" y="318"/>
                    </a:lnTo>
                    <a:lnTo>
                      <a:pt x="68" y="319"/>
                    </a:lnTo>
                    <a:lnTo>
                      <a:pt x="67" y="321"/>
                    </a:lnTo>
                    <a:lnTo>
                      <a:pt x="69" y="322"/>
                    </a:lnTo>
                    <a:lnTo>
                      <a:pt x="69" y="326"/>
                    </a:lnTo>
                    <a:lnTo>
                      <a:pt x="69" y="329"/>
                    </a:lnTo>
                    <a:lnTo>
                      <a:pt x="67" y="330"/>
                    </a:lnTo>
                    <a:lnTo>
                      <a:pt x="65" y="330"/>
                    </a:lnTo>
                    <a:lnTo>
                      <a:pt x="64" y="331"/>
                    </a:lnTo>
                    <a:lnTo>
                      <a:pt x="65" y="332"/>
                    </a:lnTo>
                    <a:lnTo>
                      <a:pt x="64" y="332"/>
                    </a:lnTo>
                    <a:lnTo>
                      <a:pt x="65" y="336"/>
                    </a:lnTo>
                    <a:lnTo>
                      <a:pt x="67" y="337"/>
                    </a:lnTo>
                    <a:lnTo>
                      <a:pt x="69" y="336"/>
                    </a:lnTo>
                    <a:lnTo>
                      <a:pt x="70" y="336"/>
                    </a:lnTo>
                    <a:lnTo>
                      <a:pt x="70" y="338"/>
                    </a:lnTo>
                    <a:lnTo>
                      <a:pt x="72" y="339"/>
                    </a:lnTo>
                    <a:lnTo>
                      <a:pt x="70" y="340"/>
                    </a:lnTo>
                    <a:lnTo>
                      <a:pt x="71" y="342"/>
                    </a:lnTo>
                    <a:lnTo>
                      <a:pt x="70" y="342"/>
                    </a:lnTo>
                    <a:lnTo>
                      <a:pt x="70" y="343"/>
                    </a:lnTo>
                    <a:lnTo>
                      <a:pt x="70" y="345"/>
                    </a:lnTo>
                    <a:lnTo>
                      <a:pt x="67" y="345"/>
                    </a:lnTo>
                    <a:lnTo>
                      <a:pt x="67" y="348"/>
                    </a:lnTo>
                    <a:lnTo>
                      <a:pt x="70" y="349"/>
                    </a:lnTo>
                    <a:lnTo>
                      <a:pt x="72" y="349"/>
                    </a:lnTo>
                    <a:lnTo>
                      <a:pt x="72" y="350"/>
                    </a:lnTo>
                    <a:lnTo>
                      <a:pt x="70" y="352"/>
                    </a:lnTo>
                    <a:lnTo>
                      <a:pt x="71" y="353"/>
                    </a:lnTo>
                    <a:lnTo>
                      <a:pt x="72" y="353"/>
                    </a:lnTo>
                    <a:lnTo>
                      <a:pt x="74" y="355"/>
                    </a:lnTo>
                    <a:lnTo>
                      <a:pt x="73" y="357"/>
                    </a:lnTo>
                    <a:lnTo>
                      <a:pt x="75" y="360"/>
                    </a:lnTo>
                    <a:lnTo>
                      <a:pt x="75" y="363"/>
                    </a:lnTo>
                    <a:lnTo>
                      <a:pt x="75" y="364"/>
                    </a:lnTo>
                    <a:lnTo>
                      <a:pt x="75" y="366"/>
                    </a:lnTo>
                    <a:lnTo>
                      <a:pt x="73" y="368"/>
                    </a:lnTo>
                    <a:lnTo>
                      <a:pt x="77" y="368"/>
                    </a:lnTo>
                    <a:lnTo>
                      <a:pt x="75" y="374"/>
                    </a:lnTo>
                    <a:lnTo>
                      <a:pt x="72" y="372"/>
                    </a:lnTo>
                    <a:lnTo>
                      <a:pt x="70" y="373"/>
                    </a:lnTo>
                    <a:lnTo>
                      <a:pt x="71" y="373"/>
                    </a:lnTo>
                    <a:lnTo>
                      <a:pt x="70" y="375"/>
                    </a:lnTo>
                    <a:lnTo>
                      <a:pt x="73" y="377"/>
                    </a:lnTo>
                    <a:lnTo>
                      <a:pt x="73" y="378"/>
                    </a:lnTo>
                    <a:lnTo>
                      <a:pt x="75" y="379"/>
                    </a:lnTo>
                    <a:lnTo>
                      <a:pt x="73" y="380"/>
                    </a:lnTo>
                    <a:lnTo>
                      <a:pt x="74" y="383"/>
                    </a:lnTo>
                    <a:lnTo>
                      <a:pt x="73" y="383"/>
                    </a:lnTo>
                    <a:lnTo>
                      <a:pt x="70" y="380"/>
                    </a:lnTo>
                    <a:lnTo>
                      <a:pt x="71" y="379"/>
                    </a:lnTo>
                    <a:lnTo>
                      <a:pt x="70" y="379"/>
                    </a:lnTo>
                    <a:lnTo>
                      <a:pt x="69" y="379"/>
                    </a:lnTo>
                    <a:lnTo>
                      <a:pt x="65" y="378"/>
                    </a:lnTo>
                    <a:lnTo>
                      <a:pt x="65" y="379"/>
                    </a:lnTo>
                    <a:lnTo>
                      <a:pt x="65" y="378"/>
                    </a:lnTo>
                    <a:lnTo>
                      <a:pt x="62" y="379"/>
                    </a:lnTo>
                    <a:lnTo>
                      <a:pt x="61" y="380"/>
                    </a:lnTo>
                    <a:lnTo>
                      <a:pt x="62" y="381"/>
                    </a:lnTo>
                    <a:lnTo>
                      <a:pt x="62" y="382"/>
                    </a:lnTo>
                    <a:lnTo>
                      <a:pt x="59" y="382"/>
                    </a:lnTo>
                    <a:lnTo>
                      <a:pt x="60" y="383"/>
                    </a:lnTo>
                    <a:lnTo>
                      <a:pt x="61" y="383"/>
                    </a:lnTo>
                    <a:lnTo>
                      <a:pt x="63" y="387"/>
                    </a:lnTo>
                    <a:lnTo>
                      <a:pt x="64" y="385"/>
                    </a:lnTo>
                    <a:lnTo>
                      <a:pt x="66" y="387"/>
                    </a:lnTo>
                    <a:lnTo>
                      <a:pt x="69" y="386"/>
                    </a:lnTo>
                    <a:lnTo>
                      <a:pt x="71" y="387"/>
                    </a:lnTo>
                    <a:lnTo>
                      <a:pt x="72" y="389"/>
                    </a:lnTo>
                    <a:lnTo>
                      <a:pt x="72" y="390"/>
                    </a:lnTo>
                    <a:lnTo>
                      <a:pt x="74" y="392"/>
                    </a:lnTo>
                    <a:lnTo>
                      <a:pt x="72" y="393"/>
                    </a:lnTo>
                    <a:lnTo>
                      <a:pt x="75" y="393"/>
                    </a:lnTo>
                    <a:lnTo>
                      <a:pt x="75" y="394"/>
                    </a:lnTo>
                    <a:lnTo>
                      <a:pt x="75" y="399"/>
                    </a:lnTo>
                    <a:lnTo>
                      <a:pt x="75" y="400"/>
                    </a:lnTo>
                    <a:lnTo>
                      <a:pt x="76" y="401"/>
                    </a:lnTo>
                    <a:lnTo>
                      <a:pt x="77" y="400"/>
                    </a:lnTo>
                    <a:lnTo>
                      <a:pt x="82" y="402"/>
                    </a:lnTo>
                    <a:lnTo>
                      <a:pt x="82" y="400"/>
                    </a:lnTo>
                    <a:lnTo>
                      <a:pt x="83" y="400"/>
                    </a:lnTo>
                    <a:lnTo>
                      <a:pt x="83" y="404"/>
                    </a:lnTo>
                    <a:lnTo>
                      <a:pt x="82" y="408"/>
                    </a:lnTo>
                    <a:lnTo>
                      <a:pt x="84" y="408"/>
                    </a:lnTo>
                    <a:lnTo>
                      <a:pt x="85" y="406"/>
                    </a:lnTo>
                    <a:lnTo>
                      <a:pt x="87" y="406"/>
                    </a:lnTo>
                    <a:lnTo>
                      <a:pt x="87" y="404"/>
                    </a:lnTo>
                    <a:lnTo>
                      <a:pt x="88" y="403"/>
                    </a:lnTo>
                    <a:lnTo>
                      <a:pt x="89" y="403"/>
                    </a:lnTo>
                    <a:lnTo>
                      <a:pt x="91" y="402"/>
                    </a:lnTo>
                    <a:lnTo>
                      <a:pt x="92" y="403"/>
                    </a:lnTo>
                    <a:lnTo>
                      <a:pt x="90" y="403"/>
                    </a:lnTo>
                    <a:lnTo>
                      <a:pt x="92" y="405"/>
                    </a:lnTo>
                    <a:lnTo>
                      <a:pt x="91" y="408"/>
                    </a:lnTo>
                    <a:lnTo>
                      <a:pt x="92" y="408"/>
                    </a:lnTo>
                    <a:lnTo>
                      <a:pt x="93" y="408"/>
                    </a:lnTo>
                    <a:lnTo>
                      <a:pt x="94" y="408"/>
                    </a:lnTo>
                    <a:lnTo>
                      <a:pt x="94" y="413"/>
                    </a:lnTo>
                    <a:lnTo>
                      <a:pt x="95" y="415"/>
                    </a:lnTo>
                    <a:lnTo>
                      <a:pt x="98" y="413"/>
                    </a:lnTo>
                    <a:lnTo>
                      <a:pt x="99" y="413"/>
                    </a:lnTo>
                    <a:lnTo>
                      <a:pt x="100" y="414"/>
                    </a:lnTo>
                    <a:lnTo>
                      <a:pt x="100" y="413"/>
                    </a:lnTo>
                    <a:lnTo>
                      <a:pt x="103" y="413"/>
                    </a:lnTo>
                    <a:lnTo>
                      <a:pt x="103" y="410"/>
                    </a:lnTo>
                    <a:lnTo>
                      <a:pt x="104" y="411"/>
                    </a:lnTo>
                    <a:lnTo>
                      <a:pt x="105" y="408"/>
                    </a:lnTo>
                    <a:lnTo>
                      <a:pt x="104" y="407"/>
                    </a:lnTo>
                    <a:lnTo>
                      <a:pt x="106" y="406"/>
                    </a:lnTo>
                    <a:lnTo>
                      <a:pt x="107" y="406"/>
                    </a:lnTo>
                    <a:lnTo>
                      <a:pt x="108" y="405"/>
                    </a:lnTo>
                    <a:lnTo>
                      <a:pt x="110" y="405"/>
                    </a:lnTo>
                    <a:lnTo>
                      <a:pt x="110" y="402"/>
                    </a:lnTo>
                    <a:lnTo>
                      <a:pt x="114" y="403"/>
                    </a:lnTo>
                    <a:lnTo>
                      <a:pt x="118" y="406"/>
                    </a:lnTo>
                    <a:lnTo>
                      <a:pt x="119" y="406"/>
                    </a:lnTo>
                    <a:lnTo>
                      <a:pt x="120" y="403"/>
                    </a:lnTo>
                    <a:lnTo>
                      <a:pt x="119" y="403"/>
                    </a:lnTo>
                    <a:lnTo>
                      <a:pt x="120" y="402"/>
                    </a:lnTo>
                    <a:lnTo>
                      <a:pt x="121" y="402"/>
                    </a:lnTo>
                    <a:lnTo>
                      <a:pt x="122" y="402"/>
                    </a:lnTo>
                    <a:lnTo>
                      <a:pt x="122" y="399"/>
                    </a:lnTo>
                    <a:lnTo>
                      <a:pt x="122" y="398"/>
                    </a:lnTo>
                    <a:lnTo>
                      <a:pt x="123" y="394"/>
                    </a:lnTo>
                    <a:lnTo>
                      <a:pt x="123" y="395"/>
                    </a:lnTo>
                    <a:lnTo>
                      <a:pt x="124" y="395"/>
                    </a:lnTo>
                    <a:lnTo>
                      <a:pt x="124" y="396"/>
                    </a:lnTo>
                    <a:lnTo>
                      <a:pt x="126" y="397"/>
                    </a:lnTo>
                    <a:lnTo>
                      <a:pt x="128" y="398"/>
                    </a:lnTo>
                    <a:lnTo>
                      <a:pt x="129" y="396"/>
                    </a:lnTo>
                    <a:lnTo>
                      <a:pt x="129" y="393"/>
                    </a:lnTo>
                    <a:lnTo>
                      <a:pt x="129" y="391"/>
                    </a:lnTo>
                    <a:lnTo>
                      <a:pt x="127" y="389"/>
                    </a:lnTo>
                    <a:lnTo>
                      <a:pt x="131" y="389"/>
                    </a:lnTo>
                    <a:lnTo>
                      <a:pt x="131" y="387"/>
                    </a:lnTo>
                    <a:lnTo>
                      <a:pt x="130" y="383"/>
                    </a:lnTo>
                    <a:lnTo>
                      <a:pt x="131" y="382"/>
                    </a:lnTo>
                    <a:lnTo>
                      <a:pt x="131" y="378"/>
                    </a:lnTo>
                    <a:lnTo>
                      <a:pt x="132" y="380"/>
                    </a:lnTo>
                    <a:lnTo>
                      <a:pt x="132" y="379"/>
                    </a:lnTo>
                    <a:lnTo>
                      <a:pt x="135" y="379"/>
                    </a:lnTo>
                    <a:lnTo>
                      <a:pt x="136" y="379"/>
                    </a:lnTo>
                    <a:lnTo>
                      <a:pt x="136" y="378"/>
                    </a:lnTo>
                    <a:lnTo>
                      <a:pt x="138" y="378"/>
                    </a:lnTo>
                    <a:lnTo>
                      <a:pt x="138" y="377"/>
                    </a:lnTo>
                    <a:lnTo>
                      <a:pt x="139" y="377"/>
                    </a:lnTo>
                    <a:lnTo>
                      <a:pt x="139" y="376"/>
                    </a:lnTo>
                    <a:lnTo>
                      <a:pt x="139" y="374"/>
                    </a:lnTo>
                    <a:lnTo>
                      <a:pt x="141" y="374"/>
                    </a:lnTo>
                    <a:lnTo>
                      <a:pt x="141" y="373"/>
                    </a:lnTo>
                    <a:lnTo>
                      <a:pt x="144" y="373"/>
                    </a:lnTo>
                    <a:lnTo>
                      <a:pt x="145" y="370"/>
                    </a:lnTo>
                    <a:lnTo>
                      <a:pt x="148" y="370"/>
                    </a:lnTo>
                    <a:lnTo>
                      <a:pt x="149" y="370"/>
                    </a:lnTo>
                    <a:lnTo>
                      <a:pt x="149" y="369"/>
                    </a:lnTo>
                    <a:lnTo>
                      <a:pt x="150" y="368"/>
                    </a:lnTo>
                    <a:lnTo>
                      <a:pt x="153" y="373"/>
                    </a:lnTo>
                    <a:lnTo>
                      <a:pt x="154" y="374"/>
                    </a:lnTo>
                    <a:lnTo>
                      <a:pt x="155" y="373"/>
                    </a:lnTo>
                    <a:lnTo>
                      <a:pt x="158" y="373"/>
                    </a:lnTo>
                    <a:lnTo>
                      <a:pt x="162" y="370"/>
                    </a:lnTo>
                    <a:lnTo>
                      <a:pt x="163" y="372"/>
                    </a:lnTo>
                    <a:lnTo>
                      <a:pt x="163" y="370"/>
                    </a:lnTo>
                    <a:lnTo>
                      <a:pt x="169" y="368"/>
                    </a:lnTo>
                    <a:lnTo>
                      <a:pt x="168" y="365"/>
                    </a:lnTo>
                    <a:lnTo>
                      <a:pt x="171" y="366"/>
                    </a:lnTo>
                    <a:lnTo>
                      <a:pt x="172" y="365"/>
                    </a:lnTo>
                    <a:lnTo>
                      <a:pt x="174" y="362"/>
                    </a:lnTo>
                    <a:lnTo>
                      <a:pt x="173" y="361"/>
                    </a:lnTo>
                    <a:lnTo>
                      <a:pt x="174" y="361"/>
                    </a:lnTo>
                    <a:lnTo>
                      <a:pt x="176" y="361"/>
                    </a:lnTo>
                    <a:lnTo>
                      <a:pt x="178" y="359"/>
                    </a:lnTo>
                    <a:lnTo>
                      <a:pt x="183" y="353"/>
                    </a:lnTo>
                    <a:lnTo>
                      <a:pt x="184" y="355"/>
                    </a:lnTo>
                    <a:lnTo>
                      <a:pt x="183" y="355"/>
                    </a:lnTo>
                    <a:lnTo>
                      <a:pt x="183" y="361"/>
                    </a:lnTo>
                    <a:lnTo>
                      <a:pt x="187" y="360"/>
                    </a:lnTo>
                    <a:lnTo>
                      <a:pt x="188" y="361"/>
                    </a:lnTo>
                    <a:lnTo>
                      <a:pt x="190" y="362"/>
                    </a:lnTo>
                    <a:lnTo>
                      <a:pt x="191" y="362"/>
                    </a:lnTo>
                    <a:lnTo>
                      <a:pt x="195" y="361"/>
                    </a:lnTo>
                    <a:lnTo>
                      <a:pt x="202" y="362"/>
                    </a:lnTo>
                    <a:lnTo>
                      <a:pt x="204" y="364"/>
                    </a:lnTo>
                    <a:lnTo>
                      <a:pt x="205" y="361"/>
                    </a:lnTo>
                    <a:lnTo>
                      <a:pt x="206" y="359"/>
                    </a:lnTo>
                    <a:lnTo>
                      <a:pt x="206" y="360"/>
                    </a:lnTo>
                    <a:lnTo>
                      <a:pt x="208" y="356"/>
                    </a:lnTo>
                    <a:lnTo>
                      <a:pt x="209" y="358"/>
                    </a:lnTo>
                    <a:lnTo>
                      <a:pt x="208" y="361"/>
                    </a:lnTo>
                    <a:lnTo>
                      <a:pt x="209" y="361"/>
                    </a:lnTo>
                    <a:lnTo>
                      <a:pt x="211" y="359"/>
                    </a:lnTo>
                    <a:lnTo>
                      <a:pt x="212" y="359"/>
                    </a:lnTo>
                    <a:lnTo>
                      <a:pt x="215" y="355"/>
                    </a:lnTo>
                    <a:lnTo>
                      <a:pt x="218" y="352"/>
                    </a:lnTo>
                    <a:lnTo>
                      <a:pt x="219" y="349"/>
                    </a:lnTo>
                    <a:lnTo>
                      <a:pt x="220" y="349"/>
                    </a:lnTo>
                    <a:lnTo>
                      <a:pt x="223" y="348"/>
                    </a:lnTo>
                    <a:lnTo>
                      <a:pt x="224" y="348"/>
                    </a:lnTo>
                    <a:lnTo>
                      <a:pt x="225" y="351"/>
                    </a:lnTo>
                    <a:lnTo>
                      <a:pt x="226" y="349"/>
                    </a:lnTo>
                    <a:lnTo>
                      <a:pt x="227" y="350"/>
                    </a:lnTo>
                    <a:lnTo>
                      <a:pt x="229" y="356"/>
                    </a:lnTo>
                    <a:lnTo>
                      <a:pt x="228" y="359"/>
                    </a:lnTo>
                    <a:lnTo>
                      <a:pt x="229" y="360"/>
                    </a:lnTo>
                    <a:lnTo>
                      <a:pt x="236" y="359"/>
                    </a:lnTo>
                    <a:lnTo>
                      <a:pt x="236" y="355"/>
                    </a:lnTo>
                    <a:lnTo>
                      <a:pt x="237" y="355"/>
                    </a:lnTo>
                    <a:lnTo>
                      <a:pt x="237" y="352"/>
                    </a:lnTo>
                    <a:lnTo>
                      <a:pt x="239" y="350"/>
                    </a:lnTo>
                    <a:lnTo>
                      <a:pt x="241" y="348"/>
                    </a:lnTo>
                    <a:lnTo>
                      <a:pt x="244" y="348"/>
                    </a:lnTo>
                    <a:lnTo>
                      <a:pt x="250" y="347"/>
                    </a:lnTo>
                    <a:lnTo>
                      <a:pt x="251" y="347"/>
                    </a:lnTo>
                    <a:lnTo>
                      <a:pt x="250" y="348"/>
                    </a:lnTo>
                    <a:lnTo>
                      <a:pt x="254" y="347"/>
                    </a:lnTo>
                    <a:lnTo>
                      <a:pt x="255" y="345"/>
                    </a:lnTo>
                    <a:lnTo>
                      <a:pt x="256" y="345"/>
                    </a:lnTo>
                    <a:lnTo>
                      <a:pt x="258" y="345"/>
                    </a:lnTo>
                    <a:lnTo>
                      <a:pt x="259" y="342"/>
                    </a:lnTo>
                    <a:lnTo>
                      <a:pt x="260" y="342"/>
                    </a:lnTo>
                    <a:lnTo>
                      <a:pt x="261" y="342"/>
                    </a:lnTo>
                    <a:lnTo>
                      <a:pt x="263" y="341"/>
                    </a:lnTo>
                    <a:lnTo>
                      <a:pt x="263" y="339"/>
                    </a:lnTo>
                    <a:lnTo>
                      <a:pt x="263" y="335"/>
                    </a:lnTo>
                    <a:lnTo>
                      <a:pt x="262" y="335"/>
                    </a:lnTo>
                    <a:lnTo>
                      <a:pt x="263" y="335"/>
                    </a:lnTo>
                    <a:lnTo>
                      <a:pt x="263" y="334"/>
                    </a:lnTo>
                    <a:lnTo>
                      <a:pt x="265" y="335"/>
                    </a:lnTo>
                    <a:lnTo>
                      <a:pt x="268" y="335"/>
                    </a:lnTo>
                    <a:lnTo>
                      <a:pt x="268" y="336"/>
                    </a:lnTo>
                    <a:lnTo>
                      <a:pt x="272" y="337"/>
                    </a:lnTo>
                    <a:lnTo>
                      <a:pt x="274" y="337"/>
                    </a:lnTo>
                    <a:lnTo>
                      <a:pt x="274" y="336"/>
                    </a:lnTo>
                    <a:lnTo>
                      <a:pt x="273" y="335"/>
                    </a:lnTo>
                    <a:lnTo>
                      <a:pt x="274" y="335"/>
                    </a:lnTo>
                    <a:lnTo>
                      <a:pt x="273" y="334"/>
                    </a:lnTo>
                    <a:lnTo>
                      <a:pt x="274" y="331"/>
                    </a:lnTo>
                    <a:lnTo>
                      <a:pt x="273" y="329"/>
                    </a:lnTo>
                    <a:lnTo>
                      <a:pt x="272" y="329"/>
                    </a:lnTo>
                    <a:lnTo>
                      <a:pt x="272" y="322"/>
                    </a:lnTo>
                    <a:lnTo>
                      <a:pt x="275" y="322"/>
                    </a:lnTo>
                    <a:lnTo>
                      <a:pt x="274" y="321"/>
                    </a:lnTo>
                    <a:lnTo>
                      <a:pt x="276" y="321"/>
                    </a:lnTo>
                    <a:lnTo>
                      <a:pt x="277" y="319"/>
                    </a:lnTo>
                    <a:lnTo>
                      <a:pt x="279" y="319"/>
                    </a:lnTo>
                    <a:lnTo>
                      <a:pt x="280" y="318"/>
                    </a:lnTo>
                    <a:lnTo>
                      <a:pt x="283" y="318"/>
                    </a:lnTo>
                    <a:lnTo>
                      <a:pt x="285" y="321"/>
                    </a:lnTo>
                    <a:lnTo>
                      <a:pt x="286" y="321"/>
                    </a:lnTo>
                    <a:lnTo>
                      <a:pt x="286" y="319"/>
                    </a:lnTo>
                    <a:lnTo>
                      <a:pt x="288" y="319"/>
                    </a:lnTo>
                    <a:lnTo>
                      <a:pt x="292" y="322"/>
                    </a:lnTo>
                    <a:lnTo>
                      <a:pt x="296" y="323"/>
                    </a:lnTo>
                    <a:lnTo>
                      <a:pt x="296" y="325"/>
                    </a:lnTo>
                    <a:lnTo>
                      <a:pt x="297" y="325"/>
                    </a:lnTo>
                    <a:lnTo>
                      <a:pt x="297" y="326"/>
                    </a:lnTo>
                    <a:lnTo>
                      <a:pt x="298" y="326"/>
                    </a:lnTo>
                    <a:lnTo>
                      <a:pt x="303" y="326"/>
                    </a:lnTo>
                    <a:lnTo>
                      <a:pt x="309" y="327"/>
                    </a:lnTo>
                    <a:lnTo>
                      <a:pt x="309" y="329"/>
                    </a:lnTo>
                    <a:lnTo>
                      <a:pt x="311" y="329"/>
                    </a:lnTo>
                    <a:lnTo>
                      <a:pt x="315" y="330"/>
                    </a:lnTo>
                    <a:lnTo>
                      <a:pt x="315" y="331"/>
                    </a:lnTo>
                    <a:lnTo>
                      <a:pt x="316" y="330"/>
                    </a:lnTo>
                    <a:lnTo>
                      <a:pt x="322" y="330"/>
                    </a:lnTo>
                    <a:lnTo>
                      <a:pt x="323" y="329"/>
                    </a:lnTo>
                    <a:lnTo>
                      <a:pt x="326" y="331"/>
                    </a:lnTo>
                    <a:lnTo>
                      <a:pt x="327" y="328"/>
                    </a:lnTo>
                    <a:lnTo>
                      <a:pt x="326" y="326"/>
                    </a:lnTo>
                    <a:lnTo>
                      <a:pt x="330" y="328"/>
                    </a:lnTo>
                    <a:lnTo>
                      <a:pt x="330" y="329"/>
                    </a:lnTo>
                    <a:lnTo>
                      <a:pt x="331" y="331"/>
                    </a:lnTo>
                    <a:lnTo>
                      <a:pt x="331" y="330"/>
                    </a:lnTo>
                    <a:lnTo>
                      <a:pt x="334" y="332"/>
                    </a:lnTo>
                    <a:lnTo>
                      <a:pt x="334" y="331"/>
                    </a:lnTo>
                    <a:lnTo>
                      <a:pt x="335" y="331"/>
                    </a:lnTo>
                    <a:lnTo>
                      <a:pt x="336" y="329"/>
                    </a:lnTo>
                    <a:lnTo>
                      <a:pt x="341" y="334"/>
                    </a:lnTo>
                    <a:lnTo>
                      <a:pt x="343" y="335"/>
                    </a:lnTo>
                    <a:lnTo>
                      <a:pt x="343" y="336"/>
                    </a:lnTo>
                    <a:lnTo>
                      <a:pt x="344" y="336"/>
                    </a:lnTo>
                    <a:lnTo>
                      <a:pt x="346" y="332"/>
                    </a:lnTo>
                    <a:lnTo>
                      <a:pt x="348" y="331"/>
                    </a:lnTo>
                    <a:lnTo>
                      <a:pt x="348" y="330"/>
                    </a:lnTo>
                    <a:lnTo>
                      <a:pt x="350" y="326"/>
                    </a:lnTo>
                    <a:lnTo>
                      <a:pt x="351" y="327"/>
                    </a:lnTo>
                    <a:lnTo>
                      <a:pt x="353" y="325"/>
                    </a:lnTo>
                    <a:lnTo>
                      <a:pt x="355" y="328"/>
                    </a:lnTo>
                    <a:lnTo>
                      <a:pt x="357" y="329"/>
                    </a:lnTo>
                    <a:lnTo>
                      <a:pt x="358" y="328"/>
                    </a:lnTo>
                    <a:lnTo>
                      <a:pt x="358" y="327"/>
                    </a:lnTo>
                    <a:lnTo>
                      <a:pt x="359" y="329"/>
                    </a:lnTo>
                    <a:lnTo>
                      <a:pt x="361" y="329"/>
                    </a:lnTo>
                    <a:lnTo>
                      <a:pt x="361" y="326"/>
                    </a:lnTo>
                    <a:lnTo>
                      <a:pt x="365" y="328"/>
                    </a:lnTo>
                    <a:lnTo>
                      <a:pt x="365" y="326"/>
                    </a:lnTo>
                    <a:lnTo>
                      <a:pt x="366" y="326"/>
                    </a:lnTo>
                    <a:lnTo>
                      <a:pt x="367" y="326"/>
                    </a:lnTo>
                    <a:lnTo>
                      <a:pt x="369" y="326"/>
                    </a:lnTo>
                    <a:lnTo>
                      <a:pt x="369" y="327"/>
                    </a:lnTo>
                    <a:lnTo>
                      <a:pt x="370" y="328"/>
                    </a:lnTo>
                    <a:lnTo>
                      <a:pt x="370" y="329"/>
                    </a:lnTo>
                    <a:lnTo>
                      <a:pt x="372" y="329"/>
                    </a:lnTo>
                    <a:lnTo>
                      <a:pt x="372" y="331"/>
                    </a:lnTo>
                    <a:lnTo>
                      <a:pt x="372" y="330"/>
                    </a:lnTo>
                    <a:lnTo>
                      <a:pt x="374" y="331"/>
                    </a:lnTo>
                    <a:lnTo>
                      <a:pt x="372" y="329"/>
                    </a:lnTo>
                    <a:lnTo>
                      <a:pt x="374" y="329"/>
                    </a:lnTo>
                    <a:lnTo>
                      <a:pt x="374" y="330"/>
                    </a:lnTo>
                    <a:lnTo>
                      <a:pt x="374" y="331"/>
                    </a:lnTo>
                    <a:lnTo>
                      <a:pt x="375" y="330"/>
                    </a:lnTo>
                    <a:lnTo>
                      <a:pt x="376" y="330"/>
                    </a:lnTo>
                    <a:lnTo>
                      <a:pt x="378" y="326"/>
                    </a:lnTo>
                    <a:lnTo>
                      <a:pt x="378" y="324"/>
                    </a:lnTo>
                    <a:lnTo>
                      <a:pt x="378" y="323"/>
                    </a:lnTo>
                    <a:lnTo>
                      <a:pt x="377" y="322"/>
                    </a:lnTo>
                    <a:lnTo>
                      <a:pt x="378" y="322"/>
                    </a:lnTo>
                    <a:lnTo>
                      <a:pt x="378" y="318"/>
                    </a:lnTo>
                    <a:lnTo>
                      <a:pt x="381" y="319"/>
                    </a:lnTo>
                    <a:lnTo>
                      <a:pt x="381" y="314"/>
                    </a:lnTo>
                    <a:lnTo>
                      <a:pt x="381" y="312"/>
                    </a:lnTo>
                    <a:lnTo>
                      <a:pt x="382" y="312"/>
                    </a:lnTo>
                    <a:lnTo>
                      <a:pt x="382" y="310"/>
                    </a:lnTo>
                    <a:lnTo>
                      <a:pt x="381" y="309"/>
                    </a:lnTo>
                    <a:lnTo>
                      <a:pt x="380" y="308"/>
                    </a:lnTo>
                    <a:lnTo>
                      <a:pt x="380" y="306"/>
                    </a:lnTo>
                    <a:lnTo>
                      <a:pt x="378" y="305"/>
                    </a:lnTo>
                    <a:lnTo>
                      <a:pt x="378" y="304"/>
                    </a:lnTo>
                    <a:lnTo>
                      <a:pt x="381" y="302"/>
                    </a:lnTo>
                    <a:lnTo>
                      <a:pt x="381" y="304"/>
                    </a:lnTo>
                    <a:lnTo>
                      <a:pt x="382" y="303"/>
                    </a:lnTo>
                    <a:lnTo>
                      <a:pt x="381" y="302"/>
                    </a:lnTo>
                    <a:lnTo>
                      <a:pt x="381" y="301"/>
                    </a:lnTo>
                    <a:lnTo>
                      <a:pt x="380" y="299"/>
                    </a:lnTo>
                    <a:lnTo>
                      <a:pt x="381" y="298"/>
                    </a:lnTo>
                    <a:lnTo>
                      <a:pt x="381" y="297"/>
                    </a:lnTo>
                    <a:lnTo>
                      <a:pt x="381" y="296"/>
                    </a:lnTo>
                    <a:lnTo>
                      <a:pt x="379" y="295"/>
                    </a:lnTo>
                    <a:lnTo>
                      <a:pt x="379" y="294"/>
                    </a:lnTo>
                    <a:lnTo>
                      <a:pt x="381" y="293"/>
                    </a:lnTo>
                    <a:lnTo>
                      <a:pt x="382" y="293"/>
                    </a:lnTo>
                    <a:lnTo>
                      <a:pt x="382" y="292"/>
                    </a:lnTo>
                    <a:lnTo>
                      <a:pt x="384" y="291"/>
                    </a:lnTo>
                    <a:lnTo>
                      <a:pt x="388" y="296"/>
                    </a:lnTo>
                    <a:lnTo>
                      <a:pt x="394" y="300"/>
                    </a:lnTo>
                    <a:lnTo>
                      <a:pt x="394" y="298"/>
                    </a:lnTo>
                    <a:lnTo>
                      <a:pt x="395" y="299"/>
                    </a:lnTo>
                    <a:lnTo>
                      <a:pt x="394" y="298"/>
                    </a:lnTo>
                    <a:lnTo>
                      <a:pt x="395" y="296"/>
                    </a:lnTo>
                    <a:lnTo>
                      <a:pt x="393" y="296"/>
                    </a:lnTo>
                    <a:lnTo>
                      <a:pt x="392" y="295"/>
                    </a:lnTo>
                    <a:lnTo>
                      <a:pt x="394" y="293"/>
                    </a:lnTo>
                    <a:lnTo>
                      <a:pt x="395" y="295"/>
                    </a:lnTo>
                    <a:lnTo>
                      <a:pt x="396" y="293"/>
                    </a:lnTo>
                    <a:lnTo>
                      <a:pt x="395" y="292"/>
                    </a:lnTo>
                    <a:lnTo>
                      <a:pt x="397" y="292"/>
                    </a:lnTo>
                    <a:lnTo>
                      <a:pt x="397" y="285"/>
                    </a:lnTo>
                    <a:lnTo>
                      <a:pt x="401" y="289"/>
                    </a:lnTo>
                    <a:lnTo>
                      <a:pt x="404" y="289"/>
                    </a:lnTo>
                    <a:lnTo>
                      <a:pt x="404" y="286"/>
                    </a:lnTo>
                    <a:lnTo>
                      <a:pt x="407" y="289"/>
                    </a:lnTo>
                    <a:lnTo>
                      <a:pt x="410" y="289"/>
                    </a:lnTo>
                    <a:lnTo>
                      <a:pt x="410" y="285"/>
                    </a:lnTo>
                    <a:lnTo>
                      <a:pt x="411" y="284"/>
                    </a:lnTo>
                    <a:lnTo>
                      <a:pt x="411" y="281"/>
                    </a:lnTo>
                    <a:lnTo>
                      <a:pt x="411" y="280"/>
                    </a:lnTo>
                    <a:lnTo>
                      <a:pt x="410" y="279"/>
                    </a:lnTo>
                    <a:lnTo>
                      <a:pt x="411" y="279"/>
                    </a:lnTo>
                    <a:lnTo>
                      <a:pt x="411" y="275"/>
                    </a:lnTo>
                    <a:lnTo>
                      <a:pt x="408" y="267"/>
                    </a:lnTo>
                    <a:lnTo>
                      <a:pt x="413" y="266"/>
                    </a:lnTo>
                    <a:lnTo>
                      <a:pt x="413" y="261"/>
                    </a:lnTo>
                    <a:lnTo>
                      <a:pt x="417" y="264"/>
                    </a:lnTo>
                    <a:lnTo>
                      <a:pt x="416" y="261"/>
                    </a:lnTo>
                    <a:lnTo>
                      <a:pt x="416" y="258"/>
                    </a:lnTo>
                    <a:lnTo>
                      <a:pt x="414" y="258"/>
                    </a:lnTo>
                    <a:lnTo>
                      <a:pt x="415" y="255"/>
                    </a:lnTo>
                    <a:lnTo>
                      <a:pt x="413" y="254"/>
                    </a:lnTo>
                    <a:lnTo>
                      <a:pt x="414" y="254"/>
                    </a:lnTo>
                    <a:lnTo>
                      <a:pt x="414" y="253"/>
                    </a:lnTo>
                    <a:lnTo>
                      <a:pt x="413" y="253"/>
                    </a:lnTo>
                    <a:lnTo>
                      <a:pt x="411" y="252"/>
                    </a:lnTo>
                    <a:lnTo>
                      <a:pt x="411" y="253"/>
                    </a:lnTo>
                    <a:lnTo>
                      <a:pt x="410" y="252"/>
                    </a:lnTo>
                    <a:lnTo>
                      <a:pt x="410" y="251"/>
                    </a:lnTo>
                    <a:lnTo>
                      <a:pt x="410" y="252"/>
                    </a:lnTo>
                    <a:lnTo>
                      <a:pt x="406" y="251"/>
                    </a:lnTo>
                    <a:lnTo>
                      <a:pt x="407" y="248"/>
                    </a:lnTo>
                    <a:lnTo>
                      <a:pt x="406" y="249"/>
                    </a:lnTo>
                    <a:lnTo>
                      <a:pt x="406" y="248"/>
                    </a:lnTo>
                    <a:lnTo>
                      <a:pt x="406" y="245"/>
                    </a:lnTo>
                    <a:lnTo>
                      <a:pt x="405" y="245"/>
                    </a:lnTo>
                    <a:lnTo>
                      <a:pt x="406" y="244"/>
                    </a:lnTo>
                    <a:lnTo>
                      <a:pt x="405" y="244"/>
                    </a:lnTo>
                    <a:lnTo>
                      <a:pt x="406" y="242"/>
                    </a:lnTo>
                    <a:lnTo>
                      <a:pt x="405" y="242"/>
                    </a:lnTo>
                    <a:lnTo>
                      <a:pt x="405" y="241"/>
                    </a:lnTo>
                    <a:lnTo>
                      <a:pt x="404" y="238"/>
                    </a:lnTo>
                    <a:lnTo>
                      <a:pt x="402" y="237"/>
                    </a:lnTo>
                    <a:lnTo>
                      <a:pt x="402" y="235"/>
                    </a:lnTo>
                    <a:lnTo>
                      <a:pt x="402" y="231"/>
                    </a:lnTo>
                    <a:lnTo>
                      <a:pt x="402" y="230"/>
                    </a:lnTo>
                    <a:lnTo>
                      <a:pt x="402" y="228"/>
                    </a:lnTo>
                    <a:lnTo>
                      <a:pt x="401" y="228"/>
                    </a:lnTo>
                    <a:lnTo>
                      <a:pt x="401" y="225"/>
                    </a:lnTo>
                    <a:lnTo>
                      <a:pt x="400" y="225"/>
                    </a:lnTo>
                    <a:lnTo>
                      <a:pt x="400" y="224"/>
                    </a:lnTo>
                    <a:lnTo>
                      <a:pt x="400" y="221"/>
                    </a:lnTo>
                    <a:lnTo>
                      <a:pt x="397" y="219"/>
                    </a:lnTo>
                    <a:lnTo>
                      <a:pt x="397" y="218"/>
                    </a:lnTo>
                    <a:lnTo>
                      <a:pt x="396" y="215"/>
                    </a:lnTo>
                    <a:lnTo>
                      <a:pt x="394" y="215"/>
                    </a:lnTo>
                    <a:lnTo>
                      <a:pt x="395" y="213"/>
                    </a:lnTo>
                    <a:lnTo>
                      <a:pt x="395" y="208"/>
                    </a:lnTo>
                    <a:lnTo>
                      <a:pt x="392" y="206"/>
                    </a:lnTo>
                    <a:lnTo>
                      <a:pt x="392" y="204"/>
                    </a:lnTo>
                    <a:lnTo>
                      <a:pt x="393" y="204"/>
                    </a:lnTo>
                    <a:lnTo>
                      <a:pt x="390" y="201"/>
                    </a:lnTo>
                    <a:lnTo>
                      <a:pt x="392" y="197"/>
                    </a:lnTo>
                    <a:lnTo>
                      <a:pt x="392" y="196"/>
                    </a:lnTo>
                    <a:lnTo>
                      <a:pt x="392" y="192"/>
                    </a:lnTo>
                    <a:lnTo>
                      <a:pt x="392" y="191"/>
                    </a:lnTo>
                    <a:lnTo>
                      <a:pt x="392" y="190"/>
                    </a:lnTo>
                    <a:lnTo>
                      <a:pt x="392" y="187"/>
                    </a:lnTo>
                    <a:lnTo>
                      <a:pt x="390" y="187"/>
                    </a:lnTo>
                    <a:lnTo>
                      <a:pt x="388" y="187"/>
                    </a:lnTo>
                    <a:lnTo>
                      <a:pt x="389" y="182"/>
                    </a:lnTo>
                    <a:lnTo>
                      <a:pt x="392" y="177"/>
                    </a:lnTo>
                    <a:lnTo>
                      <a:pt x="398" y="173"/>
                    </a:lnTo>
                    <a:lnTo>
                      <a:pt x="398" y="171"/>
                    </a:lnTo>
                    <a:lnTo>
                      <a:pt x="396" y="169"/>
                    </a:lnTo>
                    <a:lnTo>
                      <a:pt x="397" y="166"/>
                    </a:lnTo>
                    <a:lnTo>
                      <a:pt x="398" y="164"/>
                    </a:lnTo>
                    <a:lnTo>
                      <a:pt x="398" y="161"/>
                    </a:lnTo>
                    <a:lnTo>
                      <a:pt x="400" y="159"/>
                    </a:lnTo>
                    <a:lnTo>
                      <a:pt x="404" y="158"/>
                    </a:lnTo>
                    <a:lnTo>
                      <a:pt x="408" y="157"/>
                    </a:lnTo>
                    <a:lnTo>
                      <a:pt x="410" y="153"/>
                    </a:lnTo>
                    <a:lnTo>
                      <a:pt x="411" y="151"/>
                    </a:lnTo>
                    <a:lnTo>
                      <a:pt x="411" y="153"/>
                    </a:lnTo>
                    <a:lnTo>
                      <a:pt x="411" y="155"/>
                    </a:lnTo>
                    <a:lnTo>
                      <a:pt x="414" y="155"/>
                    </a:lnTo>
                    <a:lnTo>
                      <a:pt x="415" y="153"/>
                    </a:lnTo>
                    <a:lnTo>
                      <a:pt x="412" y="150"/>
                    </a:lnTo>
                    <a:lnTo>
                      <a:pt x="413" y="147"/>
                    </a:lnTo>
                    <a:lnTo>
                      <a:pt x="414" y="147"/>
                    </a:lnTo>
                    <a:lnTo>
                      <a:pt x="414" y="145"/>
                    </a:lnTo>
                    <a:lnTo>
                      <a:pt x="416" y="140"/>
                    </a:lnTo>
                    <a:lnTo>
                      <a:pt x="418" y="137"/>
                    </a:lnTo>
                    <a:lnTo>
                      <a:pt x="418" y="136"/>
                    </a:lnTo>
                    <a:lnTo>
                      <a:pt x="420" y="136"/>
                    </a:lnTo>
                    <a:lnTo>
                      <a:pt x="422" y="138"/>
                    </a:lnTo>
                    <a:lnTo>
                      <a:pt x="424" y="134"/>
                    </a:lnTo>
                    <a:lnTo>
                      <a:pt x="422" y="132"/>
                    </a:lnTo>
                    <a:lnTo>
                      <a:pt x="423" y="130"/>
                    </a:lnTo>
                    <a:lnTo>
                      <a:pt x="426" y="129"/>
                    </a:lnTo>
                    <a:lnTo>
                      <a:pt x="426" y="128"/>
                    </a:lnTo>
                    <a:lnTo>
                      <a:pt x="425" y="127"/>
                    </a:lnTo>
                    <a:lnTo>
                      <a:pt x="424" y="127"/>
                    </a:lnTo>
                    <a:lnTo>
                      <a:pt x="424" y="125"/>
                    </a:lnTo>
                    <a:lnTo>
                      <a:pt x="424" y="124"/>
                    </a:lnTo>
                    <a:lnTo>
                      <a:pt x="425" y="122"/>
                    </a:lnTo>
                    <a:lnTo>
                      <a:pt x="427" y="123"/>
                    </a:lnTo>
                    <a:lnTo>
                      <a:pt x="427" y="122"/>
                    </a:lnTo>
                    <a:lnTo>
                      <a:pt x="425" y="121"/>
                    </a:lnTo>
                    <a:lnTo>
                      <a:pt x="424" y="122"/>
                    </a:lnTo>
                    <a:lnTo>
                      <a:pt x="423" y="121"/>
                    </a:lnTo>
                    <a:lnTo>
                      <a:pt x="424" y="121"/>
                    </a:lnTo>
                    <a:lnTo>
                      <a:pt x="422" y="119"/>
                    </a:lnTo>
                    <a:lnTo>
                      <a:pt x="425" y="118"/>
                    </a:lnTo>
                    <a:lnTo>
                      <a:pt x="427" y="121"/>
                    </a:lnTo>
                    <a:lnTo>
                      <a:pt x="429" y="119"/>
                    </a:lnTo>
                    <a:lnTo>
                      <a:pt x="432" y="118"/>
                    </a:lnTo>
                    <a:lnTo>
                      <a:pt x="433" y="119"/>
                    </a:lnTo>
                    <a:lnTo>
                      <a:pt x="434" y="119"/>
                    </a:lnTo>
                    <a:lnTo>
                      <a:pt x="433" y="121"/>
                    </a:lnTo>
                    <a:lnTo>
                      <a:pt x="432" y="122"/>
                    </a:lnTo>
                    <a:lnTo>
                      <a:pt x="434" y="121"/>
                    </a:lnTo>
                    <a:lnTo>
                      <a:pt x="435" y="122"/>
                    </a:lnTo>
                    <a:lnTo>
                      <a:pt x="435" y="121"/>
                    </a:lnTo>
                    <a:lnTo>
                      <a:pt x="436" y="121"/>
                    </a:lnTo>
                    <a:lnTo>
                      <a:pt x="439" y="124"/>
                    </a:lnTo>
                    <a:lnTo>
                      <a:pt x="440" y="127"/>
                    </a:lnTo>
                    <a:lnTo>
                      <a:pt x="443" y="128"/>
                    </a:lnTo>
                    <a:lnTo>
                      <a:pt x="444" y="129"/>
                    </a:lnTo>
                    <a:lnTo>
                      <a:pt x="446" y="129"/>
                    </a:lnTo>
                    <a:lnTo>
                      <a:pt x="447" y="131"/>
                    </a:lnTo>
                    <a:lnTo>
                      <a:pt x="448" y="129"/>
                    </a:lnTo>
                    <a:lnTo>
                      <a:pt x="448" y="130"/>
                    </a:lnTo>
                    <a:lnTo>
                      <a:pt x="450" y="130"/>
                    </a:lnTo>
                    <a:lnTo>
                      <a:pt x="453" y="129"/>
                    </a:lnTo>
                    <a:lnTo>
                      <a:pt x="454" y="126"/>
                    </a:lnTo>
                    <a:lnTo>
                      <a:pt x="454" y="122"/>
                    </a:lnTo>
                    <a:lnTo>
                      <a:pt x="455" y="120"/>
                    </a:lnTo>
                    <a:lnTo>
                      <a:pt x="455" y="117"/>
                    </a:lnTo>
                    <a:lnTo>
                      <a:pt x="457" y="116"/>
                    </a:lnTo>
                    <a:lnTo>
                      <a:pt x="457" y="112"/>
                    </a:lnTo>
                    <a:lnTo>
                      <a:pt x="457" y="111"/>
                    </a:lnTo>
                    <a:lnTo>
                      <a:pt x="463" y="113"/>
                    </a:lnTo>
                    <a:lnTo>
                      <a:pt x="465" y="112"/>
                    </a:lnTo>
                    <a:lnTo>
                      <a:pt x="467" y="112"/>
                    </a:lnTo>
                    <a:lnTo>
                      <a:pt x="468" y="111"/>
                    </a:lnTo>
                    <a:lnTo>
                      <a:pt x="471" y="104"/>
                    </a:lnTo>
                    <a:lnTo>
                      <a:pt x="472" y="101"/>
                    </a:lnTo>
                    <a:lnTo>
                      <a:pt x="473" y="100"/>
                    </a:lnTo>
                    <a:lnTo>
                      <a:pt x="477" y="91"/>
                    </a:lnTo>
                    <a:lnTo>
                      <a:pt x="479" y="86"/>
                    </a:lnTo>
                    <a:lnTo>
                      <a:pt x="484" y="83"/>
                    </a:lnTo>
                    <a:lnTo>
                      <a:pt x="485" y="74"/>
                    </a:lnTo>
                    <a:lnTo>
                      <a:pt x="484" y="7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3" name="Freeform 52">
                <a:extLst>
                  <a:ext uri="{FF2B5EF4-FFF2-40B4-BE49-F238E27FC236}">
                    <a16:creationId xmlns:a16="http://schemas.microsoft.com/office/drawing/2014/main" id="{956EBE3B-414F-C62E-819D-2D9E793781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" y="2680"/>
                <a:ext cx="485" cy="415"/>
              </a:xfrm>
              <a:custGeom>
                <a:avLst/>
                <a:gdLst>
                  <a:gd name="T0" fmla="*/ 471 w 485"/>
                  <a:gd name="T1" fmla="*/ 53 h 415"/>
                  <a:gd name="T2" fmla="*/ 460 w 485"/>
                  <a:gd name="T3" fmla="*/ 30 h 415"/>
                  <a:gd name="T4" fmla="*/ 433 w 485"/>
                  <a:gd name="T5" fmla="*/ 19 h 415"/>
                  <a:gd name="T6" fmla="*/ 400 w 485"/>
                  <a:gd name="T7" fmla="*/ 0 h 415"/>
                  <a:gd name="T8" fmla="*/ 384 w 485"/>
                  <a:gd name="T9" fmla="*/ 29 h 415"/>
                  <a:gd name="T10" fmla="*/ 398 w 485"/>
                  <a:gd name="T11" fmla="*/ 46 h 415"/>
                  <a:gd name="T12" fmla="*/ 415 w 485"/>
                  <a:gd name="T13" fmla="*/ 66 h 415"/>
                  <a:gd name="T14" fmla="*/ 397 w 485"/>
                  <a:gd name="T15" fmla="*/ 78 h 415"/>
                  <a:gd name="T16" fmla="*/ 351 w 485"/>
                  <a:gd name="T17" fmla="*/ 91 h 415"/>
                  <a:gd name="T18" fmla="*/ 310 w 485"/>
                  <a:gd name="T19" fmla="*/ 102 h 415"/>
                  <a:gd name="T20" fmla="*/ 277 w 485"/>
                  <a:gd name="T21" fmla="*/ 108 h 415"/>
                  <a:gd name="T22" fmla="*/ 257 w 485"/>
                  <a:gd name="T23" fmla="*/ 133 h 415"/>
                  <a:gd name="T24" fmla="*/ 232 w 485"/>
                  <a:gd name="T25" fmla="*/ 129 h 415"/>
                  <a:gd name="T26" fmla="*/ 191 w 485"/>
                  <a:gd name="T27" fmla="*/ 129 h 415"/>
                  <a:gd name="T28" fmla="*/ 173 w 485"/>
                  <a:gd name="T29" fmla="*/ 147 h 415"/>
                  <a:gd name="T30" fmla="*/ 142 w 485"/>
                  <a:gd name="T31" fmla="*/ 168 h 415"/>
                  <a:gd name="T32" fmla="*/ 128 w 485"/>
                  <a:gd name="T33" fmla="*/ 160 h 415"/>
                  <a:gd name="T34" fmla="*/ 109 w 485"/>
                  <a:gd name="T35" fmla="*/ 179 h 415"/>
                  <a:gd name="T36" fmla="*/ 85 w 485"/>
                  <a:gd name="T37" fmla="*/ 184 h 415"/>
                  <a:gd name="T38" fmla="*/ 60 w 485"/>
                  <a:gd name="T39" fmla="*/ 202 h 415"/>
                  <a:gd name="T40" fmla="*/ 24 w 485"/>
                  <a:gd name="T41" fmla="*/ 220 h 415"/>
                  <a:gd name="T42" fmla="*/ 8 w 485"/>
                  <a:gd name="T43" fmla="*/ 251 h 415"/>
                  <a:gd name="T44" fmla="*/ 40 w 485"/>
                  <a:gd name="T45" fmla="*/ 260 h 415"/>
                  <a:gd name="T46" fmla="*/ 45 w 485"/>
                  <a:gd name="T47" fmla="*/ 276 h 415"/>
                  <a:gd name="T48" fmla="*/ 66 w 485"/>
                  <a:gd name="T49" fmla="*/ 276 h 415"/>
                  <a:gd name="T50" fmla="*/ 69 w 485"/>
                  <a:gd name="T51" fmla="*/ 300 h 415"/>
                  <a:gd name="T52" fmla="*/ 64 w 485"/>
                  <a:gd name="T53" fmla="*/ 316 h 415"/>
                  <a:gd name="T54" fmla="*/ 69 w 485"/>
                  <a:gd name="T55" fmla="*/ 336 h 415"/>
                  <a:gd name="T56" fmla="*/ 70 w 485"/>
                  <a:gd name="T57" fmla="*/ 352 h 415"/>
                  <a:gd name="T58" fmla="*/ 70 w 485"/>
                  <a:gd name="T59" fmla="*/ 375 h 415"/>
                  <a:gd name="T60" fmla="*/ 65 w 485"/>
                  <a:gd name="T61" fmla="*/ 379 h 415"/>
                  <a:gd name="T62" fmla="*/ 72 w 485"/>
                  <a:gd name="T63" fmla="*/ 390 h 415"/>
                  <a:gd name="T64" fmla="*/ 84 w 485"/>
                  <a:gd name="T65" fmla="*/ 408 h 415"/>
                  <a:gd name="T66" fmla="*/ 94 w 485"/>
                  <a:gd name="T67" fmla="*/ 413 h 415"/>
                  <a:gd name="T68" fmla="*/ 110 w 485"/>
                  <a:gd name="T69" fmla="*/ 402 h 415"/>
                  <a:gd name="T70" fmla="*/ 124 w 485"/>
                  <a:gd name="T71" fmla="*/ 396 h 415"/>
                  <a:gd name="T72" fmla="*/ 136 w 485"/>
                  <a:gd name="T73" fmla="*/ 379 h 415"/>
                  <a:gd name="T74" fmla="*/ 150 w 485"/>
                  <a:gd name="T75" fmla="*/ 368 h 415"/>
                  <a:gd name="T76" fmla="*/ 174 w 485"/>
                  <a:gd name="T77" fmla="*/ 361 h 415"/>
                  <a:gd name="T78" fmla="*/ 206 w 485"/>
                  <a:gd name="T79" fmla="*/ 359 h 415"/>
                  <a:gd name="T80" fmla="*/ 226 w 485"/>
                  <a:gd name="T81" fmla="*/ 349 h 415"/>
                  <a:gd name="T82" fmla="*/ 254 w 485"/>
                  <a:gd name="T83" fmla="*/ 347 h 415"/>
                  <a:gd name="T84" fmla="*/ 265 w 485"/>
                  <a:gd name="T85" fmla="*/ 335 h 415"/>
                  <a:gd name="T86" fmla="*/ 274 w 485"/>
                  <a:gd name="T87" fmla="*/ 321 h 415"/>
                  <a:gd name="T88" fmla="*/ 297 w 485"/>
                  <a:gd name="T89" fmla="*/ 326 h 415"/>
                  <a:gd name="T90" fmla="*/ 330 w 485"/>
                  <a:gd name="T91" fmla="*/ 329 h 415"/>
                  <a:gd name="T92" fmla="*/ 350 w 485"/>
                  <a:gd name="T93" fmla="*/ 326 h 415"/>
                  <a:gd name="T94" fmla="*/ 369 w 485"/>
                  <a:gd name="T95" fmla="*/ 327 h 415"/>
                  <a:gd name="T96" fmla="*/ 378 w 485"/>
                  <a:gd name="T97" fmla="*/ 326 h 415"/>
                  <a:gd name="T98" fmla="*/ 378 w 485"/>
                  <a:gd name="T99" fmla="*/ 305 h 415"/>
                  <a:gd name="T100" fmla="*/ 381 w 485"/>
                  <a:gd name="T101" fmla="*/ 293 h 415"/>
                  <a:gd name="T102" fmla="*/ 396 w 485"/>
                  <a:gd name="T103" fmla="*/ 293 h 415"/>
                  <a:gd name="T104" fmla="*/ 411 w 485"/>
                  <a:gd name="T105" fmla="*/ 279 h 415"/>
                  <a:gd name="T106" fmla="*/ 411 w 485"/>
                  <a:gd name="T107" fmla="*/ 253 h 415"/>
                  <a:gd name="T108" fmla="*/ 405 w 485"/>
                  <a:gd name="T109" fmla="*/ 242 h 415"/>
                  <a:gd name="T110" fmla="*/ 397 w 485"/>
                  <a:gd name="T111" fmla="*/ 219 h 415"/>
                  <a:gd name="T112" fmla="*/ 392 w 485"/>
                  <a:gd name="T113" fmla="*/ 187 h 415"/>
                  <a:gd name="T114" fmla="*/ 408 w 485"/>
                  <a:gd name="T115" fmla="*/ 157 h 415"/>
                  <a:gd name="T116" fmla="*/ 418 w 485"/>
                  <a:gd name="T117" fmla="*/ 136 h 415"/>
                  <a:gd name="T118" fmla="*/ 427 w 485"/>
                  <a:gd name="T119" fmla="*/ 123 h 415"/>
                  <a:gd name="T120" fmla="*/ 434 w 485"/>
                  <a:gd name="T121" fmla="*/ 121 h 415"/>
                  <a:gd name="T122" fmla="*/ 454 w 485"/>
                  <a:gd name="T123" fmla="*/ 122 h 415"/>
                  <a:gd name="T124" fmla="*/ 484 w 485"/>
                  <a:gd name="T125" fmla="*/ 83 h 415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485"/>
                  <a:gd name="T190" fmla="*/ 0 h 415"/>
                  <a:gd name="T191" fmla="*/ 485 w 485"/>
                  <a:gd name="T192" fmla="*/ 415 h 415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485" h="415">
                    <a:moveTo>
                      <a:pt x="484" y="72"/>
                    </a:moveTo>
                    <a:lnTo>
                      <a:pt x="482" y="71"/>
                    </a:lnTo>
                    <a:lnTo>
                      <a:pt x="478" y="73"/>
                    </a:lnTo>
                    <a:lnTo>
                      <a:pt x="475" y="73"/>
                    </a:lnTo>
                    <a:lnTo>
                      <a:pt x="473" y="74"/>
                    </a:lnTo>
                    <a:lnTo>
                      <a:pt x="470" y="74"/>
                    </a:lnTo>
                    <a:lnTo>
                      <a:pt x="465" y="77"/>
                    </a:lnTo>
                    <a:lnTo>
                      <a:pt x="464" y="76"/>
                    </a:lnTo>
                    <a:lnTo>
                      <a:pt x="461" y="74"/>
                    </a:lnTo>
                    <a:lnTo>
                      <a:pt x="460" y="71"/>
                    </a:lnTo>
                    <a:lnTo>
                      <a:pt x="463" y="66"/>
                    </a:lnTo>
                    <a:lnTo>
                      <a:pt x="467" y="62"/>
                    </a:lnTo>
                    <a:lnTo>
                      <a:pt x="468" y="60"/>
                    </a:lnTo>
                    <a:lnTo>
                      <a:pt x="471" y="55"/>
                    </a:lnTo>
                    <a:lnTo>
                      <a:pt x="471" y="53"/>
                    </a:lnTo>
                    <a:lnTo>
                      <a:pt x="472" y="52"/>
                    </a:lnTo>
                    <a:lnTo>
                      <a:pt x="472" y="49"/>
                    </a:lnTo>
                    <a:lnTo>
                      <a:pt x="473" y="48"/>
                    </a:lnTo>
                    <a:lnTo>
                      <a:pt x="474" y="43"/>
                    </a:lnTo>
                    <a:lnTo>
                      <a:pt x="473" y="43"/>
                    </a:lnTo>
                    <a:lnTo>
                      <a:pt x="470" y="40"/>
                    </a:lnTo>
                    <a:lnTo>
                      <a:pt x="470" y="37"/>
                    </a:lnTo>
                    <a:lnTo>
                      <a:pt x="467" y="33"/>
                    </a:lnTo>
                    <a:lnTo>
                      <a:pt x="466" y="32"/>
                    </a:lnTo>
                    <a:lnTo>
                      <a:pt x="465" y="32"/>
                    </a:lnTo>
                    <a:lnTo>
                      <a:pt x="459" y="33"/>
                    </a:lnTo>
                    <a:lnTo>
                      <a:pt x="458" y="32"/>
                    </a:lnTo>
                    <a:lnTo>
                      <a:pt x="459" y="31"/>
                    </a:lnTo>
                    <a:lnTo>
                      <a:pt x="460" y="30"/>
                    </a:lnTo>
                    <a:lnTo>
                      <a:pt x="460" y="29"/>
                    </a:lnTo>
                    <a:lnTo>
                      <a:pt x="458" y="26"/>
                    </a:lnTo>
                    <a:lnTo>
                      <a:pt x="450" y="23"/>
                    </a:lnTo>
                    <a:lnTo>
                      <a:pt x="451" y="19"/>
                    </a:lnTo>
                    <a:lnTo>
                      <a:pt x="453" y="14"/>
                    </a:lnTo>
                    <a:lnTo>
                      <a:pt x="452" y="12"/>
                    </a:lnTo>
                    <a:lnTo>
                      <a:pt x="449" y="13"/>
                    </a:lnTo>
                    <a:lnTo>
                      <a:pt x="449" y="17"/>
                    </a:lnTo>
                    <a:lnTo>
                      <a:pt x="448" y="22"/>
                    </a:lnTo>
                    <a:lnTo>
                      <a:pt x="444" y="21"/>
                    </a:lnTo>
                    <a:lnTo>
                      <a:pt x="444" y="19"/>
                    </a:lnTo>
                    <a:lnTo>
                      <a:pt x="443" y="18"/>
                    </a:lnTo>
                    <a:lnTo>
                      <a:pt x="441" y="15"/>
                    </a:lnTo>
                    <a:lnTo>
                      <a:pt x="439" y="15"/>
                    </a:lnTo>
                    <a:lnTo>
                      <a:pt x="433" y="19"/>
                    </a:lnTo>
                    <a:lnTo>
                      <a:pt x="432" y="19"/>
                    </a:lnTo>
                    <a:lnTo>
                      <a:pt x="429" y="21"/>
                    </a:lnTo>
                    <a:lnTo>
                      <a:pt x="427" y="21"/>
                    </a:lnTo>
                    <a:lnTo>
                      <a:pt x="423" y="19"/>
                    </a:lnTo>
                    <a:lnTo>
                      <a:pt x="421" y="18"/>
                    </a:lnTo>
                    <a:lnTo>
                      <a:pt x="419" y="16"/>
                    </a:lnTo>
                    <a:lnTo>
                      <a:pt x="419" y="11"/>
                    </a:lnTo>
                    <a:lnTo>
                      <a:pt x="418" y="10"/>
                    </a:lnTo>
                    <a:lnTo>
                      <a:pt x="415" y="7"/>
                    </a:lnTo>
                    <a:lnTo>
                      <a:pt x="411" y="8"/>
                    </a:lnTo>
                    <a:lnTo>
                      <a:pt x="410" y="8"/>
                    </a:lnTo>
                    <a:lnTo>
                      <a:pt x="408" y="8"/>
                    </a:lnTo>
                    <a:lnTo>
                      <a:pt x="406" y="4"/>
                    </a:lnTo>
                    <a:lnTo>
                      <a:pt x="403" y="0"/>
                    </a:lnTo>
                    <a:lnTo>
                      <a:pt x="400" y="0"/>
                    </a:lnTo>
                    <a:lnTo>
                      <a:pt x="398" y="2"/>
                    </a:lnTo>
                    <a:lnTo>
                      <a:pt x="395" y="6"/>
                    </a:lnTo>
                    <a:lnTo>
                      <a:pt x="392" y="5"/>
                    </a:lnTo>
                    <a:lnTo>
                      <a:pt x="392" y="7"/>
                    </a:lnTo>
                    <a:lnTo>
                      <a:pt x="393" y="8"/>
                    </a:lnTo>
                    <a:lnTo>
                      <a:pt x="394" y="10"/>
                    </a:lnTo>
                    <a:lnTo>
                      <a:pt x="394" y="13"/>
                    </a:lnTo>
                    <a:lnTo>
                      <a:pt x="392" y="15"/>
                    </a:lnTo>
                    <a:lnTo>
                      <a:pt x="392" y="17"/>
                    </a:lnTo>
                    <a:lnTo>
                      <a:pt x="388" y="19"/>
                    </a:lnTo>
                    <a:lnTo>
                      <a:pt x="387" y="19"/>
                    </a:lnTo>
                    <a:lnTo>
                      <a:pt x="386" y="21"/>
                    </a:lnTo>
                    <a:lnTo>
                      <a:pt x="388" y="24"/>
                    </a:lnTo>
                    <a:lnTo>
                      <a:pt x="385" y="27"/>
                    </a:lnTo>
                    <a:lnTo>
                      <a:pt x="384" y="29"/>
                    </a:lnTo>
                    <a:lnTo>
                      <a:pt x="386" y="31"/>
                    </a:lnTo>
                    <a:lnTo>
                      <a:pt x="389" y="32"/>
                    </a:lnTo>
                    <a:lnTo>
                      <a:pt x="391" y="35"/>
                    </a:lnTo>
                    <a:lnTo>
                      <a:pt x="392" y="35"/>
                    </a:lnTo>
                    <a:lnTo>
                      <a:pt x="394" y="35"/>
                    </a:lnTo>
                    <a:lnTo>
                      <a:pt x="398" y="33"/>
                    </a:lnTo>
                    <a:lnTo>
                      <a:pt x="401" y="33"/>
                    </a:lnTo>
                    <a:lnTo>
                      <a:pt x="402" y="35"/>
                    </a:lnTo>
                    <a:lnTo>
                      <a:pt x="402" y="36"/>
                    </a:lnTo>
                    <a:lnTo>
                      <a:pt x="402" y="39"/>
                    </a:lnTo>
                    <a:lnTo>
                      <a:pt x="400" y="39"/>
                    </a:lnTo>
                    <a:lnTo>
                      <a:pt x="398" y="38"/>
                    </a:lnTo>
                    <a:lnTo>
                      <a:pt x="394" y="42"/>
                    </a:lnTo>
                    <a:lnTo>
                      <a:pt x="398" y="45"/>
                    </a:lnTo>
                    <a:lnTo>
                      <a:pt x="398" y="46"/>
                    </a:lnTo>
                    <a:lnTo>
                      <a:pt x="397" y="47"/>
                    </a:lnTo>
                    <a:lnTo>
                      <a:pt x="400" y="50"/>
                    </a:lnTo>
                    <a:lnTo>
                      <a:pt x="405" y="51"/>
                    </a:lnTo>
                    <a:lnTo>
                      <a:pt x="406" y="53"/>
                    </a:lnTo>
                    <a:lnTo>
                      <a:pt x="407" y="53"/>
                    </a:lnTo>
                    <a:lnTo>
                      <a:pt x="409" y="55"/>
                    </a:lnTo>
                    <a:lnTo>
                      <a:pt x="411" y="55"/>
                    </a:lnTo>
                    <a:lnTo>
                      <a:pt x="411" y="57"/>
                    </a:lnTo>
                    <a:lnTo>
                      <a:pt x="412" y="57"/>
                    </a:lnTo>
                    <a:lnTo>
                      <a:pt x="416" y="56"/>
                    </a:lnTo>
                    <a:lnTo>
                      <a:pt x="418" y="59"/>
                    </a:lnTo>
                    <a:lnTo>
                      <a:pt x="419" y="61"/>
                    </a:lnTo>
                    <a:lnTo>
                      <a:pt x="418" y="62"/>
                    </a:lnTo>
                    <a:lnTo>
                      <a:pt x="418" y="65"/>
                    </a:lnTo>
                    <a:lnTo>
                      <a:pt x="415" y="66"/>
                    </a:lnTo>
                    <a:lnTo>
                      <a:pt x="416" y="66"/>
                    </a:lnTo>
                    <a:lnTo>
                      <a:pt x="416" y="68"/>
                    </a:lnTo>
                    <a:lnTo>
                      <a:pt x="414" y="67"/>
                    </a:lnTo>
                    <a:lnTo>
                      <a:pt x="414" y="68"/>
                    </a:lnTo>
                    <a:lnTo>
                      <a:pt x="414" y="72"/>
                    </a:lnTo>
                    <a:lnTo>
                      <a:pt x="413" y="76"/>
                    </a:lnTo>
                    <a:lnTo>
                      <a:pt x="410" y="76"/>
                    </a:lnTo>
                    <a:lnTo>
                      <a:pt x="405" y="74"/>
                    </a:lnTo>
                    <a:lnTo>
                      <a:pt x="405" y="75"/>
                    </a:lnTo>
                    <a:lnTo>
                      <a:pt x="403" y="73"/>
                    </a:lnTo>
                    <a:lnTo>
                      <a:pt x="403" y="76"/>
                    </a:lnTo>
                    <a:lnTo>
                      <a:pt x="402" y="78"/>
                    </a:lnTo>
                    <a:lnTo>
                      <a:pt x="397" y="78"/>
                    </a:lnTo>
                    <a:lnTo>
                      <a:pt x="395" y="78"/>
                    </a:lnTo>
                    <a:lnTo>
                      <a:pt x="390" y="79"/>
                    </a:lnTo>
                    <a:lnTo>
                      <a:pt x="387" y="78"/>
                    </a:lnTo>
                    <a:lnTo>
                      <a:pt x="386" y="75"/>
                    </a:lnTo>
                    <a:lnTo>
                      <a:pt x="382" y="73"/>
                    </a:lnTo>
                    <a:lnTo>
                      <a:pt x="377" y="76"/>
                    </a:lnTo>
                    <a:lnTo>
                      <a:pt x="375" y="76"/>
                    </a:lnTo>
                    <a:lnTo>
                      <a:pt x="372" y="75"/>
                    </a:lnTo>
                    <a:lnTo>
                      <a:pt x="372" y="79"/>
                    </a:lnTo>
                    <a:lnTo>
                      <a:pt x="367" y="87"/>
                    </a:lnTo>
                    <a:lnTo>
                      <a:pt x="366" y="87"/>
                    </a:lnTo>
                    <a:lnTo>
                      <a:pt x="361" y="90"/>
                    </a:lnTo>
                    <a:lnTo>
                      <a:pt x="360" y="90"/>
                    </a:lnTo>
                    <a:lnTo>
                      <a:pt x="358" y="91"/>
                    </a:lnTo>
                    <a:lnTo>
                      <a:pt x="351" y="91"/>
                    </a:lnTo>
                    <a:lnTo>
                      <a:pt x="342" y="96"/>
                    </a:lnTo>
                    <a:lnTo>
                      <a:pt x="340" y="95"/>
                    </a:lnTo>
                    <a:lnTo>
                      <a:pt x="337" y="97"/>
                    </a:lnTo>
                    <a:lnTo>
                      <a:pt x="335" y="97"/>
                    </a:lnTo>
                    <a:lnTo>
                      <a:pt x="333" y="98"/>
                    </a:lnTo>
                    <a:lnTo>
                      <a:pt x="330" y="98"/>
                    </a:lnTo>
                    <a:lnTo>
                      <a:pt x="327" y="101"/>
                    </a:lnTo>
                    <a:lnTo>
                      <a:pt x="326" y="103"/>
                    </a:lnTo>
                    <a:lnTo>
                      <a:pt x="325" y="104"/>
                    </a:lnTo>
                    <a:lnTo>
                      <a:pt x="322" y="104"/>
                    </a:lnTo>
                    <a:lnTo>
                      <a:pt x="321" y="103"/>
                    </a:lnTo>
                    <a:lnTo>
                      <a:pt x="318" y="103"/>
                    </a:lnTo>
                    <a:lnTo>
                      <a:pt x="316" y="103"/>
                    </a:lnTo>
                    <a:lnTo>
                      <a:pt x="314" y="106"/>
                    </a:lnTo>
                    <a:lnTo>
                      <a:pt x="310" y="102"/>
                    </a:lnTo>
                    <a:lnTo>
                      <a:pt x="307" y="101"/>
                    </a:lnTo>
                    <a:lnTo>
                      <a:pt x="307" y="99"/>
                    </a:lnTo>
                    <a:lnTo>
                      <a:pt x="304" y="96"/>
                    </a:lnTo>
                    <a:lnTo>
                      <a:pt x="302" y="98"/>
                    </a:lnTo>
                    <a:lnTo>
                      <a:pt x="298" y="100"/>
                    </a:lnTo>
                    <a:lnTo>
                      <a:pt x="294" y="100"/>
                    </a:lnTo>
                    <a:lnTo>
                      <a:pt x="293" y="100"/>
                    </a:lnTo>
                    <a:lnTo>
                      <a:pt x="293" y="104"/>
                    </a:lnTo>
                    <a:lnTo>
                      <a:pt x="291" y="105"/>
                    </a:lnTo>
                    <a:lnTo>
                      <a:pt x="290" y="106"/>
                    </a:lnTo>
                    <a:lnTo>
                      <a:pt x="288" y="108"/>
                    </a:lnTo>
                    <a:lnTo>
                      <a:pt x="283" y="107"/>
                    </a:lnTo>
                    <a:lnTo>
                      <a:pt x="280" y="104"/>
                    </a:lnTo>
                    <a:lnTo>
                      <a:pt x="277" y="106"/>
                    </a:lnTo>
                    <a:lnTo>
                      <a:pt x="277" y="108"/>
                    </a:lnTo>
                    <a:lnTo>
                      <a:pt x="276" y="111"/>
                    </a:lnTo>
                    <a:lnTo>
                      <a:pt x="275" y="113"/>
                    </a:lnTo>
                    <a:lnTo>
                      <a:pt x="273" y="116"/>
                    </a:lnTo>
                    <a:lnTo>
                      <a:pt x="274" y="119"/>
                    </a:lnTo>
                    <a:lnTo>
                      <a:pt x="276" y="123"/>
                    </a:lnTo>
                    <a:lnTo>
                      <a:pt x="274" y="127"/>
                    </a:lnTo>
                    <a:lnTo>
                      <a:pt x="271" y="129"/>
                    </a:lnTo>
                    <a:lnTo>
                      <a:pt x="269" y="130"/>
                    </a:lnTo>
                    <a:lnTo>
                      <a:pt x="267" y="127"/>
                    </a:lnTo>
                    <a:lnTo>
                      <a:pt x="265" y="127"/>
                    </a:lnTo>
                    <a:lnTo>
                      <a:pt x="264" y="130"/>
                    </a:lnTo>
                    <a:lnTo>
                      <a:pt x="263" y="134"/>
                    </a:lnTo>
                    <a:lnTo>
                      <a:pt x="260" y="134"/>
                    </a:lnTo>
                    <a:lnTo>
                      <a:pt x="257" y="133"/>
                    </a:lnTo>
                    <a:lnTo>
                      <a:pt x="256" y="134"/>
                    </a:lnTo>
                    <a:lnTo>
                      <a:pt x="255" y="134"/>
                    </a:lnTo>
                    <a:lnTo>
                      <a:pt x="252" y="130"/>
                    </a:lnTo>
                    <a:lnTo>
                      <a:pt x="250" y="129"/>
                    </a:lnTo>
                    <a:lnTo>
                      <a:pt x="248" y="128"/>
                    </a:lnTo>
                    <a:lnTo>
                      <a:pt x="246" y="129"/>
                    </a:lnTo>
                    <a:lnTo>
                      <a:pt x="245" y="127"/>
                    </a:lnTo>
                    <a:lnTo>
                      <a:pt x="244" y="128"/>
                    </a:lnTo>
                    <a:lnTo>
                      <a:pt x="243" y="126"/>
                    </a:lnTo>
                    <a:lnTo>
                      <a:pt x="241" y="127"/>
                    </a:lnTo>
                    <a:lnTo>
                      <a:pt x="239" y="126"/>
                    </a:lnTo>
                    <a:lnTo>
                      <a:pt x="237" y="126"/>
                    </a:lnTo>
                    <a:lnTo>
                      <a:pt x="236" y="128"/>
                    </a:lnTo>
                    <a:lnTo>
                      <a:pt x="234" y="129"/>
                    </a:lnTo>
                    <a:lnTo>
                      <a:pt x="232" y="129"/>
                    </a:lnTo>
                    <a:lnTo>
                      <a:pt x="229" y="125"/>
                    </a:lnTo>
                    <a:lnTo>
                      <a:pt x="225" y="129"/>
                    </a:lnTo>
                    <a:lnTo>
                      <a:pt x="223" y="129"/>
                    </a:lnTo>
                    <a:lnTo>
                      <a:pt x="224" y="131"/>
                    </a:lnTo>
                    <a:lnTo>
                      <a:pt x="223" y="133"/>
                    </a:lnTo>
                    <a:lnTo>
                      <a:pt x="219" y="130"/>
                    </a:lnTo>
                    <a:lnTo>
                      <a:pt x="217" y="127"/>
                    </a:lnTo>
                    <a:lnTo>
                      <a:pt x="212" y="123"/>
                    </a:lnTo>
                    <a:lnTo>
                      <a:pt x="207" y="123"/>
                    </a:lnTo>
                    <a:lnTo>
                      <a:pt x="204" y="125"/>
                    </a:lnTo>
                    <a:lnTo>
                      <a:pt x="201" y="126"/>
                    </a:lnTo>
                    <a:lnTo>
                      <a:pt x="201" y="129"/>
                    </a:lnTo>
                    <a:lnTo>
                      <a:pt x="197" y="129"/>
                    </a:lnTo>
                    <a:lnTo>
                      <a:pt x="195" y="130"/>
                    </a:lnTo>
                    <a:lnTo>
                      <a:pt x="191" y="129"/>
                    </a:lnTo>
                    <a:lnTo>
                      <a:pt x="187" y="127"/>
                    </a:lnTo>
                    <a:lnTo>
                      <a:pt x="186" y="128"/>
                    </a:lnTo>
                    <a:lnTo>
                      <a:pt x="184" y="127"/>
                    </a:lnTo>
                    <a:lnTo>
                      <a:pt x="182" y="127"/>
                    </a:lnTo>
                    <a:lnTo>
                      <a:pt x="179" y="127"/>
                    </a:lnTo>
                    <a:lnTo>
                      <a:pt x="177" y="130"/>
                    </a:lnTo>
                    <a:lnTo>
                      <a:pt x="174" y="129"/>
                    </a:lnTo>
                    <a:lnTo>
                      <a:pt x="174" y="133"/>
                    </a:lnTo>
                    <a:lnTo>
                      <a:pt x="176" y="137"/>
                    </a:lnTo>
                    <a:lnTo>
                      <a:pt x="177" y="139"/>
                    </a:lnTo>
                    <a:lnTo>
                      <a:pt x="177" y="143"/>
                    </a:lnTo>
                    <a:lnTo>
                      <a:pt x="176" y="144"/>
                    </a:lnTo>
                    <a:lnTo>
                      <a:pt x="176" y="147"/>
                    </a:lnTo>
                    <a:lnTo>
                      <a:pt x="175" y="147"/>
                    </a:lnTo>
                    <a:lnTo>
                      <a:pt x="173" y="147"/>
                    </a:lnTo>
                    <a:lnTo>
                      <a:pt x="167" y="153"/>
                    </a:lnTo>
                    <a:lnTo>
                      <a:pt x="168" y="156"/>
                    </a:lnTo>
                    <a:lnTo>
                      <a:pt x="170" y="156"/>
                    </a:lnTo>
                    <a:lnTo>
                      <a:pt x="170" y="160"/>
                    </a:lnTo>
                    <a:lnTo>
                      <a:pt x="168" y="161"/>
                    </a:lnTo>
                    <a:lnTo>
                      <a:pt x="163" y="161"/>
                    </a:lnTo>
                    <a:lnTo>
                      <a:pt x="162" y="163"/>
                    </a:lnTo>
                    <a:lnTo>
                      <a:pt x="161" y="166"/>
                    </a:lnTo>
                    <a:lnTo>
                      <a:pt x="155" y="169"/>
                    </a:lnTo>
                    <a:lnTo>
                      <a:pt x="155" y="170"/>
                    </a:lnTo>
                    <a:lnTo>
                      <a:pt x="154" y="172"/>
                    </a:lnTo>
                    <a:lnTo>
                      <a:pt x="151" y="174"/>
                    </a:lnTo>
                    <a:lnTo>
                      <a:pt x="146" y="170"/>
                    </a:lnTo>
                    <a:lnTo>
                      <a:pt x="143" y="169"/>
                    </a:lnTo>
                    <a:lnTo>
                      <a:pt x="142" y="168"/>
                    </a:lnTo>
                    <a:lnTo>
                      <a:pt x="142" y="166"/>
                    </a:lnTo>
                    <a:lnTo>
                      <a:pt x="139" y="166"/>
                    </a:lnTo>
                    <a:lnTo>
                      <a:pt x="139" y="165"/>
                    </a:lnTo>
                    <a:lnTo>
                      <a:pt x="139" y="163"/>
                    </a:lnTo>
                    <a:lnTo>
                      <a:pt x="138" y="157"/>
                    </a:lnTo>
                    <a:lnTo>
                      <a:pt x="135" y="153"/>
                    </a:lnTo>
                    <a:lnTo>
                      <a:pt x="135" y="151"/>
                    </a:lnTo>
                    <a:lnTo>
                      <a:pt x="133" y="150"/>
                    </a:lnTo>
                    <a:lnTo>
                      <a:pt x="133" y="151"/>
                    </a:lnTo>
                    <a:lnTo>
                      <a:pt x="131" y="149"/>
                    </a:lnTo>
                    <a:lnTo>
                      <a:pt x="130" y="147"/>
                    </a:lnTo>
                    <a:lnTo>
                      <a:pt x="130" y="157"/>
                    </a:lnTo>
                    <a:lnTo>
                      <a:pt x="130" y="159"/>
                    </a:lnTo>
                    <a:lnTo>
                      <a:pt x="128" y="160"/>
                    </a:lnTo>
                    <a:lnTo>
                      <a:pt x="127" y="162"/>
                    </a:lnTo>
                    <a:lnTo>
                      <a:pt x="126" y="163"/>
                    </a:lnTo>
                    <a:lnTo>
                      <a:pt x="125" y="163"/>
                    </a:lnTo>
                    <a:lnTo>
                      <a:pt x="124" y="163"/>
                    </a:lnTo>
                    <a:lnTo>
                      <a:pt x="118" y="164"/>
                    </a:lnTo>
                    <a:lnTo>
                      <a:pt x="119" y="165"/>
                    </a:lnTo>
                    <a:lnTo>
                      <a:pt x="118" y="166"/>
                    </a:lnTo>
                    <a:lnTo>
                      <a:pt x="114" y="166"/>
                    </a:lnTo>
                    <a:lnTo>
                      <a:pt x="114" y="167"/>
                    </a:lnTo>
                    <a:lnTo>
                      <a:pt x="113" y="168"/>
                    </a:lnTo>
                    <a:lnTo>
                      <a:pt x="113" y="171"/>
                    </a:lnTo>
                    <a:lnTo>
                      <a:pt x="113" y="174"/>
                    </a:lnTo>
                    <a:lnTo>
                      <a:pt x="113" y="175"/>
                    </a:lnTo>
                    <a:lnTo>
                      <a:pt x="113" y="178"/>
                    </a:lnTo>
                    <a:lnTo>
                      <a:pt x="109" y="179"/>
                    </a:lnTo>
                    <a:lnTo>
                      <a:pt x="106" y="178"/>
                    </a:lnTo>
                    <a:lnTo>
                      <a:pt x="104" y="180"/>
                    </a:lnTo>
                    <a:lnTo>
                      <a:pt x="103" y="174"/>
                    </a:lnTo>
                    <a:lnTo>
                      <a:pt x="103" y="173"/>
                    </a:lnTo>
                    <a:lnTo>
                      <a:pt x="102" y="171"/>
                    </a:lnTo>
                    <a:lnTo>
                      <a:pt x="97" y="170"/>
                    </a:lnTo>
                    <a:lnTo>
                      <a:pt x="95" y="168"/>
                    </a:lnTo>
                    <a:lnTo>
                      <a:pt x="93" y="170"/>
                    </a:lnTo>
                    <a:lnTo>
                      <a:pt x="93" y="172"/>
                    </a:lnTo>
                    <a:lnTo>
                      <a:pt x="91" y="173"/>
                    </a:lnTo>
                    <a:lnTo>
                      <a:pt x="89" y="175"/>
                    </a:lnTo>
                    <a:lnTo>
                      <a:pt x="89" y="176"/>
                    </a:lnTo>
                    <a:lnTo>
                      <a:pt x="89" y="179"/>
                    </a:lnTo>
                    <a:lnTo>
                      <a:pt x="85" y="182"/>
                    </a:lnTo>
                    <a:lnTo>
                      <a:pt x="85" y="184"/>
                    </a:lnTo>
                    <a:lnTo>
                      <a:pt x="85" y="186"/>
                    </a:lnTo>
                    <a:lnTo>
                      <a:pt x="85" y="189"/>
                    </a:lnTo>
                    <a:lnTo>
                      <a:pt x="84" y="190"/>
                    </a:lnTo>
                    <a:lnTo>
                      <a:pt x="83" y="192"/>
                    </a:lnTo>
                    <a:lnTo>
                      <a:pt x="79" y="197"/>
                    </a:lnTo>
                    <a:lnTo>
                      <a:pt x="78" y="200"/>
                    </a:lnTo>
                    <a:lnTo>
                      <a:pt x="74" y="202"/>
                    </a:lnTo>
                    <a:lnTo>
                      <a:pt x="74" y="208"/>
                    </a:lnTo>
                    <a:lnTo>
                      <a:pt x="73" y="208"/>
                    </a:lnTo>
                    <a:lnTo>
                      <a:pt x="72" y="208"/>
                    </a:lnTo>
                    <a:lnTo>
                      <a:pt x="69" y="207"/>
                    </a:lnTo>
                    <a:lnTo>
                      <a:pt x="63" y="204"/>
                    </a:lnTo>
                    <a:lnTo>
                      <a:pt x="61" y="205"/>
                    </a:lnTo>
                    <a:lnTo>
                      <a:pt x="59" y="204"/>
                    </a:lnTo>
                    <a:lnTo>
                      <a:pt x="60" y="202"/>
                    </a:lnTo>
                    <a:lnTo>
                      <a:pt x="59" y="200"/>
                    </a:lnTo>
                    <a:lnTo>
                      <a:pt x="58" y="198"/>
                    </a:lnTo>
                    <a:lnTo>
                      <a:pt x="54" y="200"/>
                    </a:lnTo>
                    <a:lnTo>
                      <a:pt x="49" y="204"/>
                    </a:lnTo>
                    <a:lnTo>
                      <a:pt x="46" y="204"/>
                    </a:lnTo>
                    <a:lnTo>
                      <a:pt x="45" y="205"/>
                    </a:lnTo>
                    <a:lnTo>
                      <a:pt x="37" y="203"/>
                    </a:lnTo>
                    <a:lnTo>
                      <a:pt x="36" y="201"/>
                    </a:lnTo>
                    <a:lnTo>
                      <a:pt x="35" y="198"/>
                    </a:lnTo>
                    <a:lnTo>
                      <a:pt x="33" y="198"/>
                    </a:lnTo>
                    <a:lnTo>
                      <a:pt x="31" y="198"/>
                    </a:lnTo>
                    <a:lnTo>
                      <a:pt x="30" y="202"/>
                    </a:lnTo>
                    <a:lnTo>
                      <a:pt x="27" y="208"/>
                    </a:lnTo>
                    <a:lnTo>
                      <a:pt x="25" y="216"/>
                    </a:lnTo>
                    <a:lnTo>
                      <a:pt x="24" y="220"/>
                    </a:lnTo>
                    <a:lnTo>
                      <a:pt x="24" y="224"/>
                    </a:lnTo>
                    <a:lnTo>
                      <a:pt x="23" y="228"/>
                    </a:lnTo>
                    <a:lnTo>
                      <a:pt x="17" y="231"/>
                    </a:lnTo>
                    <a:lnTo>
                      <a:pt x="15" y="233"/>
                    </a:lnTo>
                    <a:lnTo>
                      <a:pt x="13" y="237"/>
                    </a:lnTo>
                    <a:lnTo>
                      <a:pt x="12" y="238"/>
                    </a:lnTo>
                    <a:lnTo>
                      <a:pt x="7" y="239"/>
                    </a:lnTo>
                    <a:lnTo>
                      <a:pt x="2" y="239"/>
                    </a:lnTo>
                    <a:lnTo>
                      <a:pt x="0" y="240"/>
                    </a:lnTo>
                    <a:lnTo>
                      <a:pt x="0" y="241"/>
                    </a:lnTo>
                    <a:lnTo>
                      <a:pt x="2" y="242"/>
                    </a:lnTo>
                    <a:lnTo>
                      <a:pt x="2" y="243"/>
                    </a:lnTo>
                    <a:lnTo>
                      <a:pt x="6" y="245"/>
                    </a:lnTo>
                    <a:lnTo>
                      <a:pt x="7" y="248"/>
                    </a:lnTo>
                    <a:lnTo>
                      <a:pt x="8" y="251"/>
                    </a:lnTo>
                    <a:lnTo>
                      <a:pt x="12" y="250"/>
                    </a:lnTo>
                    <a:lnTo>
                      <a:pt x="13" y="251"/>
                    </a:lnTo>
                    <a:lnTo>
                      <a:pt x="14" y="251"/>
                    </a:lnTo>
                    <a:lnTo>
                      <a:pt x="13" y="252"/>
                    </a:lnTo>
                    <a:lnTo>
                      <a:pt x="14" y="253"/>
                    </a:lnTo>
                    <a:lnTo>
                      <a:pt x="18" y="251"/>
                    </a:lnTo>
                    <a:lnTo>
                      <a:pt x="21" y="250"/>
                    </a:lnTo>
                    <a:lnTo>
                      <a:pt x="21" y="254"/>
                    </a:lnTo>
                    <a:lnTo>
                      <a:pt x="26" y="257"/>
                    </a:lnTo>
                    <a:lnTo>
                      <a:pt x="27" y="255"/>
                    </a:lnTo>
                    <a:lnTo>
                      <a:pt x="33" y="257"/>
                    </a:lnTo>
                    <a:lnTo>
                      <a:pt x="33" y="255"/>
                    </a:lnTo>
                    <a:lnTo>
                      <a:pt x="36" y="260"/>
                    </a:lnTo>
                    <a:lnTo>
                      <a:pt x="38" y="261"/>
                    </a:lnTo>
                    <a:lnTo>
                      <a:pt x="40" y="260"/>
                    </a:lnTo>
                    <a:lnTo>
                      <a:pt x="40" y="261"/>
                    </a:lnTo>
                    <a:lnTo>
                      <a:pt x="43" y="266"/>
                    </a:lnTo>
                    <a:lnTo>
                      <a:pt x="43" y="267"/>
                    </a:lnTo>
                    <a:lnTo>
                      <a:pt x="40" y="267"/>
                    </a:lnTo>
                    <a:lnTo>
                      <a:pt x="39" y="270"/>
                    </a:lnTo>
                    <a:lnTo>
                      <a:pt x="37" y="271"/>
                    </a:lnTo>
                    <a:lnTo>
                      <a:pt x="37" y="273"/>
                    </a:lnTo>
                    <a:lnTo>
                      <a:pt x="38" y="272"/>
                    </a:lnTo>
                    <a:lnTo>
                      <a:pt x="40" y="274"/>
                    </a:lnTo>
                    <a:lnTo>
                      <a:pt x="41" y="274"/>
                    </a:lnTo>
                    <a:lnTo>
                      <a:pt x="42" y="275"/>
                    </a:lnTo>
                    <a:lnTo>
                      <a:pt x="41" y="275"/>
                    </a:lnTo>
                    <a:lnTo>
                      <a:pt x="43" y="277"/>
                    </a:lnTo>
                    <a:lnTo>
                      <a:pt x="44" y="276"/>
                    </a:lnTo>
                    <a:lnTo>
                      <a:pt x="45" y="276"/>
                    </a:lnTo>
                    <a:lnTo>
                      <a:pt x="45" y="274"/>
                    </a:lnTo>
                    <a:lnTo>
                      <a:pt x="48" y="273"/>
                    </a:lnTo>
                    <a:lnTo>
                      <a:pt x="49" y="274"/>
                    </a:lnTo>
                    <a:lnTo>
                      <a:pt x="53" y="274"/>
                    </a:lnTo>
                    <a:lnTo>
                      <a:pt x="53" y="276"/>
                    </a:lnTo>
                    <a:lnTo>
                      <a:pt x="54" y="276"/>
                    </a:lnTo>
                    <a:lnTo>
                      <a:pt x="54" y="277"/>
                    </a:lnTo>
                    <a:lnTo>
                      <a:pt x="56" y="277"/>
                    </a:lnTo>
                    <a:lnTo>
                      <a:pt x="57" y="278"/>
                    </a:lnTo>
                    <a:lnTo>
                      <a:pt x="61" y="278"/>
                    </a:lnTo>
                    <a:lnTo>
                      <a:pt x="61" y="279"/>
                    </a:lnTo>
                    <a:lnTo>
                      <a:pt x="62" y="278"/>
                    </a:lnTo>
                    <a:lnTo>
                      <a:pt x="64" y="278"/>
                    </a:lnTo>
                    <a:lnTo>
                      <a:pt x="66" y="276"/>
                    </a:lnTo>
                    <a:lnTo>
                      <a:pt x="69" y="275"/>
                    </a:lnTo>
                    <a:lnTo>
                      <a:pt x="69" y="276"/>
                    </a:lnTo>
                    <a:lnTo>
                      <a:pt x="67" y="278"/>
                    </a:lnTo>
                    <a:lnTo>
                      <a:pt x="71" y="281"/>
                    </a:lnTo>
                    <a:lnTo>
                      <a:pt x="72" y="286"/>
                    </a:lnTo>
                    <a:lnTo>
                      <a:pt x="74" y="288"/>
                    </a:lnTo>
                    <a:lnTo>
                      <a:pt x="73" y="289"/>
                    </a:lnTo>
                    <a:lnTo>
                      <a:pt x="73" y="292"/>
                    </a:lnTo>
                    <a:lnTo>
                      <a:pt x="73" y="293"/>
                    </a:lnTo>
                    <a:lnTo>
                      <a:pt x="73" y="295"/>
                    </a:lnTo>
                    <a:lnTo>
                      <a:pt x="71" y="295"/>
                    </a:lnTo>
                    <a:lnTo>
                      <a:pt x="70" y="296"/>
                    </a:lnTo>
                    <a:lnTo>
                      <a:pt x="69" y="297"/>
                    </a:lnTo>
                    <a:lnTo>
                      <a:pt x="69" y="298"/>
                    </a:lnTo>
                    <a:lnTo>
                      <a:pt x="69" y="300"/>
                    </a:lnTo>
                    <a:lnTo>
                      <a:pt x="69" y="301"/>
                    </a:lnTo>
                    <a:lnTo>
                      <a:pt x="70" y="301"/>
                    </a:lnTo>
                    <a:lnTo>
                      <a:pt x="69" y="303"/>
                    </a:lnTo>
                    <a:lnTo>
                      <a:pt x="71" y="304"/>
                    </a:lnTo>
                    <a:lnTo>
                      <a:pt x="70" y="306"/>
                    </a:lnTo>
                    <a:lnTo>
                      <a:pt x="68" y="307"/>
                    </a:lnTo>
                    <a:lnTo>
                      <a:pt x="68" y="309"/>
                    </a:lnTo>
                    <a:lnTo>
                      <a:pt x="69" y="309"/>
                    </a:lnTo>
                    <a:lnTo>
                      <a:pt x="67" y="311"/>
                    </a:lnTo>
                    <a:lnTo>
                      <a:pt x="66" y="311"/>
                    </a:lnTo>
                    <a:lnTo>
                      <a:pt x="67" y="312"/>
                    </a:lnTo>
                    <a:lnTo>
                      <a:pt x="65" y="315"/>
                    </a:lnTo>
                    <a:lnTo>
                      <a:pt x="64" y="315"/>
                    </a:lnTo>
                    <a:lnTo>
                      <a:pt x="64" y="316"/>
                    </a:lnTo>
                    <a:lnTo>
                      <a:pt x="65" y="316"/>
                    </a:lnTo>
                    <a:lnTo>
                      <a:pt x="69" y="318"/>
                    </a:lnTo>
                    <a:lnTo>
                      <a:pt x="68" y="319"/>
                    </a:lnTo>
                    <a:lnTo>
                      <a:pt x="67" y="321"/>
                    </a:lnTo>
                    <a:lnTo>
                      <a:pt x="69" y="322"/>
                    </a:lnTo>
                    <a:lnTo>
                      <a:pt x="69" y="326"/>
                    </a:lnTo>
                    <a:lnTo>
                      <a:pt x="69" y="329"/>
                    </a:lnTo>
                    <a:lnTo>
                      <a:pt x="67" y="330"/>
                    </a:lnTo>
                    <a:lnTo>
                      <a:pt x="65" y="330"/>
                    </a:lnTo>
                    <a:lnTo>
                      <a:pt x="64" y="331"/>
                    </a:lnTo>
                    <a:lnTo>
                      <a:pt x="65" y="332"/>
                    </a:lnTo>
                    <a:lnTo>
                      <a:pt x="64" y="332"/>
                    </a:lnTo>
                    <a:lnTo>
                      <a:pt x="65" y="336"/>
                    </a:lnTo>
                    <a:lnTo>
                      <a:pt x="67" y="337"/>
                    </a:lnTo>
                    <a:lnTo>
                      <a:pt x="69" y="336"/>
                    </a:lnTo>
                    <a:lnTo>
                      <a:pt x="70" y="336"/>
                    </a:lnTo>
                    <a:lnTo>
                      <a:pt x="70" y="338"/>
                    </a:lnTo>
                    <a:lnTo>
                      <a:pt x="72" y="339"/>
                    </a:lnTo>
                    <a:lnTo>
                      <a:pt x="70" y="340"/>
                    </a:lnTo>
                    <a:lnTo>
                      <a:pt x="71" y="342"/>
                    </a:lnTo>
                    <a:lnTo>
                      <a:pt x="70" y="342"/>
                    </a:lnTo>
                    <a:lnTo>
                      <a:pt x="70" y="343"/>
                    </a:lnTo>
                    <a:lnTo>
                      <a:pt x="70" y="345"/>
                    </a:lnTo>
                    <a:lnTo>
                      <a:pt x="67" y="345"/>
                    </a:lnTo>
                    <a:lnTo>
                      <a:pt x="67" y="348"/>
                    </a:lnTo>
                    <a:lnTo>
                      <a:pt x="70" y="349"/>
                    </a:lnTo>
                    <a:lnTo>
                      <a:pt x="72" y="349"/>
                    </a:lnTo>
                    <a:lnTo>
                      <a:pt x="72" y="350"/>
                    </a:lnTo>
                    <a:lnTo>
                      <a:pt x="70" y="352"/>
                    </a:lnTo>
                    <a:lnTo>
                      <a:pt x="71" y="353"/>
                    </a:lnTo>
                    <a:lnTo>
                      <a:pt x="72" y="353"/>
                    </a:lnTo>
                    <a:lnTo>
                      <a:pt x="74" y="355"/>
                    </a:lnTo>
                    <a:lnTo>
                      <a:pt x="73" y="357"/>
                    </a:lnTo>
                    <a:lnTo>
                      <a:pt x="75" y="360"/>
                    </a:lnTo>
                    <a:lnTo>
                      <a:pt x="75" y="363"/>
                    </a:lnTo>
                    <a:lnTo>
                      <a:pt x="75" y="364"/>
                    </a:lnTo>
                    <a:lnTo>
                      <a:pt x="75" y="366"/>
                    </a:lnTo>
                    <a:lnTo>
                      <a:pt x="73" y="368"/>
                    </a:lnTo>
                    <a:lnTo>
                      <a:pt x="77" y="368"/>
                    </a:lnTo>
                    <a:lnTo>
                      <a:pt x="75" y="374"/>
                    </a:lnTo>
                    <a:lnTo>
                      <a:pt x="72" y="372"/>
                    </a:lnTo>
                    <a:lnTo>
                      <a:pt x="70" y="373"/>
                    </a:lnTo>
                    <a:lnTo>
                      <a:pt x="71" y="373"/>
                    </a:lnTo>
                    <a:lnTo>
                      <a:pt x="70" y="375"/>
                    </a:lnTo>
                    <a:lnTo>
                      <a:pt x="73" y="377"/>
                    </a:lnTo>
                    <a:lnTo>
                      <a:pt x="73" y="378"/>
                    </a:lnTo>
                    <a:lnTo>
                      <a:pt x="75" y="379"/>
                    </a:lnTo>
                    <a:lnTo>
                      <a:pt x="73" y="380"/>
                    </a:lnTo>
                    <a:lnTo>
                      <a:pt x="74" y="383"/>
                    </a:lnTo>
                    <a:lnTo>
                      <a:pt x="73" y="383"/>
                    </a:lnTo>
                    <a:lnTo>
                      <a:pt x="70" y="380"/>
                    </a:lnTo>
                    <a:lnTo>
                      <a:pt x="71" y="379"/>
                    </a:lnTo>
                    <a:lnTo>
                      <a:pt x="70" y="379"/>
                    </a:lnTo>
                    <a:lnTo>
                      <a:pt x="69" y="379"/>
                    </a:lnTo>
                    <a:lnTo>
                      <a:pt x="65" y="378"/>
                    </a:lnTo>
                    <a:lnTo>
                      <a:pt x="65" y="379"/>
                    </a:lnTo>
                    <a:lnTo>
                      <a:pt x="65" y="378"/>
                    </a:lnTo>
                    <a:lnTo>
                      <a:pt x="62" y="379"/>
                    </a:lnTo>
                    <a:lnTo>
                      <a:pt x="61" y="380"/>
                    </a:lnTo>
                    <a:lnTo>
                      <a:pt x="62" y="381"/>
                    </a:lnTo>
                    <a:lnTo>
                      <a:pt x="62" y="382"/>
                    </a:lnTo>
                    <a:lnTo>
                      <a:pt x="59" y="382"/>
                    </a:lnTo>
                    <a:lnTo>
                      <a:pt x="60" y="383"/>
                    </a:lnTo>
                    <a:lnTo>
                      <a:pt x="61" y="383"/>
                    </a:lnTo>
                    <a:lnTo>
                      <a:pt x="63" y="387"/>
                    </a:lnTo>
                    <a:lnTo>
                      <a:pt x="64" y="385"/>
                    </a:lnTo>
                    <a:lnTo>
                      <a:pt x="66" y="387"/>
                    </a:lnTo>
                    <a:lnTo>
                      <a:pt x="69" y="386"/>
                    </a:lnTo>
                    <a:lnTo>
                      <a:pt x="71" y="387"/>
                    </a:lnTo>
                    <a:lnTo>
                      <a:pt x="72" y="389"/>
                    </a:lnTo>
                    <a:lnTo>
                      <a:pt x="72" y="390"/>
                    </a:lnTo>
                    <a:lnTo>
                      <a:pt x="74" y="392"/>
                    </a:lnTo>
                    <a:lnTo>
                      <a:pt x="72" y="393"/>
                    </a:lnTo>
                    <a:lnTo>
                      <a:pt x="75" y="393"/>
                    </a:lnTo>
                    <a:lnTo>
                      <a:pt x="75" y="394"/>
                    </a:lnTo>
                    <a:lnTo>
                      <a:pt x="75" y="399"/>
                    </a:lnTo>
                    <a:lnTo>
                      <a:pt x="75" y="400"/>
                    </a:lnTo>
                    <a:lnTo>
                      <a:pt x="76" y="401"/>
                    </a:lnTo>
                    <a:lnTo>
                      <a:pt x="77" y="400"/>
                    </a:lnTo>
                    <a:lnTo>
                      <a:pt x="82" y="402"/>
                    </a:lnTo>
                    <a:lnTo>
                      <a:pt x="82" y="400"/>
                    </a:lnTo>
                    <a:lnTo>
                      <a:pt x="83" y="400"/>
                    </a:lnTo>
                    <a:lnTo>
                      <a:pt x="83" y="404"/>
                    </a:lnTo>
                    <a:lnTo>
                      <a:pt x="82" y="408"/>
                    </a:lnTo>
                    <a:lnTo>
                      <a:pt x="84" y="408"/>
                    </a:lnTo>
                    <a:lnTo>
                      <a:pt x="85" y="406"/>
                    </a:lnTo>
                    <a:lnTo>
                      <a:pt x="87" y="406"/>
                    </a:lnTo>
                    <a:lnTo>
                      <a:pt x="87" y="404"/>
                    </a:lnTo>
                    <a:lnTo>
                      <a:pt x="88" y="403"/>
                    </a:lnTo>
                    <a:lnTo>
                      <a:pt x="89" y="403"/>
                    </a:lnTo>
                    <a:lnTo>
                      <a:pt x="91" y="402"/>
                    </a:lnTo>
                    <a:lnTo>
                      <a:pt x="92" y="403"/>
                    </a:lnTo>
                    <a:lnTo>
                      <a:pt x="90" y="403"/>
                    </a:lnTo>
                    <a:lnTo>
                      <a:pt x="92" y="405"/>
                    </a:lnTo>
                    <a:lnTo>
                      <a:pt x="91" y="408"/>
                    </a:lnTo>
                    <a:lnTo>
                      <a:pt x="92" y="408"/>
                    </a:lnTo>
                    <a:lnTo>
                      <a:pt x="93" y="408"/>
                    </a:lnTo>
                    <a:lnTo>
                      <a:pt x="94" y="408"/>
                    </a:lnTo>
                    <a:lnTo>
                      <a:pt x="94" y="413"/>
                    </a:lnTo>
                    <a:lnTo>
                      <a:pt x="95" y="415"/>
                    </a:lnTo>
                    <a:lnTo>
                      <a:pt x="98" y="413"/>
                    </a:lnTo>
                    <a:lnTo>
                      <a:pt x="99" y="413"/>
                    </a:lnTo>
                    <a:lnTo>
                      <a:pt x="100" y="414"/>
                    </a:lnTo>
                    <a:lnTo>
                      <a:pt x="100" y="413"/>
                    </a:lnTo>
                    <a:lnTo>
                      <a:pt x="103" y="413"/>
                    </a:lnTo>
                    <a:lnTo>
                      <a:pt x="103" y="410"/>
                    </a:lnTo>
                    <a:lnTo>
                      <a:pt x="104" y="411"/>
                    </a:lnTo>
                    <a:lnTo>
                      <a:pt x="105" y="408"/>
                    </a:lnTo>
                    <a:lnTo>
                      <a:pt x="104" y="407"/>
                    </a:lnTo>
                    <a:lnTo>
                      <a:pt x="106" y="406"/>
                    </a:lnTo>
                    <a:lnTo>
                      <a:pt x="107" y="406"/>
                    </a:lnTo>
                    <a:lnTo>
                      <a:pt x="108" y="405"/>
                    </a:lnTo>
                    <a:lnTo>
                      <a:pt x="110" y="405"/>
                    </a:lnTo>
                    <a:lnTo>
                      <a:pt x="110" y="402"/>
                    </a:lnTo>
                    <a:lnTo>
                      <a:pt x="114" y="403"/>
                    </a:lnTo>
                    <a:lnTo>
                      <a:pt x="118" y="406"/>
                    </a:lnTo>
                    <a:lnTo>
                      <a:pt x="119" y="406"/>
                    </a:lnTo>
                    <a:lnTo>
                      <a:pt x="120" y="403"/>
                    </a:lnTo>
                    <a:lnTo>
                      <a:pt x="119" y="403"/>
                    </a:lnTo>
                    <a:lnTo>
                      <a:pt x="120" y="402"/>
                    </a:lnTo>
                    <a:lnTo>
                      <a:pt x="121" y="402"/>
                    </a:lnTo>
                    <a:lnTo>
                      <a:pt x="122" y="402"/>
                    </a:lnTo>
                    <a:lnTo>
                      <a:pt x="122" y="399"/>
                    </a:lnTo>
                    <a:lnTo>
                      <a:pt x="122" y="398"/>
                    </a:lnTo>
                    <a:lnTo>
                      <a:pt x="123" y="394"/>
                    </a:lnTo>
                    <a:lnTo>
                      <a:pt x="123" y="395"/>
                    </a:lnTo>
                    <a:lnTo>
                      <a:pt x="124" y="395"/>
                    </a:lnTo>
                    <a:lnTo>
                      <a:pt x="124" y="396"/>
                    </a:lnTo>
                    <a:lnTo>
                      <a:pt x="126" y="397"/>
                    </a:lnTo>
                    <a:lnTo>
                      <a:pt x="128" y="398"/>
                    </a:lnTo>
                    <a:lnTo>
                      <a:pt x="129" y="396"/>
                    </a:lnTo>
                    <a:lnTo>
                      <a:pt x="129" y="393"/>
                    </a:lnTo>
                    <a:lnTo>
                      <a:pt x="129" y="391"/>
                    </a:lnTo>
                    <a:lnTo>
                      <a:pt x="127" y="389"/>
                    </a:lnTo>
                    <a:lnTo>
                      <a:pt x="131" y="389"/>
                    </a:lnTo>
                    <a:lnTo>
                      <a:pt x="131" y="387"/>
                    </a:lnTo>
                    <a:lnTo>
                      <a:pt x="130" y="383"/>
                    </a:lnTo>
                    <a:lnTo>
                      <a:pt x="131" y="382"/>
                    </a:lnTo>
                    <a:lnTo>
                      <a:pt x="131" y="378"/>
                    </a:lnTo>
                    <a:lnTo>
                      <a:pt x="132" y="380"/>
                    </a:lnTo>
                    <a:lnTo>
                      <a:pt x="132" y="379"/>
                    </a:lnTo>
                    <a:lnTo>
                      <a:pt x="135" y="379"/>
                    </a:lnTo>
                    <a:lnTo>
                      <a:pt x="136" y="379"/>
                    </a:lnTo>
                    <a:lnTo>
                      <a:pt x="136" y="378"/>
                    </a:lnTo>
                    <a:lnTo>
                      <a:pt x="138" y="378"/>
                    </a:lnTo>
                    <a:lnTo>
                      <a:pt x="138" y="377"/>
                    </a:lnTo>
                    <a:lnTo>
                      <a:pt x="139" y="377"/>
                    </a:lnTo>
                    <a:lnTo>
                      <a:pt x="139" y="376"/>
                    </a:lnTo>
                    <a:lnTo>
                      <a:pt x="139" y="374"/>
                    </a:lnTo>
                    <a:lnTo>
                      <a:pt x="141" y="374"/>
                    </a:lnTo>
                    <a:lnTo>
                      <a:pt x="141" y="373"/>
                    </a:lnTo>
                    <a:lnTo>
                      <a:pt x="144" y="373"/>
                    </a:lnTo>
                    <a:lnTo>
                      <a:pt x="145" y="370"/>
                    </a:lnTo>
                    <a:lnTo>
                      <a:pt x="148" y="370"/>
                    </a:lnTo>
                    <a:lnTo>
                      <a:pt x="149" y="370"/>
                    </a:lnTo>
                    <a:lnTo>
                      <a:pt x="149" y="369"/>
                    </a:lnTo>
                    <a:lnTo>
                      <a:pt x="150" y="368"/>
                    </a:lnTo>
                    <a:lnTo>
                      <a:pt x="153" y="373"/>
                    </a:lnTo>
                    <a:lnTo>
                      <a:pt x="154" y="374"/>
                    </a:lnTo>
                    <a:lnTo>
                      <a:pt x="155" y="373"/>
                    </a:lnTo>
                    <a:lnTo>
                      <a:pt x="158" y="373"/>
                    </a:lnTo>
                    <a:lnTo>
                      <a:pt x="162" y="370"/>
                    </a:lnTo>
                    <a:lnTo>
                      <a:pt x="163" y="372"/>
                    </a:lnTo>
                    <a:lnTo>
                      <a:pt x="163" y="370"/>
                    </a:lnTo>
                    <a:lnTo>
                      <a:pt x="169" y="368"/>
                    </a:lnTo>
                    <a:lnTo>
                      <a:pt x="168" y="365"/>
                    </a:lnTo>
                    <a:lnTo>
                      <a:pt x="171" y="366"/>
                    </a:lnTo>
                    <a:lnTo>
                      <a:pt x="172" y="365"/>
                    </a:lnTo>
                    <a:lnTo>
                      <a:pt x="174" y="362"/>
                    </a:lnTo>
                    <a:lnTo>
                      <a:pt x="173" y="361"/>
                    </a:lnTo>
                    <a:lnTo>
                      <a:pt x="174" y="361"/>
                    </a:lnTo>
                    <a:lnTo>
                      <a:pt x="176" y="361"/>
                    </a:lnTo>
                    <a:lnTo>
                      <a:pt x="178" y="359"/>
                    </a:lnTo>
                    <a:lnTo>
                      <a:pt x="183" y="353"/>
                    </a:lnTo>
                    <a:lnTo>
                      <a:pt x="184" y="355"/>
                    </a:lnTo>
                    <a:lnTo>
                      <a:pt x="183" y="355"/>
                    </a:lnTo>
                    <a:lnTo>
                      <a:pt x="183" y="361"/>
                    </a:lnTo>
                    <a:lnTo>
                      <a:pt x="187" y="360"/>
                    </a:lnTo>
                    <a:lnTo>
                      <a:pt x="188" y="361"/>
                    </a:lnTo>
                    <a:lnTo>
                      <a:pt x="190" y="362"/>
                    </a:lnTo>
                    <a:lnTo>
                      <a:pt x="191" y="362"/>
                    </a:lnTo>
                    <a:lnTo>
                      <a:pt x="195" y="361"/>
                    </a:lnTo>
                    <a:lnTo>
                      <a:pt x="202" y="362"/>
                    </a:lnTo>
                    <a:lnTo>
                      <a:pt x="204" y="364"/>
                    </a:lnTo>
                    <a:lnTo>
                      <a:pt x="205" y="361"/>
                    </a:lnTo>
                    <a:lnTo>
                      <a:pt x="206" y="359"/>
                    </a:lnTo>
                    <a:lnTo>
                      <a:pt x="206" y="360"/>
                    </a:lnTo>
                    <a:lnTo>
                      <a:pt x="208" y="356"/>
                    </a:lnTo>
                    <a:lnTo>
                      <a:pt x="209" y="358"/>
                    </a:lnTo>
                    <a:lnTo>
                      <a:pt x="208" y="361"/>
                    </a:lnTo>
                    <a:lnTo>
                      <a:pt x="209" y="361"/>
                    </a:lnTo>
                    <a:lnTo>
                      <a:pt x="211" y="359"/>
                    </a:lnTo>
                    <a:lnTo>
                      <a:pt x="212" y="359"/>
                    </a:lnTo>
                    <a:lnTo>
                      <a:pt x="215" y="355"/>
                    </a:lnTo>
                    <a:lnTo>
                      <a:pt x="218" y="352"/>
                    </a:lnTo>
                    <a:lnTo>
                      <a:pt x="219" y="349"/>
                    </a:lnTo>
                    <a:lnTo>
                      <a:pt x="220" y="349"/>
                    </a:lnTo>
                    <a:lnTo>
                      <a:pt x="223" y="348"/>
                    </a:lnTo>
                    <a:lnTo>
                      <a:pt x="224" y="348"/>
                    </a:lnTo>
                    <a:lnTo>
                      <a:pt x="225" y="351"/>
                    </a:lnTo>
                    <a:lnTo>
                      <a:pt x="226" y="349"/>
                    </a:lnTo>
                    <a:lnTo>
                      <a:pt x="227" y="350"/>
                    </a:lnTo>
                    <a:lnTo>
                      <a:pt x="229" y="356"/>
                    </a:lnTo>
                    <a:lnTo>
                      <a:pt x="228" y="359"/>
                    </a:lnTo>
                    <a:lnTo>
                      <a:pt x="229" y="360"/>
                    </a:lnTo>
                    <a:lnTo>
                      <a:pt x="236" y="359"/>
                    </a:lnTo>
                    <a:lnTo>
                      <a:pt x="236" y="355"/>
                    </a:lnTo>
                    <a:lnTo>
                      <a:pt x="237" y="355"/>
                    </a:lnTo>
                    <a:lnTo>
                      <a:pt x="237" y="352"/>
                    </a:lnTo>
                    <a:lnTo>
                      <a:pt x="239" y="350"/>
                    </a:lnTo>
                    <a:lnTo>
                      <a:pt x="241" y="348"/>
                    </a:lnTo>
                    <a:lnTo>
                      <a:pt x="244" y="348"/>
                    </a:lnTo>
                    <a:lnTo>
                      <a:pt x="250" y="347"/>
                    </a:lnTo>
                    <a:lnTo>
                      <a:pt x="251" y="347"/>
                    </a:lnTo>
                    <a:lnTo>
                      <a:pt x="250" y="348"/>
                    </a:lnTo>
                    <a:lnTo>
                      <a:pt x="254" y="347"/>
                    </a:lnTo>
                    <a:lnTo>
                      <a:pt x="255" y="345"/>
                    </a:lnTo>
                    <a:lnTo>
                      <a:pt x="256" y="345"/>
                    </a:lnTo>
                    <a:lnTo>
                      <a:pt x="258" y="345"/>
                    </a:lnTo>
                    <a:lnTo>
                      <a:pt x="259" y="342"/>
                    </a:lnTo>
                    <a:lnTo>
                      <a:pt x="260" y="342"/>
                    </a:lnTo>
                    <a:lnTo>
                      <a:pt x="261" y="342"/>
                    </a:lnTo>
                    <a:lnTo>
                      <a:pt x="263" y="341"/>
                    </a:lnTo>
                    <a:lnTo>
                      <a:pt x="263" y="339"/>
                    </a:lnTo>
                    <a:lnTo>
                      <a:pt x="263" y="335"/>
                    </a:lnTo>
                    <a:lnTo>
                      <a:pt x="262" y="335"/>
                    </a:lnTo>
                    <a:lnTo>
                      <a:pt x="263" y="335"/>
                    </a:lnTo>
                    <a:lnTo>
                      <a:pt x="263" y="334"/>
                    </a:lnTo>
                    <a:lnTo>
                      <a:pt x="265" y="335"/>
                    </a:lnTo>
                    <a:lnTo>
                      <a:pt x="268" y="335"/>
                    </a:lnTo>
                    <a:lnTo>
                      <a:pt x="268" y="336"/>
                    </a:lnTo>
                    <a:lnTo>
                      <a:pt x="272" y="337"/>
                    </a:lnTo>
                    <a:lnTo>
                      <a:pt x="274" y="337"/>
                    </a:lnTo>
                    <a:lnTo>
                      <a:pt x="274" y="336"/>
                    </a:lnTo>
                    <a:lnTo>
                      <a:pt x="273" y="335"/>
                    </a:lnTo>
                    <a:lnTo>
                      <a:pt x="274" y="335"/>
                    </a:lnTo>
                    <a:lnTo>
                      <a:pt x="273" y="334"/>
                    </a:lnTo>
                    <a:lnTo>
                      <a:pt x="274" y="331"/>
                    </a:lnTo>
                    <a:lnTo>
                      <a:pt x="273" y="329"/>
                    </a:lnTo>
                    <a:lnTo>
                      <a:pt x="272" y="329"/>
                    </a:lnTo>
                    <a:lnTo>
                      <a:pt x="272" y="322"/>
                    </a:lnTo>
                    <a:lnTo>
                      <a:pt x="275" y="322"/>
                    </a:lnTo>
                    <a:lnTo>
                      <a:pt x="274" y="321"/>
                    </a:lnTo>
                    <a:lnTo>
                      <a:pt x="276" y="321"/>
                    </a:lnTo>
                    <a:lnTo>
                      <a:pt x="277" y="319"/>
                    </a:lnTo>
                    <a:lnTo>
                      <a:pt x="279" y="319"/>
                    </a:lnTo>
                    <a:lnTo>
                      <a:pt x="280" y="318"/>
                    </a:lnTo>
                    <a:lnTo>
                      <a:pt x="283" y="318"/>
                    </a:lnTo>
                    <a:lnTo>
                      <a:pt x="285" y="321"/>
                    </a:lnTo>
                    <a:lnTo>
                      <a:pt x="286" y="321"/>
                    </a:lnTo>
                    <a:lnTo>
                      <a:pt x="286" y="319"/>
                    </a:lnTo>
                    <a:lnTo>
                      <a:pt x="288" y="319"/>
                    </a:lnTo>
                    <a:lnTo>
                      <a:pt x="292" y="322"/>
                    </a:lnTo>
                    <a:lnTo>
                      <a:pt x="296" y="323"/>
                    </a:lnTo>
                    <a:lnTo>
                      <a:pt x="296" y="325"/>
                    </a:lnTo>
                    <a:lnTo>
                      <a:pt x="297" y="325"/>
                    </a:lnTo>
                    <a:lnTo>
                      <a:pt x="297" y="326"/>
                    </a:lnTo>
                    <a:lnTo>
                      <a:pt x="298" y="326"/>
                    </a:lnTo>
                    <a:lnTo>
                      <a:pt x="303" y="326"/>
                    </a:lnTo>
                    <a:lnTo>
                      <a:pt x="309" y="327"/>
                    </a:lnTo>
                    <a:lnTo>
                      <a:pt x="309" y="329"/>
                    </a:lnTo>
                    <a:lnTo>
                      <a:pt x="311" y="329"/>
                    </a:lnTo>
                    <a:lnTo>
                      <a:pt x="315" y="330"/>
                    </a:lnTo>
                    <a:lnTo>
                      <a:pt x="315" y="331"/>
                    </a:lnTo>
                    <a:lnTo>
                      <a:pt x="316" y="330"/>
                    </a:lnTo>
                    <a:lnTo>
                      <a:pt x="322" y="330"/>
                    </a:lnTo>
                    <a:lnTo>
                      <a:pt x="323" y="329"/>
                    </a:lnTo>
                    <a:lnTo>
                      <a:pt x="326" y="331"/>
                    </a:lnTo>
                    <a:lnTo>
                      <a:pt x="327" y="328"/>
                    </a:lnTo>
                    <a:lnTo>
                      <a:pt x="326" y="326"/>
                    </a:lnTo>
                    <a:lnTo>
                      <a:pt x="330" y="328"/>
                    </a:lnTo>
                    <a:lnTo>
                      <a:pt x="330" y="329"/>
                    </a:lnTo>
                    <a:lnTo>
                      <a:pt x="331" y="331"/>
                    </a:lnTo>
                    <a:lnTo>
                      <a:pt x="331" y="330"/>
                    </a:lnTo>
                    <a:lnTo>
                      <a:pt x="334" y="332"/>
                    </a:lnTo>
                    <a:lnTo>
                      <a:pt x="334" y="331"/>
                    </a:lnTo>
                    <a:lnTo>
                      <a:pt x="335" y="331"/>
                    </a:lnTo>
                    <a:lnTo>
                      <a:pt x="336" y="329"/>
                    </a:lnTo>
                    <a:lnTo>
                      <a:pt x="341" y="334"/>
                    </a:lnTo>
                    <a:lnTo>
                      <a:pt x="343" y="335"/>
                    </a:lnTo>
                    <a:lnTo>
                      <a:pt x="343" y="336"/>
                    </a:lnTo>
                    <a:lnTo>
                      <a:pt x="344" y="336"/>
                    </a:lnTo>
                    <a:lnTo>
                      <a:pt x="346" y="332"/>
                    </a:lnTo>
                    <a:lnTo>
                      <a:pt x="348" y="331"/>
                    </a:lnTo>
                    <a:lnTo>
                      <a:pt x="348" y="330"/>
                    </a:lnTo>
                    <a:lnTo>
                      <a:pt x="350" y="326"/>
                    </a:lnTo>
                    <a:lnTo>
                      <a:pt x="351" y="327"/>
                    </a:lnTo>
                    <a:lnTo>
                      <a:pt x="353" y="325"/>
                    </a:lnTo>
                    <a:lnTo>
                      <a:pt x="355" y="328"/>
                    </a:lnTo>
                    <a:lnTo>
                      <a:pt x="357" y="329"/>
                    </a:lnTo>
                    <a:lnTo>
                      <a:pt x="358" y="328"/>
                    </a:lnTo>
                    <a:lnTo>
                      <a:pt x="358" y="327"/>
                    </a:lnTo>
                    <a:lnTo>
                      <a:pt x="359" y="329"/>
                    </a:lnTo>
                    <a:lnTo>
                      <a:pt x="361" y="329"/>
                    </a:lnTo>
                    <a:lnTo>
                      <a:pt x="361" y="326"/>
                    </a:lnTo>
                    <a:lnTo>
                      <a:pt x="365" y="328"/>
                    </a:lnTo>
                    <a:lnTo>
                      <a:pt x="365" y="326"/>
                    </a:lnTo>
                    <a:lnTo>
                      <a:pt x="366" y="326"/>
                    </a:lnTo>
                    <a:lnTo>
                      <a:pt x="367" y="326"/>
                    </a:lnTo>
                    <a:lnTo>
                      <a:pt x="369" y="326"/>
                    </a:lnTo>
                    <a:lnTo>
                      <a:pt x="369" y="327"/>
                    </a:lnTo>
                    <a:lnTo>
                      <a:pt x="370" y="328"/>
                    </a:lnTo>
                    <a:lnTo>
                      <a:pt x="370" y="329"/>
                    </a:lnTo>
                    <a:lnTo>
                      <a:pt x="372" y="329"/>
                    </a:lnTo>
                    <a:lnTo>
                      <a:pt x="372" y="331"/>
                    </a:lnTo>
                    <a:lnTo>
                      <a:pt x="372" y="330"/>
                    </a:lnTo>
                    <a:lnTo>
                      <a:pt x="374" y="331"/>
                    </a:lnTo>
                    <a:lnTo>
                      <a:pt x="372" y="329"/>
                    </a:lnTo>
                    <a:lnTo>
                      <a:pt x="374" y="329"/>
                    </a:lnTo>
                    <a:lnTo>
                      <a:pt x="374" y="330"/>
                    </a:lnTo>
                    <a:lnTo>
                      <a:pt x="374" y="331"/>
                    </a:lnTo>
                    <a:lnTo>
                      <a:pt x="375" y="330"/>
                    </a:lnTo>
                    <a:lnTo>
                      <a:pt x="376" y="330"/>
                    </a:lnTo>
                    <a:lnTo>
                      <a:pt x="378" y="326"/>
                    </a:lnTo>
                    <a:lnTo>
                      <a:pt x="378" y="324"/>
                    </a:lnTo>
                    <a:lnTo>
                      <a:pt x="378" y="323"/>
                    </a:lnTo>
                    <a:lnTo>
                      <a:pt x="377" y="322"/>
                    </a:lnTo>
                    <a:lnTo>
                      <a:pt x="378" y="322"/>
                    </a:lnTo>
                    <a:lnTo>
                      <a:pt x="378" y="318"/>
                    </a:lnTo>
                    <a:lnTo>
                      <a:pt x="381" y="319"/>
                    </a:lnTo>
                    <a:lnTo>
                      <a:pt x="381" y="314"/>
                    </a:lnTo>
                    <a:lnTo>
                      <a:pt x="381" y="312"/>
                    </a:lnTo>
                    <a:lnTo>
                      <a:pt x="382" y="312"/>
                    </a:lnTo>
                    <a:lnTo>
                      <a:pt x="382" y="310"/>
                    </a:lnTo>
                    <a:lnTo>
                      <a:pt x="381" y="309"/>
                    </a:lnTo>
                    <a:lnTo>
                      <a:pt x="380" y="308"/>
                    </a:lnTo>
                    <a:lnTo>
                      <a:pt x="380" y="306"/>
                    </a:lnTo>
                    <a:lnTo>
                      <a:pt x="378" y="305"/>
                    </a:lnTo>
                    <a:lnTo>
                      <a:pt x="378" y="304"/>
                    </a:lnTo>
                    <a:lnTo>
                      <a:pt x="381" y="302"/>
                    </a:lnTo>
                    <a:lnTo>
                      <a:pt x="381" y="304"/>
                    </a:lnTo>
                    <a:lnTo>
                      <a:pt x="382" y="303"/>
                    </a:lnTo>
                    <a:lnTo>
                      <a:pt x="381" y="302"/>
                    </a:lnTo>
                    <a:lnTo>
                      <a:pt x="381" y="301"/>
                    </a:lnTo>
                    <a:lnTo>
                      <a:pt x="380" y="299"/>
                    </a:lnTo>
                    <a:lnTo>
                      <a:pt x="381" y="298"/>
                    </a:lnTo>
                    <a:lnTo>
                      <a:pt x="381" y="297"/>
                    </a:lnTo>
                    <a:lnTo>
                      <a:pt x="381" y="296"/>
                    </a:lnTo>
                    <a:lnTo>
                      <a:pt x="379" y="295"/>
                    </a:lnTo>
                    <a:lnTo>
                      <a:pt x="379" y="294"/>
                    </a:lnTo>
                    <a:lnTo>
                      <a:pt x="381" y="293"/>
                    </a:lnTo>
                    <a:lnTo>
                      <a:pt x="382" y="293"/>
                    </a:lnTo>
                    <a:lnTo>
                      <a:pt x="382" y="292"/>
                    </a:lnTo>
                    <a:lnTo>
                      <a:pt x="384" y="291"/>
                    </a:lnTo>
                    <a:lnTo>
                      <a:pt x="388" y="296"/>
                    </a:lnTo>
                    <a:lnTo>
                      <a:pt x="394" y="300"/>
                    </a:lnTo>
                    <a:lnTo>
                      <a:pt x="394" y="298"/>
                    </a:lnTo>
                    <a:lnTo>
                      <a:pt x="395" y="299"/>
                    </a:lnTo>
                    <a:lnTo>
                      <a:pt x="394" y="298"/>
                    </a:lnTo>
                    <a:lnTo>
                      <a:pt x="395" y="296"/>
                    </a:lnTo>
                    <a:lnTo>
                      <a:pt x="393" y="296"/>
                    </a:lnTo>
                    <a:lnTo>
                      <a:pt x="392" y="295"/>
                    </a:lnTo>
                    <a:lnTo>
                      <a:pt x="394" y="293"/>
                    </a:lnTo>
                    <a:lnTo>
                      <a:pt x="395" y="295"/>
                    </a:lnTo>
                    <a:lnTo>
                      <a:pt x="396" y="293"/>
                    </a:lnTo>
                    <a:lnTo>
                      <a:pt x="395" y="292"/>
                    </a:lnTo>
                    <a:lnTo>
                      <a:pt x="397" y="292"/>
                    </a:lnTo>
                    <a:lnTo>
                      <a:pt x="397" y="285"/>
                    </a:lnTo>
                    <a:lnTo>
                      <a:pt x="401" y="289"/>
                    </a:lnTo>
                    <a:lnTo>
                      <a:pt x="404" y="289"/>
                    </a:lnTo>
                    <a:lnTo>
                      <a:pt x="404" y="286"/>
                    </a:lnTo>
                    <a:lnTo>
                      <a:pt x="407" y="289"/>
                    </a:lnTo>
                    <a:lnTo>
                      <a:pt x="410" y="289"/>
                    </a:lnTo>
                    <a:lnTo>
                      <a:pt x="410" y="285"/>
                    </a:lnTo>
                    <a:lnTo>
                      <a:pt x="411" y="284"/>
                    </a:lnTo>
                    <a:lnTo>
                      <a:pt x="411" y="281"/>
                    </a:lnTo>
                    <a:lnTo>
                      <a:pt x="411" y="280"/>
                    </a:lnTo>
                    <a:lnTo>
                      <a:pt x="410" y="279"/>
                    </a:lnTo>
                    <a:lnTo>
                      <a:pt x="411" y="279"/>
                    </a:lnTo>
                    <a:lnTo>
                      <a:pt x="411" y="275"/>
                    </a:lnTo>
                    <a:lnTo>
                      <a:pt x="408" y="267"/>
                    </a:lnTo>
                    <a:lnTo>
                      <a:pt x="413" y="266"/>
                    </a:lnTo>
                    <a:lnTo>
                      <a:pt x="413" y="261"/>
                    </a:lnTo>
                    <a:lnTo>
                      <a:pt x="417" y="264"/>
                    </a:lnTo>
                    <a:lnTo>
                      <a:pt x="416" y="261"/>
                    </a:lnTo>
                    <a:lnTo>
                      <a:pt x="416" y="258"/>
                    </a:lnTo>
                    <a:lnTo>
                      <a:pt x="414" y="258"/>
                    </a:lnTo>
                    <a:lnTo>
                      <a:pt x="415" y="255"/>
                    </a:lnTo>
                    <a:lnTo>
                      <a:pt x="413" y="254"/>
                    </a:lnTo>
                    <a:lnTo>
                      <a:pt x="414" y="254"/>
                    </a:lnTo>
                    <a:lnTo>
                      <a:pt x="414" y="253"/>
                    </a:lnTo>
                    <a:lnTo>
                      <a:pt x="413" y="253"/>
                    </a:lnTo>
                    <a:lnTo>
                      <a:pt x="411" y="252"/>
                    </a:lnTo>
                    <a:lnTo>
                      <a:pt x="411" y="253"/>
                    </a:lnTo>
                    <a:lnTo>
                      <a:pt x="410" y="252"/>
                    </a:lnTo>
                    <a:lnTo>
                      <a:pt x="410" y="251"/>
                    </a:lnTo>
                    <a:lnTo>
                      <a:pt x="410" y="252"/>
                    </a:lnTo>
                    <a:lnTo>
                      <a:pt x="406" y="251"/>
                    </a:lnTo>
                    <a:lnTo>
                      <a:pt x="407" y="248"/>
                    </a:lnTo>
                    <a:lnTo>
                      <a:pt x="406" y="249"/>
                    </a:lnTo>
                    <a:lnTo>
                      <a:pt x="406" y="248"/>
                    </a:lnTo>
                    <a:lnTo>
                      <a:pt x="406" y="245"/>
                    </a:lnTo>
                    <a:lnTo>
                      <a:pt x="405" y="245"/>
                    </a:lnTo>
                    <a:lnTo>
                      <a:pt x="406" y="244"/>
                    </a:lnTo>
                    <a:lnTo>
                      <a:pt x="405" y="244"/>
                    </a:lnTo>
                    <a:lnTo>
                      <a:pt x="406" y="242"/>
                    </a:lnTo>
                    <a:lnTo>
                      <a:pt x="405" y="242"/>
                    </a:lnTo>
                    <a:lnTo>
                      <a:pt x="405" y="241"/>
                    </a:lnTo>
                    <a:lnTo>
                      <a:pt x="404" y="238"/>
                    </a:lnTo>
                    <a:lnTo>
                      <a:pt x="402" y="237"/>
                    </a:lnTo>
                    <a:lnTo>
                      <a:pt x="402" y="235"/>
                    </a:lnTo>
                    <a:lnTo>
                      <a:pt x="402" y="231"/>
                    </a:lnTo>
                    <a:lnTo>
                      <a:pt x="402" y="230"/>
                    </a:lnTo>
                    <a:lnTo>
                      <a:pt x="402" y="228"/>
                    </a:lnTo>
                    <a:lnTo>
                      <a:pt x="401" y="228"/>
                    </a:lnTo>
                    <a:lnTo>
                      <a:pt x="401" y="225"/>
                    </a:lnTo>
                    <a:lnTo>
                      <a:pt x="400" y="225"/>
                    </a:lnTo>
                    <a:lnTo>
                      <a:pt x="400" y="224"/>
                    </a:lnTo>
                    <a:lnTo>
                      <a:pt x="400" y="221"/>
                    </a:lnTo>
                    <a:lnTo>
                      <a:pt x="397" y="219"/>
                    </a:lnTo>
                    <a:lnTo>
                      <a:pt x="397" y="218"/>
                    </a:lnTo>
                    <a:lnTo>
                      <a:pt x="396" y="215"/>
                    </a:lnTo>
                    <a:lnTo>
                      <a:pt x="394" y="215"/>
                    </a:lnTo>
                    <a:lnTo>
                      <a:pt x="395" y="213"/>
                    </a:lnTo>
                    <a:lnTo>
                      <a:pt x="395" y="208"/>
                    </a:lnTo>
                    <a:lnTo>
                      <a:pt x="392" y="206"/>
                    </a:lnTo>
                    <a:lnTo>
                      <a:pt x="392" y="204"/>
                    </a:lnTo>
                    <a:lnTo>
                      <a:pt x="393" y="204"/>
                    </a:lnTo>
                    <a:lnTo>
                      <a:pt x="390" y="201"/>
                    </a:lnTo>
                    <a:lnTo>
                      <a:pt x="392" y="197"/>
                    </a:lnTo>
                    <a:lnTo>
                      <a:pt x="392" y="196"/>
                    </a:lnTo>
                    <a:lnTo>
                      <a:pt x="392" y="192"/>
                    </a:lnTo>
                    <a:lnTo>
                      <a:pt x="392" y="191"/>
                    </a:lnTo>
                    <a:lnTo>
                      <a:pt x="392" y="190"/>
                    </a:lnTo>
                    <a:lnTo>
                      <a:pt x="392" y="187"/>
                    </a:lnTo>
                    <a:lnTo>
                      <a:pt x="390" y="187"/>
                    </a:lnTo>
                    <a:lnTo>
                      <a:pt x="388" y="187"/>
                    </a:lnTo>
                    <a:lnTo>
                      <a:pt x="389" y="182"/>
                    </a:lnTo>
                    <a:lnTo>
                      <a:pt x="392" y="177"/>
                    </a:lnTo>
                    <a:lnTo>
                      <a:pt x="398" y="173"/>
                    </a:lnTo>
                    <a:lnTo>
                      <a:pt x="398" y="171"/>
                    </a:lnTo>
                    <a:lnTo>
                      <a:pt x="396" y="169"/>
                    </a:lnTo>
                    <a:lnTo>
                      <a:pt x="397" y="166"/>
                    </a:lnTo>
                    <a:lnTo>
                      <a:pt x="398" y="164"/>
                    </a:lnTo>
                    <a:lnTo>
                      <a:pt x="398" y="161"/>
                    </a:lnTo>
                    <a:lnTo>
                      <a:pt x="400" y="159"/>
                    </a:lnTo>
                    <a:lnTo>
                      <a:pt x="404" y="158"/>
                    </a:lnTo>
                    <a:lnTo>
                      <a:pt x="408" y="157"/>
                    </a:lnTo>
                    <a:lnTo>
                      <a:pt x="410" y="153"/>
                    </a:lnTo>
                    <a:lnTo>
                      <a:pt x="411" y="151"/>
                    </a:lnTo>
                    <a:lnTo>
                      <a:pt x="411" y="153"/>
                    </a:lnTo>
                    <a:lnTo>
                      <a:pt x="411" y="155"/>
                    </a:lnTo>
                    <a:lnTo>
                      <a:pt x="414" y="155"/>
                    </a:lnTo>
                    <a:lnTo>
                      <a:pt x="415" y="153"/>
                    </a:lnTo>
                    <a:lnTo>
                      <a:pt x="412" y="150"/>
                    </a:lnTo>
                    <a:lnTo>
                      <a:pt x="413" y="147"/>
                    </a:lnTo>
                    <a:lnTo>
                      <a:pt x="414" y="147"/>
                    </a:lnTo>
                    <a:lnTo>
                      <a:pt x="414" y="145"/>
                    </a:lnTo>
                    <a:lnTo>
                      <a:pt x="416" y="140"/>
                    </a:lnTo>
                    <a:lnTo>
                      <a:pt x="418" y="137"/>
                    </a:lnTo>
                    <a:lnTo>
                      <a:pt x="418" y="136"/>
                    </a:lnTo>
                    <a:lnTo>
                      <a:pt x="420" y="136"/>
                    </a:lnTo>
                    <a:lnTo>
                      <a:pt x="422" y="138"/>
                    </a:lnTo>
                    <a:lnTo>
                      <a:pt x="424" y="134"/>
                    </a:lnTo>
                    <a:lnTo>
                      <a:pt x="422" y="132"/>
                    </a:lnTo>
                    <a:lnTo>
                      <a:pt x="423" y="130"/>
                    </a:lnTo>
                    <a:lnTo>
                      <a:pt x="426" y="129"/>
                    </a:lnTo>
                    <a:lnTo>
                      <a:pt x="426" y="128"/>
                    </a:lnTo>
                    <a:lnTo>
                      <a:pt x="425" y="127"/>
                    </a:lnTo>
                    <a:lnTo>
                      <a:pt x="424" y="127"/>
                    </a:lnTo>
                    <a:lnTo>
                      <a:pt x="424" y="125"/>
                    </a:lnTo>
                    <a:lnTo>
                      <a:pt x="424" y="124"/>
                    </a:lnTo>
                    <a:lnTo>
                      <a:pt x="425" y="122"/>
                    </a:lnTo>
                    <a:lnTo>
                      <a:pt x="427" y="123"/>
                    </a:lnTo>
                    <a:lnTo>
                      <a:pt x="427" y="122"/>
                    </a:lnTo>
                    <a:lnTo>
                      <a:pt x="425" y="121"/>
                    </a:lnTo>
                    <a:lnTo>
                      <a:pt x="424" y="122"/>
                    </a:lnTo>
                    <a:lnTo>
                      <a:pt x="423" y="121"/>
                    </a:lnTo>
                    <a:lnTo>
                      <a:pt x="424" y="121"/>
                    </a:lnTo>
                    <a:lnTo>
                      <a:pt x="422" y="119"/>
                    </a:lnTo>
                    <a:lnTo>
                      <a:pt x="425" y="118"/>
                    </a:lnTo>
                    <a:lnTo>
                      <a:pt x="427" y="121"/>
                    </a:lnTo>
                    <a:lnTo>
                      <a:pt x="429" y="119"/>
                    </a:lnTo>
                    <a:lnTo>
                      <a:pt x="432" y="118"/>
                    </a:lnTo>
                    <a:lnTo>
                      <a:pt x="433" y="119"/>
                    </a:lnTo>
                    <a:lnTo>
                      <a:pt x="434" y="119"/>
                    </a:lnTo>
                    <a:lnTo>
                      <a:pt x="433" y="121"/>
                    </a:lnTo>
                    <a:lnTo>
                      <a:pt x="432" y="122"/>
                    </a:lnTo>
                    <a:lnTo>
                      <a:pt x="434" y="121"/>
                    </a:lnTo>
                    <a:lnTo>
                      <a:pt x="435" y="122"/>
                    </a:lnTo>
                    <a:lnTo>
                      <a:pt x="435" y="121"/>
                    </a:lnTo>
                    <a:lnTo>
                      <a:pt x="436" y="121"/>
                    </a:lnTo>
                    <a:lnTo>
                      <a:pt x="439" y="124"/>
                    </a:lnTo>
                    <a:lnTo>
                      <a:pt x="440" y="127"/>
                    </a:lnTo>
                    <a:lnTo>
                      <a:pt x="443" y="128"/>
                    </a:lnTo>
                    <a:lnTo>
                      <a:pt x="444" y="129"/>
                    </a:lnTo>
                    <a:lnTo>
                      <a:pt x="446" y="129"/>
                    </a:lnTo>
                    <a:lnTo>
                      <a:pt x="447" y="131"/>
                    </a:lnTo>
                    <a:lnTo>
                      <a:pt x="448" y="129"/>
                    </a:lnTo>
                    <a:lnTo>
                      <a:pt x="448" y="130"/>
                    </a:lnTo>
                    <a:lnTo>
                      <a:pt x="450" y="130"/>
                    </a:lnTo>
                    <a:lnTo>
                      <a:pt x="453" y="129"/>
                    </a:lnTo>
                    <a:lnTo>
                      <a:pt x="454" y="126"/>
                    </a:lnTo>
                    <a:lnTo>
                      <a:pt x="454" y="122"/>
                    </a:lnTo>
                    <a:lnTo>
                      <a:pt x="455" y="120"/>
                    </a:lnTo>
                    <a:lnTo>
                      <a:pt x="455" y="117"/>
                    </a:lnTo>
                    <a:lnTo>
                      <a:pt x="457" y="116"/>
                    </a:lnTo>
                    <a:lnTo>
                      <a:pt x="457" y="112"/>
                    </a:lnTo>
                    <a:lnTo>
                      <a:pt x="457" y="111"/>
                    </a:lnTo>
                    <a:lnTo>
                      <a:pt x="463" y="113"/>
                    </a:lnTo>
                    <a:lnTo>
                      <a:pt x="465" y="112"/>
                    </a:lnTo>
                    <a:lnTo>
                      <a:pt x="467" y="112"/>
                    </a:lnTo>
                    <a:lnTo>
                      <a:pt x="468" y="111"/>
                    </a:lnTo>
                    <a:lnTo>
                      <a:pt x="471" y="104"/>
                    </a:lnTo>
                    <a:lnTo>
                      <a:pt x="472" y="101"/>
                    </a:lnTo>
                    <a:lnTo>
                      <a:pt x="473" y="100"/>
                    </a:lnTo>
                    <a:lnTo>
                      <a:pt x="477" y="91"/>
                    </a:lnTo>
                    <a:lnTo>
                      <a:pt x="479" y="86"/>
                    </a:lnTo>
                    <a:lnTo>
                      <a:pt x="484" y="83"/>
                    </a:lnTo>
                    <a:lnTo>
                      <a:pt x="485" y="74"/>
                    </a:lnTo>
                    <a:lnTo>
                      <a:pt x="484" y="72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oup 56">
              <a:extLst>
                <a:ext uri="{FF2B5EF4-FFF2-40B4-BE49-F238E27FC236}">
                  <a16:creationId xmlns:a16="http://schemas.microsoft.com/office/drawing/2014/main" id="{5459544C-C7A6-5DAE-68D6-F1A4BE8116A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67" y="2858"/>
              <a:ext cx="386" cy="374"/>
              <a:chOff x="1267" y="2858"/>
              <a:chExt cx="386" cy="374"/>
            </a:xfrm>
          </p:grpSpPr>
          <p:sp>
            <p:nvSpPr>
              <p:cNvPr id="190" name="Freeform 54">
                <a:extLst>
                  <a:ext uri="{FF2B5EF4-FFF2-40B4-BE49-F238E27FC236}">
                    <a16:creationId xmlns:a16="http://schemas.microsoft.com/office/drawing/2014/main" id="{BA583E7E-BBC4-66B0-6902-618B77767C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7" y="2858"/>
                <a:ext cx="386" cy="374"/>
              </a:xfrm>
              <a:custGeom>
                <a:avLst/>
                <a:gdLst>
                  <a:gd name="T0" fmla="*/ 383 w 386"/>
                  <a:gd name="T1" fmla="*/ 303 h 374"/>
                  <a:gd name="T2" fmla="*/ 367 w 386"/>
                  <a:gd name="T3" fmla="*/ 276 h 374"/>
                  <a:gd name="T4" fmla="*/ 348 w 386"/>
                  <a:gd name="T5" fmla="*/ 244 h 374"/>
                  <a:gd name="T6" fmla="*/ 334 w 386"/>
                  <a:gd name="T7" fmla="*/ 216 h 374"/>
                  <a:gd name="T8" fmla="*/ 311 w 386"/>
                  <a:gd name="T9" fmla="*/ 206 h 374"/>
                  <a:gd name="T10" fmla="*/ 295 w 386"/>
                  <a:gd name="T11" fmla="*/ 185 h 374"/>
                  <a:gd name="T12" fmla="*/ 307 w 386"/>
                  <a:gd name="T13" fmla="*/ 174 h 374"/>
                  <a:gd name="T14" fmla="*/ 325 w 386"/>
                  <a:gd name="T15" fmla="*/ 164 h 374"/>
                  <a:gd name="T16" fmla="*/ 354 w 386"/>
                  <a:gd name="T17" fmla="*/ 146 h 374"/>
                  <a:gd name="T18" fmla="*/ 364 w 386"/>
                  <a:gd name="T19" fmla="*/ 111 h 374"/>
                  <a:gd name="T20" fmla="*/ 336 w 386"/>
                  <a:gd name="T21" fmla="*/ 82 h 374"/>
                  <a:gd name="T22" fmla="*/ 304 w 386"/>
                  <a:gd name="T23" fmla="*/ 92 h 374"/>
                  <a:gd name="T24" fmla="*/ 278 w 386"/>
                  <a:gd name="T25" fmla="*/ 79 h 374"/>
                  <a:gd name="T26" fmla="*/ 249 w 386"/>
                  <a:gd name="T27" fmla="*/ 95 h 374"/>
                  <a:gd name="T28" fmla="*/ 252 w 386"/>
                  <a:gd name="T29" fmla="*/ 63 h 374"/>
                  <a:gd name="T30" fmla="*/ 218 w 386"/>
                  <a:gd name="T31" fmla="*/ 56 h 374"/>
                  <a:gd name="T32" fmla="*/ 188 w 386"/>
                  <a:gd name="T33" fmla="*/ 27 h 374"/>
                  <a:gd name="T34" fmla="*/ 142 w 386"/>
                  <a:gd name="T35" fmla="*/ 3 h 374"/>
                  <a:gd name="T36" fmla="*/ 138 w 386"/>
                  <a:gd name="T37" fmla="*/ 47 h 374"/>
                  <a:gd name="T38" fmla="*/ 137 w 386"/>
                  <a:gd name="T39" fmla="*/ 97 h 374"/>
                  <a:gd name="T40" fmla="*/ 149 w 386"/>
                  <a:gd name="T41" fmla="*/ 122 h 374"/>
                  <a:gd name="T42" fmla="*/ 132 w 386"/>
                  <a:gd name="T43" fmla="*/ 119 h 374"/>
                  <a:gd name="T44" fmla="*/ 114 w 386"/>
                  <a:gd name="T45" fmla="*/ 111 h 374"/>
                  <a:gd name="T46" fmla="*/ 97 w 386"/>
                  <a:gd name="T47" fmla="*/ 116 h 374"/>
                  <a:gd name="T48" fmla="*/ 92 w 386"/>
                  <a:gd name="T49" fmla="*/ 134 h 374"/>
                  <a:gd name="T50" fmla="*/ 83 w 386"/>
                  <a:gd name="T51" fmla="*/ 130 h 374"/>
                  <a:gd name="T52" fmla="*/ 71 w 386"/>
                  <a:gd name="T53" fmla="*/ 117 h 374"/>
                  <a:gd name="T54" fmla="*/ 51 w 386"/>
                  <a:gd name="T55" fmla="*/ 110 h 374"/>
                  <a:gd name="T56" fmla="*/ 35 w 386"/>
                  <a:gd name="T57" fmla="*/ 118 h 374"/>
                  <a:gd name="T58" fmla="*/ 15 w 386"/>
                  <a:gd name="T59" fmla="*/ 109 h 374"/>
                  <a:gd name="T60" fmla="*/ 14 w 386"/>
                  <a:gd name="T61" fmla="*/ 129 h 374"/>
                  <a:gd name="T62" fmla="*/ 17 w 386"/>
                  <a:gd name="T63" fmla="*/ 145 h 374"/>
                  <a:gd name="T64" fmla="*/ 11 w 386"/>
                  <a:gd name="T65" fmla="*/ 164 h 374"/>
                  <a:gd name="T66" fmla="*/ 2 w 386"/>
                  <a:gd name="T67" fmla="*/ 175 h 374"/>
                  <a:gd name="T68" fmla="*/ 21 w 386"/>
                  <a:gd name="T69" fmla="*/ 193 h 374"/>
                  <a:gd name="T70" fmla="*/ 26 w 386"/>
                  <a:gd name="T71" fmla="*/ 205 h 374"/>
                  <a:gd name="T72" fmla="*/ 32 w 386"/>
                  <a:gd name="T73" fmla="*/ 219 h 374"/>
                  <a:gd name="T74" fmla="*/ 49 w 386"/>
                  <a:gd name="T75" fmla="*/ 225 h 374"/>
                  <a:gd name="T76" fmla="*/ 66 w 386"/>
                  <a:gd name="T77" fmla="*/ 223 h 374"/>
                  <a:gd name="T78" fmla="*/ 64 w 386"/>
                  <a:gd name="T79" fmla="*/ 242 h 374"/>
                  <a:gd name="T80" fmla="*/ 69 w 386"/>
                  <a:gd name="T81" fmla="*/ 267 h 374"/>
                  <a:gd name="T82" fmla="*/ 59 w 386"/>
                  <a:gd name="T83" fmla="*/ 278 h 374"/>
                  <a:gd name="T84" fmla="*/ 65 w 386"/>
                  <a:gd name="T85" fmla="*/ 295 h 374"/>
                  <a:gd name="T86" fmla="*/ 79 w 386"/>
                  <a:gd name="T87" fmla="*/ 316 h 374"/>
                  <a:gd name="T88" fmla="*/ 98 w 386"/>
                  <a:gd name="T89" fmla="*/ 309 h 374"/>
                  <a:gd name="T90" fmla="*/ 110 w 386"/>
                  <a:gd name="T91" fmla="*/ 299 h 374"/>
                  <a:gd name="T92" fmla="*/ 120 w 386"/>
                  <a:gd name="T93" fmla="*/ 305 h 374"/>
                  <a:gd name="T94" fmla="*/ 128 w 386"/>
                  <a:gd name="T95" fmla="*/ 303 h 374"/>
                  <a:gd name="T96" fmla="*/ 141 w 386"/>
                  <a:gd name="T97" fmla="*/ 311 h 374"/>
                  <a:gd name="T98" fmla="*/ 156 w 386"/>
                  <a:gd name="T99" fmla="*/ 305 h 374"/>
                  <a:gd name="T100" fmla="*/ 172 w 386"/>
                  <a:gd name="T101" fmla="*/ 293 h 374"/>
                  <a:gd name="T102" fmla="*/ 185 w 386"/>
                  <a:gd name="T103" fmla="*/ 312 h 374"/>
                  <a:gd name="T104" fmla="*/ 227 w 386"/>
                  <a:gd name="T105" fmla="*/ 306 h 374"/>
                  <a:gd name="T106" fmla="*/ 255 w 386"/>
                  <a:gd name="T107" fmla="*/ 345 h 374"/>
                  <a:gd name="T108" fmla="*/ 275 w 386"/>
                  <a:gd name="T109" fmla="*/ 365 h 374"/>
                  <a:gd name="T110" fmla="*/ 290 w 386"/>
                  <a:gd name="T111" fmla="*/ 363 h 374"/>
                  <a:gd name="T112" fmla="*/ 302 w 386"/>
                  <a:gd name="T113" fmla="*/ 368 h 374"/>
                  <a:gd name="T114" fmla="*/ 314 w 386"/>
                  <a:gd name="T115" fmla="*/ 361 h 374"/>
                  <a:gd name="T116" fmla="*/ 333 w 386"/>
                  <a:gd name="T117" fmla="*/ 340 h 374"/>
                  <a:gd name="T118" fmla="*/ 345 w 386"/>
                  <a:gd name="T119" fmla="*/ 335 h 374"/>
                  <a:gd name="T120" fmla="*/ 369 w 386"/>
                  <a:gd name="T121" fmla="*/ 323 h 37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86"/>
                  <a:gd name="T184" fmla="*/ 0 h 374"/>
                  <a:gd name="T185" fmla="*/ 386 w 386"/>
                  <a:gd name="T186" fmla="*/ 374 h 374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86" h="374">
                    <a:moveTo>
                      <a:pt x="386" y="329"/>
                    </a:moveTo>
                    <a:lnTo>
                      <a:pt x="385" y="328"/>
                    </a:lnTo>
                    <a:lnTo>
                      <a:pt x="385" y="326"/>
                    </a:lnTo>
                    <a:lnTo>
                      <a:pt x="381" y="323"/>
                    </a:lnTo>
                    <a:lnTo>
                      <a:pt x="380" y="320"/>
                    </a:lnTo>
                    <a:lnTo>
                      <a:pt x="380" y="319"/>
                    </a:lnTo>
                    <a:lnTo>
                      <a:pt x="382" y="316"/>
                    </a:lnTo>
                    <a:lnTo>
                      <a:pt x="381" y="314"/>
                    </a:lnTo>
                    <a:lnTo>
                      <a:pt x="380" y="313"/>
                    </a:lnTo>
                    <a:lnTo>
                      <a:pt x="381" y="312"/>
                    </a:lnTo>
                    <a:lnTo>
                      <a:pt x="380" y="309"/>
                    </a:lnTo>
                    <a:lnTo>
                      <a:pt x="381" y="306"/>
                    </a:lnTo>
                    <a:lnTo>
                      <a:pt x="381" y="305"/>
                    </a:lnTo>
                    <a:lnTo>
                      <a:pt x="382" y="304"/>
                    </a:lnTo>
                    <a:lnTo>
                      <a:pt x="383" y="303"/>
                    </a:lnTo>
                    <a:lnTo>
                      <a:pt x="382" y="299"/>
                    </a:lnTo>
                    <a:lnTo>
                      <a:pt x="381" y="299"/>
                    </a:lnTo>
                    <a:lnTo>
                      <a:pt x="382" y="296"/>
                    </a:lnTo>
                    <a:lnTo>
                      <a:pt x="380" y="295"/>
                    </a:lnTo>
                    <a:lnTo>
                      <a:pt x="380" y="292"/>
                    </a:lnTo>
                    <a:lnTo>
                      <a:pt x="378" y="289"/>
                    </a:lnTo>
                    <a:lnTo>
                      <a:pt x="378" y="288"/>
                    </a:lnTo>
                    <a:lnTo>
                      <a:pt x="375" y="288"/>
                    </a:lnTo>
                    <a:lnTo>
                      <a:pt x="373" y="287"/>
                    </a:lnTo>
                    <a:lnTo>
                      <a:pt x="371" y="282"/>
                    </a:lnTo>
                    <a:lnTo>
                      <a:pt x="372" y="280"/>
                    </a:lnTo>
                    <a:lnTo>
                      <a:pt x="370" y="279"/>
                    </a:lnTo>
                    <a:lnTo>
                      <a:pt x="370" y="276"/>
                    </a:lnTo>
                    <a:lnTo>
                      <a:pt x="369" y="276"/>
                    </a:lnTo>
                    <a:lnTo>
                      <a:pt x="367" y="276"/>
                    </a:lnTo>
                    <a:lnTo>
                      <a:pt x="366" y="275"/>
                    </a:lnTo>
                    <a:lnTo>
                      <a:pt x="366" y="274"/>
                    </a:lnTo>
                    <a:lnTo>
                      <a:pt x="366" y="272"/>
                    </a:lnTo>
                    <a:lnTo>
                      <a:pt x="363" y="270"/>
                    </a:lnTo>
                    <a:lnTo>
                      <a:pt x="363" y="268"/>
                    </a:lnTo>
                    <a:lnTo>
                      <a:pt x="360" y="262"/>
                    </a:lnTo>
                    <a:lnTo>
                      <a:pt x="361" y="261"/>
                    </a:lnTo>
                    <a:lnTo>
                      <a:pt x="360" y="259"/>
                    </a:lnTo>
                    <a:lnTo>
                      <a:pt x="360" y="258"/>
                    </a:lnTo>
                    <a:lnTo>
                      <a:pt x="357" y="254"/>
                    </a:lnTo>
                    <a:lnTo>
                      <a:pt x="355" y="249"/>
                    </a:lnTo>
                    <a:lnTo>
                      <a:pt x="354" y="248"/>
                    </a:lnTo>
                    <a:lnTo>
                      <a:pt x="354" y="245"/>
                    </a:lnTo>
                    <a:lnTo>
                      <a:pt x="353" y="244"/>
                    </a:lnTo>
                    <a:lnTo>
                      <a:pt x="348" y="244"/>
                    </a:lnTo>
                    <a:lnTo>
                      <a:pt x="347" y="243"/>
                    </a:lnTo>
                    <a:lnTo>
                      <a:pt x="346" y="244"/>
                    </a:lnTo>
                    <a:lnTo>
                      <a:pt x="345" y="245"/>
                    </a:lnTo>
                    <a:lnTo>
                      <a:pt x="344" y="245"/>
                    </a:lnTo>
                    <a:lnTo>
                      <a:pt x="340" y="240"/>
                    </a:lnTo>
                    <a:lnTo>
                      <a:pt x="339" y="233"/>
                    </a:lnTo>
                    <a:lnTo>
                      <a:pt x="336" y="229"/>
                    </a:lnTo>
                    <a:lnTo>
                      <a:pt x="336" y="228"/>
                    </a:lnTo>
                    <a:lnTo>
                      <a:pt x="337" y="226"/>
                    </a:lnTo>
                    <a:lnTo>
                      <a:pt x="337" y="223"/>
                    </a:lnTo>
                    <a:lnTo>
                      <a:pt x="338" y="222"/>
                    </a:lnTo>
                    <a:lnTo>
                      <a:pt x="337" y="219"/>
                    </a:lnTo>
                    <a:lnTo>
                      <a:pt x="337" y="217"/>
                    </a:lnTo>
                    <a:lnTo>
                      <a:pt x="336" y="215"/>
                    </a:lnTo>
                    <a:lnTo>
                      <a:pt x="334" y="216"/>
                    </a:lnTo>
                    <a:lnTo>
                      <a:pt x="333" y="215"/>
                    </a:lnTo>
                    <a:lnTo>
                      <a:pt x="331" y="215"/>
                    </a:lnTo>
                    <a:lnTo>
                      <a:pt x="327" y="214"/>
                    </a:lnTo>
                    <a:lnTo>
                      <a:pt x="325" y="214"/>
                    </a:lnTo>
                    <a:lnTo>
                      <a:pt x="322" y="212"/>
                    </a:lnTo>
                    <a:lnTo>
                      <a:pt x="320" y="213"/>
                    </a:lnTo>
                    <a:lnTo>
                      <a:pt x="318" y="216"/>
                    </a:lnTo>
                    <a:lnTo>
                      <a:pt x="318" y="217"/>
                    </a:lnTo>
                    <a:lnTo>
                      <a:pt x="316" y="219"/>
                    </a:lnTo>
                    <a:lnTo>
                      <a:pt x="314" y="219"/>
                    </a:lnTo>
                    <a:lnTo>
                      <a:pt x="314" y="214"/>
                    </a:lnTo>
                    <a:lnTo>
                      <a:pt x="311" y="211"/>
                    </a:lnTo>
                    <a:lnTo>
                      <a:pt x="312" y="210"/>
                    </a:lnTo>
                    <a:lnTo>
                      <a:pt x="311" y="206"/>
                    </a:lnTo>
                    <a:lnTo>
                      <a:pt x="311" y="205"/>
                    </a:lnTo>
                    <a:lnTo>
                      <a:pt x="307" y="205"/>
                    </a:lnTo>
                    <a:lnTo>
                      <a:pt x="307" y="204"/>
                    </a:lnTo>
                    <a:lnTo>
                      <a:pt x="309" y="200"/>
                    </a:lnTo>
                    <a:lnTo>
                      <a:pt x="308" y="200"/>
                    </a:lnTo>
                    <a:lnTo>
                      <a:pt x="306" y="198"/>
                    </a:lnTo>
                    <a:lnTo>
                      <a:pt x="306" y="196"/>
                    </a:lnTo>
                    <a:lnTo>
                      <a:pt x="304" y="195"/>
                    </a:lnTo>
                    <a:lnTo>
                      <a:pt x="301" y="198"/>
                    </a:lnTo>
                    <a:lnTo>
                      <a:pt x="298" y="196"/>
                    </a:lnTo>
                    <a:lnTo>
                      <a:pt x="299" y="194"/>
                    </a:lnTo>
                    <a:lnTo>
                      <a:pt x="298" y="188"/>
                    </a:lnTo>
                    <a:lnTo>
                      <a:pt x="296" y="187"/>
                    </a:lnTo>
                    <a:lnTo>
                      <a:pt x="295" y="187"/>
                    </a:lnTo>
                    <a:lnTo>
                      <a:pt x="295" y="185"/>
                    </a:lnTo>
                    <a:lnTo>
                      <a:pt x="295" y="184"/>
                    </a:lnTo>
                    <a:lnTo>
                      <a:pt x="296" y="181"/>
                    </a:lnTo>
                    <a:lnTo>
                      <a:pt x="298" y="179"/>
                    </a:lnTo>
                    <a:lnTo>
                      <a:pt x="300" y="177"/>
                    </a:lnTo>
                    <a:lnTo>
                      <a:pt x="302" y="177"/>
                    </a:lnTo>
                    <a:lnTo>
                      <a:pt x="302" y="179"/>
                    </a:lnTo>
                    <a:lnTo>
                      <a:pt x="303" y="181"/>
                    </a:lnTo>
                    <a:lnTo>
                      <a:pt x="305" y="181"/>
                    </a:lnTo>
                    <a:lnTo>
                      <a:pt x="306" y="179"/>
                    </a:lnTo>
                    <a:lnTo>
                      <a:pt x="305" y="176"/>
                    </a:lnTo>
                    <a:lnTo>
                      <a:pt x="304" y="175"/>
                    </a:lnTo>
                    <a:lnTo>
                      <a:pt x="303" y="174"/>
                    </a:lnTo>
                    <a:lnTo>
                      <a:pt x="304" y="174"/>
                    </a:lnTo>
                    <a:lnTo>
                      <a:pt x="307" y="174"/>
                    </a:lnTo>
                    <a:lnTo>
                      <a:pt x="306" y="171"/>
                    </a:lnTo>
                    <a:lnTo>
                      <a:pt x="309" y="172"/>
                    </a:lnTo>
                    <a:lnTo>
                      <a:pt x="312" y="171"/>
                    </a:lnTo>
                    <a:lnTo>
                      <a:pt x="311" y="168"/>
                    </a:lnTo>
                    <a:lnTo>
                      <a:pt x="314" y="166"/>
                    </a:lnTo>
                    <a:lnTo>
                      <a:pt x="316" y="166"/>
                    </a:lnTo>
                    <a:lnTo>
                      <a:pt x="317" y="167"/>
                    </a:lnTo>
                    <a:lnTo>
                      <a:pt x="318" y="167"/>
                    </a:lnTo>
                    <a:lnTo>
                      <a:pt x="317" y="164"/>
                    </a:lnTo>
                    <a:lnTo>
                      <a:pt x="318" y="165"/>
                    </a:lnTo>
                    <a:lnTo>
                      <a:pt x="320" y="166"/>
                    </a:lnTo>
                    <a:lnTo>
                      <a:pt x="322" y="166"/>
                    </a:lnTo>
                    <a:lnTo>
                      <a:pt x="323" y="167"/>
                    </a:lnTo>
                    <a:lnTo>
                      <a:pt x="325" y="164"/>
                    </a:lnTo>
                    <a:lnTo>
                      <a:pt x="325" y="162"/>
                    </a:lnTo>
                    <a:lnTo>
                      <a:pt x="328" y="161"/>
                    </a:lnTo>
                    <a:lnTo>
                      <a:pt x="328" y="160"/>
                    </a:lnTo>
                    <a:lnTo>
                      <a:pt x="328" y="156"/>
                    </a:lnTo>
                    <a:lnTo>
                      <a:pt x="328" y="155"/>
                    </a:lnTo>
                    <a:lnTo>
                      <a:pt x="331" y="155"/>
                    </a:lnTo>
                    <a:lnTo>
                      <a:pt x="332" y="155"/>
                    </a:lnTo>
                    <a:lnTo>
                      <a:pt x="334" y="156"/>
                    </a:lnTo>
                    <a:lnTo>
                      <a:pt x="335" y="158"/>
                    </a:lnTo>
                    <a:lnTo>
                      <a:pt x="337" y="160"/>
                    </a:lnTo>
                    <a:lnTo>
                      <a:pt x="342" y="159"/>
                    </a:lnTo>
                    <a:lnTo>
                      <a:pt x="346" y="152"/>
                    </a:lnTo>
                    <a:lnTo>
                      <a:pt x="350" y="150"/>
                    </a:lnTo>
                    <a:lnTo>
                      <a:pt x="354" y="147"/>
                    </a:lnTo>
                    <a:lnTo>
                      <a:pt x="354" y="146"/>
                    </a:lnTo>
                    <a:lnTo>
                      <a:pt x="353" y="145"/>
                    </a:lnTo>
                    <a:lnTo>
                      <a:pt x="354" y="145"/>
                    </a:lnTo>
                    <a:lnTo>
                      <a:pt x="351" y="140"/>
                    </a:lnTo>
                    <a:lnTo>
                      <a:pt x="353" y="140"/>
                    </a:lnTo>
                    <a:lnTo>
                      <a:pt x="358" y="138"/>
                    </a:lnTo>
                    <a:lnTo>
                      <a:pt x="358" y="134"/>
                    </a:lnTo>
                    <a:lnTo>
                      <a:pt x="357" y="130"/>
                    </a:lnTo>
                    <a:lnTo>
                      <a:pt x="357" y="129"/>
                    </a:lnTo>
                    <a:lnTo>
                      <a:pt x="361" y="129"/>
                    </a:lnTo>
                    <a:lnTo>
                      <a:pt x="363" y="129"/>
                    </a:lnTo>
                    <a:lnTo>
                      <a:pt x="368" y="125"/>
                    </a:lnTo>
                    <a:lnTo>
                      <a:pt x="368" y="122"/>
                    </a:lnTo>
                    <a:lnTo>
                      <a:pt x="368" y="119"/>
                    </a:lnTo>
                    <a:lnTo>
                      <a:pt x="365" y="115"/>
                    </a:lnTo>
                    <a:lnTo>
                      <a:pt x="364" y="111"/>
                    </a:lnTo>
                    <a:lnTo>
                      <a:pt x="361" y="109"/>
                    </a:lnTo>
                    <a:lnTo>
                      <a:pt x="360" y="106"/>
                    </a:lnTo>
                    <a:lnTo>
                      <a:pt x="357" y="105"/>
                    </a:lnTo>
                    <a:lnTo>
                      <a:pt x="353" y="98"/>
                    </a:lnTo>
                    <a:lnTo>
                      <a:pt x="353" y="96"/>
                    </a:lnTo>
                    <a:lnTo>
                      <a:pt x="352" y="96"/>
                    </a:lnTo>
                    <a:lnTo>
                      <a:pt x="351" y="94"/>
                    </a:lnTo>
                    <a:lnTo>
                      <a:pt x="350" y="90"/>
                    </a:lnTo>
                    <a:lnTo>
                      <a:pt x="347" y="90"/>
                    </a:lnTo>
                    <a:lnTo>
                      <a:pt x="347" y="88"/>
                    </a:lnTo>
                    <a:lnTo>
                      <a:pt x="345" y="82"/>
                    </a:lnTo>
                    <a:lnTo>
                      <a:pt x="340" y="80"/>
                    </a:lnTo>
                    <a:lnTo>
                      <a:pt x="337" y="80"/>
                    </a:lnTo>
                    <a:lnTo>
                      <a:pt x="336" y="82"/>
                    </a:lnTo>
                    <a:lnTo>
                      <a:pt x="333" y="82"/>
                    </a:lnTo>
                    <a:lnTo>
                      <a:pt x="328" y="81"/>
                    </a:lnTo>
                    <a:lnTo>
                      <a:pt x="328" y="77"/>
                    </a:lnTo>
                    <a:lnTo>
                      <a:pt x="327" y="77"/>
                    </a:lnTo>
                    <a:lnTo>
                      <a:pt x="324" y="77"/>
                    </a:lnTo>
                    <a:lnTo>
                      <a:pt x="322" y="77"/>
                    </a:lnTo>
                    <a:lnTo>
                      <a:pt x="317" y="75"/>
                    </a:lnTo>
                    <a:lnTo>
                      <a:pt x="316" y="75"/>
                    </a:lnTo>
                    <a:lnTo>
                      <a:pt x="311" y="84"/>
                    </a:lnTo>
                    <a:lnTo>
                      <a:pt x="311" y="89"/>
                    </a:lnTo>
                    <a:lnTo>
                      <a:pt x="311" y="91"/>
                    </a:lnTo>
                    <a:lnTo>
                      <a:pt x="310" y="92"/>
                    </a:lnTo>
                    <a:lnTo>
                      <a:pt x="304" y="92"/>
                    </a:lnTo>
                    <a:lnTo>
                      <a:pt x="301" y="94"/>
                    </a:lnTo>
                    <a:lnTo>
                      <a:pt x="300" y="92"/>
                    </a:lnTo>
                    <a:lnTo>
                      <a:pt x="300" y="88"/>
                    </a:lnTo>
                    <a:lnTo>
                      <a:pt x="298" y="85"/>
                    </a:lnTo>
                    <a:lnTo>
                      <a:pt x="293" y="80"/>
                    </a:lnTo>
                    <a:lnTo>
                      <a:pt x="290" y="81"/>
                    </a:lnTo>
                    <a:lnTo>
                      <a:pt x="289" y="78"/>
                    </a:lnTo>
                    <a:lnTo>
                      <a:pt x="288" y="77"/>
                    </a:lnTo>
                    <a:lnTo>
                      <a:pt x="287" y="76"/>
                    </a:lnTo>
                    <a:lnTo>
                      <a:pt x="284" y="76"/>
                    </a:lnTo>
                    <a:lnTo>
                      <a:pt x="283" y="75"/>
                    </a:lnTo>
                    <a:lnTo>
                      <a:pt x="280" y="75"/>
                    </a:lnTo>
                    <a:lnTo>
                      <a:pt x="279" y="78"/>
                    </a:lnTo>
                    <a:lnTo>
                      <a:pt x="278" y="79"/>
                    </a:lnTo>
                    <a:lnTo>
                      <a:pt x="276" y="79"/>
                    </a:lnTo>
                    <a:lnTo>
                      <a:pt x="276" y="81"/>
                    </a:lnTo>
                    <a:lnTo>
                      <a:pt x="272" y="84"/>
                    </a:lnTo>
                    <a:lnTo>
                      <a:pt x="270" y="84"/>
                    </a:lnTo>
                    <a:lnTo>
                      <a:pt x="270" y="85"/>
                    </a:lnTo>
                    <a:lnTo>
                      <a:pt x="268" y="87"/>
                    </a:lnTo>
                    <a:lnTo>
                      <a:pt x="267" y="94"/>
                    </a:lnTo>
                    <a:lnTo>
                      <a:pt x="267" y="96"/>
                    </a:lnTo>
                    <a:lnTo>
                      <a:pt x="266" y="97"/>
                    </a:lnTo>
                    <a:lnTo>
                      <a:pt x="262" y="95"/>
                    </a:lnTo>
                    <a:lnTo>
                      <a:pt x="257" y="102"/>
                    </a:lnTo>
                    <a:lnTo>
                      <a:pt x="255" y="99"/>
                    </a:lnTo>
                    <a:lnTo>
                      <a:pt x="255" y="98"/>
                    </a:lnTo>
                    <a:lnTo>
                      <a:pt x="253" y="98"/>
                    </a:lnTo>
                    <a:lnTo>
                      <a:pt x="249" y="95"/>
                    </a:lnTo>
                    <a:lnTo>
                      <a:pt x="248" y="94"/>
                    </a:lnTo>
                    <a:lnTo>
                      <a:pt x="248" y="92"/>
                    </a:lnTo>
                    <a:lnTo>
                      <a:pt x="251" y="90"/>
                    </a:lnTo>
                    <a:lnTo>
                      <a:pt x="254" y="89"/>
                    </a:lnTo>
                    <a:lnTo>
                      <a:pt x="258" y="86"/>
                    </a:lnTo>
                    <a:lnTo>
                      <a:pt x="257" y="85"/>
                    </a:lnTo>
                    <a:lnTo>
                      <a:pt x="254" y="84"/>
                    </a:lnTo>
                    <a:lnTo>
                      <a:pt x="254" y="80"/>
                    </a:lnTo>
                    <a:lnTo>
                      <a:pt x="253" y="79"/>
                    </a:lnTo>
                    <a:lnTo>
                      <a:pt x="254" y="77"/>
                    </a:lnTo>
                    <a:lnTo>
                      <a:pt x="254" y="72"/>
                    </a:lnTo>
                    <a:lnTo>
                      <a:pt x="254" y="69"/>
                    </a:lnTo>
                    <a:lnTo>
                      <a:pt x="254" y="66"/>
                    </a:lnTo>
                    <a:lnTo>
                      <a:pt x="253" y="65"/>
                    </a:lnTo>
                    <a:lnTo>
                      <a:pt x="252" y="63"/>
                    </a:lnTo>
                    <a:lnTo>
                      <a:pt x="252" y="61"/>
                    </a:lnTo>
                    <a:lnTo>
                      <a:pt x="252" y="60"/>
                    </a:lnTo>
                    <a:lnTo>
                      <a:pt x="246" y="56"/>
                    </a:lnTo>
                    <a:lnTo>
                      <a:pt x="242" y="56"/>
                    </a:lnTo>
                    <a:lnTo>
                      <a:pt x="241" y="56"/>
                    </a:lnTo>
                    <a:lnTo>
                      <a:pt x="239" y="58"/>
                    </a:lnTo>
                    <a:lnTo>
                      <a:pt x="237" y="57"/>
                    </a:lnTo>
                    <a:lnTo>
                      <a:pt x="235" y="59"/>
                    </a:lnTo>
                    <a:lnTo>
                      <a:pt x="233" y="58"/>
                    </a:lnTo>
                    <a:lnTo>
                      <a:pt x="230" y="59"/>
                    </a:lnTo>
                    <a:lnTo>
                      <a:pt x="224" y="61"/>
                    </a:lnTo>
                    <a:lnTo>
                      <a:pt x="223" y="63"/>
                    </a:lnTo>
                    <a:lnTo>
                      <a:pt x="218" y="60"/>
                    </a:lnTo>
                    <a:lnTo>
                      <a:pt x="218" y="58"/>
                    </a:lnTo>
                    <a:lnTo>
                      <a:pt x="218" y="56"/>
                    </a:lnTo>
                    <a:lnTo>
                      <a:pt x="218" y="50"/>
                    </a:lnTo>
                    <a:lnTo>
                      <a:pt x="216" y="48"/>
                    </a:lnTo>
                    <a:lnTo>
                      <a:pt x="216" y="44"/>
                    </a:lnTo>
                    <a:lnTo>
                      <a:pt x="215" y="43"/>
                    </a:lnTo>
                    <a:lnTo>
                      <a:pt x="213" y="38"/>
                    </a:lnTo>
                    <a:lnTo>
                      <a:pt x="211" y="35"/>
                    </a:lnTo>
                    <a:lnTo>
                      <a:pt x="213" y="27"/>
                    </a:lnTo>
                    <a:lnTo>
                      <a:pt x="210" y="24"/>
                    </a:lnTo>
                    <a:lnTo>
                      <a:pt x="210" y="21"/>
                    </a:lnTo>
                    <a:lnTo>
                      <a:pt x="202" y="22"/>
                    </a:lnTo>
                    <a:lnTo>
                      <a:pt x="202" y="24"/>
                    </a:lnTo>
                    <a:lnTo>
                      <a:pt x="199" y="26"/>
                    </a:lnTo>
                    <a:lnTo>
                      <a:pt x="194" y="24"/>
                    </a:lnTo>
                    <a:lnTo>
                      <a:pt x="190" y="26"/>
                    </a:lnTo>
                    <a:lnTo>
                      <a:pt x="188" y="27"/>
                    </a:lnTo>
                    <a:lnTo>
                      <a:pt x="187" y="27"/>
                    </a:lnTo>
                    <a:lnTo>
                      <a:pt x="183" y="24"/>
                    </a:lnTo>
                    <a:lnTo>
                      <a:pt x="179" y="25"/>
                    </a:lnTo>
                    <a:lnTo>
                      <a:pt x="177" y="24"/>
                    </a:lnTo>
                    <a:lnTo>
                      <a:pt x="175" y="22"/>
                    </a:lnTo>
                    <a:lnTo>
                      <a:pt x="174" y="18"/>
                    </a:lnTo>
                    <a:lnTo>
                      <a:pt x="173" y="17"/>
                    </a:lnTo>
                    <a:lnTo>
                      <a:pt x="170" y="15"/>
                    </a:lnTo>
                    <a:lnTo>
                      <a:pt x="168" y="13"/>
                    </a:lnTo>
                    <a:lnTo>
                      <a:pt x="165" y="13"/>
                    </a:lnTo>
                    <a:lnTo>
                      <a:pt x="158" y="10"/>
                    </a:lnTo>
                    <a:lnTo>
                      <a:pt x="157" y="5"/>
                    </a:lnTo>
                    <a:lnTo>
                      <a:pt x="154" y="3"/>
                    </a:lnTo>
                    <a:lnTo>
                      <a:pt x="147" y="1"/>
                    </a:lnTo>
                    <a:lnTo>
                      <a:pt x="142" y="3"/>
                    </a:lnTo>
                    <a:lnTo>
                      <a:pt x="140" y="0"/>
                    </a:lnTo>
                    <a:lnTo>
                      <a:pt x="136" y="0"/>
                    </a:lnTo>
                    <a:lnTo>
                      <a:pt x="136" y="6"/>
                    </a:lnTo>
                    <a:lnTo>
                      <a:pt x="136" y="9"/>
                    </a:lnTo>
                    <a:lnTo>
                      <a:pt x="137" y="12"/>
                    </a:lnTo>
                    <a:lnTo>
                      <a:pt x="142" y="17"/>
                    </a:lnTo>
                    <a:lnTo>
                      <a:pt x="144" y="22"/>
                    </a:lnTo>
                    <a:lnTo>
                      <a:pt x="142" y="25"/>
                    </a:lnTo>
                    <a:lnTo>
                      <a:pt x="139" y="30"/>
                    </a:lnTo>
                    <a:lnTo>
                      <a:pt x="138" y="31"/>
                    </a:lnTo>
                    <a:lnTo>
                      <a:pt x="141" y="34"/>
                    </a:lnTo>
                    <a:lnTo>
                      <a:pt x="139" y="39"/>
                    </a:lnTo>
                    <a:lnTo>
                      <a:pt x="140" y="41"/>
                    </a:lnTo>
                    <a:lnTo>
                      <a:pt x="138" y="44"/>
                    </a:lnTo>
                    <a:lnTo>
                      <a:pt x="138" y="47"/>
                    </a:lnTo>
                    <a:lnTo>
                      <a:pt x="139" y="47"/>
                    </a:lnTo>
                    <a:lnTo>
                      <a:pt x="140" y="58"/>
                    </a:lnTo>
                    <a:lnTo>
                      <a:pt x="142" y="60"/>
                    </a:lnTo>
                    <a:lnTo>
                      <a:pt x="139" y="63"/>
                    </a:lnTo>
                    <a:lnTo>
                      <a:pt x="137" y="67"/>
                    </a:lnTo>
                    <a:lnTo>
                      <a:pt x="137" y="68"/>
                    </a:lnTo>
                    <a:lnTo>
                      <a:pt x="141" y="71"/>
                    </a:lnTo>
                    <a:lnTo>
                      <a:pt x="142" y="74"/>
                    </a:lnTo>
                    <a:lnTo>
                      <a:pt x="142" y="77"/>
                    </a:lnTo>
                    <a:lnTo>
                      <a:pt x="145" y="79"/>
                    </a:lnTo>
                    <a:lnTo>
                      <a:pt x="142" y="81"/>
                    </a:lnTo>
                    <a:lnTo>
                      <a:pt x="139" y="85"/>
                    </a:lnTo>
                    <a:lnTo>
                      <a:pt x="140" y="87"/>
                    </a:lnTo>
                    <a:lnTo>
                      <a:pt x="135" y="94"/>
                    </a:lnTo>
                    <a:lnTo>
                      <a:pt x="137" y="97"/>
                    </a:lnTo>
                    <a:lnTo>
                      <a:pt x="141" y="98"/>
                    </a:lnTo>
                    <a:lnTo>
                      <a:pt x="140" y="99"/>
                    </a:lnTo>
                    <a:lnTo>
                      <a:pt x="138" y="100"/>
                    </a:lnTo>
                    <a:lnTo>
                      <a:pt x="142" y="105"/>
                    </a:lnTo>
                    <a:lnTo>
                      <a:pt x="140" y="105"/>
                    </a:lnTo>
                    <a:lnTo>
                      <a:pt x="142" y="106"/>
                    </a:lnTo>
                    <a:lnTo>
                      <a:pt x="143" y="109"/>
                    </a:lnTo>
                    <a:lnTo>
                      <a:pt x="145" y="111"/>
                    </a:lnTo>
                    <a:lnTo>
                      <a:pt x="145" y="112"/>
                    </a:lnTo>
                    <a:lnTo>
                      <a:pt x="146" y="113"/>
                    </a:lnTo>
                    <a:lnTo>
                      <a:pt x="147" y="116"/>
                    </a:lnTo>
                    <a:lnTo>
                      <a:pt x="148" y="116"/>
                    </a:lnTo>
                    <a:lnTo>
                      <a:pt x="148" y="119"/>
                    </a:lnTo>
                    <a:lnTo>
                      <a:pt x="149" y="122"/>
                    </a:lnTo>
                    <a:lnTo>
                      <a:pt x="149" y="123"/>
                    </a:lnTo>
                    <a:lnTo>
                      <a:pt x="140" y="123"/>
                    </a:lnTo>
                    <a:lnTo>
                      <a:pt x="138" y="124"/>
                    </a:lnTo>
                    <a:lnTo>
                      <a:pt x="137" y="125"/>
                    </a:lnTo>
                    <a:lnTo>
                      <a:pt x="137" y="122"/>
                    </a:lnTo>
                    <a:lnTo>
                      <a:pt x="136" y="124"/>
                    </a:lnTo>
                    <a:lnTo>
                      <a:pt x="136" y="125"/>
                    </a:lnTo>
                    <a:lnTo>
                      <a:pt x="135" y="125"/>
                    </a:lnTo>
                    <a:lnTo>
                      <a:pt x="135" y="121"/>
                    </a:lnTo>
                    <a:lnTo>
                      <a:pt x="134" y="121"/>
                    </a:lnTo>
                    <a:lnTo>
                      <a:pt x="134" y="122"/>
                    </a:lnTo>
                    <a:lnTo>
                      <a:pt x="133" y="121"/>
                    </a:lnTo>
                    <a:lnTo>
                      <a:pt x="133" y="120"/>
                    </a:lnTo>
                    <a:lnTo>
                      <a:pt x="132" y="120"/>
                    </a:lnTo>
                    <a:lnTo>
                      <a:pt x="132" y="119"/>
                    </a:lnTo>
                    <a:lnTo>
                      <a:pt x="131" y="119"/>
                    </a:lnTo>
                    <a:lnTo>
                      <a:pt x="129" y="120"/>
                    </a:lnTo>
                    <a:lnTo>
                      <a:pt x="128" y="120"/>
                    </a:lnTo>
                    <a:lnTo>
                      <a:pt x="126" y="121"/>
                    </a:lnTo>
                    <a:lnTo>
                      <a:pt x="125" y="120"/>
                    </a:lnTo>
                    <a:lnTo>
                      <a:pt x="125" y="124"/>
                    </a:lnTo>
                    <a:lnTo>
                      <a:pt x="122" y="124"/>
                    </a:lnTo>
                    <a:lnTo>
                      <a:pt x="121" y="122"/>
                    </a:lnTo>
                    <a:lnTo>
                      <a:pt x="120" y="122"/>
                    </a:lnTo>
                    <a:lnTo>
                      <a:pt x="119" y="121"/>
                    </a:lnTo>
                    <a:lnTo>
                      <a:pt x="117" y="121"/>
                    </a:lnTo>
                    <a:lnTo>
                      <a:pt x="117" y="119"/>
                    </a:lnTo>
                    <a:lnTo>
                      <a:pt x="113" y="113"/>
                    </a:lnTo>
                    <a:lnTo>
                      <a:pt x="113" y="111"/>
                    </a:lnTo>
                    <a:lnTo>
                      <a:pt x="114" y="111"/>
                    </a:lnTo>
                    <a:lnTo>
                      <a:pt x="114" y="110"/>
                    </a:lnTo>
                    <a:lnTo>
                      <a:pt x="113" y="109"/>
                    </a:lnTo>
                    <a:lnTo>
                      <a:pt x="109" y="106"/>
                    </a:lnTo>
                    <a:lnTo>
                      <a:pt x="109" y="108"/>
                    </a:lnTo>
                    <a:lnTo>
                      <a:pt x="108" y="109"/>
                    </a:lnTo>
                    <a:lnTo>
                      <a:pt x="109" y="111"/>
                    </a:lnTo>
                    <a:lnTo>
                      <a:pt x="109" y="113"/>
                    </a:lnTo>
                    <a:lnTo>
                      <a:pt x="108" y="113"/>
                    </a:lnTo>
                    <a:lnTo>
                      <a:pt x="107" y="113"/>
                    </a:lnTo>
                    <a:lnTo>
                      <a:pt x="105" y="111"/>
                    </a:lnTo>
                    <a:lnTo>
                      <a:pt x="104" y="116"/>
                    </a:lnTo>
                    <a:lnTo>
                      <a:pt x="101" y="116"/>
                    </a:lnTo>
                    <a:lnTo>
                      <a:pt x="97" y="116"/>
                    </a:lnTo>
                    <a:lnTo>
                      <a:pt x="96" y="119"/>
                    </a:lnTo>
                    <a:lnTo>
                      <a:pt x="97" y="121"/>
                    </a:lnTo>
                    <a:lnTo>
                      <a:pt x="97" y="125"/>
                    </a:lnTo>
                    <a:lnTo>
                      <a:pt x="100" y="127"/>
                    </a:lnTo>
                    <a:lnTo>
                      <a:pt x="99" y="129"/>
                    </a:lnTo>
                    <a:lnTo>
                      <a:pt x="97" y="129"/>
                    </a:lnTo>
                    <a:lnTo>
                      <a:pt x="98" y="130"/>
                    </a:lnTo>
                    <a:lnTo>
                      <a:pt x="96" y="132"/>
                    </a:lnTo>
                    <a:lnTo>
                      <a:pt x="96" y="133"/>
                    </a:lnTo>
                    <a:lnTo>
                      <a:pt x="94" y="133"/>
                    </a:lnTo>
                    <a:lnTo>
                      <a:pt x="93" y="130"/>
                    </a:lnTo>
                    <a:lnTo>
                      <a:pt x="92" y="131"/>
                    </a:lnTo>
                    <a:lnTo>
                      <a:pt x="91" y="132"/>
                    </a:lnTo>
                    <a:lnTo>
                      <a:pt x="92" y="134"/>
                    </a:lnTo>
                    <a:lnTo>
                      <a:pt x="92" y="135"/>
                    </a:lnTo>
                    <a:lnTo>
                      <a:pt x="91" y="134"/>
                    </a:lnTo>
                    <a:lnTo>
                      <a:pt x="91" y="135"/>
                    </a:lnTo>
                    <a:lnTo>
                      <a:pt x="89" y="133"/>
                    </a:lnTo>
                    <a:lnTo>
                      <a:pt x="88" y="135"/>
                    </a:lnTo>
                    <a:lnTo>
                      <a:pt x="87" y="134"/>
                    </a:lnTo>
                    <a:lnTo>
                      <a:pt x="85" y="135"/>
                    </a:lnTo>
                    <a:lnTo>
                      <a:pt x="82" y="134"/>
                    </a:lnTo>
                    <a:lnTo>
                      <a:pt x="82" y="132"/>
                    </a:lnTo>
                    <a:lnTo>
                      <a:pt x="81" y="132"/>
                    </a:lnTo>
                    <a:lnTo>
                      <a:pt x="82" y="132"/>
                    </a:lnTo>
                    <a:lnTo>
                      <a:pt x="82" y="130"/>
                    </a:lnTo>
                    <a:lnTo>
                      <a:pt x="80" y="130"/>
                    </a:lnTo>
                    <a:lnTo>
                      <a:pt x="80" y="129"/>
                    </a:lnTo>
                    <a:lnTo>
                      <a:pt x="83" y="130"/>
                    </a:lnTo>
                    <a:lnTo>
                      <a:pt x="83" y="129"/>
                    </a:lnTo>
                    <a:lnTo>
                      <a:pt x="82" y="129"/>
                    </a:lnTo>
                    <a:lnTo>
                      <a:pt x="81" y="126"/>
                    </a:lnTo>
                    <a:lnTo>
                      <a:pt x="82" y="126"/>
                    </a:lnTo>
                    <a:lnTo>
                      <a:pt x="81" y="123"/>
                    </a:lnTo>
                    <a:lnTo>
                      <a:pt x="82" y="122"/>
                    </a:lnTo>
                    <a:lnTo>
                      <a:pt x="80" y="121"/>
                    </a:lnTo>
                    <a:lnTo>
                      <a:pt x="78" y="122"/>
                    </a:lnTo>
                    <a:lnTo>
                      <a:pt x="77" y="127"/>
                    </a:lnTo>
                    <a:lnTo>
                      <a:pt x="75" y="125"/>
                    </a:lnTo>
                    <a:lnTo>
                      <a:pt x="74" y="123"/>
                    </a:lnTo>
                    <a:lnTo>
                      <a:pt x="72" y="122"/>
                    </a:lnTo>
                    <a:lnTo>
                      <a:pt x="71" y="122"/>
                    </a:lnTo>
                    <a:lnTo>
                      <a:pt x="70" y="119"/>
                    </a:lnTo>
                    <a:lnTo>
                      <a:pt x="71" y="117"/>
                    </a:lnTo>
                    <a:lnTo>
                      <a:pt x="68" y="116"/>
                    </a:lnTo>
                    <a:lnTo>
                      <a:pt x="67" y="117"/>
                    </a:lnTo>
                    <a:lnTo>
                      <a:pt x="66" y="117"/>
                    </a:lnTo>
                    <a:lnTo>
                      <a:pt x="66" y="115"/>
                    </a:lnTo>
                    <a:lnTo>
                      <a:pt x="64" y="117"/>
                    </a:lnTo>
                    <a:lnTo>
                      <a:pt x="63" y="116"/>
                    </a:lnTo>
                    <a:lnTo>
                      <a:pt x="60" y="115"/>
                    </a:lnTo>
                    <a:lnTo>
                      <a:pt x="60" y="113"/>
                    </a:lnTo>
                    <a:lnTo>
                      <a:pt x="57" y="111"/>
                    </a:lnTo>
                    <a:lnTo>
                      <a:pt x="56" y="110"/>
                    </a:lnTo>
                    <a:lnTo>
                      <a:pt x="54" y="110"/>
                    </a:lnTo>
                    <a:lnTo>
                      <a:pt x="53" y="111"/>
                    </a:lnTo>
                    <a:lnTo>
                      <a:pt x="52" y="109"/>
                    </a:lnTo>
                    <a:lnTo>
                      <a:pt x="51" y="110"/>
                    </a:lnTo>
                    <a:lnTo>
                      <a:pt x="50" y="110"/>
                    </a:lnTo>
                    <a:lnTo>
                      <a:pt x="49" y="111"/>
                    </a:lnTo>
                    <a:lnTo>
                      <a:pt x="48" y="113"/>
                    </a:lnTo>
                    <a:lnTo>
                      <a:pt x="45" y="114"/>
                    </a:lnTo>
                    <a:lnTo>
                      <a:pt x="45" y="116"/>
                    </a:lnTo>
                    <a:lnTo>
                      <a:pt x="43" y="116"/>
                    </a:lnTo>
                    <a:lnTo>
                      <a:pt x="44" y="117"/>
                    </a:lnTo>
                    <a:lnTo>
                      <a:pt x="43" y="120"/>
                    </a:lnTo>
                    <a:lnTo>
                      <a:pt x="43" y="121"/>
                    </a:lnTo>
                    <a:lnTo>
                      <a:pt x="41" y="121"/>
                    </a:lnTo>
                    <a:lnTo>
                      <a:pt x="40" y="121"/>
                    </a:lnTo>
                    <a:lnTo>
                      <a:pt x="38" y="122"/>
                    </a:lnTo>
                    <a:lnTo>
                      <a:pt x="35" y="118"/>
                    </a:lnTo>
                    <a:lnTo>
                      <a:pt x="32" y="116"/>
                    </a:lnTo>
                    <a:lnTo>
                      <a:pt x="29" y="115"/>
                    </a:lnTo>
                    <a:lnTo>
                      <a:pt x="28" y="113"/>
                    </a:lnTo>
                    <a:lnTo>
                      <a:pt x="27" y="111"/>
                    </a:lnTo>
                    <a:lnTo>
                      <a:pt x="22" y="108"/>
                    </a:lnTo>
                    <a:lnTo>
                      <a:pt x="22" y="109"/>
                    </a:lnTo>
                    <a:lnTo>
                      <a:pt x="20" y="108"/>
                    </a:lnTo>
                    <a:lnTo>
                      <a:pt x="20" y="106"/>
                    </a:lnTo>
                    <a:lnTo>
                      <a:pt x="19" y="105"/>
                    </a:lnTo>
                    <a:lnTo>
                      <a:pt x="19" y="106"/>
                    </a:lnTo>
                    <a:lnTo>
                      <a:pt x="18" y="106"/>
                    </a:lnTo>
                    <a:lnTo>
                      <a:pt x="18" y="108"/>
                    </a:lnTo>
                    <a:lnTo>
                      <a:pt x="17" y="108"/>
                    </a:lnTo>
                    <a:lnTo>
                      <a:pt x="17" y="109"/>
                    </a:lnTo>
                    <a:lnTo>
                      <a:pt x="15" y="109"/>
                    </a:lnTo>
                    <a:lnTo>
                      <a:pt x="15" y="110"/>
                    </a:lnTo>
                    <a:lnTo>
                      <a:pt x="11" y="110"/>
                    </a:lnTo>
                    <a:lnTo>
                      <a:pt x="10" y="111"/>
                    </a:lnTo>
                    <a:lnTo>
                      <a:pt x="10" y="115"/>
                    </a:lnTo>
                    <a:lnTo>
                      <a:pt x="10" y="116"/>
                    </a:lnTo>
                    <a:lnTo>
                      <a:pt x="11" y="116"/>
                    </a:lnTo>
                    <a:lnTo>
                      <a:pt x="14" y="120"/>
                    </a:lnTo>
                    <a:lnTo>
                      <a:pt x="14" y="122"/>
                    </a:lnTo>
                    <a:lnTo>
                      <a:pt x="13" y="124"/>
                    </a:lnTo>
                    <a:lnTo>
                      <a:pt x="13" y="125"/>
                    </a:lnTo>
                    <a:lnTo>
                      <a:pt x="14" y="125"/>
                    </a:lnTo>
                    <a:lnTo>
                      <a:pt x="16" y="127"/>
                    </a:lnTo>
                    <a:lnTo>
                      <a:pt x="15" y="128"/>
                    </a:lnTo>
                    <a:lnTo>
                      <a:pt x="15" y="129"/>
                    </a:lnTo>
                    <a:lnTo>
                      <a:pt x="14" y="129"/>
                    </a:lnTo>
                    <a:lnTo>
                      <a:pt x="13" y="129"/>
                    </a:lnTo>
                    <a:lnTo>
                      <a:pt x="14" y="129"/>
                    </a:lnTo>
                    <a:lnTo>
                      <a:pt x="14" y="130"/>
                    </a:lnTo>
                    <a:lnTo>
                      <a:pt x="13" y="132"/>
                    </a:lnTo>
                    <a:lnTo>
                      <a:pt x="14" y="132"/>
                    </a:lnTo>
                    <a:lnTo>
                      <a:pt x="13" y="134"/>
                    </a:lnTo>
                    <a:lnTo>
                      <a:pt x="13" y="136"/>
                    </a:lnTo>
                    <a:lnTo>
                      <a:pt x="11" y="138"/>
                    </a:lnTo>
                    <a:lnTo>
                      <a:pt x="11" y="140"/>
                    </a:lnTo>
                    <a:lnTo>
                      <a:pt x="13" y="139"/>
                    </a:lnTo>
                    <a:lnTo>
                      <a:pt x="13" y="141"/>
                    </a:lnTo>
                    <a:lnTo>
                      <a:pt x="15" y="140"/>
                    </a:lnTo>
                    <a:lnTo>
                      <a:pt x="15" y="141"/>
                    </a:lnTo>
                    <a:lnTo>
                      <a:pt x="17" y="145"/>
                    </a:lnTo>
                    <a:lnTo>
                      <a:pt x="17" y="146"/>
                    </a:lnTo>
                    <a:lnTo>
                      <a:pt x="15" y="146"/>
                    </a:lnTo>
                    <a:lnTo>
                      <a:pt x="15" y="148"/>
                    </a:lnTo>
                    <a:lnTo>
                      <a:pt x="16" y="149"/>
                    </a:lnTo>
                    <a:lnTo>
                      <a:pt x="16" y="150"/>
                    </a:lnTo>
                    <a:lnTo>
                      <a:pt x="19" y="151"/>
                    </a:lnTo>
                    <a:lnTo>
                      <a:pt x="15" y="160"/>
                    </a:lnTo>
                    <a:lnTo>
                      <a:pt x="15" y="159"/>
                    </a:lnTo>
                    <a:lnTo>
                      <a:pt x="14" y="160"/>
                    </a:lnTo>
                    <a:lnTo>
                      <a:pt x="13" y="159"/>
                    </a:lnTo>
                    <a:lnTo>
                      <a:pt x="13" y="160"/>
                    </a:lnTo>
                    <a:lnTo>
                      <a:pt x="10" y="160"/>
                    </a:lnTo>
                    <a:lnTo>
                      <a:pt x="10" y="163"/>
                    </a:lnTo>
                    <a:lnTo>
                      <a:pt x="11" y="163"/>
                    </a:lnTo>
                    <a:lnTo>
                      <a:pt x="11" y="164"/>
                    </a:lnTo>
                    <a:lnTo>
                      <a:pt x="10" y="165"/>
                    </a:lnTo>
                    <a:lnTo>
                      <a:pt x="11" y="167"/>
                    </a:lnTo>
                    <a:lnTo>
                      <a:pt x="11" y="168"/>
                    </a:lnTo>
                    <a:lnTo>
                      <a:pt x="10" y="168"/>
                    </a:lnTo>
                    <a:lnTo>
                      <a:pt x="9" y="169"/>
                    </a:lnTo>
                    <a:lnTo>
                      <a:pt x="8" y="169"/>
                    </a:lnTo>
                    <a:lnTo>
                      <a:pt x="9" y="168"/>
                    </a:lnTo>
                    <a:lnTo>
                      <a:pt x="8" y="168"/>
                    </a:lnTo>
                    <a:lnTo>
                      <a:pt x="7" y="168"/>
                    </a:lnTo>
                    <a:lnTo>
                      <a:pt x="6" y="168"/>
                    </a:lnTo>
                    <a:lnTo>
                      <a:pt x="5" y="167"/>
                    </a:lnTo>
                    <a:lnTo>
                      <a:pt x="3" y="169"/>
                    </a:lnTo>
                    <a:lnTo>
                      <a:pt x="0" y="172"/>
                    </a:lnTo>
                    <a:lnTo>
                      <a:pt x="2" y="175"/>
                    </a:lnTo>
                    <a:lnTo>
                      <a:pt x="3" y="177"/>
                    </a:lnTo>
                    <a:lnTo>
                      <a:pt x="5" y="177"/>
                    </a:lnTo>
                    <a:lnTo>
                      <a:pt x="7" y="180"/>
                    </a:lnTo>
                    <a:lnTo>
                      <a:pt x="6" y="180"/>
                    </a:lnTo>
                    <a:lnTo>
                      <a:pt x="4" y="181"/>
                    </a:lnTo>
                    <a:lnTo>
                      <a:pt x="5" y="185"/>
                    </a:lnTo>
                    <a:lnTo>
                      <a:pt x="5" y="187"/>
                    </a:lnTo>
                    <a:lnTo>
                      <a:pt x="7" y="189"/>
                    </a:lnTo>
                    <a:lnTo>
                      <a:pt x="9" y="191"/>
                    </a:lnTo>
                    <a:lnTo>
                      <a:pt x="11" y="192"/>
                    </a:lnTo>
                    <a:lnTo>
                      <a:pt x="13" y="191"/>
                    </a:lnTo>
                    <a:lnTo>
                      <a:pt x="15" y="188"/>
                    </a:lnTo>
                    <a:lnTo>
                      <a:pt x="16" y="191"/>
                    </a:lnTo>
                    <a:lnTo>
                      <a:pt x="20" y="193"/>
                    </a:lnTo>
                    <a:lnTo>
                      <a:pt x="21" y="193"/>
                    </a:lnTo>
                    <a:lnTo>
                      <a:pt x="20" y="194"/>
                    </a:lnTo>
                    <a:lnTo>
                      <a:pt x="19" y="194"/>
                    </a:lnTo>
                    <a:lnTo>
                      <a:pt x="19" y="198"/>
                    </a:lnTo>
                    <a:lnTo>
                      <a:pt x="20" y="198"/>
                    </a:lnTo>
                    <a:lnTo>
                      <a:pt x="22" y="197"/>
                    </a:lnTo>
                    <a:lnTo>
                      <a:pt x="22" y="198"/>
                    </a:lnTo>
                    <a:lnTo>
                      <a:pt x="23" y="200"/>
                    </a:lnTo>
                    <a:lnTo>
                      <a:pt x="24" y="200"/>
                    </a:lnTo>
                    <a:lnTo>
                      <a:pt x="25" y="202"/>
                    </a:lnTo>
                    <a:lnTo>
                      <a:pt x="26" y="202"/>
                    </a:lnTo>
                    <a:lnTo>
                      <a:pt x="27" y="204"/>
                    </a:lnTo>
                    <a:lnTo>
                      <a:pt x="27" y="206"/>
                    </a:lnTo>
                    <a:lnTo>
                      <a:pt x="26" y="205"/>
                    </a:lnTo>
                    <a:lnTo>
                      <a:pt x="23" y="206"/>
                    </a:lnTo>
                    <a:lnTo>
                      <a:pt x="23" y="208"/>
                    </a:lnTo>
                    <a:lnTo>
                      <a:pt x="25" y="209"/>
                    </a:lnTo>
                    <a:lnTo>
                      <a:pt x="25" y="211"/>
                    </a:lnTo>
                    <a:lnTo>
                      <a:pt x="23" y="213"/>
                    </a:lnTo>
                    <a:lnTo>
                      <a:pt x="25" y="214"/>
                    </a:lnTo>
                    <a:lnTo>
                      <a:pt x="28" y="217"/>
                    </a:lnTo>
                    <a:lnTo>
                      <a:pt x="28" y="218"/>
                    </a:lnTo>
                    <a:lnTo>
                      <a:pt x="29" y="219"/>
                    </a:lnTo>
                    <a:lnTo>
                      <a:pt x="30" y="217"/>
                    </a:lnTo>
                    <a:lnTo>
                      <a:pt x="30" y="219"/>
                    </a:lnTo>
                    <a:lnTo>
                      <a:pt x="31" y="219"/>
                    </a:lnTo>
                    <a:lnTo>
                      <a:pt x="32" y="219"/>
                    </a:lnTo>
                    <a:lnTo>
                      <a:pt x="32" y="217"/>
                    </a:lnTo>
                    <a:lnTo>
                      <a:pt x="36" y="218"/>
                    </a:lnTo>
                    <a:lnTo>
                      <a:pt x="38" y="216"/>
                    </a:lnTo>
                    <a:lnTo>
                      <a:pt x="39" y="216"/>
                    </a:lnTo>
                    <a:lnTo>
                      <a:pt x="39" y="217"/>
                    </a:lnTo>
                    <a:lnTo>
                      <a:pt x="41" y="219"/>
                    </a:lnTo>
                    <a:lnTo>
                      <a:pt x="42" y="219"/>
                    </a:lnTo>
                    <a:lnTo>
                      <a:pt x="43" y="220"/>
                    </a:lnTo>
                    <a:lnTo>
                      <a:pt x="44" y="219"/>
                    </a:lnTo>
                    <a:lnTo>
                      <a:pt x="46" y="221"/>
                    </a:lnTo>
                    <a:lnTo>
                      <a:pt x="49" y="223"/>
                    </a:lnTo>
                    <a:lnTo>
                      <a:pt x="48" y="223"/>
                    </a:lnTo>
                    <a:lnTo>
                      <a:pt x="49" y="225"/>
                    </a:lnTo>
                    <a:lnTo>
                      <a:pt x="50" y="224"/>
                    </a:lnTo>
                    <a:lnTo>
                      <a:pt x="52" y="223"/>
                    </a:lnTo>
                    <a:lnTo>
                      <a:pt x="53" y="220"/>
                    </a:lnTo>
                    <a:lnTo>
                      <a:pt x="56" y="221"/>
                    </a:lnTo>
                    <a:lnTo>
                      <a:pt x="57" y="219"/>
                    </a:lnTo>
                    <a:lnTo>
                      <a:pt x="59" y="219"/>
                    </a:lnTo>
                    <a:lnTo>
                      <a:pt x="60" y="219"/>
                    </a:lnTo>
                    <a:lnTo>
                      <a:pt x="62" y="219"/>
                    </a:lnTo>
                    <a:lnTo>
                      <a:pt x="63" y="217"/>
                    </a:lnTo>
                    <a:lnTo>
                      <a:pt x="63" y="219"/>
                    </a:lnTo>
                    <a:lnTo>
                      <a:pt x="63" y="222"/>
                    </a:lnTo>
                    <a:lnTo>
                      <a:pt x="64" y="222"/>
                    </a:lnTo>
                    <a:lnTo>
                      <a:pt x="64" y="223"/>
                    </a:lnTo>
                    <a:lnTo>
                      <a:pt x="66" y="223"/>
                    </a:lnTo>
                    <a:lnTo>
                      <a:pt x="67" y="224"/>
                    </a:lnTo>
                    <a:lnTo>
                      <a:pt x="67" y="225"/>
                    </a:lnTo>
                    <a:lnTo>
                      <a:pt x="69" y="225"/>
                    </a:lnTo>
                    <a:lnTo>
                      <a:pt x="69" y="227"/>
                    </a:lnTo>
                    <a:lnTo>
                      <a:pt x="68" y="228"/>
                    </a:lnTo>
                    <a:lnTo>
                      <a:pt x="68" y="230"/>
                    </a:lnTo>
                    <a:lnTo>
                      <a:pt x="68" y="231"/>
                    </a:lnTo>
                    <a:lnTo>
                      <a:pt x="68" y="234"/>
                    </a:lnTo>
                    <a:lnTo>
                      <a:pt x="68" y="237"/>
                    </a:lnTo>
                    <a:lnTo>
                      <a:pt x="69" y="240"/>
                    </a:lnTo>
                    <a:lnTo>
                      <a:pt x="68" y="241"/>
                    </a:lnTo>
                    <a:lnTo>
                      <a:pt x="66" y="241"/>
                    </a:lnTo>
                    <a:lnTo>
                      <a:pt x="64" y="242"/>
                    </a:lnTo>
                    <a:lnTo>
                      <a:pt x="66" y="243"/>
                    </a:lnTo>
                    <a:lnTo>
                      <a:pt x="66" y="249"/>
                    </a:lnTo>
                    <a:lnTo>
                      <a:pt x="64" y="252"/>
                    </a:lnTo>
                    <a:lnTo>
                      <a:pt x="66" y="253"/>
                    </a:lnTo>
                    <a:lnTo>
                      <a:pt x="66" y="255"/>
                    </a:lnTo>
                    <a:lnTo>
                      <a:pt x="67" y="255"/>
                    </a:lnTo>
                    <a:lnTo>
                      <a:pt x="69" y="257"/>
                    </a:lnTo>
                    <a:lnTo>
                      <a:pt x="68" y="261"/>
                    </a:lnTo>
                    <a:lnTo>
                      <a:pt x="69" y="259"/>
                    </a:lnTo>
                    <a:lnTo>
                      <a:pt x="69" y="261"/>
                    </a:lnTo>
                    <a:lnTo>
                      <a:pt x="70" y="261"/>
                    </a:lnTo>
                    <a:lnTo>
                      <a:pt x="69" y="263"/>
                    </a:lnTo>
                    <a:lnTo>
                      <a:pt x="71" y="262"/>
                    </a:lnTo>
                    <a:lnTo>
                      <a:pt x="69" y="265"/>
                    </a:lnTo>
                    <a:lnTo>
                      <a:pt x="69" y="267"/>
                    </a:lnTo>
                    <a:lnTo>
                      <a:pt x="68" y="269"/>
                    </a:lnTo>
                    <a:lnTo>
                      <a:pt x="68" y="268"/>
                    </a:lnTo>
                    <a:lnTo>
                      <a:pt x="66" y="270"/>
                    </a:lnTo>
                    <a:lnTo>
                      <a:pt x="67" y="271"/>
                    </a:lnTo>
                    <a:lnTo>
                      <a:pt x="68" y="272"/>
                    </a:lnTo>
                    <a:lnTo>
                      <a:pt x="67" y="272"/>
                    </a:lnTo>
                    <a:lnTo>
                      <a:pt x="66" y="274"/>
                    </a:lnTo>
                    <a:lnTo>
                      <a:pt x="66" y="273"/>
                    </a:lnTo>
                    <a:lnTo>
                      <a:pt x="66" y="275"/>
                    </a:lnTo>
                    <a:lnTo>
                      <a:pt x="64" y="275"/>
                    </a:lnTo>
                    <a:lnTo>
                      <a:pt x="63" y="277"/>
                    </a:lnTo>
                    <a:lnTo>
                      <a:pt x="61" y="276"/>
                    </a:lnTo>
                    <a:lnTo>
                      <a:pt x="60" y="279"/>
                    </a:lnTo>
                    <a:lnTo>
                      <a:pt x="60" y="278"/>
                    </a:lnTo>
                    <a:lnTo>
                      <a:pt x="59" y="278"/>
                    </a:lnTo>
                    <a:lnTo>
                      <a:pt x="59" y="280"/>
                    </a:lnTo>
                    <a:lnTo>
                      <a:pt x="58" y="280"/>
                    </a:lnTo>
                    <a:lnTo>
                      <a:pt x="57" y="279"/>
                    </a:lnTo>
                    <a:lnTo>
                      <a:pt x="56" y="282"/>
                    </a:lnTo>
                    <a:lnTo>
                      <a:pt x="58" y="282"/>
                    </a:lnTo>
                    <a:lnTo>
                      <a:pt x="61" y="284"/>
                    </a:lnTo>
                    <a:lnTo>
                      <a:pt x="61" y="285"/>
                    </a:lnTo>
                    <a:lnTo>
                      <a:pt x="57" y="288"/>
                    </a:lnTo>
                    <a:lnTo>
                      <a:pt x="54" y="289"/>
                    </a:lnTo>
                    <a:lnTo>
                      <a:pt x="58" y="291"/>
                    </a:lnTo>
                    <a:lnTo>
                      <a:pt x="62" y="290"/>
                    </a:lnTo>
                    <a:lnTo>
                      <a:pt x="64" y="293"/>
                    </a:lnTo>
                    <a:lnTo>
                      <a:pt x="65" y="295"/>
                    </a:lnTo>
                    <a:lnTo>
                      <a:pt x="68" y="296"/>
                    </a:lnTo>
                    <a:lnTo>
                      <a:pt x="68" y="295"/>
                    </a:lnTo>
                    <a:lnTo>
                      <a:pt x="68" y="293"/>
                    </a:lnTo>
                    <a:lnTo>
                      <a:pt x="69" y="295"/>
                    </a:lnTo>
                    <a:lnTo>
                      <a:pt x="71" y="295"/>
                    </a:lnTo>
                    <a:lnTo>
                      <a:pt x="70" y="296"/>
                    </a:lnTo>
                    <a:lnTo>
                      <a:pt x="74" y="300"/>
                    </a:lnTo>
                    <a:lnTo>
                      <a:pt x="76" y="301"/>
                    </a:lnTo>
                    <a:lnTo>
                      <a:pt x="77" y="301"/>
                    </a:lnTo>
                    <a:lnTo>
                      <a:pt x="79" y="303"/>
                    </a:lnTo>
                    <a:lnTo>
                      <a:pt x="76" y="306"/>
                    </a:lnTo>
                    <a:lnTo>
                      <a:pt x="76" y="309"/>
                    </a:lnTo>
                    <a:lnTo>
                      <a:pt x="79" y="316"/>
                    </a:lnTo>
                    <a:lnTo>
                      <a:pt x="84" y="315"/>
                    </a:lnTo>
                    <a:lnTo>
                      <a:pt x="85" y="313"/>
                    </a:lnTo>
                    <a:lnTo>
                      <a:pt x="86" y="313"/>
                    </a:lnTo>
                    <a:lnTo>
                      <a:pt x="88" y="312"/>
                    </a:lnTo>
                    <a:lnTo>
                      <a:pt x="88" y="311"/>
                    </a:lnTo>
                    <a:lnTo>
                      <a:pt x="90" y="312"/>
                    </a:lnTo>
                    <a:lnTo>
                      <a:pt x="91" y="311"/>
                    </a:lnTo>
                    <a:lnTo>
                      <a:pt x="89" y="311"/>
                    </a:lnTo>
                    <a:lnTo>
                      <a:pt x="89" y="309"/>
                    </a:lnTo>
                    <a:lnTo>
                      <a:pt x="93" y="310"/>
                    </a:lnTo>
                    <a:lnTo>
                      <a:pt x="94" y="310"/>
                    </a:lnTo>
                    <a:lnTo>
                      <a:pt x="96" y="309"/>
                    </a:lnTo>
                    <a:lnTo>
                      <a:pt x="97" y="308"/>
                    </a:lnTo>
                    <a:lnTo>
                      <a:pt x="98" y="309"/>
                    </a:lnTo>
                    <a:lnTo>
                      <a:pt x="99" y="309"/>
                    </a:lnTo>
                    <a:lnTo>
                      <a:pt x="98" y="306"/>
                    </a:lnTo>
                    <a:lnTo>
                      <a:pt x="98" y="305"/>
                    </a:lnTo>
                    <a:lnTo>
                      <a:pt x="99" y="301"/>
                    </a:lnTo>
                    <a:lnTo>
                      <a:pt x="100" y="301"/>
                    </a:lnTo>
                    <a:lnTo>
                      <a:pt x="104" y="299"/>
                    </a:lnTo>
                    <a:lnTo>
                      <a:pt x="105" y="299"/>
                    </a:lnTo>
                    <a:lnTo>
                      <a:pt x="106" y="300"/>
                    </a:lnTo>
                    <a:lnTo>
                      <a:pt x="107" y="299"/>
                    </a:lnTo>
                    <a:lnTo>
                      <a:pt x="107" y="301"/>
                    </a:lnTo>
                    <a:lnTo>
                      <a:pt x="108" y="302"/>
                    </a:lnTo>
                    <a:lnTo>
                      <a:pt x="110" y="301"/>
                    </a:lnTo>
                    <a:lnTo>
                      <a:pt x="110" y="299"/>
                    </a:lnTo>
                    <a:lnTo>
                      <a:pt x="111" y="299"/>
                    </a:lnTo>
                    <a:lnTo>
                      <a:pt x="113" y="299"/>
                    </a:lnTo>
                    <a:lnTo>
                      <a:pt x="112" y="297"/>
                    </a:lnTo>
                    <a:lnTo>
                      <a:pt x="112" y="295"/>
                    </a:lnTo>
                    <a:lnTo>
                      <a:pt x="113" y="295"/>
                    </a:lnTo>
                    <a:lnTo>
                      <a:pt x="116" y="297"/>
                    </a:lnTo>
                    <a:lnTo>
                      <a:pt x="115" y="302"/>
                    </a:lnTo>
                    <a:lnTo>
                      <a:pt x="117" y="302"/>
                    </a:lnTo>
                    <a:lnTo>
                      <a:pt x="117" y="304"/>
                    </a:lnTo>
                    <a:lnTo>
                      <a:pt x="118" y="304"/>
                    </a:lnTo>
                    <a:lnTo>
                      <a:pt x="118" y="303"/>
                    </a:lnTo>
                    <a:lnTo>
                      <a:pt x="120" y="304"/>
                    </a:lnTo>
                    <a:lnTo>
                      <a:pt x="120" y="305"/>
                    </a:lnTo>
                    <a:lnTo>
                      <a:pt x="121" y="304"/>
                    </a:lnTo>
                    <a:lnTo>
                      <a:pt x="120" y="304"/>
                    </a:lnTo>
                    <a:lnTo>
                      <a:pt x="120" y="301"/>
                    </a:lnTo>
                    <a:lnTo>
                      <a:pt x="120" y="303"/>
                    </a:lnTo>
                    <a:lnTo>
                      <a:pt x="121" y="302"/>
                    </a:lnTo>
                    <a:lnTo>
                      <a:pt x="121" y="303"/>
                    </a:lnTo>
                    <a:lnTo>
                      <a:pt x="123" y="303"/>
                    </a:lnTo>
                    <a:lnTo>
                      <a:pt x="123" y="304"/>
                    </a:lnTo>
                    <a:lnTo>
                      <a:pt x="125" y="303"/>
                    </a:lnTo>
                    <a:lnTo>
                      <a:pt x="127" y="304"/>
                    </a:lnTo>
                    <a:lnTo>
                      <a:pt x="128" y="303"/>
                    </a:lnTo>
                    <a:lnTo>
                      <a:pt x="128" y="304"/>
                    </a:lnTo>
                    <a:lnTo>
                      <a:pt x="128" y="305"/>
                    </a:lnTo>
                    <a:lnTo>
                      <a:pt x="129" y="305"/>
                    </a:lnTo>
                    <a:lnTo>
                      <a:pt x="131" y="306"/>
                    </a:lnTo>
                    <a:lnTo>
                      <a:pt x="131" y="305"/>
                    </a:lnTo>
                    <a:lnTo>
                      <a:pt x="133" y="306"/>
                    </a:lnTo>
                    <a:lnTo>
                      <a:pt x="133" y="303"/>
                    </a:lnTo>
                    <a:lnTo>
                      <a:pt x="134" y="304"/>
                    </a:lnTo>
                    <a:lnTo>
                      <a:pt x="134" y="305"/>
                    </a:lnTo>
                    <a:lnTo>
                      <a:pt x="138" y="307"/>
                    </a:lnTo>
                    <a:lnTo>
                      <a:pt x="138" y="308"/>
                    </a:lnTo>
                    <a:lnTo>
                      <a:pt x="140" y="309"/>
                    </a:lnTo>
                    <a:lnTo>
                      <a:pt x="140" y="310"/>
                    </a:lnTo>
                    <a:lnTo>
                      <a:pt x="141" y="311"/>
                    </a:lnTo>
                    <a:lnTo>
                      <a:pt x="142" y="310"/>
                    </a:lnTo>
                    <a:lnTo>
                      <a:pt x="144" y="311"/>
                    </a:lnTo>
                    <a:lnTo>
                      <a:pt x="145" y="310"/>
                    </a:lnTo>
                    <a:lnTo>
                      <a:pt x="145" y="309"/>
                    </a:lnTo>
                    <a:lnTo>
                      <a:pt x="147" y="306"/>
                    </a:lnTo>
                    <a:lnTo>
                      <a:pt x="148" y="306"/>
                    </a:lnTo>
                    <a:lnTo>
                      <a:pt x="149" y="305"/>
                    </a:lnTo>
                    <a:lnTo>
                      <a:pt x="150" y="306"/>
                    </a:lnTo>
                    <a:lnTo>
                      <a:pt x="151" y="306"/>
                    </a:lnTo>
                    <a:lnTo>
                      <a:pt x="153" y="306"/>
                    </a:lnTo>
                    <a:lnTo>
                      <a:pt x="154" y="309"/>
                    </a:lnTo>
                    <a:lnTo>
                      <a:pt x="156" y="305"/>
                    </a:lnTo>
                    <a:lnTo>
                      <a:pt x="157" y="306"/>
                    </a:lnTo>
                    <a:lnTo>
                      <a:pt x="158" y="306"/>
                    </a:lnTo>
                    <a:lnTo>
                      <a:pt x="159" y="305"/>
                    </a:lnTo>
                    <a:lnTo>
                      <a:pt x="160" y="300"/>
                    </a:lnTo>
                    <a:lnTo>
                      <a:pt x="159" y="299"/>
                    </a:lnTo>
                    <a:lnTo>
                      <a:pt x="159" y="296"/>
                    </a:lnTo>
                    <a:lnTo>
                      <a:pt x="161" y="296"/>
                    </a:lnTo>
                    <a:lnTo>
                      <a:pt x="161" y="295"/>
                    </a:lnTo>
                    <a:lnTo>
                      <a:pt x="163" y="295"/>
                    </a:lnTo>
                    <a:lnTo>
                      <a:pt x="164" y="293"/>
                    </a:lnTo>
                    <a:lnTo>
                      <a:pt x="167" y="295"/>
                    </a:lnTo>
                    <a:lnTo>
                      <a:pt x="168" y="292"/>
                    </a:lnTo>
                    <a:lnTo>
                      <a:pt x="170" y="291"/>
                    </a:lnTo>
                    <a:lnTo>
                      <a:pt x="172" y="293"/>
                    </a:lnTo>
                    <a:lnTo>
                      <a:pt x="173" y="295"/>
                    </a:lnTo>
                    <a:lnTo>
                      <a:pt x="177" y="295"/>
                    </a:lnTo>
                    <a:lnTo>
                      <a:pt x="177" y="296"/>
                    </a:lnTo>
                    <a:lnTo>
                      <a:pt x="176" y="298"/>
                    </a:lnTo>
                    <a:lnTo>
                      <a:pt x="178" y="299"/>
                    </a:lnTo>
                    <a:lnTo>
                      <a:pt x="176" y="303"/>
                    </a:lnTo>
                    <a:lnTo>
                      <a:pt x="175" y="306"/>
                    </a:lnTo>
                    <a:lnTo>
                      <a:pt x="176" y="309"/>
                    </a:lnTo>
                    <a:lnTo>
                      <a:pt x="178" y="310"/>
                    </a:lnTo>
                    <a:lnTo>
                      <a:pt x="178" y="311"/>
                    </a:lnTo>
                    <a:lnTo>
                      <a:pt x="179" y="311"/>
                    </a:lnTo>
                    <a:lnTo>
                      <a:pt x="183" y="312"/>
                    </a:lnTo>
                    <a:lnTo>
                      <a:pt x="183" y="314"/>
                    </a:lnTo>
                    <a:lnTo>
                      <a:pt x="185" y="313"/>
                    </a:lnTo>
                    <a:lnTo>
                      <a:pt x="185" y="312"/>
                    </a:lnTo>
                    <a:lnTo>
                      <a:pt x="188" y="310"/>
                    </a:lnTo>
                    <a:lnTo>
                      <a:pt x="189" y="306"/>
                    </a:lnTo>
                    <a:lnTo>
                      <a:pt x="194" y="307"/>
                    </a:lnTo>
                    <a:lnTo>
                      <a:pt x="198" y="308"/>
                    </a:lnTo>
                    <a:lnTo>
                      <a:pt x="199" y="301"/>
                    </a:lnTo>
                    <a:lnTo>
                      <a:pt x="207" y="301"/>
                    </a:lnTo>
                    <a:lnTo>
                      <a:pt x="208" y="301"/>
                    </a:lnTo>
                    <a:lnTo>
                      <a:pt x="208" y="298"/>
                    </a:lnTo>
                    <a:lnTo>
                      <a:pt x="210" y="299"/>
                    </a:lnTo>
                    <a:lnTo>
                      <a:pt x="214" y="304"/>
                    </a:lnTo>
                    <a:lnTo>
                      <a:pt x="216" y="302"/>
                    </a:lnTo>
                    <a:lnTo>
                      <a:pt x="216" y="304"/>
                    </a:lnTo>
                    <a:lnTo>
                      <a:pt x="218" y="304"/>
                    </a:lnTo>
                    <a:lnTo>
                      <a:pt x="219" y="306"/>
                    </a:lnTo>
                    <a:lnTo>
                      <a:pt x="227" y="306"/>
                    </a:lnTo>
                    <a:lnTo>
                      <a:pt x="226" y="312"/>
                    </a:lnTo>
                    <a:lnTo>
                      <a:pt x="231" y="314"/>
                    </a:lnTo>
                    <a:lnTo>
                      <a:pt x="231" y="318"/>
                    </a:lnTo>
                    <a:lnTo>
                      <a:pt x="230" y="328"/>
                    </a:lnTo>
                    <a:lnTo>
                      <a:pt x="242" y="330"/>
                    </a:lnTo>
                    <a:lnTo>
                      <a:pt x="244" y="331"/>
                    </a:lnTo>
                    <a:lnTo>
                      <a:pt x="246" y="339"/>
                    </a:lnTo>
                    <a:lnTo>
                      <a:pt x="246" y="342"/>
                    </a:lnTo>
                    <a:lnTo>
                      <a:pt x="246" y="343"/>
                    </a:lnTo>
                    <a:lnTo>
                      <a:pt x="247" y="343"/>
                    </a:lnTo>
                    <a:lnTo>
                      <a:pt x="250" y="344"/>
                    </a:lnTo>
                    <a:lnTo>
                      <a:pt x="251" y="345"/>
                    </a:lnTo>
                    <a:lnTo>
                      <a:pt x="252" y="345"/>
                    </a:lnTo>
                    <a:lnTo>
                      <a:pt x="253" y="346"/>
                    </a:lnTo>
                    <a:lnTo>
                      <a:pt x="255" y="345"/>
                    </a:lnTo>
                    <a:lnTo>
                      <a:pt x="259" y="348"/>
                    </a:lnTo>
                    <a:lnTo>
                      <a:pt x="259" y="353"/>
                    </a:lnTo>
                    <a:lnTo>
                      <a:pt x="262" y="356"/>
                    </a:lnTo>
                    <a:lnTo>
                      <a:pt x="263" y="356"/>
                    </a:lnTo>
                    <a:lnTo>
                      <a:pt x="263" y="355"/>
                    </a:lnTo>
                    <a:lnTo>
                      <a:pt x="265" y="354"/>
                    </a:lnTo>
                    <a:lnTo>
                      <a:pt x="267" y="358"/>
                    </a:lnTo>
                    <a:lnTo>
                      <a:pt x="268" y="358"/>
                    </a:lnTo>
                    <a:lnTo>
                      <a:pt x="269" y="359"/>
                    </a:lnTo>
                    <a:lnTo>
                      <a:pt x="270" y="358"/>
                    </a:lnTo>
                    <a:lnTo>
                      <a:pt x="270" y="359"/>
                    </a:lnTo>
                    <a:lnTo>
                      <a:pt x="271" y="359"/>
                    </a:lnTo>
                    <a:lnTo>
                      <a:pt x="273" y="363"/>
                    </a:lnTo>
                    <a:lnTo>
                      <a:pt x="275" y="365"/>
                    </a:lnTo>
                    <a:lnTo>
                      <a:pt x="275" y="366"/>
                    </a:lnTo>
                    <a:lnTo>
                      <a:pt x="275" y="367"/>
                    </a:lnTo>
                    <a:lnTo>
                      <a:pt x="276" y="369"/>
                    </a:lnTo>
                    <a:lnTo>
                      <a:pt x="277" y="369"/>
                    </a:lnTo>
                    <a:lnTo>
                      <a:pt x="279" y="369"/>
                    </a:lnTo>
                    <a:lnTo>
                      <a:pt x="280" y="367"/>
                    </a:lnTo>
                    <a:lnTo>
                      <a:pt x="283" y="368"/>
                    </a:lnTo>
                    <a:lnTo>
                      <a:pt x="284" y="367"/>
                    </a:lnTo>
                    <a:lnTo>
                      <a:pt x="285" y="369"/>
                    </a:lnTo>
                    <a:lnTo>
                      <a:pt x="289" y="367"/>
                    </a:lnTo>
                    <a:lnTo>
                      <a:pt x="289" y="366"/>
                    </a:lnTo>
                    <a:lnTo>
                      <a:pt x="290" y="365"/>
                    </a:lnTo>
                    <a:lnTo>
                      <a:pt x="289" y="363"/>
                    </a:lnTo>
                    <a:lnTo>
                      <a:pt x="290" y="363"/>
                    </a:lnTo>
                    <a:lnTo>
                      <a:pt x="290" y="364"/>
                    </a:lnTo>
                    <a:lnTo>
                      <a:pt x="292" y="364"/>
                    </a:lnTo>
                    <a:lnTo>
                      <a:pt x="292" y="365"/>
                    </a:lnTo>
                    <a:lnTo>
                      <a:pt x="290" y="367"/>
                    </a:lnTo>
                    <a:lnTo>
                      <a:pt x="290" y="369"/>
                    </a:lnTo>
                    <a:lnTo>
                      <a:pt x="295" y="369"/>
                    </a:lnTo>
                    <a:lnTo>
                      <a:pt x="296" y="369"/>
                    </a:lnTo>
                    <a:lnTo>
                      <a:pt x="297" y="369"/>
                    </a:lnTo>
                    <a:lnTo>
                      <a:pt x="298" y="368"/>
                    </a:lnTo>
                    <a:lnTo>
                      <a:pt x="300" y="369"/>
                    </a:lnTo>
                    <a:lnTo>
                      <a:pt x="300" y="367"/>
                    </a:lnTo>
                    <a:lnTo>
                      <a:pt x="302" y="368"/>
                    </a:lnTo>
                    <a:lnTo>
                      <a:pt x="303" y="367"/>
                    </a:lnTo>
                    <a:lnTo>
                      <a:pt x="304" y="369"/>
                    </a:lnTo>
                    <a:lnTo>
                      <a:pt x="306" y="370"/>
                    </a:lnTo>
                    <a:lnTo>
                      <a:pt x="313" y="374"/>
                    </a:lnTo>
                    <a:lnTo>
                      <a:pt x="313" y="369"/>
                    </a:lnTo>
                    <a:lnTo>
                      <a:pt x="312" y="369"/>
                    </a:lnTo>
                    <a:lnTo>
                      <a:pt x="311" y="366"/>
                    </a:lnTo>
                    <a:lnTo>
                      <a:pt x="309" y="365"/>
                    </a:lnTo>
                    <a:lnTo>
                      <a:pt x="309" y="363"/>
                    </a:lnTo>
                    <a:lnTo>
                      <a:pt x="310" y="363"/>
                    </a:lnTo>
                    <a:lnTo>
                      <a:pt x="311" y="362"/>
                    </a:lnTo>
                    <a:lnTo>
                      <a:pt x="310" y="360"/>
                    </a:lnTo>
                    <a:lnTo>
                      <a:pt x="312" y="360"/>
                    </a:lnTo>
                    <a:lnTo>
                      <a:pt x="314" y="361"/>
                    </a:lnTo>
                    <a:lnTo>
                      <a:pt x="316" y="360"/>
                    </a:lnTo>
                    <a:lnTo>
                      <a:pt x="318" y="360"/>
                    </a:lnTo>
                    <a:lnTo>
                      <a:pt x="319" y="358"/>
                    </a:lnTo>
                    <a:lnTo>
                      <a:pt x="321" y="357"/>
                    </a:lnTo>
                    <a:lnTo>
                      <a:pt x="319" y="355"/>
                    </a:lnTo>
                    <a:lnTo>
                      <a:pt x="318" y="353"/>
                    </a:lnTo>
                    <a:lnTo>
                      <a:pt x="317" y="354"/>
                    </a:lnTo>
                    <a:lnTo>
                      <a:pt x="317" y="351"/>
                    </a:lnTo>
                    <a:lnTo>
                      <a:pt x="319" y="348"/>
                    </a:lnTo>
                    <a:lnTo>
                      <a:pt x="321" y="348"/>
                    </a:lnTo>
                    <a:lnTo>
                      <a:pt x="321" y="346"/>
                    </a:lnTo>
                    <a:lnTo>
                      <a:pt x="323" y="346"/>
                    </a:lnTo>
                    <a:lnTo>
                      <a:pt x="327" y="346"/>
                    </a:lnTo>
                    <a:lnTo>
                      <a:pt x="333" y="340"/>
                    </a:lnTo>
                    <a:lnTo>
                      <a:pt x="335" y="340"/>
                    </a:lnTo>
                    <a:lnTo>
                      <a:pt x="336" y="340"/>
                    </a:lnTo>
                    <a:lnTo>
                      <a:pt x="337" y="341"/>
                    </a:lnTo>
                    <a:lnTo>
                      <a:pt x="337" y="340"/>
                    </a:lnTo>
                    <a:lnTo>
                      <a:pt x="338" y="340"/>
                    </a:lnTo>
                    <a:lnTo>
                      <a:pt x="338" y="339"/>
                    </a:lnTo>
                    <a:lnTo>
                      <a:pt x="339" y="339"/>
                    </a:lnTo>
                    <a:lnTo>
                      <a:pt x="340" y="338"/>
                    </a:lnTo>
                    <a:lnTo>
                      <a:pt x="342" y="340"/>
                    </a:lnTo>
                    <a:lnTo>
                      <a:pt x="343" y="339"/>
                    </a:lnTo>
                    <a:lnTo>
                      <a:pt x="343" y="337"/>
                    </a:lnTo>
                    <a:lnTo>
                      <a:pt x="342" y="337"/>
                    </a:lnTo>
                    <a:lnTo>
                      <a:pt x="345" y="336"/>
                    </a:lnTo>
                    <a:lnTo>
                      <a:pt x="345" y="335"/>
                    </a:lnTo>
                    <a:lnTo>
                      <a:pt x="345" y="336"/>
                    </a:lnTo>
                    <a:lnTo>
                      <a:pt x="349" y="336"/>
                    </a:lnTo>
                    <a:lnTo>
                      <a:pt x="349" y="337"/>
                    </a:lnTo>
                    <a:lnTo>
                      <a:pt x="350" y="335"/>
                    </a:lnTo>
                    <a:lnTo>
                      <a:pt x="351" y="335"/>
                    </a:lnTo>
                    <a:lnTo>
                      <a:pt x="352" y="333"/>
                    </a:lnTo>
                    <a:lnTo>
                      <a:pt x="355" y="333"/>
                    </a:lnTo>
                    <a:lnTo>
                      <a:pt x="357" y="331"/>
                    </a:lnTo>
                    <a:lnTo>
                      <a:pt x="358" y="322"/>
                    </a:lnTo>
                    <a:lnTo>
                      <a:pt x="360" y="320"/>
                    </a:lnTo>
                    <a:lnTo>
                      <a:pt x="363" y="320"/>
                    </a:lnTo>
                    <a:lnTo>
                      <a:pt x="365" y="322"/>
                    </a:lnTo>
                    <a:lnTo>
                      <a:pt x="366" y="322"/>
                    </a:lnTo>
                    <a:lnTo>
                      <a:pt x="369" y="323"/>
                    </a:lnTo>
                    <a:lnTo>
                      <a:pt x="369" y="328"/>
                    </a:lnTo>
                    <a:lnTo>
                      <a:pt x="371" y="327"/>
                    </a:lnTo>
                    <a:lnTo>
                      <a:pt x="372" y="329"/>
                    </a:lnTo>
                    <a:lnTo>
                      <a:pt x="373" y="330"/>
                    </a:lnTo>
                    <a:lnTo>
                      <a:pt x="374" y="329"/>
                    </a:lnTo>
                    <a:lnTo>
                      <a:pt x="381" y="335"/>
                    </a:lnTo>
                    <a:lnTo>
                      <a:pt x="382" y="335"/>
                    </a:lnTo>
                    <a:lnTo>
                      <a:pt x="383" y="335"/>
                    </a:lnTo>
                    <a:lnTo>
                      <a:pt x="385" y="334"/>
                    </a:lnTo>
                    <a:lnTo>
                      <a:pt x="386" y="333"/>
                    </a:lnTo>
                    <a:lnTo>
                      <a:pt x="385" y="331"/>
                    </a:lnTo>
                    <a:lnTo>
                      <a:pt x="386" y="32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1" name="Freeform 55">
                <a:extLst>
                  <a:ext uri="{FF2B5EF4-FFF2-40B4-BE49-F238E27FC236}">
                    <a16:creationId xmlns:a16="http://schemas.microsoft.com/office/drawing/2014/main" id="{F62FB1A8-B5C4-CE59-1C1A-7E2BAEB9B9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7" y="2858"/>
                <a:ext cx="386" cy="374"/>
              </a:xfrm>
              <a:custGeom>
                <a:avLst/>
                <a:gdLst>
                  <a:gd name="T0" fmla="*/ 383 w 386"/>
                  <a:gd name="T1" fmla="*/ 303 h 374"/>
                  <a:gd name="T2" fmla="*/ 367 w 386"/>
                  <a:gd name="T3" fmla="*/ 276 h 374"/>
                  <a:gd name="T4" fmla="*/ 348 w 386"/>
                  <a:gd name="T5" fmla="*/ 244 h 374"/>
                  <a:gd name="T6" fmla="*/ 334 w 386"/>
                  <a:gd name="T7" fmla="*/ 216 h 374"/>
                  <a:gd name="T8" fmla="*/ 311 w 386"/>
                  <a:gd name="T9" fmla="*/ 206 h 374"/>
                  <a:gd name="T10" fmla="*/ 295 w 386"/>
                  <a:gd name="T11" fmla="*/ 185 h 374"/>
                  <a:gd name="T12" fmla="*/ 307 w 386"/>
                  <a:gd name="T13" fmla="*/ 174 h 374"/>
                  <a:gd name="T14" fmla="*/ 325 w 386"/>
                  <a:gd name="T15" fmla="*/ 164 h 374"/>
                  <a:gd name="T16" fmla="*/ 354 w 386"/>
                  <a:gd name="T17" fmla="*/ 146 h 374"/>
                  <a:gd name="T18" fmla="*/ 364 w 386"/>
                  <a:gd name="T19" fmla="*/ 111 h 374"/>
                  <a:gd name="T20" fmla="*/ 336 w 386"/>
                  <a:gd name="T21" fmla="*/ 82 h 374"/>
                  <a:gd name="T22" fmla="*/ 304 w 386"/>
                  <a:gd name="T23" fmla="*/ 92 h 374"/>
                  <a:gd name="T24" fmla="*/ 278 w 386"/>
                  <a:gd name="T25" fmla="*/ 79 h 374"/>
                  <a:gd name="T26" fmla="*/ 249 w 386"/>
                  <a:gd name="T27" fmla="*/ 95 h 374"/>
                  <a:gd name="T28" fmla="*/ 252 w 386"/>
                  <a:gd name="T29" fmla="*/ 63 h 374"/>
                  <a:gd name="T30" fmla="*/ 218 w 386"/>
                  <a:gd name="T31" fmla="*/ 56 h 374"/>
                  <a:gd name="T32" fmla="*/ 188 w 386"/>
                  <a:gd name="T33" fmla="*/ 27 h 374"/>
                  <a:gd name="T34" fmla="*/ 142 w 386"/>
                  <a:gd name="T35" fmla="*/ 3 h 374"/>
                  <a:gd name="T36" fmla="*/ 138 w 386"/>
                  <a:gd name="T37" fmla="*/ 47 h 374"/>
                  <a:gd name="T38" fmla="*/ 137 w 386"/>
                  <a:gd name="T39" fmla="*/ 97 h 374"/>
                  <a:gd name="T40" fmla="*/ 149 w 386"/>
                  <a:gd name="T41" fmla="*/ 122 h 374"/>
                  <a:gd name="T42" fmla="*/ 132 w 386"/>
                  <a:gd name="T43" fmla="*/ 119 h 374"/>
                  <a:gd name="T44" fmla="*/ 114 w 386"/>
                  <a:gd name="T45" fmla="*/ 111 h 374"/>
                  <a:gd name="T46" fmla="*/ 97 w 386"/>
                  <a:gd name="T47" fmla="*/ 116 h 374"/>
                  <a:gd name="T48" fmla="*/ 92 w 386"/>
                  <a:gd name="T49" fmla="*/ 134 h 374"/>
                  <a:gd name="T50" fmla="*/ 83 w 386"/>
                  <a:gd name="T51" fmla="*/ 130 h 374"/>
                  <a:gd name="T52" fmla="*/ 71 w 386"/>
                  <a:gd name="T53" fmla="*/ 117 h 374"/>
                  <a:gd name="T54" fmla="*/ 51 w 386"/>
                  <a:gd name="T55" fmla="*/ 110 h 374"/>
                  <a:gd name="T56" fmla="*/ 35 w 386"/>
                  <a:gd name="T57" fmla="*/ 118 h 374"/>
                  <a:gd name="T58" fmla="*/ 15 w 386"/>
                  <a:gd name="T59" fmla="*/ 109 h 374"/>
                  <a:gd name="T60" fmla="*/ 14 w 386"/>
                  <a:gd name="T61" fmla="*/ 129 h 374"/>
                  <a:gd name="T62" fmla="*/ 17 w 386"/>
                  <a:gd name="T63" fmla="*/ 145 h 374"/>
                  <a:gd name="T64" fmla="*/ 11 w 386"/>
                  <a:gd name="T65" fmla="*/ 164 h 374"/>
                  <a:gd name="T66" fmla="*/ 2 w 386"/>
                  <a:gd name="T67" fmla="*/ 175 h 374"/>
                  <a:gd name="T68" fmla="*/ 21 w 386"/>
                  <a:gd name="T69" fmla="*/ 193 h 374"/>
                  <a:gd name="T70" fmla="*/ 26 w 386"/>
                  <a:gd name="T71" fmla="*/ 205 h 374"/>
                  <a:gd name="T72" fmla="*/ 32 w 386"/>
                  <a:gd name="T73" fmla="*/ 219 h 374"/>
                  <a:gd name="T74" fmla="*/ 49 w 386"/>
                  <a:gd name="T75" fmla="*/ 225 h 374"/>
                  <a:gd name="T76" fmla="*/ 66 w 386"/>
                  <a:gd name="T77" fmla="*/ 223 h 374"/>
                  <a:gd name="T78" fmla="*/ 64 w 386"/>
                  <a:gd name="T79" fmla="*/ 242 h 374"/>
                  <a:gd name="T80" fmla="*/ 69 w 386"/>
                  <a:gd name="T81" fmla="*/ 267 h 374"/>
                  <a:gd name="T82" fmla="*/ 59 w 386"/>
                  <a:gd name="T83" fmla="*/ 278 h 374"/>
                  <a:gd name="T84" fmla="*/ 65 w 386"/>
                  <a:gd name="T85" fmla="*/ 295 h 374"/>
                  <a:gd name="T86" fmla="*/ 79 w 386"/>
                  <a:gd name="T87" fmla="*/ 316 h 374"/>
                  <a:gd name="T88" fmla="*/ 98 w 386"/>
                  <a:gd name="T89" fmla="*/ 309 h 374"/>
                  <a:gd name="T90" fmla="*/ 110 w 386"/>
                  <a:gd name="T91" fmla="*/ 299 h 374"/>
                  <a:gd name="T92" fmla="*/ 120 w 386"/>
                  <a:gd name="T93" fmla="*/ 305 h 374"/>
                  <a:gd name="T94" fmla="*/ 128 w 386"/>
                  <a:gd name="T95" fmla="*/ 303 h 374"/>
                  <a:gd name="T96" fmla="*/ 141 w 386"/>
                  <a:gd name="T97" fmla="*/ 311 h 374"/>
                  <a:gd name="T98" fmla="*/ 156 w 386"/>
                  <a:gd name="T99" fmla="*/ 305 h 374"/>
                  <a:gd name="T100" fmla="*/ 172 w 386"/>
                  <a:gd name="T101" fmla="*/ 293 h 374"/>
                  <a:gd name="T102" fmla="*/ 185 w 386"/>
                  <a:gd name="T103" fmla="*/ 312 h 374"/>
                  <a:gd name="T104" fmla="*/ 227 w 386"/>
                  <a:gd name="T105" fmla="*/ 306 h 374"/>
                  <a:gd name="T106" fmla="*/ 255 w 386"/>
                  <a:gd name="T107" fmla="*/ 345 h 374"/>
                  <a:gd name="T108" fmla="*/ 275 w 386"/>
                  <a:gd name="T109" fmla="*/ 365 h 374"/>
                  <a:gd name="T110" fmla="*/ 290 w 386"/>
                  <a:gd name="T111" fmla="*/ 363 h 374"/>
                  <a:gd name="T112" fmla="*/ 302 w 386"/>
                  <a:gd name="T113" fmla="*/ 368 h 374"/>
                  <a:gd name="T114" fmla="*/ 314 w 386"/>
                  <a:gd name="T115" fmla="*/ 361 h 374"/>
                  <a:gd name="T116" fmla="*/ 333 w 386"/>
                  <a:gd name="T117" fmla="*/ 340 h 374"/>
                  <a:gd name="T118" fmla="*/ 345 w 386"/>
                  <a:gd name="T119" fmla="*/ 335 h 374"/>
                  <a:gd name="T120" fmla="*/ 369 w 386"/>
                  <a:gd name="T121" fmla="*/ 323 h 37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86"/>
                  <a:gd name="T184" fmla="*/ 0 h 374"/>
                  <a:gd name="T185" fmla="*/ 386 w 386"/>
                  <a:gd name="T186" fmla="*/ 374 h 374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86" h="374">
                    <a:moveTo>
                      <a:pt x="386" y="329"/>
                    </a:moveTo>
                    <a:lnTo>
                      <a:pt x="385" y="328"/>
                    </a:lnTo>
                    <a:lnTo>
                      <a:pt x="385" y="326"/>
                    </a:lnTo>
                    <a:lnTo>
                      <a:pt x="381" y="323"/>
                    </a:lnTo>
                    <a:lnTo>
                      <a:pt x="380" y="320"/>
                    </a:lnTo>
                    <a:lnTo>
                      <a:pt x="380" y="319"/>
                    </a:lnTo>
                    <a:lnTo>
                      <a:pt x="382" y="316"/>
                    </a:lnTo>
                    <a:lnTo>
                      <a:pt x="381" y="314"/>
                    </a:lnTo>
                    <a:lnTo>
                      <a:pt x="380" y="313"/>
                    </a:lnTo>
                    <a:lnTo>
                      <a:pt x="381" y="312"/>
                    </a:lnTo>
                    <a:lnTo>
                      <a:pt x="380" y="309"/>
                    </a:lnTo>
                    <a:lnTo>
                      <a:pt x="381" y="306"/>
                    </a:lnTo>
                    <a:lnTo>
                      <a:pt x="381" y="305"/>
                    </a:lnTo>
                    <a:lnTo>
                      <a:pt x="382" y="304"/>
                    </a:lnTo>
                    <a:lnTo>
                      <a:pt x="383" y="303"/>
                    </a:lnTo>
                    <a:lnTo>
                      <a:pt x="382" y="299"/>
                    </a:lnTo>
                    <a:lnTo>
                      <a:pt x="381" y="299"/>
                    </a:lnTo>
                    <a:lnTo>
                      <a:pt x="382" y="296"/>
                    </a:lnTo>
                    <a:lnTo>
                      <a:pt x="380" y="295"/>
                    </a:lnTo>
                    <a:lnTo>
                      <a:pt x="380" y="292"/>
                    </a:lnTo>
                    <a:lnTo>
                      <a:pt x="378" y="289"/>
                    </a:lnTo>
                    <a:lnTo>
                      <a:pt x="378" y="288"/>
                    </a:lnTo>
                    <a:lnTo>
                      <a:pt x="375" y="288"/>
                    </a:lnTo>
                    <a:lnTo>
                      <a:pt x="373" y="287"/>
                    </a:lnTo>
                    <a:lnTo>
                      <a:pt x="371" y="282"/>
                    </a:lnTo>
                    <a:lnTo>
                      <a:pt x="372" y="280"/>
                    </a:lnTo>
                    <a:lnTo>
                      <a:pt x="370" y="279"/>
                    </a:lnTo>
                    <a:lnTo>
                      <a:pt x="370" y="276"/>
                    </a:lnTo>
                    <a:lnTo>
                      <a:pt x="369" y="276"/>
                    </a:lnTo>
                    <a:lnTo>
                      <a:pt x="367" y="276"/>
                    </a:lnTo>
                    <a:lnTo>
                      <a:pt x="366" y="275"/>
                    </a:lnTo>
                    <a:lnTo>
                      <a:pt x="366" y="274"/>
                    </a:lnTo>
                    <a:lnTo>
                      <a:pt x="366" y="272"/>
                    </a:lnTo>
                    <a:lnTo>
                      <a:pt x="363" y="270"/>
                    </a:lnTo>
                    <a:lnTo>
                      <a:pt x="363" y="268"/>
                    </a:lnTo>
                    <a:lnTo>
                      <a:pt x="360" y="262"/>
                    </a:lnTo>
                    <a:lnTo>
                      <a:pt x="361" y="261"/>
                    </a:lnTo>
                    <a:lnTo>
                      <a:pt x="360" y="259"/>
                    </a:lnTo>
                    <a:lnTo>
                      <a:pt x="360" y="258"/>
                    </a:lnTo>
                    <a:lnTo>
                      <a:pt x="357" y="254"/>
                    </a:lnTo>
                    <a:lnTo>
                      <a:pt x="355" y="249"/>
                    </a:lnTo>
                    <a:lnTo>
                      <a:pt x="354" y="248"/>
                    </a:lnTo>
                    <a:lnTo>
                      <a:pt x="354" y="245"/>
                    </a:lnTo>
                    <a:lnTo>
                      <a:pt x="353" y="244"/>
                    </a:lnTo>
                    <a:lnTo>
                      <a:pt x="348" y="244"/>
                    </a:lnTo>
                    <a:lnTo>
                      <a:pt x="347" y="243"/>
                    </a:lnTo>
                    <a:lnTo>
                      <a:pt x="346" y="244"/>
                    </a:lnTo>
                    <a:lnTo>
                      <a:pt x="345" y="245"/>
                    </a:lnTo>
                    <a:lnTo>
                      <a:pt x="344" y="245"/>
                    </a:lnTo>
                    <a:lnTo>
                      <a:pt x="340" y="240"/>
                    </a:lnTo>
                    <a:lnTo>
                      <a:pt x="339" y="233"/>
                    </a:lnTo>
                    <a:lnTo>
                      <a:pt x="336" y="229"/>
                    </a:lnTo>
                    <a:lnTo>
                      <a:pt x="336" y="228"/>
                    </a:lnTo>
                    <a:lnTo>
                      <a:pt x="337" y="226"/>
                    </a:lnTo>
                    <a:lnTo>
                      <a:pt x="337" y="223"/>
                    </a:lnTo>
                    <a:lnTo>
                      <a:pt x="338" y="222"/>
                    </a:lnTo>
                    <a:lnTo>
                      <a:pt x="337" y="219"/>
                    </a:lnTo>
                    <a:lnTo>
                      <a:pt x="337" y="217"/>
                    </a:lnTo>
                    <a:lnTo>
                      <a:pt x="336" y="215"/>
                    </a:lnTo>
                    <a:lnTo>
                      <a:pt x="334" y="216"/>
                    </a:lnTo>
                    <a:lnTo>
                      <a:pt x="333" y="215"/>
                    </a:lnTo>
                    <a:lnTo>
                      <a:pt x="331" y="215"/>
                    </a:lnTo>
                    <a:lnTo>
                      <a:pt x="327" y="214"/>
                    </a:lnTo>
                    <a:lnTo>
                      <a:pt x="325" y="214"/>
                    </a:lnTo>
                    <a:lnTo>
                      <a:pt x="322" y="212"/>
                    </a:lnTo>
                    <a:lnTo>
                      <a:pt x="320" y="213"/>
                    </a:lnTo>
                    <a:lnTo>
                      <a:pt x="318" y="216"/>
                    </a:lnTo>
                    <a:lnTo>
                      <a:pt x="318" y="217"/>
                    </a:lnTo>
                    <a:lnTo>
                      <a:pt x="316" y="219"/>
                    </a:lnTo>
                    <a:lnTo>
                      <a:pt x="314" y="219"/>
                    </a:lnTo>
                    <a:lnTo>
                      <a:pt x="314" y="214"/>
                    </a:lnTo>
                    <a:lnTo>
                      <a:pt x="311" y="211"/>
                    </a:lnTo>
                    <a:lnTo>
                      <a:pt x="312" y="210"/>
                    </a:lnTo>
                    <a:lnTo>
                      <a:pt x="311" y="206"/>
                    </a:lnTo>
                    <a:lnTo>
                      <a:pt x="311" y="205"/>
                    </a:lnTo>
                    <a:lnTo>
                      <a:pt x="307" y="205"/>
                    </a:lnTo>
                    <a:lnTo>
                      <a:pt x="307" y="204"/>
                    </a:lnTo>
                    <a:lnTo>
                      <a:pt x="309" y="200"/>
                    </a:lnTo>
                    <a:lnTo>
                      <a:pt x="308" y="200"/>
                    </a:lnTo>
                    <a:lnTo>
                      <a:pt x="306" y="198"/>
                    </a:lnTo>
                    <a:lnTo>
                      <a:pt x="306" y="196"/>
                    </a:lnTo>
                    <a:lnTo>
                      <a:pt x="304" y="195"/>
                    </a:lnTo>
                    <a:lnTo>
                      <a:pt x="301" y="198"/>
                    </a:lnTo>
                    <a:lnTo>
                      <a:pt x="298" y="196"/>
                    </a:lnTo>
                    <a:lnTo>
                      <a:pt x="299" y="194"/>
                    </a:lnTo>
                    <a:lnTo>
                      <a:pt x="298" y="188"/>
                    </a:lnTo>
                    <a:lnTo>
                      <a:pt x="296" y="187"/>
                    </a:lnTo>
                    <a:lnTo>
                      <a:pt x="295" y="187"/>
                    </a:lnTo>
                    <a:lnTo>
                      <a:pt x="295" y="185"/>
                    </a:lnTo>
                    <a:lnTo>
                      <a:pt x="295" y="184"/>
                    </a:lnTo>
                    <a:lnTo>
                      <a:pt x="296" y="181"/>
                    </a:lnTo>
                    <a:lnTo>
                      <a:pt x="298" y="179"/>
                    </a:lnTo>
                    <a:lnTo>
                      <a:pt x="300" y="177"/>
                    </a:lnTo>
                    <a:lnTo>
                      <a:pt x="302" y="177"/>
                    </a:lnTo>
                    <a:lnTo>
                      <a:pt x="302" y="179"/>
                    </a:lnTo>
                    <a:lnTo>
                      <a:pt x="303" y="181"/>
                    </a:lnTo>
                    <a:lnTo>
                      <a:pt x="305" y="181"/>
                    </a:lnTo>
                    <a:lnTo>
                      <a:pt x="306" y="179"/>
                    </a:lnTo>
                    <a:lnTo>
                      <a:pt x="305" y="176"/>
                    </a:lnTo>
                    <a:lnTo>
                      <a:pt x="304" y="175"/>
                    </a:lnTo>
                    <a:lnTo>
                      <a:pt x="303" y="174"/>
                    </a:lnTo>
                    <a:lnTo>
                      <a:pt x="304" y="174"/>
                    </a:lnTo>
                    <a:lnTo>
                      <a:pt x="307" y="174"/>
                    </a:lnTo>
                    <a:lnTo>
                      <a:pt x="306" y="171"/>
                    </a:lnTo>
                    <a:lnTo>
                      <a:pt x="309" y="172"/>
                    </a:lnTo>
                    <a:lnTo>
                      <a:pt x="312" y="171"/>
                    </a:lnTo>
                    <a:lnTo>
                      <a:pt x="311" y="168"/>
                    </a:lnTo>
                    <a:lnTo>
                      <a:pt x="314" y="166"/>
                    </a:lnTo>
                    <a:lnTo>
                      <a:pt x="316" y="166"/>
                    </a:lnTo>
                    <a:lnTo>
                      <a:pt x="317" y="167"/>
                    </a:lnTo>
                    <a:lnTo>
                      <a:pt x="318" y="167"/>
                    </a:lnTo>
                    <a:lnTo>
                      <a:pt x="317" y="164"/>
                    </a:lnTo>
                    <a:lnTo>
                      <a:pt x="318" y="165"/>
                    </a:lnTo>
                    <a:lnTo>
                      <a:pt x="320" y="166"/>
                    </a:lnTo>
                    <a:lnTo>
                      <a:pt x="322" y="166"/>
                    </a:lnTo>
                    <a:lnTo>
                      <a:pt x="323" y="167"/>
                    </a:lnTo>
                    <a:lnTo>
                      <a:pt x="325" y="164"/>
                    </a:lnTo>
                    <a:lnTo>
                      <a:pt x="325" y="162"/>
                    </a:lnTo>
                    <a:lnTo>
                      <a:pt x="328" y="161"/>
                    </a:lnTo>
                    <a:lnTo>
                      <a:pt x="328" y="160"/>
                    </a:lnTo>
                    <a:lnTo>
                      <a:pt x="328" y="156"/>
                    </a:lnTo>
                    <a:lnTo>
                      <a:pt x="328" y="155"/>
                    </a:lnTo>
                    <a:lnTo>
                      <a:pt x="331" y="155"/>
                    </a:lnTo>
                    <a:lnTo>
                      <a:pt x="332" y="155"/>
                    </a:lnTo>
                    <a:lnTo>
                      <a:pt x="334" y="156"/>
                    </a:lnTo>
                    <a:lnTo>
                      <a:pt x="335" y="158"/>
                    </a:lnTo>
                    <a:lnTo>
                      <a:pt x="337" y="160"/>
                    </a:lnTo>
                    <a:lnTo>
                      <a:pt x="342" y="159"/>
                    </a:lnTo>
                    <a:lnTo>
                      <a:pt x="346" y="152"/>
                    </a:lnTo>
                    <a:lnTo>
                      <a:pt x="350" y="150"/>
                    </a:lnTo>
                    <a:lnTo>
                      <a:pt x="354" y="147"/>
                    </a:lnTo>
                    <a:lnTo>
                      <a:pt x="354" y="146"/>
                    </a:lnTo>
                    <a:lnTo>
                      <a:pt x="353" y="145"/>
                    </a:lnTo>
                    <a:lnTo>
                      <a:pt x="354" y="145"/>
                    </a:lnTo>
                    <a:lnTo>
                      <a:pt x="351" y="140"/>
                    </a:lnTo>
                    <a:lnTo>
                      <a:pt x="353" y="140"/>
                    </a:lnTo>
                    <a:lnTo>
                      <a:pt x="358" y="138"/>
                    </a:lnTo>
                    <a:lnTo>
                      <a:pt x="358" y="134"/>
                    </a:lnTo>
                    <a:lnTo>
                      <a:pt x="357" y="130"/>
                    </a:lnTo>
                    <a:lnTo>
                      <a:pt x="357" y="129"/>
                    </a:lnTo>
                    <a:lnTo>
                      <a:pt x="361" y="129"/>
                    </a:lnTo>
                    <a:lnTo>
                      <a:pt x="363" y="129"/>
                    </a:lnTo>
                    <a:lnTo>
                      <a:pt x="368" y="125"/>
                    </a:lnTo>
                    <a:lnTo>
                      <a:pt x="368" y="122"/>
                    </a:lnTo>
                    <a:lnTo>
                      <a:pt x="368" y="119"/>
                    </a:lnTo>
                    <a:lnTo>
                      <a:pt x="365" y="115"/>
                    </a:lnTo>
                    <a:lnTo>
                      <a:pt x="364" y="111"/>
                    </a:lnTo>
                    <a:lnTo>
                      <a:pt x="361" y="109"/>
                    </a:lnTo>
                    <a:lnTo>
                      <a:pt x="360" y="106"/>
                    </a:lnTo>
                    <a:lnTo>
                      <a:pt x="357" y="105"/>
                    </a:lnTo>
                    <a:lnTo>
                      <a:pt x="353" y="98"/>
                    </a:lnTo>
                    <a:lnTo>
                      <a:pt x="353" y="96"/>
                    </a:lnTo>
                    <a:lnTo>
                      <a:pt x="352" y="96"/>
                    </a:lnTo>
                    <a:lnTo>
                      <a:pt x="351" y="94"/>
                    </a:lnTo>
                    <a:lnTo>
                      <a:pt x="350" y="90"/>
                    </a:lnTo>
                    <a:lnTo>
                      <a:pt x="347" y="90"/>
                    </a:lnTo>
                    <a:lnTo>
                      <a:pt x="347" y="88"/>
                    </a:lnTo>
                    <a:lnTo>
                      <a:pt x="345" y="82"/>
                    </a:lnTo>
                    <a:lnTo>
                      <a:pt x="340" y="80"/>
                    </a:lnTo>
                    <a:lnTo>
                      <a:pt x="337" y="80"/>
                    </a:lnTo>
                    <a:lnTo>
                      <a:pt x="336" y="82"/>
                    </a:lnTo>
                    <a:lnTo>
                      <a:pt x="333" y="82"/>
                    </a:lnTo>
                    <a:lnTo>
                      <a:pt x="328" y="81"/>
                    </a:lnTo>
                    <a:lnTo>
                      <a:pt x="328" y="77"/>
                    </a:lnTo>
                    <a:lnTo>
                      <a:pt x="327" y="77"/>
                    </a:lnTo>
                    <a:lnTo>
                      <a:pt x="324" y="77"/>
                    </a:lnTo>
                    <a:lnTo>
                      <a:pt x="322" y="77"/>
                    </a:lnTo>
                    <a:lnTo>
                      <a:pt x="317" y="75"/>
                    </a:lnTo>
                    <a:lnTo>
                      <a:pt x="316" y="75"/>
                    </a:lnTo>
                    <a:lnTo>
                      <a:pt x="311" y="84"/>
                    </a:lnTo>
                    <a:lnTo>
                      <a:pt x="311" y="89"/>
                    </a:lnTo>
                    <a:lnTo>
                      <a:pt x="311" y="91"/>
                    </a:lnTo>
                    <a:lnTo>
                      <a:pt x="310" y="92"/>
                    </a:lnTo>
                    <a:lnTo>
                      <a:pt x="304" y="92"/>
                    </a:lnTo>
                    <a:lnTo>
                      <a:pt x="301" y="94"/>
                    </a:lnTo>
                    <a:lnTo>
                      <a:pt x="300" y="92"/>
                    </a:lnTo>
                    <a:lnTo>
                      <a:pt x="300" y="88"/>
                    </a:lnTo>
                    <a:lnTo>
                      <a:pt x="298" y="85"/>
                    </a:lnTo>
                    <a:lnTo>
                      <a:pt x="293" y="80"/>
                    </a:lnTo>
                    <a:lnTo>
                      <a:pt x="290" y="81"/>
                    </a:lnTo>
                    <a:lnTo>
                      <a:pt x="289" y="78"/>
                    </a:lnTo>
                    <a:lnTo>
                      <a:pt x="288" y="77"/>
                    </a:lnTo>
                    <a:lnTo>
                      <a:pt x="287" y="76"/>
                    </a:lnTo>
                    <a:lnTo>
                      <a:pt x="284" y="76"/>
                    </a:lnTo>
                    <a:lnTo>
                      <a:pt x="283" y="75"/>
                    </a:lnTo>
                    <a:lnTo>
                      <a:pt x="280" y="75"/>
                    </a:lnTo>
                    <a:lnTo>
                      <a:pt x="279" y="78"/>
                    </a:lnTo>
                    <a:lnTo>
                      <a:pt x="278" y="79"/>
                    </a:lnTo>
                    <a:lnTo>
                      <a:pt x="276" y="79"/>
                    </a:lnTo>
                    <a:lnTo>
                      <a:pt x="276" y="81"/>
                    </a:lnTo>
                    <a:lnTo>
                      <a:pt x="272" y="84"/>
                    </a:lnTo>
                    <a:lnTo>
                      <a:pt x="270" y="84"/>
                    </a:lnTo>
                    <a:lnTo>
                      <a:pt x="270" y="85"/>
                    </a:lnTo>
                    <a:lnTo>
                      <a:pt x="268" y="87"/>
                    </a:lnTo>
                    <a:lnTo>
                      <a:pt x="267" y="94"/>
                    </a:lnTo>
                    <a:lnTo>
                      <a:pt x="267" y="96"/>
                    </a:lnTo>
                    <a:lnTo>
                      <a:pt x="266" y="97"/>
                    </a:lnTo>
                    <a:lnTo>
                      <a:pt x="262" y="95"/>
                    </a:lnTo>
                    <a:lnTo>
                      <a:pt x="257" y="102"/>
                    </a:lnTo>
                    <a:lnTo>
                      <a:pt x="255" y="99"/>
                    </a:lnTo>
                    <a:lnTo>
                      <a:pt x="255" y="98"/>
                    </a:lnTo>
                    <a:lnTo>
                      <a:pt x="253" y="98"/>
                    </a:lnTo>
                    <a:lnTo>
                      <a:pt x="249" y="95"/>
                    </a:lnTo>
                    <a:lnTo>
                      <a:pt x="248" y="94"/>
                    </a:lnTo>
                    <a:lnTo>
                      <a:pt x="248" y="92"/>
                    </a:lnTo>
                    <a:lnTo>
                      <a:pt x="251" y="90"/>
                    </a:lnTo>
                    <a:lnTo>
                      <a:pt x="254" y="89"/>
                    </a:lnTo>
                    <a:lnTo>
                      <a:pt x="258" y="86"/>
                    </a:lnTo>
                    <a:lnTo>
                      <a:pt x="257" y="85"/>
                    </a:lnTo>
                    <a:lnTo>
                      <a:pt x="254" y="84"/>
                    </a:lnTo>
                    <a:lnTo>
                      <a:pt x="254" y="80"/>
                    </a:lnTo>
                    <a:lnTo>
                      <a:pt x="253" y="79"/>
                    </a:lnTo>
                    <a:lnTo>
                      <a:pt x="254" y="77"/>
                    </a:lnTo>
                    <a:lnTo>
                      <a:pt x="254" y="72"/>
                    </a:lnTo>
                    <a:lnTo>
                      <a:pt x="254" y="69"/>
                    </a:lnTo>
                    <a:lnTo>
                      <a:pt x="254" y="66"/>
                    </a:lnTo>
                    <a:lnTo>
                      <a:pt x="253" y="65"/>
                    </a:lnTo>
                    <a:lnTo>
                      <a:pt x="252" y="63"/>
                    </a:lnTo>
                    <a:lnTo>
                      <a:pt x="252" y="61"/>
                    </a:lnTo>
                    <a:lnTo>
                      <a:pt x="252" y="60"/>
                    </a:lnTo>
                    <a:lnTo>
                      <a:pt x="246" y="56"/>
                    </a:lnTo>
                    <a:lnTo>
                      <a:pt x="242" y="56"/>
                    </a:lnTo>
                    <a:lnTo>
                      <a:pt x="241" y="56"/>
                    </a:lnTo>
                    <a:lnTo>
                      <a:pt x="239" y="58"/>
                    </a:lnTo>
                    <a:lnTo>
                      <a:pt x="237" y="57"/>
                    </a:lnTo>
                    <a:lnTo>
                      <a:pt x="235" y="59"/>
                    </a:lnTo>
                    <a:lnTo>
                      <a:pt x="233" y="58"/>
                    </a:lnTo>
                    <a:lnTo>
                      <a:pt x="230" y="59"/>
                    </a:lnTo>
                    <a:lnTo>
                      <a:pt x="224" y="61"/>
                    </a:lnTo>
                    <a:lnTo>
                      <a:pt x="223" y="63"/>
                    </a:lnTo>
                    <a:lnTo>
                      <a:pt x="218" y="60"/>
                    </a:lnTo>
                    <a:lnTo>
                      <a:pt x="218" y="58"/>
                    </a:lnTo>
                    <a:lnTo>
                      <a:pt x="218" y="56"/>
                    </a:lnTo>
                    <a:lnTo>
                      <a:pt x="218" y="50"/>
                    </a:lnTo>
                    <a:lnTo>
                      <a:pt x="216" y="48"/>
                    </a:lnTo>
                    <a:lnTo>
                      <a:pt x="216" y="44"/>
                    </a:lnTo>
                    <a:lnTo>
                      <a:pt x="215" y="43"/>
                    </a:lnTo>
                    <a:lnTo>
                      <a:pt x="213" y="38"/>
                    </a:lnTo>
                    <a:lnTo>
                      <a:pt x="211" y="35"/>
                    </a:lnTo>
                    <a:lnTo>
                      <a:pt x="213" y="27"/>
                    </a:lnTo>
                    <a:lnTo>
                      <a:pt x="210" y="24"/>
                    </a:lnTo>
                    <a:lnTo>
                      <a:pt x="210" y="21"/>
                    </a:lnTo>
                    <a:lnTo>
                      <a:pt x="202" y="22"/>
                    </a:lnTo>
                    <a:lnTo>
                      <a:pt x="202" y="24"/>
                    </a:lnTo>
                    <a:lnTo>
                      <a:pt x="199" y="26"/>
                    </a:lnTo>
                    <a:lnTo>
                      <a:pt x="194" y="24"/>
                    </a:lnTo>
                    <a:lnTo>
                      <a:pt x="190" y="26"/>
                    </a:lnTo>
                    <a:lnTo>
                      <a:pt x="188" y="27"/>
                    </a:lnTo>
                    <a:lnTo>
                      <a:pt x="187" y="27"/>
                    </a:lnTo>
                    <a:lnTo>
                      <a:pt x="183" y="24"/>
                    </a:lnTo>
                    <a:lnTo>
                      <a:pt x="179" y="25"/>
                    </a:lnTo>
                    <a:lnTo>
                      <a:pt x="177" y="24"/>
                    </a:lnTo>
                    <a:lnTo>
                      <a:pt x="175" y="22"/>
                    </a:lnTo>
                    <a:lnTo>
                      <a:pt x="174" y="18"/>
                    </a:lnTo>
                    <a:lnTo>
                      <a:pt x="173" y="17"/>
                    </a:lnTo>
                    <a:lnTo>
                      <a:pt x="170" y="15"/>
                    </a:lnTo>
                    <a:lnTo>
                      <a:pt x="168" y="13"/>
                    </a:lnTo>
                    <a:lnTo>
                      <a:pt x="165" y="13"/>
                    </a:lnTo>
                    <a:lnTo>
                      <a:pt x="158" y="10"/>
                    </a:lnTo>
                    <a:lnTo>
                      <a:pt x="157" y="5"/>
                    </a:lnTo>
                    <a:lnTo>
                      <a:pt x="154" y="3"/>
                    </a:lnTo>
                    <a:lnTo>
                      <a:pt x="147" y="1"/>
                    </a:lnTo>
                    <a:lnTo>
                      <a:pt x="142" y="3"/>
                    </a:lnTo>
                    <a:lnTo>
                      <a:pt x="140" y="0"/>
                    </a:lnTo>
                    <a:lnTo>
                      <a:pt x="136" y="0"/>
                    </a:lnTo>
                    <a:lnTo>
                      <a:pt x="136" y="6"/>
                    </a:lnTo>
                    <a:lnTo>
                      <a:pt x="136" y="9"/>
                    </a:lnTo>
                    <a:lnTo>
                      <a:pt x="137" y="12"/>
                    </a:lnTo>
                    <a:lnTo>
                      <a:pt x="142" y="17"/>
                    </a:lnTo>
                    <a:lnTo>
                      <a:pt x="144" y="22"/>
                    </a:lnTo>
                    <a:lnTo>
                      <a:pt x="142" y="25"/>
                    </a:lnTo>
                    <a:lnTo>
                      <a:pt x="139" y="30"/>
                    </a:lnTo>
                    <a:lnTo>
                      <a:pt x="138" y="31"/>
                    </a:lnTo>
                    <a:lnTo>
                      <a:pt x="141" y="34"/>
                    </a:lnTo>
                    <a:lnTo>
                      <a:pt x="139" y="39"/>
                    </a:lnTo>
                    <a:lnTo>
                      <a:pt x="140" y="41"/>
                    </a:lnTo>
                    <a:lnTo>
                      <a:pt x="138" y="44"/>
                    </a:lnTo>
                    <a:lnTo>
                      <a:pt x="138" y="47"/>
                    </a:lnTo>
                    <a:lnTo>
                      <a:pt x="139" y="47"/>
                    </a:lnTo>
                    <a:lnTo>
                      <a:pt x="140" y="58"/>
                    </a:lnTo>
                    <a:lnTo>
                      <a:pt x="142" y="60"/>
                    </a:lnTo>
                    <a:lnTo>
                      <a:pt x="139" y="63"/>
                    </a:lnTo>
                    <a:lnTo>
                      <a:pt x="137" y="67"/>
                    </a:lnTo>
                    <a:lnTo>
                      <a:pt x="137" y="68"/>
                    </a:lnTo>
                    <a:lnTo>
                      <a:pt x="141" y="71"/>
                    </a:lnTo>
                    <a:lnTo>
                      <a:pt x="142" y="74"/>
                    </a:lnTo>
                    <a:lnTo>
                      <a:pt x="142" y="77"/>
                    </a:lnTo>
                    <a:lnTo>
                      <a:pt x="145" y="79"/>
                    </a:lnTo>
                    <a:lnTo>
                      <a:pt x="142" y="81"/>
                    </a:lnTo>
                    <a:lnTo>
                      <a:pt x="139" y="85"/>
                    </a:lnTo>
                    <a:lnTo>
                      <a:pt x="140" y="87"/>
                    </a:lnTo>
                    <a:lnTo>
                      <a:pt x="135" y="94"/>
                    </a:lnTo>
                    <a:lnTo>
                      <a:pt x="137" y="97"/>
                    </a:lnTo>
                    <a:lnTo>
                      <a:pt x="141" y="98"/>
                    </a:lnTo>
                    <a:lnTo>
                      <a:pt x="140" y="99"/>
                    </a:lnTo>
                    <a:lnTo>
                      <a:pt x="138" y="100"/>
                    </a:lnTo>
                    <a:lnTo>
                      <a:pt x="142" y="105"/>
                    </a:lnTo>
                    <a:lnTo>
                      <a:pt x="140" y="105"/>
                    </a:lnTo>
                    <a:lnTo>
                      <a:pt x="142" y="106"/>
                    </a:lnTo>
                    <a:lnTo>
                      <a:pt x="143" y="109"/>
                    </a:lnTo>
                    <a:lnTo>
                      <a:pt x="145" y="111"/>
                    </a:lnTo>
                    <a:lnTo>
                      <a:pt x="145" y="112"/>
                    </a:lnTo>
                    <a:lnTo>
                      <a:pt x="146" y="113"/>
                    </a:lnTo>
                    <a:lnTo>
                      <a:pt x="147" y="116"/>
                    </a:lnTo>
                    <a:lnTo>
                      <a:pt x="148" y="116"/>
                    </a:lnTo>
                    <a:lnTo>
                      <a:pt x="148" y="119"/>
                    </a:lnTo>
                    <a:lnTo>
                      <a:pt x="149" y="122"/>
                    </a:lnTo>
                    <a:lnTo>
                      <a:pt x="149" y="123"/>
                    </a:lnTo>
                    <a:lnTo>
                      <a:pt x="140" y="123"/>
                    </a:lnTo>
                    <a:lnTo>
                      <a:pt x="138" y="124"/>
                    </a:lnTo>
                    <a:lnTo>
                      <a:pt x="137" y="125"/>
                    </a:lnTo>
                    <a:lnTo>
                      <a:pt x="137" y="122"/>
                    </a:lnTo>
                    <a:lnTo>
                      <a:pt x="136" y="124"/>
                    </a:lnTo>
                    <a:lnTo>
                      <a:pt x="136" y="125"/>
                    </a:lnTo>
                    <a:lnTo>
                      <a:pt x="135" y="125"/>
                    </a:lnTo>
                    <a:lnTo>
                      <a:pt x="135" y="121"/>
                    </a:lnTo>
                    <a:lnTo>
                      <a:pt x="134" y="121"/>
                    </a:lnTo>
                    <a:lnTo>
                      <a:pt x="134" y="122"/>
                    </a:lnTo>
                    <a:lnTo>
                      <a:pt x="133" y="121"/>
                    </a:lnTo>
                    <a:lnTo>
                      <a:pt x="133" y="120"/>
                    </a:lnTo>
                    <a:lnTo>
                      <a:pt x="132" y="120"/>
                    </a:lnTo>
                    <a:lnTo>
                      <a:pt x="132" y="119"/>
                    </a:lnTo>
                    <a:lnTo>
                      <a:pt x="131" y="119"/>
                    </a:lnTo>
                    <a:lnTo>
                      <a:pt x="129" y="120"/>
                    </a:lnTo>
                    <a:lnTo>
                      <a:pt x="128" y="120"/>
                    </a:lnTo>
                    <a:lnTo>
                      <a:pt x="126" y="121"/>
                    </a:lnTo>
                    <a:lnTo>
                      <a:pt x="125" y="120"/>
                    </a:lnTo>
                    <a:lnTo>
                      <a:pt x="125" y="124"/>
                    </a:lnTo>
                    <a:lnTo>
                      <a:pt x="122" y="124"/>
                    </a:lnTo>
                    <a:lnTo>
                      <a:pt x="121" y="122"/>
                    </a:lnTo>
                    <a:lnTo>
                      <a:pt x="120" y="122"/>
                    </a:lnTo>
                    <a:lnTo>
                      <a:pt x="119" y="121"/>
                    </a:lnTo>
                    <a:lnTo>
                      <a:pt x="117" y="121"/>
                    </a:lnTo>
                    <a:lnTo>
                      <a:pt x="117" y="119"/>
                    </a:lnTo>
                    <a:lnTo>
                      <a:pt x="113" y="113"/>
                    </a:lnTo>
                    <a:lnTo>
                      <a:pt x="113" y="111"/>
                    </a:lnTo>
                    <a:lnTo>
                      <a:pt x="114" y="111"/>
                    </a:lnTo>
                    <a:lnTo>
                      <a:pt x="114" y="110"/>
                    </a:lnTo>
                    <a:lnTo>
                      <a:pt x="113" y="109"/>
                    </a:lnTo>
                    <a:lnTo>
                      <a:pt x="109" y="106"/>
                    </a:lnTo>
                    <a:lnTo>
                      <a:pt x="109" y="108"/>
                    </a:lnTo>
                    <a:lnTo>
                      <a:pt x="108" y="109"/>
                    </a:lnTo>
                    <a:lnTo>
                      <a:pt x="109" y="111"/>
                    </a:lnTo>
                    <a:lnTo>
                      <a:pt x="109" y="113"/>
                    </a:lnTo>
                    <a:lnTo>
                      <a:pt x="108" y="113"/>
                    </a:lnTo>
                    <a:lnTo>
                      <a:pt x="107" y="113"/>
                    </a:lnTo>
                    <a:lnTo>
                      <a:pt x="105" y="111"/>
                    </a:lnTo>
                    <a:lnTo>
                      <a:pt x="104" y="116"/>
                    </a:lnTo>
                    <a:lnTo>
                      <a:pt x="101" y="116"/>
                    </a:lnTo>
                    <a:lnTo>
                      <a:pt x="97" y="116"/>
                    </a:lnTo>
                    <a:lnTo>
                      <a:pt x="96" y="119"/>
                    </a:lnTo>
                    <a:lnTo>
                      <a:pt x="97" y="121"/>
                    </a:lnTo>
                    <a:lnTo>
                      <a:pt x="97" y="125"/>
                    </a:lnTo>
                    <a:lnTo>
                      <a:pt x="100" y="127"/>
                    </a:lnTo>
                    <a:lnTo>
                      <a:pt x="99" y="129"/>
                    </a:lnTo>
                    <a:lnTo>
                      <a:pt x="97" y="129"/>
                    </a:lnTo>
                    <a:lnTo>
                      <a:pt x="98" y="130"/>
                    </a:lnTo>
                    <a:lnTo>
                      <a:pt x="96" y="132"/>
                    </a:lnTo>
                    <a:lnTo>
                      <a:pt x="96" y="133"/>
                    </a:lnTo>
                    <a:lnTo>
                      <a:pt x="94" y="133"/>
                    </a:lnTo>
                    <a:lnTo>
                      <a:pt x="93" y="130"/>
                    </a:lnTo>
                    <a:lnTo>
                      <a:pt x="92" y="131"/>
                    </a:lnTo>
                    <a:lnTo>
                      <a:pt x="91" y="132"/>
                    </a:lnTo>
                    <a:lnTo>
                      <a:pt x="92" y="134"/>
                    </a:lnTo>
                    <a:lnTo>
                      <a:pt x="92" y="135"/>
                    </a:lnTo>
                    <a:lnTo>
                      <a:pt x="91" y="134"/>
                    </a:lnTo>
                    <a:lnTo>
                      <a:pt x="91" y="135"/>
                    </a:lnTo>
                    <a:lnTo>
                      <a:pt x="89" y="133"/>
                    </a:lnTo>
                    <a:lnTo>
                      <a:pt x="88" y="135"/>
                    </a:lnTo>
                    <a:lnTo>
                      <a:pt x="87" y="134"/>
                    </a:lnTo>
                    <a:lnTo>
                      <a:pt x="85" y="135"/>
                    </a:lnTo>
                    <a:lnTo>
                      <a:pt x="82" y="134"/>
                    </a:lnTo>
                    <a:lnTo>
                      <a:pt x="82" y="132"/>
                    </a:lnTo>
                    <a:lnTo>
                      <a:pt x="81" y="132"/>
                    </a:lnTo>
                    <a:lnTo>
                      <a:pt x="82" y="132"/>
                    </a:lnTo>
                    <a:lnTo>
                      <a:pt x="82" y="130"/>
                    </a:lnTo>
                    <a:lnTo>
                      <a:pt x="80" y="130"/>
                    </a:lnTo>
                    <a:lnTo>
                      <a:pt x="80" y="129"/>
                    </a:lnTo>
                    <a:lnTo>
                      <a:pt x="83" y="130"/>
                    </a:lnTo>
                    <a:lnTo>
                      <a:pt x="83" y="129"/>
                    </a:lnTo>
                    <a:lnTo>
                      <a:pt x="82" y="129"/>
                    </a:lnTo>
                    <a:lnTo>
                      <a:pt x="81" y="126"/>
                    </a:lnTo>
                    <a:lnTo>
                      <a:pt x="82" y="126"/>
                    </a:lnTo>
                    <a:lnTo>
                      <a:pt x="81" y="123"/>
                    </a:lnTo>
                    <a:lnTo>
                      <a:pt x="82" y="122"/>
                    </a:lnTo>
                    <a:lnTo>
                      <a:pt x="80" y="121"/>
                    </a:lnTo>
                    <a:lnTo>
                      <a:pt x="78" y="122"/>
                    </a:lnTo>
                    <a:lnTo>
                      <a:pt x="77" y="127"/>
                    </a:lnTo>
                    <a:lnTo>
                      <a:pt x="75" y="125"/>
                    </a:lnTo>
                    <a:lnTo>
                      <a:pt x="74" y="123"/>
                    </a:lnTo>
                    <a:lnTo>
                      <a:pt x="72" y="122"/>
                    </a:lnTo>
                    <a:lnTo>
                      <a:pt x="71" y="122"/>
                    </a:lnTo>
                    <a:lnTo>
                      <a:pt x="70" y="119"/>
                    </a:lnTo>
                    <a:lnTo>
                      <a:pt x="71" y="117"/>
                    </a:lnTo>
                    <a:lnTo>
                      <a:pt x="68" y="116"/>
                    </a:lnTo>
                    <a:lnTo>
                      <a:pt x="67" y="117"/>
                    </a:lnTo>
                    <a:lnTo>
                      <a:pt x="66" y="117"/>
                    </a:lnTo>
                    <a:lnTo>
                      <a:pt x="66" y="115"/>
                    </a:lnTo>
                    <a:lnTo>
                      <a:pt x="64" y="117"/>
                    </a:lnTo>
                    <a:lnTo>
                      <a:pt x="63" y="116"/>
                    </a:lnTo>
                    <a:lnTo>
                      <a:pt x="60" y="115"/>
                    </a:lnTo>
                    <a:lnTo>
                      <a:pt x="60" y="113"/>
                    </a:lnTo>
                    <a:lnTo>
                      <a:pt x="57" y="111"/>
                    </a:lnTo>
                    <a:lnTo>
                      <a:pt x="56" y="110"/>
                    </a:lnTo>
                    <a:lnTo>
                      <a:pt x="54" y="110"/>
                    </a:lnTo>
                    <a:lnTo>
                      <a:pt x="53" y="111"/>
                    </a:lnTo>
                    <a:lnTo>
                      <a:pt x="52" y="109"/>
                    </a:lnTo>
                    <a:lnTo>
                      <a:pt x="51" y="110"/>
                    </a:lnTo>
                    <a:lnTo>
                      <a:pt x="50" y="110"/>
                    </a:lnTo>
                    <a:lnTo>
                      <a:pt x="49" y="111"/>
                    </a:lnTo>
                    <a:lnTo>
                      <a:pt x="48" y="113"/>
                    </a:lnTo>
                    <a:lnTo>
                      <a:pt x="45" y="114"/>
                    </a:lnTo>
                    <a:lnTo>
                      <a:pt x="45" y="116"/>
                    </a:lnTo>
                    <a:lnTo>
                      <a:pt x="43" y="116"/>
                    </a:lnTo>
                    <a:lnTo>
                      <a:pt x="44" y="117"/>
                    </a:lnTo>
                    <a:lnTo>
                      <a:pt x="43" y="120"/>
                    </a:lnTo>
                    <a:lnTo>
                      <a:pt x="43" y="121"/>
                    </a:lnTo>
                    <a:lnTo>
                      <a:pt x="41" y="121"/>
                    </a:lnTo>
                    <a:lnTo>
                      <a:pt x="40" y="121"/>
                    </a:lnTo>
                    <a:lnTo>
                      <a:pt x="38" y="122"/>
                    </a:lnTo>
                    <a:lnTo>
                      <a:pt x="35" y="118"/>
                    </a:lnTo>
                    <a:lnTo>
                      <a:pt x="32" y="116"/>
                    </a:lnTo>
                    <a:lnTo>
                      <a:pt x="29" y="115"/>
                    </a:lnTo>
                    <a:lnTo>
                      <a:pt x="28" y="113"/>
                    </a:lnTo>
                    <a:lnTo>
                      <a:pt x="27" y="111"/>
                    </a:lnTo>
                    <a:lnTo>
                      <a:pt x="22" y="108"/>
                    </a:lnTo>
                    <a:lnTo>
                      <a:pt x="22" y="109"/>
                    </a:lnTo>
                    <a:lnTo>
                      <a:pt x="20" y="108"/>
                    </a:lnTo>
                    <a:lnTo>
                      <a:pt x="20" y="106"/>
                    </a:lnTo>
                    <a:lnTo>
                      <a:pt x="19" y="105"/>
                    </a:lnTo>
                    <a:lnTo>
                      <a:pt x="19" y="106"/>
                    </a:lnTo>
                    <a:lnTo>
                      <a:pt x="18" y="106"/>
                    </a:lnTo>
                    <a:lnTo>
                      <a:pt x="18" y="108"/>
                    </a:lnTo>
                    <a:lnTo>
                      <a:pt x="17" y="108"/>
                    </a:lnTo>
                    <a:lnTo>
                      <a:pt x="17" y="109"/>
                    </a:lnTo>
                    <a:lnTo>
                      <a:pt x="15" y="109"/>
                    </a:lnTo>
                    <a:lnTo>
                      <a:pt x="15" y="110"/>
                    </a:lnTo>
                    <a:lnTo>
                      <a:pt x="11" y="110"/>
                    </a:lnTo>
                    <a:lnTo>
                      <a:pt x="10" y="111"/>
                    </a:lnTo>
                    <a:lnTo>
                      <a:pt x="10" y="115"/>
                    </a:lnTo>
                    <a:lnTo>
                      <a:pt x="10" y="116"/>
                    </a:lnTo>
                    <a:lnTo>
                      <a:pt x="11" y="116"/>
                    </a:lnTo>
                    <a:lnTo>
                      <a:pt x="14" y="120"/>
                    </a:lnTo>
                    <a:lnTo>
                      <a:pt x="14" y="122"/>
                    </a:lnTo>
                    <a:lnTo>
                      <a:pt x="13" y="124"/>
                    </a:lnTo>
                    <a:lnTo>
                      <a:pt x="13" y="125"/>
                    </a:lnTo>
                    <a:lnTo>
                      <a:pt x="14" y="125"/>
                    </a:lnTo>
                    <a:lnTo>
                      <a:pt x="16" y="127"/>
                    </a:lnTo>
                    <a:lnTo>
                      <a:pt x="15" y="128"/>
                    </a:lnTo>
                    <a:lnTo>
                      <a:pt x="15" y="129"/>
                    </a:lnTo>
                    <a:lnTo>
                      <a:pt x="14" y="129"/>
                    </a:lnTo>
                    <a:lnTo>
                      <a:pt x="13" y="129"/>
                    </a:lnTo>
                    <a:lnTo>
                      <a:pt x="14" y="129"/>
                    </a:lnTo>
                    <a:lnTo>
                      <a:pt x="14" y="130"/>
                    </a:lnTo>
                    <a:lnTo>
                      <a:pt x="13" y="132"/>
                    </a:lnTo>
                    <a:lnTo>
                      <a:pt x="14" y="132"/>
                    </a:lnTo>
                    <a:lnTo>
                      <a:pt x="13" y="134"/>
                    </a:lnTo>
                    <a:lnTo>
                      <a:pt x="13" y="136"/>
                    </a:lnTo>
                    <a:lnTo>
                      <a:pt x="11" y="138"/>
                    </a:lnTo>
                    <a:lnTo>
                      <a:pt x="11" y="140"/>
                    </a:lnTo>
                    <a:lnTo>
                      <a:pt x="13" y="139"/>
                    </a:lnTo>
                    <a:lnTo>
                      <a:pt x="13" y="141"/>
                    </a:lnTo>
                    <a:lnTo>
                      <a:pt x="15" y="140"/>
                    </a:lnTo>
                    <a:lnTo>
                      <a:pt x="15" y="141"/>
                    </a:lnTo>
                    <a:lnTo>
                      <a:pt x="17" y="145"/>
                    </a:lnTo>
                    <a:lnTo>
                      <a:pt x="17" y="146"/>
                    </a:lnTo>
                    <a:lnTo>
                      <a:pt x="15" y="146"/>
                    </a:lnTo>
                    <a:lnTo>
                      <a:pt x="15" y="148"/>
                    </a:lnTo>
                    <a:lnTo>
                      <a:pt x="16" y="149"/>
                    </a:lnTo>
                    <a:lnTo>
                      <a:pt x="16" y="150"/>
                    </a:lnTo>
                    <a:lnTo>
                      <a:pt x="19" y="151"/>
                    </a:lnTo>
                    <a:lnTo>
                      <a:pt x="15" y="160"/>
                    </a:lnTo>
                    <a:lnTo>
                      <a:pt x="15" y="159"/>
                    </a:lnTo>
                    <a:lnTo>
                      <a:pt x="14" y="160"/>
                    </a:lnTo>
                    <a:lnTo>
                      <a:pt x="13" y="159"/>
                    </a:lnTo>
                    <a:lnTo>
                      <a:pt x="13" y="160"/>
                    </a:lnTo>
                    <a:lnTo>
                      <a:pt x="10" y="160"/>
                    </a:lnTo>
                    <a:lnTo>
                      <a:pt x="10" y="163"/>
                    </a:lnTo>
                    <a:lnTo>
                      <a:pt x="11" y="163"/>
                    </a:lnTo>
                    <a:lnTo>
                      <a:pt x="11" y="164"/>
                    </a:lnTo>
                    <a:lnTo>
                      <a:pt x="10" y="165"/>
                    </a:lnTo>
                    <a:lnTo>
                      <a:pt x="11" y="167"/>
                    </a:lnTo>
                    <a:lnTo>
                      <a:pt x="11" y="168"/>
                    </a:lnTo>
                    <a:lnTo>
                      <a:pt x="10" y="168"/>
                    </a:lnTo>
                    <a:lnTo>
                      <a:pt x="9" y="169"/>
                    </a:lnTo>
                    <a:lnTo>
                      <a:pt x="8" y="169"/>
                    </a:lnTo>
                    <a:lnTo>
                      <a:pt x="9" y="168"/>
                    </a:lnTo>
                    <a:lnTo>
                      <a:pt x="8" y="168"/>
                    </a:lnTo>
                    <a:lnTo>
                      <a:pt x="7" y="168"/>
                    </a:lnTo>
                    <a:lnTo>
                      <a:pt x="6" y="168"/>
                    </a:lnTo>
                    <a:lnTo>
                      <a:pt x="5" y="167"/>
                    </a:lnTo>
                    <a:lnTo>
                      <a:pt x="3" y="169"/>
                    </a:lnTo>
                    <a:lnTo>
                      <a:pt x="0" y="172"/>
                    </a:lnTo>
                    <a:lnTo>
                      <a:pt x="2" y="175"/>
                    </a:lnTo>
                    <a:lnTo>
                      <a:pt x="3" y="177"/>
                    </a:lnTo>
                    <a:lnTo>
                      <a:pt x="5" y="177"/>
                    </a:lnTo>
                    <a:lnTo>
                      <a:pt x="7" y="180"/>
                    </a:lnTo>
                    <a:lnTo>
                      <a:pt x="6" y="180"/>
                    </a:lnTo>
                    <a:lnTo>
                      <a:pt x="4" y="181"/>
                    </a:lnTo>
                    <a:lnTo>
                      <a:pt x="5" y="185"/>
                    </a:lnTo>
                    <a:lnTo>
                      <a:pt x="5" y="187"/>
                    </a:lnTo>
                    <a:lnTo>
                      <a:pt x="7" y="189"/>
                    </a:lnTo>
                    <a:lnTo>
                      <a:pt x="9" y="191"/>
                    </a:lnTo>
                    <a:lnTo>
                      <a:pt x="11" y="192"/>
                    </a:lnTo>
                    <a:lnTo>
                      <a:pt x="13" y="191"/>
                    </a:lnTo>
                    <a:lnTo>
                      <a:pt x="15" y="188"/>
                    </a:lnTo>
                    <a:lnTo>
                      <a:pt x="16" y="191"/>
                    </a:lnTo>
                    <a:lnTo>
                      <a:pt x="20" y="193"/>
                    </a:lnTo>
                    <a:lnTo>
                      <a:pt x="21" y="193"/>
                    </a:lnTo>
                    <a:lnTo>
                      <a:pt x="20" y="194"/>
                    </a:lnTo>
                    <a:lnTo>
                      <a:pt x="19" y="194"/>
                    </a:lnTo>
                    <a:lnTo>
                      <a:pt x="19" y="198"/>
                    </a:lnTo>
                    <a:lnTo>
                      <a:pt x="20" y="198"/>
                    </a:lnTo>
                    <a:lnTo>
                      <a:pt x="22" y="197"/>
                    </a:lnTo>
                    <a:lnTo>
                      <a:pt x="22" y="198"/>
                    </a:lnTo>
                    <a:lnTo>
                      <a:pt x="23" y="200"/>
                    </a:lnTo>
                    <a:lnTo>
                      <a:pt x="24" y="200"/>
                    </a:lnTo>
                    <a:lnTo>
                      <a:pt x="25" y="202"/>
                    </a:lnTo>
                    <a:lnTo>
                      <a:pt x="26" y="202"/>
                    </a:lnTo>
                    <a:lnTo>
                      <a:pt x="27" y="204"/>
                    </a:lnTo>
                    <a:lnTo>
                      <a:pt x="27" y="206"/>
                    </a:lnTo>
                    <a:lnTo>
                      <a:pt x="26" y="205"/>
                    </a:lnTo>
                    <a:lnTo>
                      <a:pt x="23" y="206"/>
                    </a:lnTo>
                    <a:lnTo>
                      <a:pt x="23" y="208"/>
                    </a:lnTo>
                    <a:lnTo>
                      <a:pt x="25" y="209"/>
                    </a:lnTo>
                    <a:lnTo>
                      <a:pt x="25" y="211"/>
                    </a:lnTo>
                    <a:lnTo>
                      <a:pt x="23" y="213"/>
                    </a:lnTo>
                    <a:lnTo>
                      <a:pt x="25" y="214"/>
                    </a:lnTo>
                    <a:lnTo>
                      <a:pt x="28" y="217"/>
                    </a:lnTo>
                    <a:lnTo>
                      <a:pt x="28" y="218"/>
                    </a:lnTo>
                    <a:lnTo>
                      <a:pt x="29" y="219"/>
                    </a:lnTo>
                    <a:lnTo>
                      <a:pt x="30" y="217"/>
                    </a:lnTo>
                    <a:lnTo>
                      <a:pt x="30" y="219"/>
                    </a:lnTo>
                    <a:lnTo>
                      <a:pt x="31" y="219"/>
                    </a:lnTo>
                    <a:lnTo>
                      <a:pt x="32" y="219"/>
                    </a:lnTo>
                    <a:lnTo>
                      <a:pt x="32" y="217"/>
                    </a:lnTo>
                    <a:lnTo>
                      <a:pt x="36" y="218"/>
                    </a:lnTo>
                    <a:lnTo>
                      <a:pt x="38" y="216"/>
                    </a:lnTo>
                    <a:lnTo>
                      <a:pt x="39" y="216"/>
                    </a:lnTo>
                    <a:lnTo>
                      <a:pt x="39" y="217"/>
                    </a:lnTo>
                    <a:lnTo>
                      <a:pt x="41" y="219"/>
                    </a:lnTo>
                    <a:lnTo>
                      <a:pt x="42" y="219"/>
                    </a:lnTo>
                    <a:lnTo>
                      <a:pt x="43" y="220"/>
                    </a:lnTo>
                    <a:lnTo>
                      <a:pt x="44" y="219"/>
                    </a:lnTo>
                    <a:lnTo>
                      <a:pt x="46" y="221"/>
                    </a:lnTo>
                    <a:lnTo>
                      <a:pt x="49" y="223"/>
                    </a:lnTo>
                    <a:lnTo>
                      <a:pt x="48" y="223"/>
                    </a:lnTo>
                    <a:lnTo>
                      <a:pt x="49" y="225"/>
                    </a:lnTo>
                    <a:lnTo>
                      <a:pt x="50" y="224"/>
                    </a:lnTo>
                    <a:lnTo>
                      <a:pt x="52" y="223"/>
                    </a:lnTo>
                    <a:lnTo>
                      <a:pt x="53" y="220"/>
                    </a:lnTo>
                    <a:lnTo>
                      <a:pt x="56" y="221"/>
                    </a:lnTo>
                    <a:lnTo>
                      <a:pt x="57" y="219"/>
                    </a:lnTo>
                    <a:lnTo>
                      <a:pt x="59" y="219"/>
                    </a:lnTo>
                    <a:lnTo>
                      <a:pt x="60" y="219"/>
                    </a:lnTo>
                    <a:lnTo>
                      <a:pt x="62" y="219"/>
                    </a:lnTo>
                    <a:lnTo>
                      <a:pt x="63" y="217"/>
                    </a:lnTo>
                    <a:lnTo>
                      <a:pt x="63" y="219"/>
                    </a:lnTo>
                    <a:lnTo>
                      <a:pt x="63" y="222"/>
                    </a:lnTo>
                    <a:lnTo>
                      <a:pt x="64" y="222"/>
                    </a:lnTo>
                    <a:lnTo>
                      <a:pt x="64" y="223"/>
                    </a:lnTo>
                    <a:lnTo>
                      <a:pt x="66" y="223"/>
                    </a:lnTo>
                    <a:lnTo>
                      <a:pt x="67" y="224"/>
                    </a:lnTo>
                    <a:lnTo>
                      <a:pt x="67" y="225"/>
                    </a:lnTo>
                    <a:lnTo>
                      <a:pt x="69" y="225"/>
                    </a:lnTo>
                    <a:lnTo>
                      <a:pt x="69" y="227"/>
                    </a:lnTo>
                    <a:lnTo>
                      <a:pt x="68" y="228"/>
                    </a:lnTo>
                    <a:lnTo>
                      <a:pt x="68" y="230"/>
                    </a:lnTo>
                    <a:lnTo>
                      <a:pt x="68" y="231"/>
                    </a:lnTo>
                    <a:lnTo>
                      <a:pt x="68" y="234"/>
                    </a:lnTo>
                    <a:lnTo>
                      <a:pt x="68" y="237"/>
                    </a:lnTo>
                    <a:lnTo>
                      <a:pt x="69" y="240"/>
                    </a:lnTo>
                    <a:lnTo>
                      <a:pt x="68" y="241"/>
                    </a:lnTo>
                    <a:lnTo>
                      <a:pt x="66" y="241"/>
                    </a:lnTo>
                    <a:lnTo>
                      <a:pt x="64" y="242"/>
                    </a:lnTo>
                    <a:lnTo>
                      <a:pt x="66" y="243"/>
                    </a:lnTo>
                    <a:lnTo>
                      <a:pt x="66" y="249"/>
                    </a:lnTo>
                    <a:lnTo>
                      <a:pt x="64" y="252"/>
                    </a:lnTo>
                    <a:lnTo>
                      <a:pt x="66" y="253"/>
                    </a:lnTo>
                    <a:lnTo>
                      <a:pt x="66" y="255"/>
                    </a:lnTo>
                    <a:lnTo>
                      <a:pt x="67" y="255"/>
                    </a:lnTo>
                    <a:lnTo>
                      <a:pt x="69" y="257"/>
                    </a:lnTo>
                    <a:lnTo>
                      <a:pt x="68" y="261"/>
                    </a:lnTo>
                    <a:lnTo>
                      <a:pt x="69" y="259"/>
                    </a:lnTo>
                    <a:lnTo>
                      <a:pt x="69" y="261"/>
                    </a:lnTo>
                    <a:lnTo>
                      <a:pt x="70" y="261"/>
                    </a:lnTo>
                    <a:lnTo>
                      <a:pt x="69" y="263"/>
                    </a:lnTo>
                    <a:lnTo>
                      <a:pt x="71" y="262"/>
                    </a:lnTo>
                    <a:lnTo>
                      <a:pt x="69" y="265"/>
                    </a:lnTo>
                    <a:lnTo>
                      <a:pt x="69" y="267"/>
                    </a:lnTo>
                    <a:lnTo>
                      <a:pt x="68" y="269"/>
                    </a:lnTo>
                    <a:lnTo>
                      <a:pt x="68" y="268"/>
                    </a:lnTo>
                    <a:lnTo>
                      <a:pt x="66" y="270"/>
                    </a:lnTo>
                    <a:lnTo>
                      <a:pt x="67" y="271"/>
                    </a:lnTo>
                    <a:lnTo>
                      <a:pt x="68" y="272"/>
                    </a:lnTo>
                    <a:lnTo>
                      <a:pt x="67" y="272"/>
                    </a:lnTo>
                    <a:lnTo>
                      <a:pt x="66" y="274"/>
                    </a:lnTo>
                    <a:lnTo>
                      <a:pt x="66" y="273"/>
                    </a:lnTo>
                    <a:lnTo>
                      <a:pt x="66" y="275"/>
                    </a:lnTo>
                    <a:lnTo>
                      <a:pt x="64" y="275"/>
                    </a:lnTo>
                    <a:lnTo>
                      <a:pt x="63" y="277"/>
                    </a:lnTo>
                    <a:lnTo>
                      <a:pt x="61" y="276"/>
                    </a:lnTo>
                    <a:lnTo>
                      <a:pt x="60" y="279"/>
                    </a:lnTo>
                    <a:lnTo>
                      <a:pt x="60" y="278"/>
                    </a:lnTo>
                    <a:lnTo>
                      <a:pt x="59" y="278"/>
                    </a:lnTo>
                    <a:lnTo>
                      <a:pt x="59" y="280"/>
                    </a:lnTo>
                    <a:lnTo>
                      <a:pt x="58" y="280"/>
                    </a:lnTo>
                    <a:lnTo>
                      <a:pt x="57" y="279"/>
                    </a:lnTo>
                    <a:lnTo>
                      <a:pt x="56" y="282"/>
                    </a:lnTo>
                    <a:lnTo>
                      <a:pt x="58" y="282"/>
                    </a:lnTo>
                    <a:lnTo>
                      <a:pt x="61" y="284"/>
                    </a:lnTo>
                    <a:lnTo>
                      <a:pt x="61" y="285"/>
                    </a:lnTo>
                    <a:lnTo>
                      <a:pt x="57" y="288"/>
                    </a:lnTo>
                    <a:lnTo>
                      <a:pt x="54" y="289"/>
                    </a:lnTo>
                    <a:lnTo>
                      <a:pt x="58" y="291"/>
                    </a:lnTo>
                    <a:lnTo>
                      <a:pt x="62" y="290"/>
                    </a:lnTo>
                    <a:lnTo>
                      <a:pt x="64" y="293"/>
                    </a:lnTo>
                    <a:lnTo>
                      <a:pt x="65" y="295"/>
                    </a:lnTo>
                    <a:lnTo>
                      <a:pt x="68" y="296"/>
                    </a:lnTo>
                    <a:lnTo>
                      <a:pt x="68" y="295"/>
                    </a:lnTo>
                    <a:lnTo>
                      <a:pt x="68" y="293"/>
                    </a:lnTo>
                    <a:lnTo>
                      <a:pt x="69" y="295"/>
                    </a:lnTo>
                    <a:lnTo>
                      <a:pt x="71" y="295"/>
                    </a:lnTo>
                    <a:lnTo>
                      <a:pt x="70" y="296"/>
                    </a:lnTo>
                    <a:lnTo>
                      <a:pt x="74" y="300"/>
                    </a:lnTo>
                    <a:lnTo>
                      <a:pt x="76" y="301"/>
                    </a:lnTo>
                    <a:lnTo>
                      <a:pt x="77" y="301"/>
                    </a:lnTo>
                    <a:lnTo>
                      <a:pt x="79" y="303"/>
                    </a:lnTo>
                    <a:lnTo>
                      <a:pt x="76" y="306"/>
                    </a:lnTo>
                    <a:lnTo>
                      <a:pt x="76" y="309"/>
                    </a:lnTo>
                    <a:lnTo>
                      <a:pt x="79" y="316"/>
                    </a:lnTo>
                    <a:lnTo>
                      <a:pt x="84" y="315"/>
                    </a:lnTo>
                    <a:lnTo>
                      <a:pt x="85" y="313"/>
                    </a:lnTo>
                    <a:lnTo>
                      <a:pt x="86" y="313"/>
                    </a:lnTo>
                    <a:lnTo>
                      <a:pt x="88" y="312"/>
                    </a:lnTo>
                    <a:lnTo>
                      <a:pt x="88" y="311"/>
                    </a:lnTo>
                    <a:lnTo>
                      <a:pt x="90" y="312"/>
                    </a:lnTo>
                    <a:lnTo>
                      <a:pt x="91" y="311"/>
                    </a:lnTo>
                    <a:lnTo>
                      <a:pt x="89" y="311"/>
                    </a:lnTo>
                    <a:lnTo>
                      <a:pt x="89" y="309"/>
                    </a:lnTo>
                    <a:lnTo>
                      <a:pt x="93" y="310"/>
                    </a:lnTo>
                    <a:lnTo>
                      <a:pt x="94" y="310"/>
                    </a:lnTo>
                    <a:lnTo>
                      <a:pt x="96" y="309"/>
                    </a:lnTo>
                    <a:lnTo>
                      <a:pt x="97" y="308"/>
                    </a:lnTo>
                    <a:lnTo>
                      <a:pt x="98" y="309"/>
                    </a:lnTo>
                    <a:lnTo>
                      <a:pt x="99" y="309"/>
                    </a:lnTo>
                    <a:lnTo>
                      <a:pt x="98" y="306"/>
                    </a:lnTo>
                    <a:lnTo>
                      <a:pt x="98" y="305"/>
                    </a:lnTo>
                    <a:lnTo>
                      <a:pt x="99" y="301"/>
                    </a:lnTo>
                    <a:lnTo>
                      <a:pt x="100" y="301"/>
                    </a:lnTo>
                    <a:lnTo>
                      <a:pt x="104" y="299"/>
                    </a:lnTo>
                    <a:lnTo>
                      <a:pt x="105" y="299"/>
                    </a:lnTo>
                    <a:lnTo>
                      <a:pt x="106" y="300"/>
                    </a:lnTo>
                    <a:lnTo>
                      <a:pt x="107" y="299"/>
                    </a:lnTo>
                    <a:lnTo>
                      <a:pt x="107" y="301"/>
                    </a:lnTo>
                    <a:lnTo>
                      <a:pt x="108" y="302"/>
                    </a:lnTo>
                    <a:lnTo>
                      <a:pt x="110" y="301"/>
                    </a:lnTo>
                    <a:lnTo>
                      <a:pt x="110" y="299"/>
                    </a:lnTo>
                    <a:lnTo>
                      <a:pt x="111" y="299"/>
                    </a:lnTo>
                    <a:lnTo>
                      <a:pt x="113" y="299"/>
                    </a:lnTo>
                    <a:lnTo>
                      <a:pt x="112" y="297"/>
                    </a:lnTo>
                    <a:lnTo>
                      <a:pt x="112" y="295"/>
                    </a:lnTo>
                    <a:lnTo>
                      <a:pt x="113" y="295"/>
                    </a:lnTo>
                    <a:lnTo>
                      <a:pt x="116" y="297"/>
                    </a:lnTo>
                    <a:lnTo>
                      <a:pt x="115" y="302"/>
                    </a:lnTo>
                    <a:lnTo>
                      <a:pt x="117" y="302"/>
                    </a:lnTo>
                    <a:lnTo>
                      <a:pt x="117" y="304"/>
                    </a:lnTo>
                    <a:lnTo>
                      <a:pt x="118" y="304"/>
                    </a:lnTo>
                    <a:lnTo>
                      <a:pt x="118" y="303"/>
                    </a:lnTo>
                    <a:lnTo>
                      <a:pt x="120" y="304"/>
                    </a:lnTo>
                    <a:lnTo>
                      <a:pt x="120" y="305"/>
                    </a:lnTo>
                    <a:lnTo>
                      <a:pt x="121" y="304"/>
                    </a:lnTo>
                    <a:lnTo>
                      <a:pt x="120" y="304"/>
                    </a:lnTo>
                    <a:lnTo>
                      <a:pt x="120" y="301"/>
                    </a:lnTo>
                    <a:lnTo>
                      <a:pt x="120" y="303"/>
                    </a:lnTo>
                    <a:lnTo>
                      <a:pt x="121" y="302"/>
                    </a:lnTo>
                    <a:lnTo>
                      <a:pt x="121" y="303"/>
                    </a:lnTo>
                    <a:lnTo>
                      <a:pt x="123" y="303"/>
                    </a:lnTo>
                    <a:lnTo>
                      <a:pt x="123" y="304"/>
                    </a:lnTo>
                    <a:lnTo>
                      <a:pt x="125" y="303"/>
                    </a:lnTo>
                    <a:lnTo>
                      <a:pt x="127" y="304"/>
                    </a:lnTo>
                    <a:lnTo>
                      <a:pt x="128" y="303"/>
                    </a:lnTo>
                    <a:lnTo>
                      <a:pt x="128" y="304"/>
                    </a:lnTo>
                    <a:lnTo>
                      <a:pt x="128" y="305"/>
                    </a:lnTo>
                    <a:lnTo>
                      <a:pt x="129" y="305"/>
                    </a:lnTo>
                    <a:lnTo>
                      <a:pt x="131" y="306"/>
                    </a:lnTo>
                    <a:lnTo>
                      <a:pt x="131" y="305"/>
                    </a:lnTo>
                    <a:lnTo>
                      <a:pt x="133" y="306"/>
                    </a:lnTo>
                    <a:lnTo>
                      <a:pt x="133" y="303"/>
                    </a:lnTo>
                    <a:lnTo>
                      <a:pt x="134" y="304"/>
                    </a:lnTo>
                    <a:lnTo>
                      <a:pt x="134" y="305"/>
                    </a:lnTo>
                    <a:lnTo>
                      <a:pt x="138" y="307"/>
                    </a:lnTo>
                    <a:lnTo>
                      <a:pt x="138" y="308"/>
                    </a:lnTo>
                    <a:lnTo>
                      <a:pt x="140" y="309"/>
                    </a:lnTo>
                    <a:lnTo>
                      <a:pt x="140" y="310"/>
                    </a:lnTo>
                    <a:lnTo>
                      <a:pt x="141" y="311"/>
                    </a:lnTo>
                    <a:lnTo>
                      <a:pt x="142" y="310"/>
                    </a:lnTo>
                    <a:lnTo>
                      <a:pt x="144" y="311"/>
                    </a:lnTo>
                    <a:lnTo>
                      <a:pt x="145" y="310"/>
                    </a:lnTo>
                    <a:lnTo>
                      <a:pt x="145" y="309"/>
                    </a:lnTo>
                    <a:lnTo>
                      <a:pt x="147" y="306"/>
                    </a:lnTo>
                    <a:lnTo>
                      <a:pt x="148" y="306"/>
                    </a:lnTo>
                    <a:lnTo>
                      <a:pt x="149" y="305"/>
                    </a:lnTo>
                    <a:lnTo>
                      <a:pt x="150" y="306"/>
                    </a:lnTo>
                    <a:lnTo>
                      <a:pt x="151" y="306"/>
                    </a:lnTo>
                    <a:lnTo>
                      <a:pt x="153" y="306"/>
                    </a:lnTo>
                    <a:lnTo>
                      <a:pt x="154" y="309"/>
                    </a:lnTo>
                    <a:lnTo>
                      <a:pt x="156" y="305"/>
                    </a:lnTo>
                    <a:lnTo>
                      <a:pt x="157" y="306"/>
                    </a:lnTo>
                    <a:lnTo>
                      <a:pt x="158" y="306"/>
                    </a:lnTo>
                    <a:lnTo>
                      <a:pt x="159" y="305"/>
                    </a:lnTo>
                    <a:lnTo>
                      <a:pt x="160" y="300"/>
                    </a:lnTo>
                    <a:lnTo>
                      <a:pt x="159" y="299"/>
                    </a:lnTo>
                    <a:lnTo>
                      <a:pt x="159" y="296"/>
                    </a:lnTo>
                    <a:lnTo>
                      <a:pt x="161" y="296"/>
                    </a:lnTo>
                    <a:lnTo>
                      <a:pt x="161" y="295"/>
                    </a:lnTo>
                    <a:lnTo>
                      <a:pt x="163" y="295"/>
                    </a:lnTo>
                    <a:lnTo>
                      <a:pt x="164" y="293"/>
                    </a:lnTo>
                    <a:lnTo>
                      <a:pt x="167" y="295"/>
                    </a:lnTo>
                    <a:lnTo>
                      <a:pt x="168" y="292"/>
                    </a:lnTo>
                    <a:lnTo>
                      <a:pt x="170" y="291"/>
                    </a:lnTo>
                    <a:lnTo>
                      <a:pt x="172" y="293"/>
                    </a:lnTo>
                    <a:lnTo>
                      <a:pt x="173" y="295"/>
                    </a:lnTo>
                    <a:lnTo>
                      <a:pt x="177" y="295"/>
                    </a:lnTo>
                    <a:lnTo>
                      <a:pt x="177" y="296"/>
                    </a:lnTo>
                    <a:lnTo>
                      <a:pt x="176" y="298"/>
                    </a:lnTo>
                    <a:lnTo>
                      <a:pt x="178" y="299"/>
                    </a:lnTo>
                    <a:lnTo>
                      <a:pt x="176" y="303"/>
                    </a:lnTo>
                    <a:lnTo>
                      <a:pt x="175" y="306"/>
                    </a:lnTo>
                    <a:lnTo>
                      <a:pt x="176" y="309"/>
                    </a:lnTo>
                    <a:lnTo>
                      <a:pt x="178" y="310"/>
                    </a:lnTo>
                    <a:lnTo>
                      <a:pt x="178" y="311"/>
                    </a:lnTo>
                    <a:lnTo>
                      <a:pt x="179" y="311"/>
                    </a:lnTo>
                    <a:lnTo>
                      <a:pt x="183" y="312"/>
                    </a:lnTo>
                    <a:lnTo>
                      <a:pt x="183" y="314"/>
                    </a:lnTo>
                    <a:lnTo>
                      <a:pt x="185" y="313"/>
                    </a:lnTo>
                    <a:lnTo>
                      <a:pt x="185" y="312"/>
                    </a:lnTo>
                    <a:lnTo>
                      <a:pt x="188" y="310"/>
                    </a:lnTo>
                    <a:lnTo>
                      <a:pt x="189" y="306"/>
                    </a:lnTo>
                    <a:lnTo>
                      <a:pt x="194" y="307"/>
                    </a:lnTo>
                    <a:lnTo>
                      <a:pt x="198" y="308"/>
                    </a:lnTo>
                    <a:lnTo>
                      <a:pt x="199" y="301"/>
                    </a:lnTo>
                    <a:lnTo>
                      <a:pt x="207" y="301"/>
                    </a:lnTo>
                    <a:lnTo>
                      <a:pt x="208" y="301"/>
                    </a:lnTo>
                    <a:lnTo>
                      <a:pt x="208" y="298"/>
                    </a:lnTo>
                    <a:lnTo>
                      <a:pt x="210" y="299"/>
                    </a:lnTo>
                    <a:lnTo>
                      <a:pt x="214" y="304"/>
                    </a:lnTo>
                    <a:lnTo>
                      <a:pt x="216" y="302"/>
                    </a:lnTo>
                    <a:lnTo>
                      <a:pt x="216" y="304"/>
                    </a:lnTo>
                    <a:lnTo>
                      <a:pt x="218" y="304"/>
                    </a:lnTo>
                    <a:lnTo>
                      <a:pt x="219" y="306"/>
                    </a:lnTo>
                    <a:lnTo>
                      <a:pt x="227" y="306"/>
                    </a:lnTo>
                    <a:lnTo>
                      <a:pt x="226" y="312"/>
                    </a:lnTo>
                    <a:lnTo>
                      <a:pt x="231" y="314"/>
                    </a:lnTo>
                    <a:lnTo>
                      <a:pt x="231" y="318"/>
                    </a:lnTo>
                    <a:lnTo>
                      <a:pt x="230" y="328"/>
                    </a:lnTo>
                    <a:lnTo>
                      <a:pt x="242" y="330"/>
                    </a:lnTo>
                    <a:lnTo>
                      <a:pt x="244" y="331"/>
                    </a:lnTo>
                    <a:lnTo>
                      <a:pt x="246" y="339"/>
                    </a:lnTo>
                    <a:lnTo>
                      <a:pt x="246" y="342"/>
                    </a:lnTo>
                    <a:lnTo>
                      <a:pt x="246" y="343"/>
                    </a:lnTo>
                    <a:lnTo>
                      <a:pt x="247" y="343"/>
                    </a:lnTo>
                    <a:lnTo>
                      <a:pt x="250" y="344"/>
                    </a:lnTo>
                    <a:lnTo>
                      <a:pt x="251" y="345"/>
                    </a:lnTo>
                    <a:lnTo>
                      <a:pt x="252" y="345"/>
                    </a:lnTo>
                    <a:lnTo>
                      <a:pt x="253" y="346"/>
                    </a:lnTo>
                    <a:lnTo>
                      <a:pt x="255" y="345"/>
                    </a:lnTo>
                    <a:lnTo>
                      <a:pt x="259" y="348"/>
                    </a:lnTo>
                    <a:lnTo>
                      <a:pt x="259" y="353"/>
                    </a:lnTo>
                    <a:lnTo>
                      <a:pt x="262" y="356"/>
                    </a:lnTo>
                    <a:lnTo>
                      <a:pt x="263" y="356"/>
                    </a:lnTo>
                    <a:lnTo>
                      <a:pt x="263" y="355"/>
                    </a:lnTo>
                    <a:lnTo>
                      <a:pt x="265" y="354"/>
                    </a:lnTo>
                    <a:lnTo>
                      <a:pt x="267" y="358"/>
                    </a:lnTo>
                    <a:lnTo>
                      <a:pt x="268" y="358"/>
                    </a:lnTo>
                    <a:lnTo>
                      <a:pt x="269" y="359"/>
                    </a:lnTo>
                    <a:lnTo>
                      <a:pt x="270" y="358"/>
                    </a:lnTo>
                    <a:lnTo>
                      <a:pt x="270" y="359"/>
                    </a:lnTo>
                    <a:lnTo>
                      <a:pt x="271" y="359"/>
                    </a:lnTo>
                    <a:lnTo>
                      <a:pt x="273" y="363"/>
                    </a:lnTo>
                    <a:lnTo>
                      <a:pt x="275" y="365"/>
                    </a:lnTo>
                    <a:lnTo>
                      <a:pt x="275" y="366"/>
                    </a:lnTo>
                    <a:lnTo>
                      <a:pt x="275" y="367"/>
                    </a:lnTo>
                    <a:lnTo>
                      <a:pt x="276" y="369"/>
                    </a:lnTo>
                    <a:lnTo>
                      <a:pt x="277" y="369"/>
                    </a:lnTo>
                    <a:lnTo>
                      <a:pt x="279" y="369"/>
                    </a:lnTo>
                    <a:lnTo>
                      <a:pt x="280" y="367"/>
                    </a:lnTo>
                    <a:lnTo>
                      <a:pt x="283" y="368"/>
                    </a:lnTo>
                    <a:lnTo>
                      <a:pt x="284" y="367"/>
                    </a:lnTo>
                    <a:lnTo>
                      <a:pt x="285" y="369"/>
                    </a:lnTo>
                    <a:lnTo>
                      <a:pt x="289" y="367"/>
                    </a:lnTo>
                    <a:lnTo>
                      <a:pt x="289" y="366"/>
                    </a:lnTo>
                    <a:lnTo>
                      <a:pt x="290" y="365"/>
                    </a:lnTo>
                    <a:lnTo>
                      <a:pt x="289" y="363"/>
                    </a:lnTo>
                    <a:lnTo>
                      <a:pt x="290" y="363"/>
                    </a:lnTo>
                    <a:lnTo>
                      <a:pt x="290" y="364"/>
                    </a:lnTo>
                    <a:lnTo>
                      <a:pt x="292" y="364"/>
                    </a:lnTo>
                    <a:lnTo>
                      <a:pt x="292" y="365"/>
                    </a:lnTo>
                    <a:lnTo>
                      <a:pt x="290" y="367"/>
                    </a:lnTo>
                    <a:lnTo>
                      <a:pt x="290" y="369"/>
                    </a:lnTo>
                    <a:lnTo>
                      <a:pt x="295" y="369"/>
                    </a:lnTo>
                    <a:lnTo>
                      <a:pt x="296" y="369"/>
                    </a:lnTo>
                    <a:lnTo>
                      <a:pt x="297" y="369"/>
                    </a:lnTo>
                    <a:lnTo>
                      <a:pt x="298" y="368"/>
                    </a:lnTo>
                    <a:lnTo>
                      <a:pt x="300" y="369"/>
                    </a:lnTo>
                    <a:lnTo>
                      <a:pt x="300" y="367"/>
                    </a:lnTo>
                    <a:lnTo>
                      <a:pt x="302" y="368"/>
                    </a:lnTo>
                    <a:lnTo>
                      <a:pt x="303" y="367"/>
                    </a:lnTo>
                    <a:lnTo>
                      <a:pt x="304" y="369"/>
                    </a:lnTo>
                    <a:lnTo>
                      <a:pt x="306" y="370"/>
                    </a:lnTo>
                    <a:lnTo>
                      <a:pt x="313" y="374"/>
                    </a:lnTo>
                    <a:lnTo>
                      <a:pt x="313" y="369"/>
                    </a:lnTo>
                    <a:lnTo>
                      <a:pt x="312" y="369"/>
                    </a:lnTo>
                    <a:lnTo>
                      <a:pt x="311" y="366"/>
                    </a:lnTo>
                    <a:lnTo>
                      <a:pt x="309" y="365"/>
                    </a:lnTo>
                    <a:lnTo>
                      <a:pt x="309" y="363"/>
                    </a:lnTo>
                    <a:lnTo>
                      <a:pt x="310" y="363"/>
                    </a:lnTo>
                    <a:lnTo>
                      <a:pt x="311" y="362"/>
                    </a:lnTo>
                    <a:lnTo>
                      <a:pt x="310" y="360"/>
                    </a:lnTo>
                    <a:lnTo>
                      <a:pt x="312" y="360"/>
                    </a:lnTo>
                    <a:lnTo>
                      <a:pt x="314" y="361"/>
                    </a:lnTo>
                    <a:lnTo>
                      <a:pt x="316" y="360"/>
                    </a:lnTo>
                    <a:lnTo>
                      <a:pt x="318" y="360"/>
                    </a:lnTo>
                    <a:lnTo>
                      <a:pt x="319" y="358"/>
                    </a:lnTo>
                    <a:lnTo>
                      <a:pt x="321" y="357"/>
                    </a:lnTo>
                    <a:lnTo>
                      <a:pt x="319" y="355"/>
                    </a:lnTo>
                    <a:lnTo>
                      <a:pt x="318" y="353"/>
                    </a:lnTo>
                    <a:lnTo>
                      <a:pt x="317" y="354"/>
                    </a:lnTo>
                    <a:lnTo>
                      <a:pt x="317" y="351"/>
                    </a:lnTo>
                    <a:lnTo>
                      <a:pt x="319" y="348"/>
                    </a:lnTo>
                    <a:lnTo>
                      <a:pt x="321" y="348"/>
                    </a:lnTo>
                    <a:lnTo>
                      <a:pt x="321" y="346"/>
                    </a:lnTo>
                    <a:lnTo>
                      <a:pt x="323" y="346"/>
                    </a:lnTo>
                    <a:lnTo>
                      <a:pt x="327" y="346"/>
                    </a:lnTo>
                    <a:lnTo>
                      <a:pt x="333" y="340"/>
                    </a:lnTo>
                    <a:lnTo>
                      <a:pt x="335" y="340"/>
                    </a:lnTo>
                    <a:lnTo>
                      <a:pt x="336" y="340"/>
                    </a:lnTo>
                    <a:lnTo>
                      <a:pt x="337" y="341"/>
                    </a:lnTo>
                    <a:lnTo>
                      <a:pt x="337" y="340"/>
                    </a:lnTo>
                    <a:lnTo>
                      <a:pt x="338" y="340"/>
                    </a:lnTo>
                    <a:lnTo>
                      <a:pt x="338" y="339"/>
                    </a:lnTo>
                    <a:lnTo>
                      <a:pt x="339" y="339"/>
                    </a:lnTo>
                    <a:lnTo>
                      <a:pt x="340" y="338"/>
                    </a:lnTo>
                    <a:lnTo>
                      <a:pt x="342" y="340"/>
                    </a:lnTo>
                    <a:lnTo>
                      <a:pt x="343" y="339"/>
                    </a:lnTo>
                    <a:lnTo>
                      <a:pt x="343" y="337"/>
                    </a:lnTo>
                    <a:lnTo>
                      <a:pt x="342" y="337"/>
                    </a:lnTo>
                    <a:lnTo>
                      <a:pt x="345" y="336"/>
                    </a:lnTo>
                    <a:lnTo>
                      <a:pt x="345" y="335"/>
                    </a:lnTo>
                    <a:lnTo>
                      <a:pt x="345" y="336"/>
                    </a:lnTo>
                    <a:lnTo>
                      <a:pt x="349" y="336"/>
                    </a:lnTo>
                    <a:lnTo>
                      <a:pt x="349" y="337"/>
                    </a:lnTo>
                    <a:lnTo>
                      <a:pt x="350" y="335"/>
                    </a:lnTo>
                    <a:lnTo>
                      <a:pt x="351" y="335"/>
                    </a:lnTo>
                    <a:lnTo>
                      <a:pt x="352" y="333"/>
                    </a:lnTo>
                    <a:lnTo>
                      <a:pt x="355" y="333"/>
                    </a:lnTo>
                    <a:lnTo>
                      <a:pt x="357" y="331"/>
                    </a:lnTo>
                    <a:lnTo>
                      <a:pt x="358" y="322"/>
                    </a:lnTo>
                    <a:lnTo>
                      <a:pt x="360" y="320"/>
                    </a:lnTo>
                    <a:lnTo>
                      <a:pt x="363" y="320"/>
                    </a:lnTo>
                    <a:lnTo>
                      <a:pt x="365" y="322"/>
                    </a:lnTo>
                    <a:lnTo>
                      <a:pt x="366" y="322"/>
                    </a:lnTo>
                    <a:lnTo>
                      <a:pt x="369" y="323"/>
                    </a:lnTo>
                    <a:lnTo>
                      <a:pt x="369" y="328"/>
                    </a:lnTo>
                    <a:lnTo>
                      <a:pt x="371" y="327"/>
                    </a:lnTo>
                    <a:lnTo>
                      <a:pt x="372" y="329"/>
                    </a:lnTo>
                    <a:lnTo>
                      <a:pt x="373" y="330"/>
                    </a:lnTo>
                    <a:lnTo>
                      <a:pt x="374" y="329"/>
                    </a:lnTo>
                    <a:lnTo>
                      <a:pt x="381" y="335"/>
                    </a:lnTo>
                    <a:lnTo>
                      <a:pt x="382" y="335"/>
                    </a:lnTo>
                    <a:lnTo>
                      <a:pt x="383" y="335"/>
                    </a:lnTo>
                    <a:lnTo>
                      <a:pt x="385" y="334"/>
                    </a:lnTo>
                    <a:lnTo>
                      <a:pt x="386" y="333"/>
                    </a:lnTo>
                    <a:lnTo>
                      <a:pt x="385" y="331"/>
                    </a:lnTo>
                    <a:lnTo>
                      <a:pt x="386" y="329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oup 59">
              <a:extLst>
                <a:ext uri="{FF2B5EF4-FFF2-40B4-BE49-F238E27FC236}">
                  <a16:creationId xmlns:a16="http://schemas.microsoft.com/office/drawing/2014/main" id="{51783AE1-F1BD-DB9A-E0EA-F0A8712ECED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5" y="3083"/>
              <a:ext cx="396" cy="548"/>
              <a:chOff x="505" y="3083"/>
              <a:chExt cx="396" cy="548"/>
            </a:xfrm>
          </p:grpSpPr>
          <p:sp>
            <p:nvSpPr>
              <p:cNvPr id="188" name="Freeform 57">
                <a:extLst>
                  <a:ext uri="{FF2B5EF4-FFF2-40B4-BE49-F238E27FC236}">
                    <a16:creationId xmlns:a16="http://schemas.microsoft.com/office/drawing/2014/main" id="{F352765E-FA77-871B-D1CF-CDF5A941DC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" y="3083"/>
                <a:ext cx="396" cy="548"/>
              </a:xfrm>
              <a:custGeom>
                <a:avLst/>
                <a:gdLst>
                  <a:gd name="T0" fmla="*/ 386 w 396"/>
                  <a:gd name="T1" fmla="*/ 99 h 548"/>
                  <a:gd name="T2" fmla="*/ 373 w 396"/>
                  <a:gd name="T3" fmla="*/ 83 h 548"/>
                  <a:gd name="T4" fmla="*/ 353 w 396"/>
                  <a:gd name="T5" fmla="*/ 62 h 548"/>
                  <a:gd name="T6" fmla="*/ 327 w 396"/>
                  <a:gd name="T7" fmla="*/ 55 h 548"/>
                  <a:gd name="T8" fmla="*/ 323 w 396"/>
                  <a:gd name="T9" fmla="*/ 43 h 548"/>
                  <a:gd name="T10" fmla="*/ 298 w 396"/>
                  <a:gd name="T11" fmla="*/ 37 h 548"/>
                  <a:gd name="T12" fmla="*/ 292 w 396"/>
                  <a:gd name="T13" fmla="*/ 25 h 548"/>
                  <a:gd name="T14" fmla="*/ 288 w 396"/>
                  <a:gd name="T15" fmla="*/ 13 h 548"/>
                  <a:gd name="T16" fmla="*/ 276 w 396"/>
                  <a:gd name="T17" fmla="*/ 2 h 548"/>
                  <a:gd name="T18" fmla="*/ 261 w 396"/>
                  <a:gd name="T19" fmla="*/ 0 h 548"/>
                  <a:gd name="T20" fmla="*/ 256 w 396"/>
                  <a:gd name="T21" fmla="*/ 17 h 548"/>
                  <a:gd name="T22" fmla="*/ 243 w 396"/>
                  <a:gd name="T23" fmla="*/ 22 h 548"/>
                  <a:gd name="T24" fmla="*/ 230 w 396"/>
                  <a:gd name="T25" fmla="*/ 38 h 548"/>
                  <a:gd name="T26" fmla="*/ 222 w 396"/>
                  <a:gd name="T27" fmla="*/ 29 h 548"/>
                  <a:gd name="T28" fmla="*/ 206 w 396"/>
                  <a:gd name="T29" fmla="*/ 23 h 548"/>
                  <a:gd name="T30" fmla="*/ 193 w 396"/>
                  <a:gd name="T31" fmla="*/ 30 h 548"/>
                  <a:gd name="T32" fmla="*/ 175 w 396"/>
                  <a:gd name="T33" fmla="*/ 43 h 548"/>
                  <a:gd name="T34" fmla="*/ 164 w 396"/>
                  <a:gd name="T35" fmla="*/ 57 h 548"/>
                  <a:gd name="T36" fmla="*/ 147 w 396"/>
                  <a:gd name="T37" fmla="*/ 61 h 548"/>
                  <a:gd name="T38" fmla="*/ 124 w 396"/>
                  <a:gd name="T39" fmla="*/ 54 h 548"/>
                  <a:gd name="T40" fmla="*/ 104 w 396"/>
                  <a:gd name="T41" fmla="*/ 51 h 548"/>
                  <a:gd name="T42" fmla="*/ 82 w 396"/>
                  <a:gd name="T43" fmla="*/ 67 h 548"/>
                  <a:gd name="T44" fmla="*/ 61 w 396"/>
                  <a:gd name="T45" fmla="*/ 60 h 548"/>
                  <a:gd name="T46" fmla="*/ 30 w 396"/>
                  <a:gd name="T47" fmla="*/ 83 h 548"/>
                  <a:gd name="T48" fmla="*/ 21 w 396"/>
                  <a:gd name="T49" fmla="*/ 106 h 548"/>
                  <a:gd name="T50" fmla="*/ 18 w 396"/>
                  <a:gd name="T51" fmla="*/ 153 h 548"/>
                  <a:gd name="T52" fmla="*/ 26 w 396"/>
                  <a:gd name="T53" fmla="*/ 178 h 548"/>
                  <a:gd name="T54" fmla="*/ 36 w 396"/>
                  <a:gd name="T55" fmla="*/ 205 h 548"/>
                  <a:gd name="T56" fmla="*/ 49 w 396"/>
                  <a:gd name="T57" fmla="*/ 232 h 548"/>
                  <a:gd name="T58" fmla="*/ 53 w 396"/>
                  <a:gd name="T59" fmla="*/ 284 h 548"/>
                  <a:gd name="T60" fmla="*/ 90 w 396"/>
                  <a:gd name="T61" fmla="*/ 331 h 548"/>
                  <a:gd name="T62" fmla="*/ 118 w 396"/>
                  <a:gd name="T63" fmla="*/ 336 h 548"/>
                  <a:gd name="T64" fmla="*/ 144 w 396"/>
                  <a:gd name="T65" fmla="*/ 377 h 548"/>
                  <a:gd name="T66" fmla="*/ 160 w 396"/>
                  <a:gd name="T67" fmla="*/ 412 h 548"/>
                  <a:gd name="T68" fmla="*/ 204 w 396"/>
                  <a:gd name="T69" fmla="*/ 463 h 548"/>
                  <a:gd name="T70" fmla="*/ 224 w 396"/>
                  <a:gd name="T71" fmla="*/ 492 h 548"/>
                  <a:gd name="T72" fmla="*/ 236 w 396"/>
                  <a:gd name="T73" fmla="*/ 537 h 548"/>
                  <a:gd name="T74" fmla="*/ 259 w 396"/>
                  <a:gd name="T75" fmla="*/ 532 h 548"/>
                  <a:gd name="T76" fmla="*/ 275 w 396"/>
                  <a:gd name="T77" fmla="*/ 504 h 548"/>
                  <a:gd name="T78" fmla="*/ 282 w 396"/>
                  <a:gd name="T79" fmla="*/ 466 h 548"/>
                  <a:gd name="T80" fmla="*/ 292 w 396"/>
                  <a:gd name="T81" fmla="*/ 462 h 548"/>
                  <a:gd name="T82" fmla="*/ 311 w 396"/>
                  <a:gd name="T83" fmla="*/ 456 h 548"/>
                  <a:gd name="T84" fmla="*/ 320 w 396"/>
                  <a:gd name="T85" fmla="*/ 437 h 548"/>
                  <a:gd name="T86" fmla="*/ 316 w 396"/>
                  <a:gd name="T87" fmla="*/ 421 h 548"/>
                  <a:gd name="T88" fmla="*/ 327 w 396"/>
                  <a:gd name="T89" fmla="*/ 411 h 548"/>
                  <a:gd name="T90" fmla="*/ 331 w 396"/>
                  <a:gd name="T91" fmla="*/ 396 h 548"/>
                  <a:gd name="T92" fmla="*/ 343 w 396"/>
                  <a:gd name="T93" fmla="*/ 381 h 548"/>
                  <a:gd name="T94" fmla="*/ 350 w 396"/>
                  <a:gd name="T95" fmla="*/ 364 h 548"/>
                  <a:gd name="T96" fmla="*/ 345 w 396"/>
                  <a:gd name="T97" fmla="*/ 347 h 548"/>
                  <a:gd name="T98" fmla="*/ 351 w 396"/>
                  <a:gd name="T99" fmla="*/ 331 h 548"/>
                  <a:gd name="T100" fmla="*/ 349 w 396"/>
                  <a:gd name="T101" fmla="*/ 321 h 548"/>
                  <a:gd name="T102" fmla="*/ 351 w 396"/>
                  <a:gd name="T103" fmla="*/ 309 h 548"/>
                  <a:gd name="T104" fmla="*/ 348 w 396"/>
                  <a:gd name="T105" fmla="*/ 298 h 548"/>
                  <a:gd name="T106" fmla="*/ 348 w 396"/>
                  <a:gd name="T107" fmla="*/ 277 h 548"/>
                  <a:gd name="T108" fmla="*/ 349 w 396"/>
                  <a:gd name="T109" fmla="*/ 238 h 548"/>
                  <a:gd name="T110" fmla="*/ 342 w 396"/>
                  <a:gd name="T111" fmla="*/ 232 h 548"/>
                  <a:gd name="T112" fmla="*/ 344 w 396"/>
                  <a:gd name="T113" fmla="*/ 218 h 548"/>
                  <a:gd name="T114" fmla="*/ 344 w 396"/>
                  <a:gd name="T115" fmla="*/ 212 h 548"/>
                  <a:gd name="T116" fmla="*/ 347 w 396"/>
                  <a:gd name="T117" fmla="*/ 195 h 548"/>
                  <a:gd name="T118" fmla="*/ 367 w 396"/>
                  <a:gd name="T119" fmla="*/ 195 h 548"/>
                  <a:gd name="T120" fmla="*/ 379 w 396"/>
                  <a:gd name="T121" fmla="*/ 180 h 548"/>
                  <a:gd name="T122" fmla="*/ 381 w 396"/>
                  <a:gd name="T123" fmla="*/ 161 h 548"/>
                  <a:gd name="T124" fmla="*/ 386 w 396"/>
                  <a:gd name="T125" fmla="*/ 131 h 54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96"/>
                  <a:gd name="T190" fmla="*/ 0 h 548"/>
                  <a:gd name="T191" fmla="*/ 396 w 396"/>
                  <a:gd name="T192" fmla="*/ 548 h 548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96" h="548">
                    <a:moveTo>
                      <a:pt x="392" y="121"/>
                    </a:moveTo>
                    <a:lnTo>
                      <a:pt x="392" y="118"/>
                    </a:lnTo>
                    <a:lnTo>
                      <a:pt x="392" y="116"/>
                    </a:lnTo>
                    <a:lnTo>
                      <a:pt x="392" y="114"/>
                    </a:lnTo>
                    <a:lnTo>
                      <a:pt x="391" y="113"/>
                    </a:lnTo>
                    <a:lnTo>
                      <a:pt x="392" y="111"/>
                    </a:lnTo>
                    <a:lnTo>
                      <a:pt x="392" y="110"/>
                    </a:lnTo>
                    <a:lnTo>
                      <a:pt x="392" y="107"/>
                    </a:lnTo>
                    <a:lnTo>
                      <a:pt x="393" y="105"/>
                    </a:lnTo>
                    <a:lnTo>
                      <a:pt x="396" y="104"/>
                    </a:lnTo>
                    <a:lnTo>
                      <a:pt x="392" y="104"/>
                    </a:lnTo>
                    <a:lnTo>
                      <a:pt x="390" y="103"/>
                    </a:lnTo>
                    <a:lnTo>
                      <a:pt x="386" y="99"/>
                    </a:lnTo>
                    <a:lnTo>
                      <a:pt x="384" y="96"/>
                    </a:lnTo>
                    <a:lnTo>
                      <a:pt x="379" y="95"/>
                    </a:lnTo>
                    <a:lnTo>
                      <a:pt x="378" y="94"/>
                    </a:lnTo>
                    <a:lnTo>
                      <a:pt x="375" y="95"/>
                    </a:lnTo>
                    <a:lnTo>
                      <a:pt x="373" y="94"/>
                    </a:lnTo>
                    <a:lnTo>
                      <a:pt x="373" y="93"/>
                    </a:lnTo>
                    <a:lnTo>
                      <a:pt x="375" y="94"/>
                    </a:lnTo>
                    <a:lnTo>
                      <a:pt x="376" y="89"/>
                    </a:lnTo>
                    <a:lnTo>
                      <a:pt x="376" y="87"/>
                    </a:lnTo>
                    <a:lnTo>
                      <a:pt x="376" y="86"/>
                    </a:lnTo>
                    <a:lnTo>
                      <a:pt x="376" y="83"/>
                    </a:lnTo>
                    <a:lnTo>
                      <a:pt x="373" y="83"/>
                    </a:lnTo>
                    <a:lnTo>
                      <a:pt x="371" y="82"/>
                    </a:lnTo>
                    <a:lnTo>
                      <a:pt x="369" y="81"/>
                    </a:lnTo>
                    <a:lnTo>
                      <a:pt x="365" y="81"/>
                    </a:lnTo>
                    <a:lnTo>
                      <a:pt x="363" y="82"/>
                    </a:lnTo>
                    <a:lnTo>
                      <a:pt x="363" y="79"/>
                    </a:lnTo>
                    <a:lnTo>
                      <a:pt x="362" y="75"/>
                    </a:lnTo>
                    <a:lnTo>
                      <a:pt x="360" y="74"/>
                    </a:lnTo>
                    <a:lnTo>
                      <a:pt x="359" y="75"/>
                    </a:lnTo>
                    <a:lnTo>
                      <a:pt x="359" y="74"/>
                    </a:lnTo>
                    <a:lnTo>
                      <a:pt x="357" y="71"/>
                    </a:lnTo>
                    <a:lnTo>
                      <a:pt x="356" y="71"/>
                    </a:lnTo>
                    <a:lnTo>
                      <a:pt x="356" y="65"/>
                    </a:lnTo>
                    <a:lnTo>
                      <a:pt x="354" y="64"/>
                    </a:lnTo>
                    <a:lnTo>
                      <a:pt x="353" y="62"/>
                    </a:lnTo>
                    <a:lnTo>
                      <a:pt x="351" y="62"/>
                    </a:lnTo>
                    <a:lnTo>
                      <a:pt x="350" y="61"/>
                    </a:lnTo>
                    <a:lnTo>
                      <a:pt x="349" y="63"/>
                    </a:lnTo>
                    <a:lnTo>
                      <a:pt x="348" y="63"/>
                    </a:lnTo>
                    <a:lnTo>
                      <a:pt x="346" y="62"/>
                    </a:lnTo>
                    <a:lnTo>
                      <a:pt x="346" y="63"/>
                    </a:lnTo>
                    <a:lnTo>
                      <a:pt x="346" y="64"/>
                    </a:lnTo>
                    <a:lnTo>
                      <a:pt x="339" y="64"/>
                    </a:lnTo>
                    <a:lnTo>
                      <a:pt x="337" y="63"/>
                    </a:lnTo>
                    <a:lnTo>
                      <a:pt x="329" y="61"/>
                    </a:lnTo>
                    <a:lnTo>
                      <a:pt x="329" y="60"/>
                    </a:lnTo>
                    <a:lnTo>
                      <a:pt x="328" y="59"/>
                    </a:lnTo>
                    <a:lnTo>
                      <a:pt x="328" y="58"/>
                    </a:lnTo>
                    <a:lnTo>
                      <a:pt x="326" y="56"/>
                    </a:lnTo>
                    <a:lnTo>
                      <a:pt x="327" y="55"/>
                    </a:lnTo>
                    <a:lnTo>
                      <a:pt x="326" y="54"/>
                    </a:lnTo>
                    <a:lnTo>
                      <a:pt x="324" y="53"/>
                    </a:lnTo>
                    <a:lnTo>
                      <a:pt x="323" y="51"/>
                    </a:lnTo>
                    <a:lnTo>
                      <a:pt x="322" y="51"/>
                    </a:lnTo>
                    <a:lnTo>
                      <a:pt x="321" y="50"/>
                    </a:lnTo>
                    <a:lnTo>
                      <a:pt x="318" y="50"/>
                    </a:lnTo>
                    <a:lnTo>
                      <a:pt x="317" y="47"/>
                    </a:lnTo>
                    <a:lnTo>
                      <a:pt x="315" y="47"/>
                    </a:lnTo>
                    <a:lnTo>
                      <a:pt x="313" y="46"/>
                    </a:lnTo>
                    <a:lnTo>
                      <a:pt x="314" y="42"/>
                    </a:lnTo>
                    <a:lnTo>
                      <a:pt x="315" y="43"/>
                    </a:lnTo>
                    <a:lnTo>
                      <a:pt x="316" y="42"/>
                    </a:lnTo>
                    <a:lnTo>
                      <a:pt x="320" y="42"/>
                    </a:lnTo>
                    <a:lnTo>
                      <a:pt x="323" y="44"/>
                    </a:lnTo>
                    <a:lnTo>
                      <a:pt x="323" y="43"/>
                    </a:lnTo>
                    <a:lnTo>
                      <a:pt x="321" y="42"/>
                    </a:lnTo>
                    <a:lnTo>
                      <a:pt x="320" y="42"/>
                    </a:lnTo>
                    <a:lnTo>
                      <a:pt x="319" y="37"/>
                    </a:lnTo>
                    <a:lnTo>
                      <a:pt x="318" y="37"/>
                    </a:lnTo>
                    <a:lnTo>
                      <a:pt x="313" y="37"/>
                    </a:lnTo>
                    <a:lnTo>
                      <a:pt x="311" y="40"/>
                    </a:lnTo>
                    <a:lnTo>
                      <a:pt x="309" y="40"/>
                    </a:lnTo>
                    <a:lnTo>
                      <a:pt x="308" y="38"/>
                    </a:lnTo>
                    <a:lnTo>
                      <a:pt x="308" y="37"/>
                    </a:lnTo>
                    <a:lnTo>
                      <a:pt x="308" y="36"/>
                    </a:lnTo>
                    <a:lnTo>
                      <a:pt x="307" y="36"/>
                    </a:lnTo>
                    <a:lnTo>
                      <a:pt x="306" y="34"/>
                    </a:lnTo>
                    <a:lnTo>
                      <a:pt x="305" y="36"/>
                    </a:lnTo>
                    <a:lnTo>
                      <a:pt x="299" y="34"/>
                    </a:lnTo>
                    <a:lnTo>
                      <a:pt x="298" y="37"/>
                    </a:lnTo>
                    <a:lnTo>
                      <a:pt x="296" y="37"/>
                    </a:lnTo>
                    <a:lnTo>
                      <a:pt x="295" y="40"/>
                    </a:lnTo>
                    <a:lnTo>
                      <a:pt x="294" y="40"/>
                    </a:lnTo>
                    <a:lnTo>
                      <a:pt x="293" y="39"/>
                    </a:lnTo>
                    <a:lnTo>
                      <a:pt x="293" y="36"/>
                    </a:lnTo>
                    <a:lnTo>
                      <a:pt x="288" y="36"/>
                    </a:lnTo>
                    <a:lnTo>
                      <a:pt x="286" y="36"/>
                    </a:lnTo>
                    <a:lnTo>
                      <a:pt x="286" y="34"/>
                    </a:lnTo>
                    <a:lnTo>
                      <a:pt x="288" y="32"/>
                    </a:lnTo>
                    <a:lnTo>
                      <a:pt x="288" y="30"/>
                    </a:lnTo>
                    <a:lnTo>
                      <a:pt x="290" y="29"/>
                    </a:lnTo>
                    <a:lnTo>
                      <a:pt x="291" y="29"/>
                    </a:lnTo>
                    <a:lnTo>
                      <a:pt x="290" y="27"/>
                    </a:lnTo>
                    <a:lnTo>
                      <a:pt x="292" y="25"/>
                    </a:lnTo>
                    <a:lnTo>
                      <a:pt x="292" y="23"/>
                    </a:lnTo>
                    <a:lnTo>
                      <a:pt x="294" y="24"/>
                    </a:lnTo>
                    <a:lnTo>
                      <a:pt x="296" y="24"/>
                    </a:lnTo>
                    <a:lnTo>
                      <a:pt x="297" y="20"/>
                    </a:lnTo>
                    <a:lnTo>
                      <a:pt x="296" y="17"/>
                    </a:lnTo>
                    <a:lnTo>
                      <a:pt x="294" y="16"/>
                    </a:lnTo>
                    <a:lnTo>
                      <a:pt x="294" y="13"/>
                    </a:lnTo>
                    <a:lnTo>
                      <a:pt x="292" y="15"/>
                    </a:lnTo>
                    <a:lnTo>
                      <a:pt x="291" y="13"/>
                    </a:lnTo>
                    <a:lnTo>
                      <a:pt x="292" y="10"/>
                    </a:lnTo>
                    <a:lnTo>
                      <a:pt x="291" y="9"/>
                    </a:lnTo>
                    <a:lnTo>
                      <a:pt x="291" y="12"/>
                    </a:lnTo>
                    <a:lnTo>
                      <a:pt x="288" y="13"/>
                    </a:lnTo>
                    <a:lnTo>
                      <a:pt x="287" y="13"/>
                    </a:lnTo>
                    <a:lnTo>
                      <a:pt x="286" y="13"/>
                    </a:lnTo>
                    <a:lnTo>
                      <a:pt x="283" y="14"/>
                    </a:lnTo>
                    <a:lnTo>
                      <a:pt x="282" y="13"/>
                    </a:lnTo>
                    <a:lnTo>
                      <a:pt x="282" y="7"/>
                    </a:lnTo>
                    <a:lnTo>
                      <a:pt x="281" y="7"/>
                    </a:lnTo>
                    <a:lnTo>
                      <a:pt x="280" y="7"/>
                    </a:lnTo>
                    <a:lnTo>
                      <a:pt x="279" y="7"/>
                    </a:lnTo>
                    <a:lnTo>
                      <a:pt x="280" y="4"/>
                    </a:lnTo>
                    <a:lnTo>
                      <a:pt x="278" y="3"/>
                    </a:lnTo>
                    <a:lnTo>
                      <a:pt x="278" y="2"/>
                    </a:lnTo>
                    <a:lnTo>
                      <a:pt x="280" y="2"/>
                    </a:lnTo>
                    <a:lnTo>
                      <a:pt x="279" y="1"/>
                    </a:lnTo>
                    <a:lnTo>
                      <a:pt x="277" y="2"/>
                    </a:lnTo>
                    <a:lnTo>
                      <a:pt x="276" y="2"/>
                    </a:lnTo>
                    <a:lnTo>
                      <a:pt x="275" y="3"/>
                    </a:lnTo>
                    <a:lnTo>
                      <a:pt x="275" y="6"/>
                    </a:lnTo>
                    <a:lnTo>
                      <a:pt x="273" y="6"/>
                    </a:lnTo>
                    <a:lnTo>
                      <a:pt x="272" y="7"/>
                    </a:lnTo>
                    <a:lnTo>
                      <a:pt x="270" y="7"/>
                    </a:lnTo>
                    <a:lnTo>
                      <a:pt x="271" y="3"/>
                    </a:lnTo>
                    <a:lnTo>
                      <a:pt x="271" y="0"/>
                    </a:lnTo>
                    <a:lnTo>
                      <a:pt x="270" y="0"/>
                    </a:lnTo>
                    <a:lnTo>
                      <a:pt x="270" y="1"/>
                    </a:lnTo>
                    <a:lnTo>
                      <a:pt x="265" y="0"/>
                    </a:lnTo>
                    <a:lnTo>
                      <a:pt x="264" y="0"/>
                    </a:lnTo>
                    <a:lnTo>
                      <a:pt x="264" y="1"/>
                    </a:lnTo>
                    <a:lnTo>
                      <a:pt x="263" y="2"/>
                    </a:lnTo>
                    <a:lnTo>
                      <a:pt x="262" y="1"/>
                    </a:lnTo>
                    <a:lnTo>
                      <a:pt x="261" y="0"/>
                    </a:lnTo>
                    <a:lnTo>
                      <a:pt x="259" y="0"/>
                    </a:lnTo>
                    <a:lnTo>
                      <a:pt x="261" y="1"/>
                    </a:lnTo>
                    <a:lnTo>
                      <a:pt x="261" y="2"/>
                    </a:lnTo>
                    <a:lnTo>
                      <a:pt x="257" y="9"/>
                    </a:lnTo>
                    <a:lnTo>
                      <a:pt x="258" y="11"/>
                    </a:lnTo>
                    <a:lnTo>
                      <a:pt x="261" y="10"/>
                    </a:lnTo>
                    <a:lnTo>
                      <a:pt x="261" y="12"/>
                    </a:lnTo>
                    <a:lnTo>
                      <a:pt x="262" y="12"/>
                    </a:lnTo>
                    <a:lnTo>
                      <a:pt x="262" y="14"/>
                    </a:lnTo>
                    <a:lnTo>
                      <a:pt x="261" y="15"/>
                    </a:lnTo>
                    <a:lnTo>
                      <a:pt x="260" y="18"/>
                    </a:lnTo>
                    <a:lnTo>
                      <a:pt x="257" y="19"/>
                    </a:lnTo>
                    <a:lnTo>
                      <a:pt x="256" y="17"/>
                    </a:lnTo>
                    <a:lnTo>
                      <a:pt x="255" y="17"/>
                    </a:lnTo>
                    <a:lnTo>
                      <a:pt x="256" y="20"/>
                    </a:lnTo>
                    <a:lnTo>
                      <a:pt x="256" y="21"/>
                    </a:lnTo>
                    <a:lnTo>
                      <a:pt x="254" y="20"/>
                    </a:lnTo>
                    <a:lnTo>
                      <a:pt x="252" y="21"/>
                    </a:lnTo>
                    <a:lnTo>
                      <a:pt x="249" y="20"/>
                    </a:lnTo>
                    <a:lnTo>
                      <a:pt x="249" y="23"/>
                    </a:lnTo>
                    <a:lnTo>
                      <a:pt x="247" y="23"/>
                    </a:lnTo>
                    <a:lnTo>
                      <a:pt x="247" y="20"/>
                    </a:lnTo>
                    <a:lnTo>
                      <a:pt x="246" y="23"/>
                    </a:lnTo>
                    <a:lnTo>
                      <a:pt x="245" y="22"/>
                    </a:lnTo>
                    <a:lnTo>
                      <a:pt x="244" y="20"/>
                    </a:lnTo>
                    <a:lnTo>
                      <a:pt x="242" y="20"/>
                    </a:lnTo>
                    <a:lnTo>
                      <a:pt x="243" y="22"/>
                    </a:lnTo>
                    <a:lnTo>
                      <a:pt x="242" y="23"/>
                    </a:lnTo>
                    <a:lnTo>
                      <a:pt x="241" y="24"/>
                    </a:lnTo>
                    <a:lnTo>
                      <a:pt x="242" y="24"/>
                    </a:lnTo>
                    <a:lnTo>
                      <a:pt x="244" y="26"/>
                    </a:lnTo>
                    <a:lnTo>
                      <a:pt x="242" y="26"/>
                    </a:lnTo>
                    <a:lnTo>
                      <a:pt x="244" y="32"/>
                    </a:lnTo>
                    <a:lnTo>
                      <a:pt x="244" y="33"/>
                    </a:lnTo>
                    <a:lnTo>
                      <a:pt x="242" y="33"/>
                    </a:lnTo>
                    <a:lnTo>
                      <a:pt x="239" y="37"/>
                    </a:lnTo>
                    <a:lnTo>
                      <a:pt x="239" y="41"/>
                    </a:lnTo>
                    <a:lnTo>
                      <a:pt x="241" y="44"/>
                    </a:lnTo>
                    <a:lnTo>
                      <a:pt x="239" y="45"/>
                    </a:lnTo>
                    <a:lnTo>
                      <a:pt x="237" y="46"/>
                    </a:lnTo>
                    <a:lnTo>
                      <a:pt x="233" y="43"/>
                    </a:lnTo>
                    <a:lnTo>
                      <a:pt x="230" y="38"/>
                    </a:lnTo>
                    <a:lnTo>
                      <a:pt x="228" y="36"/>
                    </a:lnTo>
                    <a:lnTo>
                      <a:pt x="228" y="35"/>
                    </a:lnTo>
                    <a:lnTo>
                      <a:pt x="228" y="33"/>
                    </a:lnTo>
                    <a:lnTo>
                      <a:pt x="227" y="37"/>
                    </a:lnTo>
                    <a:lnTo>
                      <a:pt x="226" y="36"/>
                    </a:lnTo>
                    <a:lnTo>
                      <a:pt x="226" y="34"/>
                    </a:lnTo>
                    <a:lnTo>
                      <a:pt x="226" y="33"/>
                    </a:lnTo>
                    <a:lnTo>
                      <a:pt x="225" y="33"/>
                    </a:lnTo>
                    <a:lnTo>
                      <a:pt x="225" y="32"/>
                    </a:lnTo>
                    <a:lnTo>
                      <a:pt x="224" y="32"/>
                    </a:lnTo>
                    <a:lnTo>
                      <a:pt x="223" y="30"/>
                    </a:lnTo>
                    <a:lnTo>
                      <a:pt x="223" y="31"/>
                    </a:lnTo>
                    <a:lnTo>
                      <a:pt x="222" y="31"/>
                    </a:lnTo>
                    <a:lnTo>
                      <a:pt x="222" y="29"/>
                    </a:lnTo>
                    <a:lnTo>
                      <a:pt x="221" y="29"/>
                    </a:lnTo>
                    <a:lnTo>
                      <a:pt x="218" y="28"/>
                    </a:lnTo>
                    <a:lnTo>
                      <a:pt x="219" y="28"/>
                    </a:lnTo>
                    <a:lnTo>
                      <a:pt x="219" y="26"/>
                    </a:lnTo>
                    <a:lnTo>
                      <a:pt x="216" y="28"/>
                    </a:lnTo>
                    <a:lnTo>
                      <a:pt x="214" y="27"/>
                    </a:lnTo>
                    <a:lnTo>
                      <a:pt x="214" y="28"/>
                    </a:lnTo>
                    <a:lnTo>
                      <a:pt x="213" y="26"/>
                    </a:lnTo>
                    <a:lnTo>
                      <a:pt x="211" y="28"/>
                    </a:lnTo>
                    <a:lnTo>
                      <a:pt x="209" y="25"/>
                    </a:lnTo>
                    <a:lnTo>
                      <a:pt x="208" y="26"/>
                    </a:lnTo>
                    <a:lnTo>
                      <a:pt x="207" y="25"/>
                    </a:lnTo>
                    <a:lnTo>
                      <a:pt x="207" y="23"/>
                    </a:lnTo>
                    <a:lnTo>
                      <a:pt x="206" y="23"/>
                    </a:lnTo>
                    <a:lnTo>
                      <a:pt x="206" y="20"/>
                    </a:lnTo>
                    <a:lnTo>
                      <a:pt x="204" y="23"/>
                    </a:lnTo>
                    <a:lnTo>
                      <a:pt x="203" y="23"/>
                    </a:lnTo>
                    <a:lnTo>
                      <a:pt x="201" y="24"/>
                    </a:lnTo>
                    <a:lnTo>
                      <a:pt x="201" y="23"/>
                    </a:lnTo>
                    <a:lnTo>
                      <a:pt x="201" y="24"/>
                    </a:lnTo>
                    <a:lnTo>
                      <a:pt x="201" y="28"/>
                    </a:lnTo>
                    <a:lnTo>
                      <a:pt x="199" y="28"/>
                    </a:lnTo>
                    <a:lnTo>
                      <a:pt x="197" y="26"/>
                    </a:lnTo>
                    <a:lnTo>
                      <a:pt x="196" y="29"/>
                    </a:lnTo>
                    <a:lnTo>
                      <a:pt x="198" y="29"/>
                    </a:lnTo>
                    <a:lnTo>
                      <a:pt x="198" y="30"/>
                    </a:lnTo>
                    <a:lnTo>
                      <a:pt x="196" y="32"/>
                    </a:lnTo>
                    <a:lnTo>
                      <a:pt x="193" y="30"/>
                    </a:lnTo>
                    <a:lnTo>
                      <a:pt x="192" y="31"/>
                    </a:lnTo>
                    <a:lnTo>
                      <a:pt x="191" y="33"/>
                    </a:lnTo>
                    <a:lnTo>
                      <a:pt x="190" y="34"/>
                    </a:lnTo>
                    <a:lnTo>
                      <a:pt x="187" y="33"/>
                    </a:lnTo>
                    <a:lnTo>
                      <a:pt x="187" y="35"/>
                    </a:lnTo>
                    <a:lnTo>
                      <a:pt x="186" y="36"/>
                    </a:lnTo>
                    <a:lnTo>
                      <a:pt x="184" y="36"/>
                    </a:lnTo>
                    <a:lnTo>
                      <a:pt x="182" y="37"/>
                    </a:lnTo>
                    <a:lnTo>
                      <a:pt x="182" y="38"/>
                    </a:lnTo>
                    <a:lnTo>
                      <a:pt x="181" y="40"/>
                    </a:lnTo>
                    <a:lnTo>
                      <a:pt x="180" y="37"/>
                    </a:lnTo>
                    <a:lnTo>
                      <a:pt x="176" y="37"/>
                    </a:lnTo>
                    <a:lnTo>
                      <a:pt x="176" y="43"/>
                    </a:lnTo>
                    <a:lnTo>
                      <a:pt x="175" y="43"/>
                    </a:lnTo>
                    <a:lnTo>
                      <a:pt x="176" y="42"/>
                    </a:lnTo>
                    <a:lnTo>
                      <a:pt x="174" y="41"/>
                    </a:lnTo>
                    <a:lnTo>
                      <a:pt x="172" y="43"/>
                    </a:lnTo>
                    <a:lnTo>
                      <a:pt x="169" y="42"/>
                    </a:lnTo>
                    <a:lnTo>
                      <a:pt x="166" y="42"/>
                    </a:lnTo>
                    <a:lnTo>
                      <a:pt x="164" y="43"/>
                    </a:lnTo>
                    <a:lnTo>
                      <a:pt x="163" y="46"/>
                    </a:lnTo>
                    <a:lnTo>
                      <a:pt x="166" y="51"/>
                    </a:lnTo>
                    <a:lnTo>
                      <a:pt x="166" y="53"/>
                    </a:lnTo>
                    <a:lnTo>
                      <a:pt x="164" y="52"/>
                    </a:lnTo>
                    <a:lnTo>
                      <a:pt x="163" y="53"/>
                    </a:lnTo>
                    <a:lnTo>
                      <a:pt x="164" y="53"/>
                    </a:lnTo>
                    <a:lnTo>
                      <a:pt x="163" y="54"/>
                    </a:lnTo>
                    <a:lnTo>
                      <a:pt x="164" y="55"/>
                    </a:lnTo>
                    <a:lnTo>
                      <a:pt x="164" y="57"/>
                    </a:lnTo>
                    <a:lnTo>
                      <a:pt x="163" y="59"/>
                    </a:lnTo>
                    <a:lnTo>
                      <a:pt x="162" y="60"/>
                    </a:lnTo>
                    <a:lnTo>
                      <a:pt x="161" y="59"/>
                    </a:lnTo>
                    <a:lnTo>
                      <a:pt x="160" y="60"/>
                    </a:lnTo>
                    <a:lnTo>
                      <a:pt x="158" y="61"/>
                    </a:lnTo>
                    <a:lnTo>
                      <a:pt x="156" y="63"/>
                    </a:lnTo>
                    <a:lnTo>
                      <a:pt x="155" y="63"/>
                    </a:lnTo>
                    <a:lnTo>
                      <a:pt x="155" y="64"/>
                    </a:lnTo>
                    <a:lnTo>
                      <a:pt x="153" y="63"/>
                    </a:lnTo>
                    <a:lnTo>
                      <a:pt x="153" y="66"/>
                    </a:lnTo>
                    <a:lnTo>
                      <a:pt x="152" y="66"/>
                    </a:lnTo>
                    <a:lnTo>
                      <a:pt x="148" y="63"/>
                    </a:lnTo>
                    <a:lnTo>
                      <a:pt x="147" y="61"/>
                    </a:lnTo>
                    <a:lnTo>
                      <a:pt x="147" y="60"/>
                    </a:lnTo>
                    <a:lnTo>
                      <a:pt x="145" y="59"/>
                    </a:lnTo>
                    <a:lnTo>
                      <a:pt x="143" y="58"/>
                    </a:lnTo>
                    <a:lnTo>
                      <a:pt x="139" y="62"/>
                    </a:lnTo>
                    <a:lnTo>
                      <a:pt x="136" y="60"/>
                    </a:lnTo>
                    <a:lnTo>
                      <a:pt x="133" y="60"/>
                    </a:lnTo>
                    <a:lnTo>
                      <a:pt x="132" y="61"/>
                    </a:lnTo>
                    <a:lnTo>
                      <a:pt x="132" y="58"/>
                    </a:lnTo>
                    <a:lnTo>
                      <a:pt x="130" y="55"/>
                    </a:lnTo>
                    <a:lnTo>
                      <a:pt x="127" y="57"/>
                    </a:lnTo>
                    <a:lnTo>
                      <a:pt x="125" y="55"/>
                    </a:lnTo>
                    <a:lnTo>
                      <a:pt x="125" y="57"/>
                    </a:lnTo>
                    <a:lnTo>
                      <a:pt x="124" y="57"/>
                    </a:lnTo>
                    <a:lnTo>
                      <a:pt x="123" y="55"/>
                    </a:lnTo>
                    <a:lnTo>
                      <a:pt x="124" y="54"/>
                    </a:lnTo>
                    <a:lnTo>
                      <a:pt x="123" y="54"/>
                    </a:lnTo>
                    <a:lnTo>
                      <a:pt x="123" y="53"/>
                    </a:lnTo>
                    <a:lnTo>
                      <a:pt x="122" y="52"/>
                    </a:lnTo>
                    <a:lnTo>
                      <a:pt x="120" y="52"/>
                    </a:lnTo>
                    <a:lnTo>
                      <a:pt x="119" y="50"/>
                    </a:lnTo>
                    <a:lnTo>
                      <a:pt x="117" y="50"/>
                    </a:lnTo>
                    <a:lnTo>
                      <a:pt x="116" y="52"/>
                    </a:lnTo>
                    <a:lnTo>
                      <a:pt x="114" y="53"/>
                    </a:lnTo>
                    <a:lnTo>
                      <a:pt x="112" y="54"/>
                    </a:lnTo>
                    <a:lnTo>
                      <a:pt x="111" y="53"/>
                    </a:lnTo>
                    <a:lnTo>
                      <a:pt x="110" y="51"/>
                    </a:lnTo>
                    <a:lnTo>
                      <a:pt x="109" y="52"/>
                    </a:lnTo>
                    <a:lnTo>
                      <a:pt x="109" y="53"/>
                    </a:lnTo>
                    <a:lnTo>
                      <a:pt x="106" y="53"/>
                    </a:lnTo>
                    <a:lnTo>
                      <a:pt x="104" y="51"/>
                    </a:lnTo>
                    <a:lnTo>
                      <a:pt x="104" y="53"/>
                    </a:lnTo>
                    <a:lnTo>
                      <a:pt x="100" y="56"/>
                    </a:lnTo>
                    <a:lnTo>
                      <a:pt x="98" y="56"/>
                    </a:lnTo>
                    <a:lnTo>
                      <a:pt x="96" y="54"/>
                    </a:lnTo>
                    <a:lnTo>
                      <a:pt x="93" y="53"/>
                    </a:lnTo>
                    <a:lnTo>
                      <a:pt x="92" y="53"/>
                    </a:lnTo>
                    <a:lnTo>
                      <a:pt x="94" y="56"/>
                    </a:lnTo>
                    <a:lnTo>
                      <a:pt x="94" y="60"/>
                    </a:lnTo>
                    <a:lnTo>
                      <a:pt x="89" y="59"/>
                    </a:lnTo>
                    <a:lnTo>
                      <a:pt x="84" y="60"/>
                    </a:lnTo>
                    <a:lnTo>
                      <a:pt x="85" y="62"/>
                    </a:lnTo>
                    <a:lnTo>
                      <a:pt x="85" y="66"/>
                    </a:lnTo>
                    <a:lnTo>
                      <a:pt x="85" y="68"/>
                    </a:lnTo>
                    <a:lnTo>
                      <a:pt x="82" y="67"/>
                    </a:lnTo>
                    <a:lnTo>
                      <a:pt x="82" y="66"/>
                    </a:lnTo>
                    <a:lnTo>
                      <a:pt x="82" y="65"/>
                    </a:lnTo>
                    <a:lnTo>
                      <a:pt x="82" y="59"/>
                    </a:lnTo>
                    <a:lnTo>
                      <a:pt x="80" y="57"/>
                    </a:lnTo>
                    <a:lnTo>
                      <a:pt x="76" y="54"/>
                    </a:lnTo>
                    <a:lnTo>
                      <a:pt x="71" y="54"/>
                    </a:lnTo>
                    <a:lnTo>
                      <a:pt x="71" y="56"/>
                    </a:lnTo>
                    <a:lnTo>
                      <a:pt x="70" y="55"/>
                    </a:lnTo>
                    <a:lnTo>
                      <a:pt x="70" y="57"/>
                    </a:lnTo>
                    <a:lnTo>
                      <a:pt x="68" y="57"/>
                    </a:lnTo>
                    <a:lnTo>
                      <a:pt x="66" y="57"/>
                    </a:lnTo>
                    <a:lnTo>
                      <a:pt x="66" y="62"/>
                    </a:lnTo>
                    <a:lnTo>
                      <a:pt x="63" y="60"/>
                    </a:lnTo>
                    <a:lnTo>
                      <a:pt x="62" y="63"/>
                    </a:lnTo>
                    <a:lnTo>
                      <a:pt x="61" y="60"/>
                    </a:lnTo>
                    <a:lnTo>
                      <a:pt x="58" y="57"/>
                    </a:lnTo>
                    <a:lnTo>
                      <a:pt x="54" y="57"/>
                    </a:lnTo>
                    <a:lnTo>
                      <a:pt x="50" y="55"/>
                    </a:lnTo>
                    <a:lnTo>
                      <a:pt x="49" y="59"/>
                    </a:lnTo>
                    <a:lnTo>
                      <a:pt x="47" y="61"/>
                    </a:lnTo>
                    <a:lnTo>
                      <a:pt x="46" y="61"/>
                    </a:lnTo>
                    <a:lnTo>
                      <a:pt x="41" y="64"/>
                    </a:lnTo>
                    <a:lnTo>
                      <a:pt x="40" y="66"/>
                    </a:lnTo>
                    <a:lnTo>
                      <a:pt x="40" y="70"/>
                    </a:lnTo>
                    <a:lnTo>
                      <a:pt x="38" y="72"/>
                    </a:lnTo>
                    <a:lnTo>
                      <a:pt x="37" y="75"/>
                    </a:lnTo>
                    <a:lnTo>
                      <a:pt x="33" y="75"/>
                    </a:lnTo>
                    <a:lnTo>
                      <a:pt x="32" y="84"/>
                    </a:lnTo>
                    <a:lnTo>
                      <a:pt x="31" y="83"/>
                    </a:lnTo>
                    <a:lnTo>
                      <a:pt x="30" y="83"/>
                    </a:lnTo>
                    <a:lnTo>
                      <a:pt x="29" y="81"/>
                    </a:lnTo>
                    <a:lnTo>
                      <a:pt x="28" y="81"/>
                    </a:lnTo>
                    <a:lnTo>
                      <a:pt x="26" y="83"/>
                    </a:lnTo>
                    <a:lnTo>
                      <a:pt x="24" y="85"/>
                    </a:lnTo>
                    <a:lnTo>
                      <a:pt x="25" y="89"/>
                    </a:lnTo>
                    <a:lnTo>
                      <a:pt x="24" y="91"/>
                    </a:lnTo>
                    <a:lnTo>
                      <a:pt x="23" y="94"/>
                    </a:lnTo>
                    <a:lnTo>
                      <a:pt x="21" y="94"/>
                    </a:lnTo>
                    <a:lnTo>
                      <a:pt x="21" y="95"/>
                    </a:lnTo>
                    <a:lnTo>
                      <a:pt x="22" y="100"/>
                    </a:lnTo>
                    <a:lnTo>
                      <a:pt x="20" y="102"/>
                    </a:lnTo>
                    <a:lnTo>
                      <a:pt x="22" y="104"/>
                    </a:lnTo>
                    <a:lnTo>
                      <a:pt x="22" y="106"/>
                    </a:lnTo>
                    <a:lnTo>
                      <a:pt x="21" y="107"/>
                    </a:lnTo>
                    <a:lnTo>
                      <a:pt x="21" y="106"/>
                    </a:lnTo>
                    <a:lnTo>
                      <a:pt x="2" y="114"/>
                    </a:lnTo>
                    <a:lnTo>
                      <a:pt x="0" y="118"/>
                    </a:lnTo>
                    <a:lnTo>
                      <a:pt x="1" y="121"/>
                    </a:lnTo>
                    <a:lnTo>
                      <a:pt x="0" y="123"/>
                    </a:lnTo>
                    <a:lnTo>
                      <a:pt x="1" y="125"/>
                    </a:lnTo>
                    <a:lnTo>
                      <a:pt x="2" y="127"/>
                    </a:lnTo>
                    <a:lnTo>
                      <a:pt x="1" y="128"/>
                    </a:lnTo>
                    <a:lnTo>
                      <a:pt x="5" y="130"/>
                    </a:lnTo>
                    <a:lnTo>
                      <a:pt x="5" y="131"/>
                    </a:lnTo>
                    <a:lnTo>
                      <a:pt x="5" y="134"/>
                    </a:lnTo>
                    <a:lnTo>
                      <a:pt x="7" y="142"/>
                    </a:lnTo>
                    <a:lnTo>
                      <a:pt x="9" y="144"/>
                    </a:lnTo>
                    <a:lnTo>
                      <a:pt x="12" y="145"/>
                    </a:lnTo>
                    <a:lnTo>
                      <a:pt x="18" y="150"/>
                    </a:lnTo>
                    <a:lnTo>
                      <a:pt x="18" y="153"/>
                    </a:lnTo>
                    <a:lnTo>
                      <a:pt x="21" y="154"/>
                    </a:lnTo>
                    <a:lnTo>
                      <a:pt x="22" y="154"/>
                    </a:lnTo>
                    <a:lnTo>
                      <a:pt x="23" y="155"/>
                    </a:lnTo>
                    <a:lnTo>
                      <a:pt x="26" y="154"/>
                    </a:lnTo>
                    <a:lnTo>
                      <a:pt x="28" y="155"/>
                    </a:lnTo>
                    <a:lnTo>
                      <a:pt x="27" y="159"/>
                    </a:lnTo>
                    <a:lnTo>
                      <a:pt x="29" y="165"/>
                    </a:lnTo>
                    <a:lnTo>
                      <a:pt x="26" y="168"/>
                    </a:lnTo>
                    <a:lnTo>
                      <a:pt x="27" y="171"/>
                    </a:lnTo>
                    <a:lnTo>
                      <a:pt x="24" y="173"/>
                    </a:lnTo>
                    <a:lnTo>
                      <a:pt x="24" y="174"/>
                    </a:lnTo>
                    <a:lnTo>
                      <a:pt x="24" y="175"/>
                    </a:lnTo>
                    <a:lnTo>
                      <a:pt x="26" y="176"/>
                    </a:lnTo>
                    <a:lnTo>
                      <a:pt x="27" y="177"/>
                    </a:lnTo>
                    <a:lnTo>
                      <a:pt x="26" y="178"/>
                    </a:lnTo>
                    <a:lnTo>
                      <a:pt x="24" y="180"/>
                    </a:lnTo>
                    <a:lnTo>
                      <a:pt x="24" y="183"/>
                    </a:lnTo>
                    <a:lnTo>
                      <a:pt x="27" y="184"/>
                    </a:lnTo>
                    <a:lnTo>
                      <a:pt x="27" y="185"/>
                    </a:lnTo>
                    <a:lnTo>
                      <a:pt x="25" y="185"/>
                    </a:lnTo>
                    <a:lnTo>
                      <a:pt x="25" y="187"/>
                    </a:lnTo>
                    <a:lnTo>
                      <a:pt x="27" y="188"/>
                    </a:lnTo>
                    <a:lnTo>
                      <a:pt x="30" y="187"/>
                    </a:lnTo>
                    <a:lnTo>
                      <a:pt x="33" y="187"/>
                    </a:lnTo>
                    <a:lnTo>
                      <a:pt x="34" y="188"/>
                    </a:lnTo>
                    <a:lnTo>
                      <a:pt x="33" y="189"/>
                    </a:lnTo>
                    <a:lnTo>
                      <a:pt x="32" y="190"/>
                    </a:lnTo>
                    <a:lnTo>
                      <a:pt x="34" y="193"/>
                    </a:lnTo>
                    <a:lnTo>
                      <a:pt x="33" y="199"/>
                    </a:lnTo>
                    <a:lnTo>
                      <a:pt x="36" y="205"/>
                    </a:lnTo>
                    <a:lnTo>
                      <a:pt x="34" y="212"/>
                    </a:lnTo>
                    <a:lnTo>
                      <a:pt x="34" y="217"/>
                    </a:lnTo>
                    <a:lnTo>
                      <a:pt x="35" y="219"/>
                    </a:lnTo>
                    <a:lnTo>
                      <a:pt x="35" y="222"/>
                    </a:lnTo>
                    <a:lnTo>
                      <a:pt x="37" y="225"/>
                    </a:lnTo>
                    <a:lnTo>
                      <a:pt x="38" y="226"/>
                    </a:lnTo>
                    <a:lnTo>
                      <a:pt x="36" y="228"/>
                    </a:lnTo>
                    <a:lnTo>
                      <a:pt x="40" y="232"/>
                    </a:lnTo>
                    <a:lnTo>
                      <a:pt x="42" y="232"/>
                    </a:lnTo>
                    <a:lnTo>
                      <a:pt x="42" y="234"/>
                    </a:lnTo>
                    <a:lnTo>
                      <a:pt x="43" y="233"/>
                    </a:lnTo>
                    <a:lnTo>
                      <a:pt x="44" y="234"/>
                    </a:lnTo>
                    <a:lnTo>
                      <a:pt x="46" y="234"/>
                    </a:lnTo>
                    <a:lnTo>
                      <a:pt x="47" y="233"/>
                    </a:lnTo>
                    <a:lnTo>
                      <a:pt x="49" y="232"/>
                    </a:lnTo>
                    <a:lnTo>
                      <a:pt x="50" y="238"/>
                    </a:lnTo>
                    <a:lnTo>
                      <a:pt x="49" y="239"/>
                    </a:lnTo>
                    <a:lnTo>
                      <a:pt x="49" y="243"/>
                    </a:lnTo>
                    <a:lnTo>
                      <a:pt x="47" y="247"/>
                    </a:lnTo>
                    <a:lnTo>
                      <a:pt x="48" y="251"/>
                    </a:lnTo>
                    <a:lnTo>
                      <a:pt x="47" y="254"/>
                    </a:lnTo>
                    <a:lnTo>
                      <a:pt x="43" y="259"/>
                    </a:lnTo>
                    <a:lnTo>
                      <a:pt x="45" y="259"/>
                    </a:lnTo>
                    <a:lnTo>
                      <a:pt x="46" y="262"/>
                    </a:lnTo>
                    <a:lnTo>
                      <a:pt x="47" y="263"/>
                    </a:lnTo>
                    <a:lnTo>
                      <a:pt x="49" y="271"/>
                    </a:lnTo>
                    <a:lnTo>
                      <a:pt x="48" y="272"/>
                    </a:lnTo>
                    <a:lnTo>
                      <a:pt x="48" y="277"/>
                    </a:lnTo>
                    <a:lnTo>
                      <a:pt x="47" y="279"/>
                    </a:lnTo>
                    <a:lnTo>
                      <a:pt x="53" y="284"/>
                    </a:lnTo>
                    <a:lnTo>
                      <a:pt x="61" y="286"/>
                    </a:lnTo>
                    <a:lnTo>
                      <a:pt x="62" y="291"/>
                    </a:lnTo>
                    <a:lnTo>
                      <a:pt x="66" y="294"/>
                    </a:lnTo>
                    <a:lnTo>
                      <a:pt x="72" y="302"/>
                    </a:lnTo>
                    <a:lnTo>
                      <a:pt x="72" y="308"/>
                    </a:lnTo>
                    <a:lnTo>
                      <a:pt x="71" y="312"/>
                    </a:lnTo>
                    <a:lnTo>
                      <a:pt x="73" y="317"/>
                    </a:lnTo>
                    <a:lnTo>
                      <a:pt x="75" y="318"/>
                    </a:lnTo>
                    <a:lnTo>
                      <a:pt x="76" y="320"/>
                    </a:lnTo>
                    <a:lnTo>
                      <a:pt x="74" y="324"/>
                    </a:lnTo>
                    <a:lnTo>
                      <a:pt x="74" y="325"/>
                    </a:lnTo>
                    <a:lnTo>
                      <a:pt x="76" y="326"/>
                    </a:lnTo>
                    <a:lnTo>
                      <a:pt x="79" y="329"/>
                    </a:lnTo>
                    <a:lnTo>
                      <a:pt x="83" y="330"/>
                    </a:lnTo>
                    <a:lnTo>
                      <a:pt x="90" y="331"/>
                    </a:lnTo>
                    <a:lnTo>
                      <a:pt x="92" y="331"/>
                    </a:lnTo>
                    <a:lnTo>
                      <a:pt x="92" y="330"/>
                    </a:lnTo>
                    <a:lnTo>
                      <a:pt x="93" y="330"/>
                    </a:lnTo>
                    <a:lnTo>
                      <a:pt x="94" y="333"/>
                    </a:lnTo>
                    <a:lnTo>
                      <a:pt x="96" y="333"/>
                    </a:lnTo>
                    <a:lnTo>
                      <a:pt x="100" y="337"/>
                    </a:lnTo>
                    <a:lnTo>
                      <a:pt x="103" y="338"/>
                    </a:lnTo>
                    <a:lnTo>
                      <a:pt x="103" y="334"/>
                    </a:lnTo>
                    <a:lnTo>
                      <a:pt x="103" y="332"/>
                    </a:lnTo>
                    <a:lnTo>
                      <a:pt x="103" y="329"/>
                    </a:lnTo>
                    <a:lnTo>
                      <a:pt x="109" y="331"/>
                    </a:lnTo>
                    <a:lnTo>
                      <a:pt x="111" y="333"/>
                    </a:lnTo>
                    <a:lnTo>
                      <a:pt x="112" y="334"/>
                    </a:lnTo>
                    <a:lnTo>
                      <a:pt x="115" y="333"/>
                    </a:lnTo>
                    <a:lnTo>
                      <a:pt x="118" y="336"/>
                    </a:lnTo>
                    <a:lnTo>
                      <a:pt x="120" y="336"/>
                    </a:lnTo>
                    <a:lnTo>
                      <a:pt x="121" y="336"/>
                    </a:lnTo>
                    <a:lnTo>
                      <a:pt x="123" y="339"/>
                    </a:lnTo>
                    <a:lnTo>
                      <a:pt x="124" y="339"/>
                    </a:lnTo>
                    <a:lnTo>
                      <a:pt x="127" y="341"/>
                    </a:lnTo>
                    <a:lnTo>
                      <a:pt x="130" y="347"/>
                    </a:lnTo>
                    <a:lnTo>
                      <a:pt x="131" y="350"/>
                    </a:lnTo>
                    <a:lnTo>
                      <a:pt x="133" y="353"/>
                    </a:lnTo>
                    <a:lnTo>
                      <a:pt x="134" y="356"/>
                    </a:lnTo>
                    <a:lnTo>
                      <a:pt x="139" y="358"/>
                    </a:lnTo>
                    <a:lnTo>
                      <a:pt x="139" y="366"/>
                    </a:lnTo>
                    <a:lnTo>
                      <a:pt x="138" y="366"/>
                    </a:lnTo>
                    <a:lnTo>
                      <a:pt x="137" y="369"/>
                    </a:lnTo>
                    <a:lnTo>
                      <a:pt x="138" y="376"/>
                    </a:lnTo>
                    <a:lnTo>
                      <a:pt x="144" y="377"/>
                    </a:lnTo>
                    <a:lnTo>
                      <a:pt x="144" y="379"/>
                    </a:lnTo>
                    <a:lnTo>
                      <a:pt x="144" y="381"/>
                    </a:lnTo>
                    <a:lnTo>
                      <a:pt x="144" y="383"/>
                    </a:lnTo>
                    <a:lnTo>
                      <a:pt x="146" y="384"/>
                    </a:lnTo>
                    <a:lnTo>
                      <a:pt x="147" y="387"/>
                    </a:lnTo>
                    <a:lnTo>
                      <a:pt x="150" y="387"/>
                    </a:lnTo>
                    <a:lnTo>
                      <a:pt x="151" y="389"/>
                    </a:lnTo>
                    <a:lnTo>
                      <a:pt x="152" y="391"/>
                    </a:lnTo>
                    <a:lnTo>
                      <a:pt x="150" y="395"/>
                    </a:lnTo>
                    <a:lnTo>
                      <a:pt x="157" y="402"/>
                    </a:lnTo>
                    <a:lnTo>
                      <a:pt x="156" y="405"/>
                    </a:lnTo>
                    <a:lnTo>
                      <a:pt x="155" y="407"/>
                    </a:lnTo>
                    <a:lnTo>
                      <a:pt x="155" y="408"/>
                    </a:lnTo>
                    <a:lnTo>
                      <a:pt x="158" y="412"/>
                    </a:lnTo>
                    <a:lnTo>
                      <a:pt x="160" y="412"/>
                    </a:lnTo>
                    <a:lnTo>
                      <a:pt x="162" y="415"/>
                    </a:lnTo>
                    <a:lnTo>
                      <a:pt x="163" y="416"/>
                    </a:lnTo>
                    <a:lnTo>
                      <a:pt x="164" y="419"/>
                    </a:lnTo>
                    <a:lnTo>
                      <a:pt x="168" y="424"/>
                    </a:lnTo>
                    <a:lnTo>
                      <a:pt x="170" y="425"/>
                    </a:lnTo>
                    <a:lnTo>
                      <a:pt x="171" y="427"/>
                    </a:lnTo>
                    <a:lnTo>
                      <a:pt x="171" y="430"/>
                    </a:lnTo>
                    <a:lnTo>
                      <a:pt x="168" y="439"/>
                    </a:lnTo>
                    <a:lnTo>
                      <a:pt x="171" y="444"/>
                    </a:lnTo>
                    <a:lnTo>
                      <a:pt x="176" y="451"/>
                    </a:lnTo>
                    <a:lnTo>
                      <a:pt x="184" y="456"/>
                    </a:lnTo>
                    <a:lnTo>
                      <a:pt x="190" y="455"/>
                    </a:lnTo>
                    <a:lnTo>
                      <a:pt x="196" y="455"/>
                    </a:lnTo>
                    <a:lnTo>
                      <a:pt x="198" y="456"/>
                    </a:lnTo>
                    <a:lnTo>
                      <a:pt x="204" y="463"/>
                    </a:lnTo>
                    <a:lnTo>
                      <a:pt x="205" y="464"/>
                    </a:lnTo>
                    <a:lnTo>
                      <a:pt x="207" y="466"/>
                    </a:lnTo>
                    <a:lnTo>
                      <a:pt x="207" y="468"/>
                    </a:lnTo>
                    <a:lnTo>
                      <a:pt x="210" y="470"/>
                    </a:lnTo>
                    <a:lnTo>
                      <a:pt x="212" y="473"/>
                    </a:lnTo>
                    <a:lnTo>
                      <a:pt x="212" y="476"/>
                    </a:lnTo>
                    <a:lnTo>
                      <a:pt x="214" y="478"/>
                    </a:lnTo>
                    <a:lnTo>
                      <a:pt x="216" y="482"/>
                    </a:lnTo>
                    <a:lnTo>
                      <a:pt x="217" y="483"/>
                    </a:lnTo>
                    <a:lnTo>
                      <a:pt x="218" y="484"/>
                    </a:lnTo>
                    <a:lnTo>
                      <a:pt x="219" y="489"/>
                    </a:lnTo>
                    <a:lnTo>
                      <a:pt x="221" y="489"/>
                    </a:lnTo>
                    <a:lnTo>
                      <a:pt x="221" y="491"/>
                    </a:lnTo>
                    <a:lnTo>
                      <a:pt x="223" y="491"/>
                    </a:lnTo>
                    <a:lnTo>
                      <a:pt x="224" y="492"/>
                    </a:lnTo>
                    <a:lnTo>
                      <a:pt x="223" y="495"/>
                    </a:lnTo>
                    <a:lnTo>
                      <a:pt x="222" y="496"/>
                    </a:lnTo>
                    <a:lnTo>
                      <a:pt x="223" y="499"/>
                    </a:lnTo>
                    <a:lnTo>
                      <a:pt x="225" y="505"/>
                    </a:lnTo>
                    <a:lnTo>
                      <a:pt x="223" y="507"/>
                    </a:lnTo>
                    <a:lnTo>
                      <a:pt x="222" y="510"/>
                    </a:lnTo>
                    <a:lnTo>
                      <a:pt x="224" y="515"/>
                    </a:lnTo>
                    <a:lnTo>
                      <a:pt x="222" y="519"/>
                    </a:lnTo>
                    <a:lnTo>
                      <a:pt x="221" y="522"/>
                    </a:lnTo>
                    <a:lnTo>
                      <a:pt x="227" y="528"/>
                    </a:lnTo>
                    <a:lnTo>
                      <a:pt x="227" y="530"/>
                    </a:lnTo>
                    <a:lnTo>
                      <a:pt x="229" y="531"/>
                    </a:lnTo>
                    <a:lnTo>
                      <a:pt x="231" y="534"/>
                    </a:lnTo>
                    <a:lnTo>
                      <a:pt x="236" y="537"/>
                    </a:lnTo>
                    <a:lnTo>
                      <a:pt x="237" y="540"/>
                    </a:lnTo>
                    <a:lnTo>
                      <a:pt x="241" y="543"/>
                    </a:lnTo>
                    <a:lnTo>
                      <a:pt x="241" y="545"/>
                    </a:lnTo>
                    <a:lnTo>
                      <a:pt x="244" y="548"/>
                    </a:lnTo>
                    <a:lnTo>
                      <a:pt x="247" y="548"/>
                    </a:lnTo>
                    <a:lnTo>
                      <a:pt x="248" y="539"/>
                    </a:lnTo>
                    <a:lnTo>
                      <a:pt x="249" y="535"/>
                    </a:lnTo>
                    <a:lnTo>
                      <a:pt x="251" y="536"/>
                    </a:lnTo>
                    <a:lnTo>
                      <a:pt x="254" y="534"/>
                    </a:lnTo>
                    <a:lnTo>
                      <a:pt x="256" y="534"/>
                    </a:lnTo>
                    <a:lnTo>
                      <a:pt x="259" y="538"/>
                    </a:lnTo>
                    <a:lnTo>
                      <a:pt x="261" y="538"/>
                    </a:lnTo>
                    <a:lnTo>
                      <a:pt x="261" y="535"/>
                    </a:lnTo>
                    <a:lnTo>
                      <a:pt x="262" y="533"/>
                    </a:lnTo>
                    <a:lnTo>
                      <a:pt x="259" y="532"/>
                    </a:lnTo>
                    <a:lnTo>
                      <a:pt x="258" y="529"/>
                    </a:lnTo>
                    <a:lnTo>
                      <a:pt x="259" y="526"/>
                    </a:lnTo>
                    <a:lnTo>
                      <a:pt x="259" y="524"/>
                    </a:lnTo>
                    <a:lnTo>
                      <a:pt x="262" y="521"/>
                    </a:lnTo>
                    <a:lnTo>
                      <a:pt x="262" y="519"/>
                    </a:lnTo>
                    <a:lnTo>
                      <a:pt x="262" y="516"/>
                    </a:lnTo>
                    <a:lnTo>
                      <a:pt x="262" y="515"/>
                    </a:lnTo>
                    <a:lnTo>
                      <a:pt x="265" y="511"/>
                    </a:lnTo>
                    <a:lnTo>
                      <a:pt x="267" y="506"/>
                    </a:lnTo>
                    <a:lnTo>
                      <a:pt x="271" y="502"/>
                    </a:lnTo>
                    <a:lnTo>
                      <a:pt x="271" y="500"/>
                    </a:lnTo>
                    <a:lnTo>
                      <a:pt x="272" y="500"/>
                    </a:lnTo>
                    <a:lnTo>
                      <a:pt x="272" y="502"/>
                    </a:lnTo>
                    <a:lnTo>
                      <a:pt x="273" y="502"/>
                    </a:lnTo>
                    <a:lnTo>
                      <a:pt x="275" y="504"/>
                    </a:lnTo>
                    <a:lnTo>
                      <a:pt x="280" y="500"/>
                    </a:lnTo>
                    <a:lnTo>
                      <a:pt x="282" y="496"/>
                    </a:lnTo>
                    <a:lnTo>
                      <a:pt x="282" y="495"/>
                    </a:lnTo>
                    <a:lnTo>
                      <a:pt x="282" y="492"/>
                    </a:lnTo>
                    <a:lnTo>
                      <a:pt x="280" y="487"/>
                    </a:lnTo>
                    <a:lnTo>
                      <a:pt x="281" y="484"/>
                    </a:lnTo>
                    <a:lnTo>
                      <a:pt x="280" y="483"/>
                    </a:lnTo>
                    <a:lnTo>
                      <a:pt x="278" y="480"/>
                    </a:lnTo>
                    <a:lnTo>
                      <a:pt x="277" y="476"/>
                    </a:lnTo>
                    <a:lnTo>
                      <a:pt x="277" y="475"/>
                    </a:lnTo>
                    <a:lnTo>
                      <a:pt x="282" y="475"/>
                    </a:lnTo>
                    <a:lnTo>
                      <a:pt x="282" y="474"/>
                    </a:lnTo>
                    <a:lnTo>
                      <a:pt x="282" y="468"/>
                    </a:lnTo>
                    <a:lnTo>
                      <a:pt x="281" y="468"/>
                    </a:lnTo>
                    <a:lnTo>
                      <a:pt x="282" y="466"/>
                    </a:lnTo>
                    <a:lnTo>
                      <a:pt x="282" y="464"/>
                    </a:lnTo>
                    <a:lnTo>
                      <a:pt x="283" y="461"/>
                    </a:lnTo>
                    <a:lnTo>
                      <a:pt x="285" y="460"/>
                    </a:lnTo>
                    <a:lnTo>
                      <a:pt x="285" y="458"/>
                    </a:lnTo>
                    <a:lnTo>
                      <a:pt x="282" y="457"/>
                    </a:lnTo>
                    <a:lnTo>
                      <a:pt x="283" y="456"/>
                    </a:lnTo>
                    <a:lnTo>
                      <a:pt x="288" y="457"/>
                    </a:lnTo>
                    <a:lnTo>
                      <a:pt x="288" y="458"/>
                    </a:lnTo>
                    <a:lnTo>
                      <a:pt x="286" y="458"/>
                    </a:lnTo>
                    <a:lnTo>
                      <a:pt x="290" y="460"/>
                    </a:lnTo>
                    <a:lnTo>
                      <a:pt x="291" y="460"/>
                    </a:lnTo>
                    <a:lnTo>
                      <a:pt x="292" y="462"/>
                    </a:lnTo>
                    <a:lnTo>
                      <a:pt x="293" y="463"/>
                    </a:lnTo>
                    <a:lnTo>
                      <a:pt x="297" y="460"/>
                    </a:lnTo>
                    <a:lnTo>
                      <a:pt x="298" y="458"/>
                    </a:lnTo>
                    <a:lnTo>
                      <a:pt x="299" y="458"/>
                    </a:lnTo>
                    <a:lnTo>
                      <a:pt x="301" y="458"/>
                    </a:lnTo>
                    <a:lnTo>
                      <a:pt x="301" y="457"/>
                    </a:lnTo>
                    <a:lnTo>
                      <a:pt x="302" y="456"/>
                    </a:lnTo>
                    <a:lnTo>
                      <a:pt x="302" y="454"/>
                    </a:lnTo>
                    <a:lnTo>
                      <a:pt x="305" y="455"/>
                    </a:lnTo>
                    <a:lnTo>
                      <a:pt x="307" y="453"/>
                    </a:lnTo>
                    <a:lnTo>
                      <a:pt x="308" y="454"/>
                    </a:lnTo>
                    <a:lnTo>
                      <a:pt x="309" y="453"/>
                    </a:lnTo>
                    <a:lnTo>
                      <a:pt x="310" y="454"/>
                    </a:lnTo>
                    <a:lnTo>
                      <a:pt x="311" y="454"/>
                    </a:lnTo>
                    <a:lnTo>
                      <a:pt x="311" y="456"/>
                    </a:lnTo>
                    <a:lnTo>
                      <a:pt x="311" y="455"/>
                    </a:lnTo>
                    <a:lnTo>
                      <a:pt x="313" y="453"/>
                    </a:lnTo>
                    <a:lnTo>
                      <a:pt x="311" y="453"/>
                    </a:lnTo>
                    <a:lnTo>
                      <a:pt x="310" y="452"/>
                    </a:lnTo>
                    <a:lnTo>
                      <a:pt x="312" y="451"/>
                    </a:lnTo>
                    <a:lnTo>
                      <a:pt x="313" y="444"/>
                    </a:lnTo>
                    <a:lnTo>
                      <a:pt x="316" y="440"/>
                    </a:lnTo>
                    <a:lnTo>
                      <a:pt x="317" y="440"/>
                    </a:lnTo>
                    <a:lnTo>
                      <a:pt x="319" y="441"/>
                    </a:lnTo>
                    <a:lnTo>
                      <a:pt x="321" y="440"/>
                    </a:lnTo>
                    <a:lnTo>
                      <a:pt x="320" y="437"/>
                    </a:lnTo>
                    <a:lnTo>
                      <a:pt x="320" y="434"/>
                    </a:lnTo>
                    <a:lnTo>
                      <a:pt x="319" y="433"/>
                    </a:lnTo>
                    <a:lnTo>
                      <a:pt x="319" y="432"/>
                    </a:lnTo>
                    <a:lnTo>
                      <a:pt x="316" y="430"/>
                    </a:lnTo>
                    <a:lnTo>
                      <a:pt x="316" y="427"/>
                    </a:lnTo>
                    <a:lnTo>
                      <a:pt x="315" y="428"/>
                    </a:lnTo>
                    <a:lnTo>
                      <a:pt x="315" y="425"/>
                    </a:lnTo>
                    <a:lnTo>
                      <a:pt x="316" y="425"/>
                    </a:lnTo>
                    <a:lnTo>
                      <a:pt x="314" y="425"/>
                    </a:lnTo>
                    <a:lnTo>
                      <a:pt x="314" y="423"/>
                    </a:lnTo>
                    <a:lnTo>
                      <a:pt x="315" y="423"/>
                    </a:lnTo>
                    <a:lnTo>
                      <a:pt x="316" y="423"/>
                    </a:lnTo>
                    <a:lnTo>
                      <a:pt x="316" y="422"/>
                    </a:lnTo>
                    <a:lnTo>
                      <a:pt x="316" y="421"/>
                    </a:lnTo>
                    <a:lnTo>
                      <a:pt x="318" y="419"/>
                    </a:lnTo>
                    <a:lnTo>
                      <a:pt x="321" y="421"/>
                    </a:lnTo>
                    <a:lnTo>
                      <a:pt x="321" y="418"/>
                    </a:lnTo>
                    <a:lnTo>
                      <a:pt x="320" y="417"/>
                    </a:lnTo>
                    <a:lnTo>
                      <a:pt x="321" y="415"/>
                    </a:lnTo>
                    <a:lnTo>
                      <a:pt x="322" y="417"/>
                    </a:lnTo>
                    <a:lnTo>
                      <a:pt x="325" y="418"/>
                    </a:lnTo>
                    <a:lnTo>
                      <a:pt x="326" y="418"/>
                    </a:lnTo>
                    <a:lnTo>
                      <a:pt x="324" y="415"/>
                    </a:lnTo>
                    <a:lnTo>
                      <a:pt x="327" y="412"/>
                    </a:lnTo>
                    <a:lnTo>
                      <a:pt x="329" y="412"/>
                    </a:lnTo>
                    <a:lnTo>
                      <a:pt x="328" y="411"/>
                    </a:lnTo>
                    <a:lnTo>
                      <a:pt x="327" y="411"/>
                    </a:lnTo>
                    <a:lnTo>
                      <a:pt x="323" y="411"/>
                    </a:lnTo>
                    <a:lnTo>
                      <a:pt x="322" y="410"/>
                    </a:lnTo>
                    <a:lnTo>
                      <a:pt x="321" y="410"/>
                    </a:lnTo>
                    <a:lnTo>
                      <a:pt x="321" y="406"/>
                    </a:lnTo>
                    <a:lnTo>
                      <a:pt x="321" y="402"/>
                    </a:lnTo>
                    <a:lnTo>
                      <a:pt x="320" y="400"/>
                    </a:lnTo>
                    <a:lnTo>
                      <a:pt x="321" y="400"/>
                    </a:lnTo>
                    <a:lnTo>
                      <a:pt x="323" y="400"/>
                    </a:lnTo>
                    <a:lnTo>
                      <a:pt x="325" y="400"/>
                    </a:lnTo>
                    <a:lnTo>
                      <a:pt x="326" y="402"/>
                    </a:lnTo>
                    <a:lnTo>
                      <a:pt x="327" y="402"/>
                    </a:lnTo>
                    <a:lnTo>
                      <a:pt x="329" y="402"/>
                    </a:lnTo>
                    <a:lnTo>
                      <a:pt x="329" y="399"/>
                    </a:lnTo>
                    <a:lnTo>
                      <a:pt x="330" y="398"/>
                    </a:lnTo>
                    <a:lnTo>
                      <a:pt x="331" y="396"/>
                    </a:lnTo>
                    <a:lnTo>
                      <a:pt x="330" y="395"/>
                    </a:lnTo>
                    <a:lnTo>
                      <a:pt x="329" y="395"/>
                    </a:lnTo>
                    <a:lnTo>
                      <a:pt x="327" y="392"/>
                    </a:lnTo>
                    <a:lnTo>
                      <a:pt x="328" y="392"/>
                    </a:lnTo>
                    <a:lnTo>
                      <a:pt x="329" y="391"/>
                    </a:lnTo>
                    <a:lnTo>
                      <a:pt x="329" y="387"/>
                    </a:lnTo>
                    <a:lnTo>
                      <a:pt x="332" y="389"/>
                    </a:lnTo>
                    <a:lnTo>
                      <a:pt x="333" y="384"/>
                    </a:lnTo>
                    <a:lnTo>
                      <a:pt x="335" y="384"/>
                    </a:lnTo>
                    <a:lnTo>
                      <a:pt x="336" y="384"/>
                    </a:lnTo>
                    <a:lnTo>
                      <a:pt x="337" y="382"/>
                    </a:lnTo>
                    <a:lnTo>
                      <a:pt x="338" y="381"/>
                    </a:lnTo>
                    <a:lnTo>
                      <a:pt x="342" y="383"/>
                    </a:lnTo>
                    <a:lnTo>
                      <a:pt x="342" y="382"/>
                    </a:lnTo>
                    <a:lnTo>
                      <a:pt x="343" y="381"/>
                    </a:lnTo>
                    <a:lnTo>
                      <a:pt x="342" y="377"/>
                    </a:lnTo>
                    <a:lnTo>
                      <a:pt x="343" y="377"/>
                    </a:lnTo>
                    <a:lnTo>
                      <a:pt x="343" y="376"/>
                    </a:lnTo>
                    <a:lnTo>
                      <a:pt x="344" y="373"/>
                    </a:lnTo>
                    <a:lnTo>
                      <a:pt x="346" y="370"/>
                    </a:lnTo>
                    <a:lnTo>
                      <a:pt x="349" y="370"/>
                    </a:lnTo>
                    <a:lnTo>
                      <a:pt x="348" y="370"/>
                    </a:lnTo>
                    <a:lnTo>
                      <a:pt x="348" y="366"/>
                    </a:lnTo>
                    <a:lnTo>
                      <a:pt x="347" y="368"/>
                    </a:lnTo>
                    <a:lnTo>
                      <a:pt x="346" y="367"/>
                    </a:lnTo>
                    <a:lnTo>
                      <a:pt x="348" y="366"/>
                    </a:lnTo>
                    <a:lnTo>
                      <a:pt x="349" y="366"/>
                    </a:lnTo>
                    <a:lnTo>
                      <a:pt x="349" y="364"/>
                    </a:lnTo>
                    <a:lnTo>
                      <a:pt x="350" y="365"/>
                    </a:lnTo>
                    <a:lnTo>
                      <a:pt x="350" y="364"/>
                    </a:lnTo>
                    <a:lnTo>
                      <a:pt x="350" y="361"/>
                    </a:lnTo>
                    <a:lnTo>
                      <a:pt x="349" y="360"/>
                    </a:lnTo>
                    <a:lnTo>
                      <a:pt x="350" y="359"/>
                    </a:lnTo>
                    <a:lnTo>
                      <a:pt x="348" y="360"/>
                    </a:lnTo>
                    <a:lnTo>
                      <a:pt x="347" y="358"/>
                    </a:lnTo>
                    <a:lnTo>
                      <a:pt x="346" y="358"/>
                    </a:lnTo>
                    <a:lnTo>
                      <a:pt x="346" y="357"/>
                    </a:lnTo>
                    <a:lnTo>
                      <a:pt x="347" y="357"/>
                    </a:lnTo>
                    <a:lnTo>
                      <a:pt x="346" y="356"/>
                    </a:lnTo>
                    <a:lnTo>
                      <a:pt x="347" y="356"/>
                    </a:lnTo>
                    <a:lnTo>
                      <a:pt x="346" y="354"/>
                    </a:lnTo>
                    <a:lnTo>
                      <a:pt x="345" y="352"/>
                    </a:lnTo>
                    <a:lnTo>
                      <a:pt x="345" y="350"/>
                    </a:lnTo>
                    <a:lnTo>
                      <a:pt x="344" y="347"/>
                    </a:lnTo>
                    <a:lnTo>
                      <a:pt x="345" y="347"/>
                    </a:lnTo>
                    <a:lnTo>
                      <a:pt x="344" y="347"/>
                    </a:lnTo>
                    <a:lnTo>
                      <a:pt x="345" y="346"/>
                    </a:lnTo>
                    <a:lnTo>
                      <a:pt x="344" y="346"/>
                    </a:lnTo>
                    <a:lnTo>
                      <a:pt x="344" y="345"/>
                    </a:lnTo>
                    <a:lnTo>
                      <a:pt x="345" y="345"/>
                    </a:lnTo>
                    <a:lnTo>
                      <a:pt x="346" y="342"/>
                    </a:lnTo>
                    <a:lnTo>
                      <a:pt x="346" y="339"/>
                    </a:lnTo>
                    <a:lnTo>
                      <a:pt x="347" y="337"/>
                    </a:lnTo>
                    <a:lnTo>
                      <a:pt x="346" y="336"/>
                    </a:lnTo>
                    <a:lnTo>
                      <a:pt x="348" y="336"/>
                    </a:lnTo>
                    <a:lnTo>
                      <a:pt x="350" y="333"/>
                    </a:lnTo>
                    <a:lnTo>
                      <a:pt x="351" y="331"/>
                    </a:lnTo>
                    <a:lnTo>
                      <a:pt x="353" y="332"/>
                    </a:lnTo>
                    <a:lnTo>
                      <a:pt x="355" y="332"/>
                    </a:lnTo>
                    <a:lnTo>
                      <a:pt x="355" y="331"/>
                    </a:lnTo>
                    <a:lnTo>
                      <a:pt x="351" y="330"/>
                    </a:lnTo>
                    <a:lnTo>
                      <a:pt x="351" y="329"/>
                    </a:lnTo>
                    <a:lnTo>
                      <a:pt x="352" y="329"/>
                    </a:lnTo>
                    <a:lnTo>
                      <a:pt x="351" y="329"/>
                    </a:lnTo>
                    <a:lnTo>
                      <a:pt x="351" y="327"/>
                    </a:lnTo>
                    <a:lnTo>
                      <a:pt x="350" y="326"/>
                    </a:lnTo>
                    <a:lnTo>
                      <a:pt x="350" y="325"/>
                    </a:lnTo>
                    <a:lnTo>
                      <a:pt x="349" y="323"/>
                    </a:lnTo>
                    <a:lnTo>
                      <a:pt x="348" y="323"/>
                    </a:lnTo>
                    <a:lnTo>
                      <a:pt x="349" y="321"/>
                    </a:lnTo>
                    <a:lnTo>
                      <a:pt x="349" y="320"/>
                    </a:lnTo>
                    <a:lnTo>
                      <a:pt x="350" y="319"/>
                    </a:lnTo>
                    <a:lnTo>
                      <a:pt x="348" y="319"/>
                    </a:lnTo>
                    <a:lnTo>
                      <a:pt x="349" y="317"/>
                    </a:lnTo>
                    <a:lnTo>
                      <a:pt x="350" y="316"/>
                    </a:lnTo>
                    <a:lnTo>
                      <a:pt x="350" y="313"/>
                    </a:lnTo>
                    <a:lnTo>
                      <a:pt x="350" y="312"/>
                    </a:lnTo>
                    <a:lnTo>
                      <a:pt x="349" y="312"/>
                    </a:lnTo>
                    <a:lnTo>
                      <a:pt x="350" y="311"/>
                    </a:lnTo>
                    <a:lnTo>
                      <a:pt x="350" y="309"/>
                    </a:lnTo>
                    <a:lnTo>
                      <a:pt x="349" y="311"/>
                    </a:lnTo>
                    <a:lnTo>
                      <a:pt x="350" y="309"/>
                    </a:lnTo>
                    <a:lnTo>
                      <a:pt x="349" y="308"/>
                    </a:lnTo>
                    <a:lnTo>
                      <a:pt x="351" y="309"/>
                    </a:lnTo>
                    <a:lnTo>
                      <a:pt x="351" y="308"/>
                    </a:lnTo>
                    <a:lnTo>
                      <a:pt x="349" y="307"/>
                    </a:lnTo>
                    <a:lnTo>
                      <a:pt x="349" y="308"/>
                    </a:lnTo>
                    <a:lnTo>
                      <a:pt x="349" y="307"/>
                    </a:lnTo>
                    <a:lnTo>
                      <a:pt x="348" y="307"/>
                    </a:lnTo>
                    <a:lnTo>
                      <a:pt x="346" y="307"/>
                    </a:lnTo>
                    <a:lnTo>
                      <a:pt x="346" y="304"/>
                    </a:lnTo>
                    <a:lnTo>
                      <a:pt x="347" y="303"/>
                    </a:lnTo>
                    <a:lnTo>
                      <a:pt x="346" y="302"/>
                    </a:lnTo>
                    <a:lnTo>
                      <a:pt x="348" y="302"/>
                    </a:lnTo>
                    <a:lnTo>
                      <a:pt x="348" y="301"/>
                    </a:lnTo>
                    <a:lnTo>
                      <a:pt x="350" y="302"/>
                    </a:lnTo>
                    <a:lnTo>
                      <a:pt x="350" y="300"/>
                    </a:lnTo>
                    <a:lnTo>
                      <a:pt x="350" y="299"/>
                    </a:lnTo>
                    <a:lnTo>
                      <a:pt x="348" y="298"/>
                    </a:lnTo>
                    <a:lnTo>
                      <a:pt x="349" y="296"/>
                    </a:lnTo>
                    <a:lnTo>
                      <a:pt x="351" y="295"/>
                    </a:lnTo>
                    <a:lnTo>
                      <a:pt x="351" y="294"/>
                    </a:lnTo>
                    <a:lnTo>
                      <a:pt x="353" y="295"/>
                    </a:lnTo>
                    <a:lnTo>
                      <a:pt x="353" y="292"/>
                    </a:lnTo>
                    <a:lnTo>
                      <a:pt x="354" y="291"/>
                    </a:lnTo>
                    <a:lnTo>
                      <a:pt x="355" y="286"/>
                    </a:lnTo>
                    <a:lnTo>
                      <a:pt x="356" y="283"/>
                    </a:lnTo>
                    <a:lnTo>
                      <a:pt x="354" y="282"/>
                    </a:lnTo>
                    <a:lnTo>
                      <a:pt x="355" y="279"/>
                    </a:lnTo>
                    <a:lnTo>
                      <a:pt x="351" y="276"/>
                    </a:lnTo>
                    <a:lnTo>
                      <a:pt x="350" y="276"/>
                    </a:lnTo>
                    <a:lnTo>
                      <a:pt x="347" y="279"/>
                    </a:lnTo>
                    <a:lnTo>
                      <a:pt x="346" y="278"/>
                    </a:lnTo>
                    <a:lnTo>
                      <a:pt x="348" y="277"/>
                    </a:lnTo>
                    <a:lnTo>
                      <a:pt x="350" y="272"/>
                    </a:lnTo>
                    <a:lnTo>
                      <a:pt x="349" y="271"/>
                    </a:lnTo>
                    <a:lnTo>
                      <a:pt x="348" y="270"/>
                    </a:lnTo>
                    <a:lnTo>
                      <a:pt x="350" y="264"/>
                    </a:lnTo>
                    <a:lnTo>
                      <a:pt x="350" y="260"/>
                    </a:lnTo>
                    <a:lnTo>
                      <a:pt x="351" y="258"/>
                    </a:lnTo>
                    <a:lnTo>
                      <a:pt x="353" y="255"/>
                    </a:lnTo>
                    <a:lnTo>
                      <a:pt x="354" y="249"/>
                    </a:lnTo>
                    <a:lnTo>
                      <a:pt x="355" y="247"/>
                    </a:lnTo>
                    <a:lnTo>
                      <a:pt x="356" y="244"/>
                    </a:lnTo>
                    <a:lnTo>
                      <a:pt x="355" y="242"/>
                    </a:lnTo>
                    <a:lnTo>
                      <a:pt x="353" y="243"/>
                    </a:lnTo>
                    <a:lnTo>
                      <a:pt x="350" y="242"/>
                    </a:lnTo>
                    <a:lnTo>
                      <a:pt x="350" y="239"/>
                    </a:lnTo>
                    <a:lnTo>
                      <a:pt x="349" y="238"/>
                    </a:lnTo>
                    <a:lnTo>
                      <a:pt x="347" y="239"/>
                    </a:lnTo>
                    <a:lnTo>
                      <a:pt x="346" y="239"/>
                    </a:lnTo>
                    <a:lnTo>
                      <a:pt x="344" y="238"/>
                    </a:lnTo>
                    <a:lnTo>
                      <a:pt x="344" y="236"/>
                    </a:lnTo>
                    <a:lnTo>
                      <a:pt x="345" y="236"/>
                    </a:lnTo>
                    <a:lnTo>
                      <a:pt x="346" y="235"/>
                    </a:lnTo>
                    <a:lnTo>
                      <a:pt x="342" y="234"/>
                    </a:lnTo>
                    <a:lnTo>
                      <a:pt x="342" y="233"/>
                    </a:lnTo>
                    <a:lnTo>
                      <a:pt x="340" y="233"/>
                    </a:lnTo>
                    <a:lnTo>
                      <a:pt x="339" y="232"/>
                    </a:lnTo>
                    <a:lnTo>
                      <a:pt x="338" y="232"/>
                    </a:lnTo>
                    <a:lnTo>
                      <a:pt x="337" y="229"/>
                    </a:lnTo>
                    <a:lnTo>
                      <a:pt x="336" y="228"/>
                    </a:lnTo>
                    <a:lnTo>
                      <a:pt x="339" y="229"/>
                    </a:lnTo>
                    <a:lnTo>
                      <a:pt x="342" y="232"/>
                    </a:lnTo>
                    <a:lnTo>
                      <a:pt x="345" y="232"/>
                    </a:lnTo>
                    <a:lnTo>
                      <a:pt x="345" y="231"/>
                    </a:lnTo>
                    <a:lnTo>
                      <a:pt x="347" y="231"/>
                    </a:lnTo>
                    <a:lnTo>
                      <a:pt x="348" y="230"/>
                    </a:lnTo>
                    <a:lnTo>
                      <a:pt x="347" y="230"/>
                    </a:lnTo>
                    <a:lnTo>
                      <a:pt x="345" y="224"/>
                    </a:lnTo>
                    <a:lnTo>
                      <a:pt x="342" y="223"/>
                    </a:lnTo>
                    <a:lnTo>
                      <a:pt x="340" y="221"/>
                    </a:lnTo>
                    <a:lnTo>
                      <a:pt x="342" y="219"/>
                    </a:lnTo>
                    <a:lnTo>
                      <a:pt x="341" y="218"/>
                    </a:lnTo>
                    <a:lnTo>
                      <a:pt x="342" y="217"/>
                    </a:lnTo>
                    <a:lnTo>
                      <a:pt x="342" y="218"/>
                    </a:lnTo>
                    <a:lnTo>
                      <a:pt x="342" y="219"/>
                    </a:lnTo>
                    <a:lnTo>
                      <a:pt x="343" y="219"/>
                    </a:lnTo>
                    <a:lnTo>
                      <a:pt x="344" y="218"/>
                    </a:lnTo>
                    <a:lnTo>
                      <a:pt x="344" y="219"/>
                    </a:lnTo>
                    <a:lnTo>
                      <a:pt x="345" y="219"/>
                    </a:lnTo>
                    <a:lnTo>
                      <a:pt x="345" y="218"/>
                    </a:lnTo>
                    <a:lnTo>
                      <a:pt x="348" y="217"/>
                    </a:lnTo>
                    <a:lnTo>
                      <a:pt x="350" y="218"/>
                    </a:lnTo>
                    <a:lnTo>
                      <a:pt x="353" y="215"/>
                    </a:lnTo>
                    <a:lnTo>
                      <a:pt x="351" y="215"/>
                    </a:lnTo>
                    <a:lnTo>
                      <a:pt x="351" y="213"/>
                    </a:lnTo>
                    <a:lnTo>
                      <a:pt x="349" y="213"/>
                    </a:lnTo>
                    <a:lnTo>
                      <a:pt x="348" y="212"/>
                    </a:lnTo>
                    <a:lnTo>
                      <a:pt x="346" y="213"/>
                    </a:lnTo>
                    <a:lnTo>
                      <a:pt x="347" y="211"/>
                    </a:lnTo>
                    <a:lnTo>
                      <a:pt x="346" y="211"/>
                    </a:lnTo>
                    <a:lnTo>
                      <a:pt x="344" y="212"/>
                    </a:lnTo>
                    <a:lnTo>
                      <a:pt x="343" y="211"/>
                    </a:lnTo>
                    <a:lnTo>
                      <a:pt x="342" y="211"/>
                    </a:lnTo>
                    <a:lnTo>
                      <a:pt x="342" y="213"/>
                    </a:lnTo>
                    <a:lnTo>
                      <a:pt x="340" y="213"/>
                    </a:lnTo>
                    <a:lnTo>
                      <a:pt x="340" y="215"/>
                    </a:lnTo>
                    <a:lnTo>
                      <a:pt x="338" y="214"/>
                    </a:lnTo>
                    <a:lnTo>
                      <a:pt x="338" y="210"/>
                    </a:lnTo>
                    <a:lnTo>
                      <a:pt x="339" y="211"/>
                    </a:lnTo>
                    <a:lnTo>
                      <a:pt x="339" y="210"/>
                    </a:lnTo>
                    <a:lnTo>
                      <a:pt x="338" y="209"/>
                    </a:lnTo>
                    <a:lnTo>
                      <a:pt x="340" y="208"/>
                    </a:lnTo>
                    <a:lnTo>
                      <a:pt x="338" y="205"/>
                    </a:lnTo>
                    <a:lnTo>
                      <a:pt x="340" y="203"/>
                    </a:lnTo>
                    <a:lnTo>
                      <a:pt x="343" y="202"/>
                    </a:lnTo>
                    <a:lnTo>
                      <a:pt x="347" y="195"/>
                    </a:lnTo>
                    <a:lnTo>
                      <a:pt x="356" y="192"/>
                    </a:lnTo>
                    <a:lnTo>
                      <a:pt x="359" y="191"/>
                    </a:lnTo>
                    <a:lnTo>
                      <a:pt x="361" y="191"/>
                    </a:lnTo>
                    <a:lnTo>
                      <a:pt x="360" y="191"/>
                    </a:lnTo>
                    <a:lnTo>
                      <a:pt x="360" y="194"/>
                    </a:lnTo>
                    <a:lnTo>
                      <a:pt x="362" y="195"/>
                    </a:lnTo>
                    <a:lnTo>
                      <a:pt x="363" y="197"/>
                    </a:lnTo>
                    <a:lnTo>
                      <a:pt x="363" y="198"/>
                    </a:lnTo>
                    <a:lnTo>
                      <a:pt x="365" y="198"/>
                    </a:lnTo>
                    <a:lnTo>
                      <a:pt x="366" y="198"/>
                    </a:lnTo>
                    <a:lnTo>
                      <a:pt x="367" y="196"/>
                    </a:lnTo>
                    <a:lnTo>
                      <a:pt x="367" y="195"/>
                    </a:lnTo>
                    <a:lnTo>
                      <a:pt x="368" y="194"/>
                    </a:lnTo>
                    <a:lnTo>
                      <a:pt x="368" y="192"/>
                    </a:lnTo>
                    <a:lnTo>
                      <a:pt x="370" y="191"/>
                    </a:lnTo>
                    <a:lnTo>
                      <a:pt x="371" y="188"/>
                    </a:lnTo>
                    <a:lnTo>
                      <a:pt x="372" y="188"/>
                    </a:lnTo>
                    <a:lnTo>
                      <a:pt x="375" y="188"/>
                    </a:lnTo>
                    <a:lnTo>
                      <a:pt x="375" y="187"/>
                    </a:lnTo>
                    <a:lnTo>
                      <a:pt x="376" y="187"/>
                    </a:lnTo>
                    <a:lnTo>
                      <a:pt x="377" y="187"/>
                    </a:lnTo>
                    <a:lnTo>
                      <a:pt x="379" y="185"/>
                    </a:lnTo>
                    <a:lnTo>
                      <a:pt x="379" y="186"/>
                    </a:lnTo>
                    <a:lnTo>
                      <a:pt x="381" y="183"/>
                    </a:lnTo>
                    <a:lnTo>
                      <a:pt x="381" y="181"/>
                    </a:lnTo>
                    <a:lnTo>
                      <a:pt x="379" y="180"/>
                    </a:lnTo>
                    <a:lnTo>
                      <a:pt x="378" y="179"/>
                    </a:lnTo>
                    <a:lnTo>
                      <a:pt x="377" y="178"/>
                    </a:lnTo>
                    <a:lnTo>
                      <a:pt x="376" y="179"/>
                    </a:lnTo>
                    <a:lnTo>
                      <a:pt x="375" y="179"/>
                    </a:lnTo>
                    <a:lnTo>
                      <a:pt x="373" y="181"/>
                    </a:lnTo>
                    <a:lnTo>
                      <a:pt x="372" y="180"/>
                    </a:lnTo>
                    <a:lnTo>
                      <a:pt x="373" y="177"/>
                    </a:lnTo>
                    <a:lnTo>
                      <a:pt x="376" y="176"/>
                    </a:lnTo>
                    <a:lnTo>
                      <a:pt x="378" y="171"/>
                    </a:lnTo>
                    <a:lnTo>
                      <a:pt x="378" y="168"/>
                    </a:lnTo>
                    <a:lnTo>
                      <a:pt x="377" y="166"/>
                    </a:lnTo>
                    <a:lnTo>
                      <a:pt x="377" y="165"/>
                    </a:lnTo>
                    <a:lnTo>
                      <a:pt x="376" y="162"/>
                    </a:lnTo>
                    <a:lnTo>
                      <a:pt x="377" y="161"/>
                    </a:lnTo>
                    <a:lnTo>
                      <a:pt x="381" y="161"/>
                    </a:lnTo>
                    <a:lnTo>
                      <a:pt x="381" y="158"/>
                    </a:lnTo>
                    <a:lnTo>
                      <a:pt x="383" y="157"/>
                    </a:lnTo>
                    <a:lnTo>
                      <a:pt x="382" y="157"/>
                    </a:lnTo>
                    <a:lnTo>
                      <a:pt x="383" y="153"/>
                    </a:lnTo>
                    <a:lnTo>
                      <a:pt x="381" y="151"/>
                    </a:lnTo>
                    <a:lnTo>
                      <a:pt x="381" y="148"/>
                    </a:lnTo>
                    <a:lnTo>
                      <a:pt x="384" y="145"/>
                    </a:lnTo>
                    <a:lnTo>
                      <a:pt x="383" y="144"/>
                    </a:lnTo>
                    <a:lnTo>
                      <a:pt x="382" y="141"/>
                    </a:lnTo>
                    <a:lnTo>
                      <a:pt x="383" y="140"/>
                    </a:lnTo>
                    <a:lnTo>
                      <a:pt x="384" y="141"/>
                    </a:lnTo>
                    <a:lnTo>
                      <a:pt x="386" y="138"/>
                    </a:lnTo>
                    <a:lnTo>
                      <a:pt x="385" y="135"/>
                    </a:lnTo>
                    <a:lnTo>
                      <a:pt x="386" y="135"/>
                    </a:lnTo>
                    <a:lnTo>
                      <a:pt x="386" y="131"/>
                    </a:lnTo>
                    <a:lnTo>
                      <a:pt x="387" y="131"/>
                    </a:lnTo>
                    <a:lnTo>
                      <a:pt x="388" y="131"/>
                    </a:lnTo>
                    <a:lnTo>
                      <a:pt x="389" y="131"/>
                    </a:lnTo>
                    <a:lnTo>
                      <a:pt x="391" y="131"/>
                    </a:lnTo>
                    <a:lnTo>
                      <a:pt x="392" y="131"/>
                    </a:lnTo>
                    <a:lnTo>
                      <a:pt x="392" y="133"/>
                    </a:lnTo>
                    <a:lnTo>
                      <a:pt x="393" y="132"/>
                    </a:lnTo>
                    <a:lnTo>
                      <a:pt x="392" y="126"/>
                    </a:lnTo>
                    <a:lnTo>
                      <a:pt x="392" y="1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9" name="Freeform 58">
                <a:extLst>
                  <a:ext uri="{FF2B5EF4-FFF2-40B4-BE49-F238E27FC236}">
                    <a16:creationId xmlns:a16="http://schemas.microsoft.com/office/drawing/2014/main" id="{09A9B4E2-EE93-659D-1DE9-C27B842F66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" y="3083"/>
                <a:ext cx="396" cy="548"/>
              </a:xfrm>
              <a:custGeom>
                <a:avLst/>
                <a:gdLst>
                  <a:gd name="T0" fmla="*/ 386 w 396"/>
                  <a:gd name="T1" fmla="*/ 99 h 548"/>
                  <a:gd name="T2" fmla="*/ 373 w 396"/>
                  <a:gd name="T3" fmla="*/ 83 h 548"/>
                  <a:gd name="T4" fmla="*/ 353 w 396"/>
                  <a:gd name="T5" fmla="*/ 62 h 548"/>
                  <a:gd name="T6" fmla="*/ 327 w 396"/>
                  <a:gd name="T7" fmla="*/ 55 h 548"/>
                  <a:gd name="T8" fmla="*/ 323 w 396"/>
                  <a:gd name="T9" fmla="*/ 43 h 548"/>
                  <a:gd name="T10" fmla="*/ 298 w 396"/>
                  <a:gd name="T11" fmla="*/ 37 h 548"/>
                  <a:gd name="T12" fmla="*/ 292 w 396"/>
                  <a:gd name="T13" fmla="*/ 25 h 548"/>
                  <a:gd name="T14" fmla="*/ 288 w 396"/>
                  <a:gd name="T15" fmla="*/ 13 h 548"/>
                  <a:gd name="T16" fmla="*/ 276 w 396"/>
                  <a:gd name="T17" fmla="*/ 2 h 548"/>
                  <a:gd name="T18" fmla="*/ 261 w 396"/>
                  <a:gd name="T19" fmla="*/ 0 h 548"/>
                  <a:gd name="T20" fmla="*/ 256 w 396"/>
                  <a:gd name="T21" fmla="*/ 17 h 548"/>
                  <a:gd name="T22" fmla="*/ 243 w 396"/>
                  <a:gd name="T23" fmla="*/ 22 h 548"/>
                  <a:gd name="T24" fmla="*/ 230 w 396"/>
                  <a:gd name="T25" fmla="*/ 38 h 548"/>
                  <a:gd name="T26" fmla="*/ 222 w 396"/>
                  <a:gd name="T27" fmla="*/ 29 h 548"/>
                  <a:gd name="T28" fmla="*/ 206 w 396"/>
                  <a:gd name="T29" fmla="*/ 23 h 548"/>
                  <a:gd name="T30" fmla="*/ 193 w 396"/>
                  <a:gd name="T31" fmla="*/ 30 h 548"/>
                  <a:gd name="T32" fmla="*/ 175 w 396"/>
                  <a:gd name="T33" fmla="*/ 43 h 548"/>
                  <a:gd name="T34" fmla="*/ 164 w 396"/>
                  <a:gd name="T35" fmla="*/ 57 h 548"/>
                  <a:gd name="T36" fmla="*/ 147 w 396"/>
                  <a:gd name="T37" fmla="*/ 61 h 548"/>
                  <a:gd name="T38" fmla="*/ 124 w 396"/>
                  <a:gd name="T39" fmla="*/ 54 h 548"/>
                  <a:gd name="T40" fmla="*/ 104 w 396"/>
                  <a:gd name="T41" fmla="*/ 51 h 548"/>
                  <a:gd name="T42" fmla="*/ 82 w 396"/>
                  <a:gd name="T43" fmla="*/ 67 h 548"/>
                  <a:gd name="T44" fmla="*/ 61 w 396"/>
                  <a:gd name="T45" fmla="*/ 60 h 548"/>
                  <a:gd name="T46" fmla="*/ 30 w 396"/>
                  <a:gd name="T47" fmla="*/ 83 h 548"/>
                  <a:gd name="T48" fmla="*/ 21 w 396"/>
                  <a:gd name="T49" fmla="*/ 106 h 548"/>
                  <a:gd name="T50" fmla="*/ 18 w 396"/>
                  <a:gd name="T51" fmla="*/ 153 h 548"/>
                  <a:gd name="T52" fmla="*/ 26 w 396"/>
                  <a:gd name="T53" fmla="*/ 178 h 548"/>
                  <a:gd name="T54" fmla="*/ 36 w 396"/>
                  <a:gd name="T55" fmla="*/ 205 h 548"/>
                  <a:gd name="T56" fmla="*/ 49 w 396"/>
                  <a:gd name="T57" fmla="*/ 232 h 548"/>
                  <a:gd name="T58" fmla="*/ 53 w 396"/>
                  <a:gd name="T59" fmla="*/ 284 h 548"/>
                  <a:gd name="T60" fmla="*/ 90 w 396"/>
                  <a:gd name="T61" fmla="*/ 331 h 548"/>
                  <a:gd name="T62" fmla="*/ 118 w 396"/>
                  <a:gd name="T63" fmla="*/ 336 h 548"/>
                  <a:gd name="T64" fmla="*/ 144 w 396"/>
                  <a:gd name="T65" fmla="*/ 377 h 548"/>
                  <a:gd name="T66" fmla="*/ 160 w 396"/>
                  <a:gd name="T67" fmla="*/ 412 h 548"/>
                  <a:gd name="T68" fmla="*/ 204 w 396"/>
                  <a:gd name="T69" fmla="*/ 463 h 548"/>
                  <a:gd name="T70" fmla="*/ 224 w 396"/>
                  <a:gd name="T71" fmla="*/ 492 h 548"/>
                  <a:gd name="T72" fmla="*/ 236 w 396"/>
                  <a:gd name="T73" fmla="*/ 537 h 548"/>
                  <a:gd name="T74" fmla="*/ 259 w 396"/>
                  <a:gd name="T75" fmla="*/ 532 h 548"/>
                  <a:gd name="T76" fmla="*/ 275 w 396"/>
                  <a:gd name="T77" fmla="*/ 504 h 548"/>
                  <a:gd name="T78" fmla="*/ 282 w 396"/>
                  <a:gd name="T79" fmla="*/ 466 h 548"/>
                  <a:gd name="T80" fmla="*/ 292 w 396"/>
                  <a:gd name="T81" fmla="*/ 462 h 548"/>
                  <a:gd name="T82" fmla="*/ 311 w 396"/>
                  <a:gd name="T83" fmla="*/ 456 h 548"/>
                  <a:gd name="T84" fmla="*/ 320 w 396"/>
                  <a:gd name="T85" fmla="*/ 437 h 548"/>
                  <a:gd name="T86" fmla="*/ 316 w 396"/>
                  <a:gd name="T87" fmla="*/ 421 h 548"/>
                  <a:gd name="T88" fmla="*/ 327 w 396"/>
                  <a:gd name="T89" fmla="*/ 411 h 548"/>
                  <a:gd name="T90" fmla="*/ 331 w 396"/>
                  <a:gd name="T91" fmla="*/ 396 h 548"/>
                  <a:gd name="T92" fmla="*/ 343 w 396"/>
                  <a:gd name="T93" fmla="*/ 381 h 548"/>
                  <a:gd name="T94" fmla="*/ 350 w 396"/>
                  <a:gd name="T95" fmla="*/ 364 h 548"/>
                  <a:gd name="T96" fmla="*/ 345 w 396"/>
                  <a:gd name="T97" fmla="*/ 347 h 548"/>
                  <a:gd name="T98" fmla="*/ 351 w 396"/>
                  <a:gd name="T99" fmla="*/ 331 h 548"/>
                  <a:gd name="T100" fmla="*/ 349 w 396"/>
                  <a:gd name="T101" fmla="*/ 321 h 548"/>
                  <a:gd name="T102" fmla="*/ 351 w 396"/>
                  <a:gd name="T103" fmla="*/ 309 h 548"/>
                  <a:gd name="T104" fmla="*/ 348 w 396"/>
                  <a:gd name="T105" fmla="*/ 298 h 548"/>
                  <a:gd name="T106" fmla="*/ 348 w 396"/>
                  <a:gd name="T107" fmla="*/ 277 h 548"/>
                  <a:gd name="T108" fmla="*/ 349 w 396"/>
                  <a:gd name="T109" fmla="*/ 238 h 548"/>
                  <a:gd name="T110" fmla="*/ 342 w 396"/>
                  <a:gd name="T111" fmla="*/ 232 h 548"/>
                  <a:gd name="T112" fmla="*/ 344 w 396"/>
                  <a:gd name="T113" fmla="*/ 218 h 548"/>
                  <a:gd name="T114" fmla="*/ 344 w 396"/>
                  <a:gd name="T115" fmla="*/ 212 h 548"/>
                  <a:gd name="T116" fmla="*/ 347 w 396"/>
                  <a:gd name="T117" fmla="*/ 195 h 548"/>
                  <a:gd name="T118" fmla="*/ 367 w 396"/>
                  <a:gd name="T119" fmla="*/ 195 h 548"/>
                  <a:gd name="T120" fmla="*/ 379 w 396"/>
                  <a:gd name="T121" fmla="*/ 180 h 548"/>
                  <a:gd name="T122" fmla="*/ 381 w 396"/>
                  <a:gd name="T123" fmla="*/ 161 h 548"/>
                  <a:gd name="T124" fmla="*/ 386 w 396"/>
                  <a:gd name="T125" fmla="*/ 131 h 54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96"/>
                  <a:gd name="T190" fmla="*/ 0 h 548"/>
                  <a:gd name="T191" fmla="*/ 396 w 396"/>
                  <a:gd name="T192" fmla="*/ 548 h 548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96" h="548">
                    <a:moveTo>
                      <a:pt x="392" y="121"/>
                    </a:moveTo>
                    <a:lnTo>
                      <a:pt x="392" y="118"/>
                    </a:lnTo>
                    <a:lnTo>
                      <a:pt x="392" y="116"/>
                    </a:lnTo>
                    <a:lnTo>
                      <a:pt x="392" y="114"/>
                    </a:lnTo>
                    <a:lnTo>
                      <a:pt x="391" y="113"/>
                    </a:lnTo>
                    <a:lnTo>
                      <a:pt x="392" y="111"/>
                    </a:lnTo>
                    <a:lnTo>
                      <a:pt x="392" y="110"/>
                    </a:lnTo>
                    <a:lnTo>
                      <a:pt x="392" y="107"/>
                    </a:lnTo>
                    <a:lnTo>
                      <a:pt x="393" y="105"/>
                    </a:lnTo>
                    <a:lnTo>
                      <a:pt x="396" y="104"/>
                    </a:lnTo>
                    <a:lnTo>
                      <a:pt x="392" y="104"/>
                    </a:lnTo>
                    <a:lnTo>
                      <a:pt x="390" y="103"/>
                    </a:lnTo>
                    <a:lnTo>
                      <a:pt x="386" y="99"/>
                    </a:lnTo>
                    <a:lnTo>
                      <a:pt x="384" y="96"/>
                    </a:lnTo>
                    <a:lnTo>
                      <a:pt x="379" y="95"/>
                    </a:lnTo>
                    <a:lnTo>
                      <a:pt x="378" y="94"/>
                    </a:lnTo>
                    <a:lnTo>
                      <a:pt x="375" y="95"/>
                    </a:lnTo>
                    <a:lnTo>
                      <a:pt x="373" y="94"/>
                    </a:lnTo>
                    <a:lnTo>
                      <a:pt x="373" y="93"/>
                    </a:lnTo>
                    <a:lnTo>
                      <a:pt x="375" y="94"/>
                    </a:lnTo>
                    <a:lnTo>
                      <a:pt x="376" y="89"/>
                    </a:lnTo>
                    <a:lnTo>
                      <a:pt x="376" y="87"/>
                    </a:lnTo>
                    <a:lnTo>
                      <a:pt x="376" y="86"/>
                    </a:lnTo>
                    <a:lnTo>
                      <a:pt x="376" y="83"/>
                    </a:lnTo>
                    <a:lnTo>
                      <a:pt x="373" y="83"/>
                    </a:lnTo>
                    <a:lnTo>
                      <a:pt x="371" y="82"/>
                    </a:lnTo>
                    <a:lnTo>
                      <a:pt x="369" y="81"/>
                    </a:lnTo>
                    <a:lnTo>
                      <a:pt x="365" y="81"/>
                    </a:lnTo>
                    <a:lnTo>
                      <a:pt x="363" y="82"/>
                    </a:lnTo>
                    <a:lnTo>
                      <a:pt x="363" y="79"/>
                    </a:lnTo>
                    <a:lnTo>
                      <a:pt x="362" y="75"/>
                    </a:lnTo>
                    <a:lnTo>
                      <a:pt x="360" y="74"/>
                    </a:lnTo>
                    <a:lnTo>
                      <a:pt x="359" y="75"/>
                    </a:lnTo>
                    <a:lnTo>
                      <a:pt x="359" y="74"/>
                    </a:lnTo>
                    <a:lnTo>
                      <a:pt x="357" y="71"/>
                    </a:lnTo>
                    <a:lnTo>
                      <a:pt x="356" y="71"/>
                    </a:lnTo>
                    <a:lnTo>
                      <a:pt x="356" y="65"/>
                    </a:lnTo>
                    <a:lnTo>
                      <a:pt x="354" y="64"/>
                    </a:lnTo>
                    <a:lnTo>
                      <a:pt x="353" y="62"/>
                    </a:lnTo>
                    <a:lnTo>
                      <a:pt x="351" y="62"/>
                    </a:lnTo>
                    <a:lnTo>
                      <a:pt x="350" y="61"/>
                    </a:lnTo>
                    <a:lnTo>
                      <a:pt x="349" y="63"/>
                    </a:lnTo>
                    <a:lnTo>
                      <a:pt x="348" y="63"/>
                    </a:lnTo>
                    <a:lnTo>
                      <a:pt x="346" y="62"/>
                    </a:lnTo>
                    <a:lnTo>
                      <a:pt x="346" y="63"/>
                    </a:lnTo>
                    <a:lnTo>
                      <a:pt x="346" y="64"/>
                    </a:lnTo>
                    <a:lnTo>
                      <a:pt x="339" y="64"/>
                    </a:lnTo>
                    <a:lnTo>
                      <a:pt x="337" y="63"/>
                    </a:lnTo>
                    <a:lnTo>
                      <a:pt x="329" y="61"/>
                    </a:lnTo>
                    <a:lnTo>
                      <a:pt x="329" y="60"/>
                    </a:lnTo>
                    <a:lnTo>
                      <a:pt x="328" y="59"/>
                    </a:lnTo>
                    <a:lnTo>
                      <a:pt x="328" y="58"/>
                    </a:lnTo>
                    <a:lnTo>
                      <a:pt x="326" y="56"/>
                    </a:lnTo>
                    <a:lnTo>
                      <a:pt x="327" y="55"/>
                    </a:lnTo>
                    <a:lnTo>
                      <a:pt x="326" y="54"/>
                    </a:lnTo>
                    <a:lnTo>
                      <a:pt x="324" y="53"/>
                    </a:lnTo>
                    <a:lnTo>
                      <a:pt x="323" y="51"/>
                    </a:lnTo>
                    <a:lnTo>
                      <a:pt x="322" y="51"/>
                    </a:lnTo>
                    <a:lnTo>
                      <a:pt x="321" y="50"/>
                    </a:lnTo>
                    <a:lnTo>
                      <a:pt x="318" y="50"/>
                    </a:lnTo>
                    <a:lnTo>
                      <a:pt x="317" y="47"/>
                    </a:lnTo>
                    <a:lnTo>
                      <a:pt x="315" y="47"/>
                    </a:lnTo>
                    <a:lnTo>
                      <a:pt x="313" y="46"/>
                    </a:lnTo>
                    <a:lnTo>
                      <a:pt x="314" y="42"/>
                    </a:lnTo>
                    <a:lnTo>
                      <a:pt x="315" y="43"/>
                    </a:lnTo>
                    <a:lnTo>
                      <a:pt x="316" y="42"/>
                    </a:lnTo>
                    <a:lnTo>
                      <a:pt x="320" y="42"/>
                    </a:lnTo>
                    <a:lnTo>
                      <a:pt x="323" y="44"/>
                    </a:lnTo>
                    <a:lnTo>
                      <a:pt x="323" y="43"/>
                    </a:lnTo>
                    <a:lnTo>
                      <a:pt x="321" y="42"/>
                    </a:lnTo>
                    <a:lnTo>
                      <a:pt x="320" y="42"/>
                    </a:lnTo>
                    <a:lnTo>
                      <a:pt x="319" y="37"/>
                    </a:lnTo>
                    <a:lnTo>
                      <a:pt x="318" y="37"/>
                    </a:lnTo>
                    <a:lnTo>
                      <a:pt x="313" y="37"/>
                    </a:lnTo>
                    <a:lnTo>
                      <a:pt x="311" y="40"/>
                    </a:lnTo>
                    <a:lnTo>
                      <a:pt x="309" y="40"/>
                    </a:lnTo>
                    <a:lnTo>
                      <a:pt x="308" y="38"/>
                    </a:lnTo>
                    <a:lnTo>
                      <a:pt x="308" y="37"/>
                    </a:lnTo>
                    <a:lnTo>
                      <a:pt x="308" y="36"/>
                    </a:lnTo>
                    <a:lnTo>
                      <a:pt x="307" y="36"/>
                    </a:lnTo>
                    <a:lnTo>
                      <a:pt x="306" y="34"/>
                    </a:lnTo>
                    <a:lnTo>
                      <a:pt x="305" y="36"/>
                    </a:lnTo>
                    <a:lnTo>
                      <a:pt x="299" y="34"/>
                    </a:lnTo>
                    <a:lnTo>
                      <a:pt x="298" y="37"/>
                    </a:lnTo>
                    <a:lnTo>
                      <a:pt x="296" y="37"/>
                    </a:lnTo>
                    <a:lnTo>
                      <a:pt x="295" y="40"/>
                    </a:lnTo>
                    <a:lnTo>
                      <a:pt x="294" y="40"/>
                    </a:lnTo>
                    <a:lnTo>
                      <a:pt x="293" y="39"/>
                    </a:lnTo>
                    <a:lnTo>
                      <a:pt x="293" y="36"/>
                    </a:lnTo>
                    <a:lnTo>
                      <a:pt x="288" y="36"/>
                    </a:lnTo>
                    <a:lnTo>
                      <a:pt x="286" y="36"/>
                    </a:lnTo>
                    <a:lnTo>
                      <a:pt x="286" y="34"/>
                    </a:lnTo>
                    <a:lnTo>
                      <a:pt x="288" y="32"/>
                    </a:lnTo>
                    <a:lnTo>
                      <a:pt x="288" y="30"/>
                    </a:lnTo>
                    <a:lnTo>
                      <a:pt x="290" y="29"/>
                    </a:lnTo>
                    <a:lnTo>
                      <a:pt x="291" y="29"/>
                    </a:lnTo>
                    <a:lnTo>
                      <a:pt x="290" y="27"/>
                    </a:lnTo>
                    <a:lnTo>
                      <a:pt x="292" y="25"/>
                    </a:lnTo>
                    <a:lnTo>
                      <a:pt x="292" y="23"/>
                    </a:lnTo>
                    <a:lnTo>
                      <a:pt x="294" y="24"/>
                    </a:lnTo>
                    <a:lnTo>
                      <a:pt x="296" y="24"/>
                    </a:lnTo>
                    <a:lnTo>
                      <a:pt x="297" y="20"/>
                    </a:lnTo>
                    <a:lnTo>
                      <a:pt x="296" y="17"/>
                    </a:lnTo>
                    <a:lnTo>
                      <a:pt x="294" y="16"/>
                    </a:lnTo>
                    <a:lnTo>
                      <a:pt x="294" y="13"/>
                    </a:lnTo>
                    <a:lnTo>
                      <a:pt x="292" y="15"/>
                    </a:lnTo>
                    <a:lnTo>
                      <a:pt x="291" y="13"/>
                    </a:lnTo>
                    <a:lnTo>
                      <a:pt x="292" y="10"/>
                    </a:lnTo>
                    <a:lnTo>
                      <a:pt x="291" y="9"/>
                    </a:lnTo>
                    <a:lnTo>
                      <a:pt x="291" y="12"/>
                    </a:lnTo>
                    <a:lnTo>
                      <a:pt x="288" y="13"/>
                    </a:lnTo>
                    <a:lnTo>
                      <a:pt x="287" y="13"/>
                    </a:lnTo>
                    <a:lnTo>
                      <a:pt x="286" y="13"/>
                    </a:lnTo>
                    <a:lnTo>
                      <a:pt x="283" y="14"/>
                    </a:lnTo>
                    <a:lnTo>
                      <a:pt x="282" y="13"/>
                    </a:lnTo>
                    <a:lnTo>
                      <a:pt x="282" y="7"/>
                    </a:lnTo>
                    <a:lnTo>
                      <a:pt x="281" y="7"/>
                    </a:lnTo>
                    <a:lnTo>
                      <a:pt x="280" y="7"/>
                    </a:lnTo>
                    <a:lnTo>
                      <a:pt x="279" y="7"/>
                    </a:lnTo>
                    <a:lnTo>
                      <a:pt x="280" y="4"/>
                    </a:lnTo>
                    <a:lnTo>
                      <a:pt x="278" y="3"/>
                    </a:lnTo>
                    <a:lnTo>
                      <a:pt x="278" y="2"/>
                    </a:lnTo>
                    <a:lnTo>
                      <a:pt x="280" y="2"/>
                    </a:lnTo>
                    <a:lnTo>
                      <a:pt x="279" y="1"/>
                    </a:lnTo>
                    <a:lnTo>
                      <a:pt x="277" y="2"/>
                    </a:lnTo>
                    <a:lnTo>
                      <a:pt x="276" y="2"/>
                    </a:lnTo>
                    <a:lnTo>
                      <a:pt x="275" y="3"/>
                    </a:lnTo>
                    <a:lnTo>
                      <a:pt x="275" y="6"/>
                    </a:lnTo>
                    <a:lnTo>
                      <a:pt x="273" y="6"/>
                    </a:lnTo>
                    <a:lnTo>
                      <a:pt x="272" y="7"/>
                    </a:lnTo>
                    <a:lnTo>
                      <a:pt x="270" y="7"/>
                    </a:lnTo>
                    <a:lnTo>
                      <a:pt x="271" y="3"/>
                    </a:lnTo>
                    <a:lnTo>
                      <a:pt x="271" y="0"/>
                    </a:lnTo>
                    <a:lnTo>
                      <a:pt x="270" y="0"/>
                    </a:lnTo>
                    <a:lnTo>
                      <a:pt x="270" y="1"/>
                    </a:lnTo>
                    <a:lnTo>
                      <a:pt x="265" y="0"/>
                    </a:lnTo>
                    <a:lnTo>
                      <a:pt x="264" y="0"/>
                    </a:lnTo>
                    <a:lnTo>
                      <a:pt x="264" y="1"/>
                    </a:lnTo>
                    <a:lnTo>
                      <a:pt x="263" y="2"/>
                    </a:lnTo>
                    <a:lnTo>
                      <a:pt x="262" y="1"/>
                    </a:lnTo>
                    <a:lnTo>
                      <a:pt x="261" y="0"/>
                    </a:lnTo>
                    <a:lnTo>
                      <a:pt x="259" y="0"/>
                    </a:lnTo>
                    <a:lnTo>
                      <a:pt x="261" y="1"/>
                    </a:lnTo>
                    <a:lnTo>
                      <a:pt x="261" y="2"/>
                    </a:lnTo>
                    <a:lnTo>
                      <a:pt x="257" y="9"/>
                    </a:lnTo>
                    <a:lnTo>
                      <a:pt x="258" y="11"/>
                    </a:lnTo>
                    <a:lnTo>
                      <a:pt x="261" y="10"/>
                    </a:lnTo>
                    <a:lnTo>
                      <a:pt x="261" y="12"/>
                    </a:lnTo>
                    <a:lnTo>
                      <a:pt x="262" y="12"/>
                    </a:lnTo>
                    <a:lnTo>
                      <a:pt x="262" y="14"/>
                    </a:lnTo>
                    <a:lnTo>
                      <a:pt x="261" y="15"/>
                    </a:lnTo>
                    <a:lnTo>
                      <a:pt x="260" y="18"/>
                    </a:lnTo>
                    <a:lnTo>
                      <a:pt x="257" y="19"/>
                    </a:lnTo>
                    <a:lnTo>
                      <a:pt x="256" y="17"/>
                    </a:lnTo>
                    <a:lnTo>
                      <a:pt x="255" y="17"/>
                    </a:lnTo>
                    <a:lnTo>
                      <a:pt x="256" y="20"/>
                    </a:lnTo>
                    <a:lnTo>
                      <a:pt x="256" y="21"/>
                    </a:lnTo>
                    <a:lnTo>
                      <a:pt x="254" y="20"/>
                    </a:lnTo>
                    <a:lnTo>
                      <a:pt x="252" y="21"/>
                    </a:lnTo>
                    <a:lnTo>
                      <a:pt x="249" y="20"/>
                    </a:lnTo>
                    <a:lnTo>
                      <a:pt x="249" y="23"/>
                    </a:lnTo>
                    <a:lnTo>
                      <a:pt x="247" y="23"/>
                    </a:lnTo>
                    <a:lnTo>
                      <a:pt x="247" y="20"/>
                    </a:lnTo>
                    <a:lnTo>
                      <a:pt x="246" y="23"/>
                    </a:lnTo>
                    <a:lnTo>
                      <a:pt x="245" y="22"/>
                    </a:lnTo>
                    <a:lnTo>
                      <a:pt x="244" y="20"/>
                    </a:lnTo>
                    <a:lnTo>
                      <a:pt x="242" y="20"/>
                    </a:lnTo>
                    <a:lnTo>
                      <a:pt x="243" y="22"/>
                    </a:lnTo>
                    <a:lnTo>
                      <a:pt x="242" y="23"/>
                    </a:lnTo>
                    <a:lnTo>
                      <a:pt x="241" y="24"/>
                    </a:lnTo>
                    <a:lnTo>
                      <a:pt x="242" y="24"/>
                    </a:lnTo>
                    <a:lnTo>
                      <a:pt x="244" y="26"/>
                    </a:lnTo>
                    <a:lnTo>
                      <a:pt x="242" y="26"/>
                    </a:lnTo>
                    <a:lnTo>
                      <a:pt x="244" y="32"/>
                    </a:lnTo>
                    <a:lnTo>
                      <a:pt x="244" y="33"/>
                    </a:lnTo>
                    <a:lnTo>
                      <a:pt x="242" y="33"/>
                    </a:lnTo>
                    <a:lnTo>
                      <a:pt x="239" y="37"/>
                    </a:lnTo>
                    <a:lnTo>
                      <a:pt x="239" y="41"/>
                    </a:lnTo>
                    <a:lnTo>
                      <a:pt x="241" y="44"/>
                    </a:lnTo>
                    <a:lnTo>
                      <a:pt x="239" y="45"/>
                    </a:lnTo>
                    <a:lnTo>
                      <a:pt x="237" y="46"/>
                    </a:lnTo>
                    <a:lnTo>
                      <a:pt x="233" y="43"/>
                    </a:lnTo>
                    <a:lnTo>
                      <a:pt x="230" y="38"/>
                    </a:lnTo>
                    <a:lnTo>
                      <a:pt x="228" y="36"/>
                    </a:lnTo>
                    <a:lnTo>
                      <a:pt x="228" y="35"/>
                    </a:lnTo>
                    <a:lnTo>
                      <a:pt x="228" y="33"/>
                    </a:lnTo>
                    <a:lnTo>
                      <a:pt x="227" y="37"/>
                    </a:lnTo>
                    <a:lnTo>
                      <a:pt x="226" y="36"/>
                    </a:lnTo>
                    <a:lnTo>
                      <a:pt x="226" y="34"/>
                    </a:lnTo>
                    <a:lnTo>
                      <a:pt x="226" y="33"/>
                    </a:lnTo>
                    <a:lnTo>
                      <a:pt x="225" y="33"/>
                    </a:lnTo>
                    <a:lnTo>
                      <a:pt x="225" y="32"/>
                    </a:lnTo>
                    <a:lnTo>
                      <a:pt x="224" y="32"/>
                    </a:lnTo>
                    <a:lnTo>
                      <a:pt x="223" y="30"/>
                    </a:lnTo>
                    <a:lnTo>
                      <a:pt x="223" y="31"/>
                    </a:lnTo>
                    <a:lnTo>
                      <a:pt x="222" y="31"/>
                    </a:lnTo>
                    <a:lnTo>
                      <a:pt x="222" y="29"/>
                    </a:lnTo>
                    <a:lnTo>
                      <a:pt x="221" y="29"/>
                    </a:lnTo>
                    <a:lnTo>
                      <a:pt x="218" y="28"/>
                    </a:lnTo>
                    <a:lnTo>
                      <a:pt x="219" y="28"/>
                    </a:lnTo>
                    <a:lnTo>
                      <a:pt x="219" y="26"/>
                    </a:lnTo>
                    <a:lnTo>
                      <a:pt x="216" y="28"/>
                    </a:lnTo>
                    <a:lnTo>
                      <a:pt x="214" y="27"/>
                    </a:lnTo>
                    <a:lnTo>
                      <a:pt x="214" y="28"/>
                    </a:lnTo>
                    <a:lnTo>
                      <a:pt x="213" y="26"/>
                    </a:lnTo>
                    <a:lnTo>
                      <a:pt x="211" y="28"/>
                    </a:lnTo>
                    <a:lnTo>
                      <a:pt x="209" y="25"/>
                    </a:lnTo>
                    <a:lnTo>
                      <a:pt x="208" y="26"/>
                    </a:lnTo>
                    <a:lnTo>
                      <a:pt x="207" y="25"/>
                    </a:lnTo>
                    <a:lnTo>
                      <a:pt x="207" y="23"/>
                    </a:lnTo>
                    <a:lnTo>
                      <a:pt x="206" y="23"/>
                    </a:lnTo>
                    <a:lnTo>
                      <a:pt x="206" y="20"/>
                    </a:lnTo>
                    <a:lnTo>
                      <a:pt x="204" y="23"/>
                    </a:lnTo>
                    <a:lnTo>
                      <a:pt x="203" y="23"/>
                    </a:lnTo>
                    <a:lnTo>
                      <a:pt x="201" y="24"/>
                    </a:lnTo>
                    <a:lnTo>
                      <a:pt x="201" y="23"/>
                    </a:lnTo>
                    <a:lnTo>
                      <a:pt x="201" y="24"/>
                    </a:lnTo>
                    <a:lnTo>
                      <a:pt x="201" y="28"/>
                    </a:lnTo>
                    <a:lnTo>
                      <a:pt x="199" y="28"/>
                    </a:lnTo>
                    <a:lnTo>
                      <a:pt x="197" y="26"/>
                    </a:lnTo>
                    <a:lnTo>
                      <a:pt x="196" y="29"/>
                    </a:lnTo>
                    <a:lnTo>
                      <a:pt x="198" y="29"/>
                    </a:lnTo>
                    <a:lnTo>
                      <a:pt x="198" y="30"/>
                    </a:lnTo>
                    <a:lnTo>
                      <a:pt x="196" y="32"/>
                    </a:lnTo>
                    <a:lnTo>
                      <a:pt x="193" y="30"/>
                    </a:lnTo>
                    <a:lnTo>
                      <a:pt x="192" y="31"/>
                    </a:lnTo>
                    <a:lnTo>
                      <a:pt x="191" y="33"/>
                    </a:lnTo>
                    <a:lnTo>
                      <a:pt x="190" y="34"/>
                    </a:lnTo>
                    <a:lnTo>
                      <a:pt x="187" y="33"/>
                    </a:lnTo>
                    <a:lnTo>
                      <a:pt x="187" y="35"/>
                    </a:lnTo>
                    <a:lnTo>
                      <a:pt x="186" y="36"/>
                    </a:lnTo>
                    <a:lnTo>
                      <a:pt x="184" y="36"/>
                    </a:lnTo>
                    <a:lnTo>
                      <a:pt x="182" y="37"/>
                    </a:lnTo>
                    <a:lnTo>
                      <a:pt x="182" y="38"/>
                    </a:lnTo>
                    <a:lnTo>
                      <a:pt x="181" y="40"/>
                    </a:lnTo>
                    <a:lnTo>
                      <a:pt x="180" y="37"/>
                    </a:lnTo>
                    <a:lnTo>
                      <a:pt x="176" y="37"/>
                    </a:lnTo>
                    <a:lnTo>
                      <a:pt x="176" y="43"/>
                    </a:lnTo>
                    <a:lnTo>
                      <a:pt x="175" y="43"/>
                    </a:lnTo>
                    <a:lnTo>
                      <a:pt x="176" y="42"/>
                    </a:lnTo>
                    <a:lnTo>
                      <a:pt x="174" y="41"/>
                    </a:lnTo>
                    <a:lnTo>
                      <a:pt x="172" y="43"/>
                    </a:lnTo>
                    <a:lnTo>
                      <a:pt x="169" y="42"/>
                    </a:lnTo>
                    <a:lnTo>
                      <a:pt x="166" y="42"/>
                    </a:lnTo>
                    <a:lnTo>
                      <a:pt x="164" y="43"/>
                    </a:lnTo>
                    <a:lnTo>
                      <a:pt x="163" y="46"/>
                    </a:lnTo>
                    <a:lnTo>
                      <a:pt x="166" y="51"/>
                    </a:lnTo>
                    <a:lnTo>
                      <a:pt x="166" y="53"/>
                    </a:lnTo>
                    <a:lnTo>
                      <a:pt x="164" y="52"/>
                    </a:lnTo>
                    <a:lnTo>
                      <a:pt x="163" y="53"/>
                    </a:lnTo>
                    <a:lnTo>
                      <a:pt x="164" y="53"/>
                    </a:lnTo>
                    <a:lnTo>
                      <a:pt x="163" y="54"/>
                    </a:lnTo>
                    <a:lnTo>
                      <a:pt x="164" y="55"/>
                    </a:lnTo>
                    <a:lnTo>
                      <a:pt x="164" y="57"/>
                    </a:lnTo>
                    <a:lnTo>
                      <a:pt x="163" y="59"/>
                    </a:lnTo>
                    <a:lnTo>
                      <a:pt x="162" y="60"/>
                    </a:lnTo>
                    <a:lnTo>
                      <a:pt x="161" y="59"/>
                    </a:lnTo>
                    <a:lnTo>
                      <a:pt x="160" y="60"/>
                    </a:lnTo>
                    <a:lnTo>
                      <a:pt x="158" y="61"/>
                    </a:lnTo>
                    <a:lnTo>
                      <a:pt x="156" y="63"/>
                    </a:lnTo>
                    <a:lnTo>
                      <a:pt x="155" y="63"/>
                    </a:lnTo>
                    <a:lnTo>
                      <a:pt x="155" y="64"/>
                    </a:lnTo>
                    <a:lnTo>
                      <a:pt x="153" y="63"/>
                    </a:lnTo>
                    <a:lnTo>
                      <a:pt x="153" y="66"/>
                    </a:lnTo>
                    <a:lnTo>
                      <a:pt x="152" y="66"/>
                    </a:lnTo>
                    <a:lnTo>
                      <a:pt x="148" y="63"/>
                    </a:lnTo>
                    <a:lnTo>
                      <a:pt x="147" y="61"/>
                    </a:lnTo>
                    <a:lnTo>
                      <a:pt x="147" y="60"/>
                    </a:lnTo>
                    <a:lnTo>
                      <a:pt x="145" y="59"/>
                    </a:lnTo>
                    <a:lnTo>
                      <a:pt x="143" y="58"/>
                    </a:lnTo>
                    <a:lnTo>
                      <a:pt x="139" y="62"/>
                    </a:lnTo>
                    <a:lnTo>
                      <a:pt x="136" y="60"/>
                    </a:lnTo>
                    <a:lnTo>
                      <a:pt x="133" y="60"/>
                    </a:lnTo>
                    <a:lnTo>
                      <a:pt x="132" y="61"/>
                    </a:lnTo>
                    <a:lnTo>
                      <a:pt x="132" y="58"/>
                    </a:lnTo>
                    <a:lnTo>
                      <a:pt x="130" y="55"/>
                    </a:lnTo>
                    <a:lnTo>
                      <a:pt x="127" y="57"/>
                    </a:lnTo>
                    <a:lnTo>
                      <a:pt x="125" y="55"/>
                    </a:lnTo>
                    <a:lnTo>
                      <a:pt x="125" y="57"/>
                    </a:lnTo>
                    <a:lnTo>
                      <a:pt x="124" y="57"/>
                    </a:lnTo>
                    <a:lnTo>
                      <a:pt x="123" y="55"/>
                    </a:lnTo>
                    <a:lnTo>
                      <a:pt x="124" y="54"/>
                    </a:lnTo>
                    <a:lnTo>
                      <a:pt x="123" y="54"/>
                    </a:lnTo>
                    <a:lnTo>
                      <a:pt x="123" y="53"/>
                    </a:lnTo>
                    <a:lnTo>
                      <a:pt x="122" y="52"/>
                    </a:lnTo>
                    <a:lnTo>
                      <a:pt x="120" y="52"/>
                    </a:lnTo>
                    <a:lnTo>
                      <a:pt x="119" y="50"/>
                    </a:lnTo>
                    <a:lnTo>
                      <a:pt x="117" y="50"/>
                    </a:lnTo>
                    <a:lnTo>
                      <a:pt x="116" y="52"/>
                    </a:lnTo>
                    <a:lnTo>
                      <a:pt x="114" y="53"/>
                    </a:lnTo>
                    <a:lnTo>
                      <a:pt x="112" y="54"/>
                    </a:lnTo>
                    <a:lnTo>
                      <a:pt x="111" y="53"/>
                    </a:lnTo>
                    <a:lnTo>
                      <a:pt x="110" y="51"/>
                    </a:lnTo>
                    <a:lnTo>
                      <a:pt x="109" y="52"/>
                    </a:lnTo>
                    <a:lnTo>
                      <a:pt x="109" y="53"/>
                    </a:lnTo>
                    <a:lnTo>
                      <a:pt x="106" y="53"/>
                    </a:lnTo>
                    <a:lnTo>
                      <a:pt x="104" y="51"/>
                    </a:lnTo>
                    <a:lnTo>
                      <a:pt x="104" y="53"/>
                    </a:lnTo>
                    <a:lnTo>
                      <a:pt x="100" y="56"/>
                    </a:lnTo>
                    <a:lnTo>
                      <a:pt x="98" y="56"/>
                    </a:lnTo>
                    <a:lnTo>
                      <a:pt x="96" y="54"/>
                    </a:lnTo>
                    <a:lnTo>
                      <a:pt x="93" y="53"/>
                    </a:lnTo>
                    <a:lnTo>
                      <a:pt x="92" y="53"/>
                    </a:lnTo>
                    <a:lnTo>
                      <a:pt x="94" y="56"/>
                    </a:lnTo>
                    <a:lnTo>
                      <a:pt x="94" y="60"/>
                    </a:lnTo>
                    <a:lnTo>
                      <a:pt x="89" y="59"/>
                    </a:lnTo>
                    <a:lnTo>
                      <a:pt x="84" y="60"/>
                    </a:lnTo>
                    <a:lnTo>
                      <a:pt x="85" y="62"/>
                    </a:lnTo>
                    <a:lnTo>
                      <a:pt x="85" y="66"/>
                    </a:lnTo>
                    <a:lnTo>
                      <a:pt x="85" y="68"/>
                    </a:lnTo>
                    <a:lnTo>
                      <a:pt x="82" y="67"/>
                    </a:lnTo>
                    <a:lnTo>
                      <a:pt x="82" y="66"/>
                    </a:lnTo>
                    <a:lnTo>
                      <a:pt x="82" y="65"/>
                    </a:lnTo>
                    <a:lnTo>
                      <a:pt x="82" y="59"/>
                    </a:lnTo>
                    <a:lnTo>
                      <a:pt x="80" y="57"/>
                    </a:lnTo>
                    <a:lnTo>
                      <a:pt x="76" y="54"/>
                    </a:lnTo>
                    <a:lnTo>
                      <a:pt x="71" y="54"/>
                    </a:lnTo>
                    <a:lnTo>
                      <a:pt x="71" y="56"/>
                    </a:lnTo>
                    <a:lnTo>
                      <a:pt x="70" y="55"/>
                    </a:lnTo>
                    <a:lnTo>
                      <a:pt x="70" y="57"/>
                    </a:lnTo>
                    <a:lnTo>
                      <a:pt x="68" y="57"/>
                    </a:lnTo>
                    <a:lnTo>
                      <a:pt x="66" y="57"/>
                    </a:lnTo>
                    <a:lnTo>
                      <a:pt x="66" y="62"/>
                    </a:lnTo>
                    <a:lnTo>
                      <a:pt x="63" y="60"/>
                    </a:lnTo>
                    <a:lnTo>
                      <a:pt x="62" y="63"/>
                    </a:lnTo>
                    <a:lnTo>
                      <a:pt x="61" y="60"/>
                    </a:lnTo>
                    <a:lnTo>
                      <a:pt x="58" y="57"/>
                    </a:lnTo>
                    <a:lnTo>
                      <a:pt x="54" y="57"/>
                    </a:lnTo>
                    <a:lnTo>
                      <a:pt x="50" y="55"/>
                    </a:lnTo>
                    <a:lnTo>
                      <a:pt x="49" y="59"/>
                    </a:lnTo>
                    <a:lnTo>
                      <a:pt x="47" y="61"/>
                    </a:lnTo>
                    <a:lnTo>
                      <a:pt x="46" y="61"/>
                    </a:lnTo>
                    <a:lnTo>
                      <a:pt x="41" y="64"/>
                    </a:lnTo>
                    <a:lnTo>
                      <a:pt x="40" y="66"/>
                    </a:lnTo>
                    <a:lnTo>
                      <a:pt x="40" y="70"/>
                    </a:lnTo>
                    <a:lnTo>
                      <a:pt x="38" y="72"/>
                    </a:lnTo>
                    <a:lnTo>
                      <a:pt x="37" y="75"/>
                    </a:lnTo>
                    <a:lnTo>
                      <a:pt x="33" y="75"/>
                    </a:lnTo>
                    <a:lnTo>
                      <a:pt x="32" y="84"/>
                    </a:lnTo>
                    <a:lnTo>
                      <a:pt x="31" y="83"/>
                    </a:lnTo>
                    <a:lnTo>
                      <a:pt x="30" y="83"/>
                    </a:lnTo>
                    <a:lnTo>
                      <a:pt x="29" y="81"/>
                    </a:lnTo>
                    <a:lnTo>
                      <a:pt x="28" y="81"/>
                    </a:lnTo>
                    <a:lnTo>
                      <a:pt x="26" y="83"/>
                    </a:lnTo>
                    <a:lnTo>
                      <a:pt x="24" y="85"/>
                    </a:lnTo>
                    <a:lnTo>
                      <a:pt x="25" y="89"/>
                    </a:lnTo>
                    <a:lnTo>
                      <a:pt x="24" y="91"/>
                    </a:lnTo>
                    <a:lnTo>
                      <a:pt x="23" y="94"/>
                    </a:lnTo>
                    <a:lnTo>
                      <a:pt x="21" y="94"/>
                    </a:lnTo>
                    <a:lnTo>
                      <a:pt x="21" y="95"/>
                    </a:lnTo>
                    <a:lnTo>
                      <a:pt x="22" y="100"/>
                    </a:lnTo>
                    <a:lnTo>
                      <a:pt x="20" y="102"/>
                    </a:lnTo>
                    <a:lnTo>
                      <a:pt x="22" y="104"/>
                    </a:lnTo>
                    <a:lnTo>
                      <a:pt x="22" y="106"/>
                    </a:lnTo>
                    <a:lnTo>
                      <a:pt x="21" y="107"/>
                    </a:lnTo>
                    <a:lnTo>
                      <a:pt x="21" y="106"/>
                    </a:lnTo>
                    <a:lnTo>
                      <a:pt x="2" y="114"/>
                    </a:lnTo>
                    <a:lnTo>
                      <a:pt x="0" y="118"/>
                    </a:lnTo>
                    <a:lnTo>
                      <a:pt x="1" y="121"/>
                    </a:lnTo>
                    <a:lnTo>
                      <a:pt x="0" y="123"/>
                    </a:lnTo>
                    <a:lnTo>
                      <a:pt x="1" y="125"/>
                    </a:lnTo>
                    <a:lnTo>
                      <a:pt x="2" y="127"/>
                    </a:lnTo>
                    <a:lnTo>
                      <a:pt x="1" y="128"/>
                    </a:lnTo>
                    <a:lnTo>
                      <a:pt x="5" y="130"/>
                    </a:lnTo>
                    <a:lnTo>
                      <a:pt x="5" y="131"/>
                    </a:lnTo>
                    <a:lnTo>
                      <a:pt x="5" y="134"/>
                    </a:lnTo>
                    <a:lnTo>
                      <a:pt x="7" y="142"/>
                    </a:lnTo>
                    <a:lnTo>
                      <a:pt x="9" y="144"/>
                    </a:lnTo>
                    <a:lnTo>
                      <a:pt x="12" y="145"/>
                    </a:lnTo>
                    <a:lnTo>
                      <a:pt x="18" y="150"/>
                    </a:lnTo>
                    <a:lnTo>
                      <a:pt x="18" y="153"/>
                    </a:lnTo>
                    <a:lnTo>
                      <a:pt x="21" y="154"/>
                    </a:lnTo>
                    <a:lnTo>
                      <a:pt x="22" y="154"/>
                    </a:lnTo>
                    <a:lnTo>
                      <a:pt x="23" y="155"/>
                    </a:lnTo>
                    <a:lnTo>
                      <a:pt x="26" y="154"/>
                    </a:lnTo>
                    <a:lnTo>
                      <a:pt x="28" y="155"/>
                    </a:lnTo>
                    <a:lnTo>
                      <a:pt x="27" y="159"/>
                    </a:lnTo>
                    <a:lnTo>
                      <a:pt x="29" y="165"/>
                    </a:lnTo>
                    <a:lnTo>
                      <a:pt x="26" y="168"/>
                    </a:lnTo>
                    <a:lnTo>
                      <a:pt x="27" y="171"/>
                    </a:lnTo>
                    <a:lnTo>
                      <a:pt x="24" y="173"/>
                    </a:lnTo>
                    <a:lnTo>
                      <a:pt x="24" y="174"/>
                    </a:lnTo>
                    <a:lnTo>
                      <a:pt x="24" y="175"/>
                    </a:lnTo>
                    <a:lnTo>
                      <a:pt x="26" y="176"/>
                    </a:lnTo>
                    <a:lnTo>
                      <a:pt x="27" y="177"/>
                    </a:lnTo>
                    <a:lnTo>
                      <a:pt x="26" y="178"/>
                    </a:lnTo>
                    <a:lnTo>
                      <a:pt x="24" y="180"/>
                    </a:lnTo>
                    <a:lnTo>
                      <a:pt x="24" y="183"/>
                    </a:lnTo>
                    <a:lnTo>
                      <a:pt x="27" y="184"/>
                    </a:lnTo>
                    <a:lnTo>
                      <a:pt x="27" y="185"/>
                    </a:lnTo>
                    <a:lnTo>
                      <a:pt x="25" y="185"/>
                    </a:lnTo>
                    <a:lnTo>
                      <a:pt x="25" y="187"/>
                    </a:lnTo>
                    <a:lnTo>
                      <a:pt x="27" y="188"/>
                    </a:lnTo>
                    <a:lnTo>
                      <a:pt x="30" y="187"/>
                    </a:lnTo>
                    <a:lnTo>
                      <a:pt x="33" y="187"/>
                    </a:lnTo>
                    <a:lnTo>
                      <a:pt x="34" y="188"/>
                    </a:lnTo>
                    <a:lnTo>
                      <a:pt x="33" y="189"/>
                    </a:lnTo>
                    <a:lnTo>
                      <a:pt x="32" y="190"/>
                    </a:lnTo>
                    <a:lnTo>
                      <a:pt x="34" y="193"/>
                    </a:lnTo>
                    <a:lnTo>
                      <a:pt x="33" y="199"/>
                    </a:lnTo>
                    <a:lnTo>
                      <a:pt x="36" y="205"/>
                    </a:lnTo>
                    <a:lnTo>
                      <a:pt x="34" y="212"/>
                    </a:lnTo>
                    <a:lnTo>
                      <a:pt x="34" y="217"/>
                    </a:lnTo>
                    <a:lnTo>
                      <a:pt x="35" y="219"/>
                    </a:lnTo>
                    <a:lnTo>
                      <a:pt x="35" y="222"/>
                    </a:lnTo>
                    <a:lnTo>
                      <a:pt x="37" y="225"/>
                    </a:lnTo>
                    <a:lnTo>
                      <a:pt x="38" y="226"/>
                    </a:lnTo>
                    <a:lnTo>
                      <a:pt x="36" y="228"/>
                    </a:lnTo>
                    <a:lnTo>
                      <a:pt x="40" y="232"/>
                    </a:lnTo>
                    <a:lnTo>
                      <a:pt x="42" y="232"/>
                    </a:lnTo>
                    <a:lnTo>
                      <a:pt x="42" y="234"/>
                    </a:lnTo>
                    <a:lnTo>
                      <a:pt x="43" y="233"/>
                    </a:lnTo>
                    <a:lnTo>
                      <a:pt x="44" y="234"/>
                    </a:lnTo>
                    <a:lnTo>
                      <a:pt x="46" y="234"/>
                    </a:lnTo>
                    <a:lnTo>
                      <a:pt x="47" y="233"/>
                    </a:lnTo>
                    <a:lnTo>
                      <a:pt x="49" y="232"/>
                    </a:lnTo>
                    <a:lnTo>
                      <a:pt x="50" y="238"/>
                    </a:lnTo>
                    <a:lnTo>
                      <a:pt x="49" y="239"/>
                    </a:lnTo>
                    <a:lnTo>
                      <a:pt x="49" y="243"/>
                    </a:lnTo>
                    <a:lnTo>
                      <a:pt x="47" y="247"/>
                    </a:lnTo>
                    <a:lnTo>
                      <a:pt x="48" y="251"/>
                    </a:lnTo>
                    <a:lnTo>
                      <a:pt x="47" y="254"/>
                    </a:lnTo>
                    <a:lnTo>
                      <a:pt x="43" y="259"/>
                    </a:lnTo>
                    <a:lnTo>
                      <a:pt x="45" y="259"/>
                    </a:lnTo>
                    <a:lnTo>
                      <a:pt x="46" y="262"/>
                    </a:lnTo>
                    <a:lnTo>
                      <a:pt x="47" y="263"/>
                    </a:lnTo>
                    <a:lnTo>
                      <a:pt x="49" y="271"/>
                    </a:lnTo>
                    <a:lnTo>
                      <a:pt x="48" y="272"/>
                    </a:lnTo>
                    <a:lnTo>
                      <a:pt x="48" y="277"/>
                    </a:lnTo>
                    <a:lnTo>
                      <a:pt x="47" y="279"/>
                    </a:lnTo>
                    <a:lnTo>
                      <a:pt x="53" y="284"/>
                    </a:lnTo>
                    <a:lnTo>
                      <a:pt x="61" y="286"/>
                    </a:lnTo>
                    <a:lnTo>
                      <a:pt x="62" y="291"/>
                    </a:lnTo>
                    <a:lnTo>
                      <a:pt x="66" y="294"/>
                    </a:lnTo>
                    <a:lnTo>
                      <a:pt x="72" y="302"/>
                    </a:lnTo>
                    <a:lnTo>
                      <a:pt x="72" y="308"/>
                    </a:lnTo>
                    <a:lnTo>
                      <a:pt x="71" y="312"/>
                    </a:lnTo>
                    <a:lnTo>
                      <a:pt x="73" y="317"/>
                    </a:lnTo>
                    <a:lnTo>
                      <a:pt x="75" y="318"/>
                    </a:lnTo>
                    <a:lnTo>
                      <a:pt x="76" y="320"/>
                    </a:lnTo>
                    <a:lnTo>
                      <a:pt x="74" y="324"/>
                    </a:lnTo>
                    <a:lnTo>
                      <a:pt x="74" y="325"/>
                    </a:lnTo>
                    <a:lnTo>
                      <a:pt x="76" y="326"/>
                    </a:lnTo>
                    <a:lnTo>
                      <a:pt x="79" y="329"/>
                    </a:lnTo>
                    <a:lnTo>
                      <a:pt x="83" y="330"/>
                    </a:lnTo>
                    <a:lnTo>
                      <a:pt x="90" y="331"/>
                    </a:lnTo>
                    <a:lnTo>
                      <a:pt x="92" y="331"/>
                    </a:lnTo>
                    <a:lnTo>
                      <a:pt x="92" y="330"/>
                    </a:lnTo>
                    <a:lnTo>
                      <a:pt x="93" y="330"/>
                    </a:lnTo>
                    <a:lnTo>
                      <a:pt x="94" y="333"/>
                    </a:lnTo>
                    <a:lnTo>
                      <a:pt x="96" y="333"/>
                    </a:lnTo>
                    <a:lnTo>
                      <a:pt x="100" y="337"/>
                    </a:lnTo>
                    <a:lnTo>
                      <a:pt x="103" y="338"/>
                    </a:lnTo>
                    <a:lnTo>
                      <a:pt x="103" y="334"/>
                    </a:lnTo>
                    <a:lnTo>
                      <a:pt x="103" y="332"/>
                    </a:lnTo>
                    <a:lnTo>
                      <a:pt x="103" y="329"/>
                    </a:lnTo>
                    <a:lnTo>
                      <a:pt x="109" y="331"/>
                    </a:lnTo>
                    <a:lnTo>
                      <a:pt x="111" y="333"/>
                    </a:lnTo>
                    <a:lnTo>
                      <a:pt x="112" y="334"/>
                    </a:lnTo>
                    <a:lnTo>
                      <a:pt x="115" y="333"/>
                    </a:lnTo>
                    <a:lnTo>
                      <a:pt x="118" y="336"/>
                    </a:lnTo>
                    <a:lnTo>
                      <a:pt x="120" y="336"/>
                    </a:lnTo>
                    <a:lnTo>
                      <a:pt x="121" y="336"/>
                    </a:lnTo>
                    <a:lnTo>
                      <a:pt x="123" y="339"/>
                    </a:lnTo>
                    <a:lnTo>
                      <a:pt x="124" y="339"/>
                    </a:lnTo>
                    <a:lnTo>
                      <a:pt x="127" y="341"/>
                    </a:lnTo>
                    <a:lnTo>
                      <a:pt x="130" y="347"/>
                    </a:lnTo>
                    <a:lnTo>
                      <a:pt x="131" y="350"/>
                    </a:lnTo>
                    <a:lnTo>
                      <a:pt x="133" y="353"/>
                    </a:lnTo>
                    <a:lnTo>
                      <a:pt x="134" y="356"/>
                    </a:lnTo>
                    <a:lnTo>
                      <a:pt x="139" y="358"/>
                    </a:lnTo>
                    <a:lnTo>
                      <a:pt x="139" y="366"/>
                    </a:lnTo>
                    <a:lnTo>
                      <a:pt x="138" y="366"/>
                    </a:lnTo>
                    <a:lnTo>
                      <a:pt x="137" y="369"/>
                    </a:lnTo>
                    <a:lnTo>
                      <a:pt x="138" y="376"/>
                    </a:lnTo>
                    <a:lnTo>
                      <a:pt x="144" y="377"/>
                    </a:lnTo>
                    <a:lnTo>
                      <a:pt x="144" y="379"/>
                    </a:lnTo>
                    <a:lnTo>
                      <a:pt x="144" y="381"/>
                    </a:lnTo>
                    <a:lnTo>
                      <a:pt x="144" y="383"/>
                    </a:lnTo>
                    <a:lnTo>
                      <a:pt x="146" y="384"/>
                    </a:lnTo>
                    <a:lnTo>
                      <a:pt x="147" y="387"/>
                    </a:lnTo>
                    <a:lnTo>
                      <a:pt x="150" y="387"/>
                    </a:lnTo>
                    <a:lnTo>
                      <a:pt x="151" y="389"/>
                    </a:lnTo>
                    <a:lnTo>
                      <a:pt x="152" y="391"/>
                    </a:lnTo>
                    <a:lnTo>
                      <a:pt x="150" y="395"/>
                    </a:lnTo>
                    <a:lnTo>
                      <a:pt x="157" y="402"/>
                    </a:lnTo>
                    <a:lnTo>
                      <a:pt x="156" y="405"/>
                    </a:lnTo>
                    <a:lnTo>
                      <a:pt x="155" y="407"/>
                    </a:lnTo>
                    <a:lnTo>
                      <a:pt x="155" y="408"/>
                    </a:lnTo>
                    <a:lnTo>
                      <a:pt x="158" y="412"/>
                    </a:lnTo>
                    <a:lnTo>
                      <a:pt x="160" y="412"/>
                    </a:lnTo>
                    <a:lnTo>
                      <a:pt x="162" y="415"/>
                    </a:lnTo>
                    <a:lnTo>
                      <a:pt x="163" y="416"/>
                    </a:lnTo>
                    <a:lnTo>
                      <a:pt x="164" y="419"/>
                    </a:lnTo>
                    <a:lnTo>
                      <a:pt x="168" y="424"/>
                    </a:lnTo>
                    <a:lnTo>
                      <a:pt x="170" y="425"/>
                    </a:lnTo>
                    <a:lnTo>
                      <a:pt x="171" y="427"/>
                    </a:lnTo>
                    <a:lnTo>
                      <a:pt x="171" y="430"/>
                    </a:lnTo>
                    <a:lnTo>
                      <a:pt x="168" y="439"/>
                    </a:lnTo>
                    <a:lnTo>
                      <a:pt x="171" y="444"/>
                    </a:lnTo>
                    <a:lnTo>
                      <a:pt x="176" y="451"/>
                    </a:lnTo>
                    <a:lnTo>
                      <a:pt x="184" y="456"/>
                    </a:lnTo>
                    <a:lnTo>
                      <a:pt x="190" y="455"/>
                    </a:lnTo>
                    <a:lnTo>
                      <a:pt x="196" y="455"/>
                    </a:lnTo>
                    <a:lnTo>
                      <a:pt x="198" y="456"/>
                    </a:lnTo>
                    <a:lnTo>
                      <a:pt x="204" y="463"/>
                    </a:lnTo>
                    <a:lnTo>
                      <a:pt x="205" y="464"/>
                    </a:lnTo>
                    <a:lnTo>
                      <a:pt x="207" y="466"/>
                    </a:lnTo>
                    <a:lnTo>
                      <a:pt x="207" y="468"/>
                    </a:lnTo>
                    <a:lnTo>
                      <a:pt x="210" y="470"/>
                    </a:lnTo>
                    <a:lnTo>
                      <a:pt x="212" y="473"/>
                    </a:lnTo>
                    <a:lnTo>
                      <a:pt x="212" y="476"/>
                    </a:lnTo>
                    <a:lnTo>
                      <a:pt x="214" y="478"/>
                    </a:lnTo>
                    <a:lnTo>
                      <a:pt x="216" y="482"/>
                    </a:lnTo>
                    <a:lnTo>
                      <a:pt x="217" y="483"/>
                    </a:lnTo>
                    <a:lnTo>
                      <a:pt x="218" y="484"/>
                    </a:lnTo>
                    <a:lnTo>
                      <a:pt x="219" y="489"/>
                    </a:lnTo>
                    <a:lnTo>
                      <a:pt x="221" y="489"/>
                    </a:lnTo>
                    <a:lnTo>
                      <a:pt x="221" y="491"/>
                    </a:lnTo>
                    <a:lnTo>
                      <a:pt x="223" y="491"/>
                    </a:lnTo>
                    <a:lnTo>
                      <a:pt x="224" y="492"/>
                    </a:lnTo>
                    <a:lnTo>
                      <a:pt x="223" y="495"/>
                    </a:lnTo>
                    <a:lnTo>
                      <a:pt x="222" y="496"/>
                    </a:lnTo>
                    <a:lnTo>
                      <a:pt x="223" y="499"/>
                    </a:lnTo>
                    <a:lnTo>
                      <a:pt x="225" y="505"/>
                    </a:lnTo>
                    <a:lnTo>
                      <a:pt x="223" y="507"/>
                    </a:lnTo>
                    <a:lnTo>
                      <a:pt x="222" y="510"/>
                    </a:lnTo>
                    <a:lnTo>
                      <a:pt x="224" y="515"/>
                    </a:lnTo>
                    <a:lnTo>
                      <a:pt x="222" y="519"/>
                    </a:lnTo>
                    <a:lnTo>
                      <a:pt x="221" y="522"/>
                    </a:lnTo>
                    <a:lnTo>
                      <a:pt x="227" y="528"/>
                    </a:lnTo>
                    <a:lnTo>
                      <a:pt x="227" y="530"/>
                    </a:lnTo>
                    <a:lnTo>
                      <a:pt x="229" y="531"/>
                    </a:lnTo>
                    <a:lnTo>
                      <a:pt x="231" y="534"/>
                    </a:lnTo>
                    <a:lnTo>
                      <a:pt x="236" y="537"/>
                    </a:lnTo>
                    <a:lnTo>
                      <a:pt x="237" y="540"/>
                    </a:lnTo>
                    <a:lnTo>
                      <a:pt x="241" y="543"/>
                    </a:lnTo>
                    <a:lnTo>
                      <a:pt x="241" y="545"/>
                    </a:lnTo>
                    <a:lnTo>
                      <a:pt x="244" y="548"/>
                    </a:lnTo>
                    <a:lnTo>
                      <a:pt x="247" y="548"/>
                    </a:lnTo>
                    <a:lnTo>
                      <a:pt x="248" y="539"/>
                    </a:lnTo>
                    <a:lnTo>
                      <a:pt x="249" y="535"/>
                    </a:lnTo>
                    <a:lnTo>
                      <a:pt x="251" y="536"/>
                    </a:lnTo>
                    <a:lnTo>
                      <a:pt x="254" y="534"/>
                    </a:lnTo>
                    <a:lnTo>
                      <a:pt x="256" y="534"/>
                    </a:lnTo>
                    <a:lnTo>
                      <a:pt x="259" y="538"/>
                    </a:lnTo>
                    <a:lnTo>
                      <a:pt x="261" y="538"/>
                    </a:lnTo>
                    <a:lnTo>
                      <a:pt x="261" y="535"/>
                    </a:lnTo>
                    <a:lnTo>
                      <a:pt x="262" y="533"/>
                    </a:lnTo>
                    <a:lnTo>
                      <a:pt x="259" y="532"/>
                    </a:lnTo>
                    <a:lnTo>
                      <a:pt x="258" y="529"/>
                    </a:lnTo>
                    <a:lnTo>
                      <a:pt x="259" y="526"/>
                    </a:lnTo>
                    <a:lnTo>
                      <a:pt x="259" y="524"/>
                    </a:lnTo>
                    <a:lnTo>
                      <a:pt x="262" y="521"/>
                    </a:lnTo>
                    <a:lnTo>
                      <a:pt x="262" y="519"/>
                    </a:lnTo>
                    <a:lnTo>
                      <a:pt x="262" y="516"/>
                    </a:lnTo>
                    <a:lnTo>
                      <a:pt x="262" y="515"/>
                    </a:lnTo>
                    <a:lnTo>
                      <a:pt x="265" y="511"/>
                    </a:lnTo>
                    <a:lnTo>
                      <a:pt x="267" y="506"/>
                    </a:lnTo>
                    <a:lnTo>
                      <a:pt x="271" y="502"/>
                    </a:lnTo>
                    <a:lnTo>
                      <a:pt x="271" y="500"/>
                    </a:lnTo>
                    <a:lnTo>
                      <a:pt x="272" y="500"/>
                    </a:lnTo>
                    <a:lnTo>
                      <a:pt x="272" y="502"/>
                    </a:lnTo>
                    <a:lnTo>
                      <a:pt x="273" y="502"/>
                    </a:lnTo>
                    <a:lnTo>
                      <a:pt x="275" y="504"/>
                    </a:lnTo>
                    <a:lnTo>
                      <a:pt x="280" y="500"/>
                    </a:lnTo>
                    <a:lnTo>
                      <a:pt x="282" y="496"/>
                    </a:lnTo>
                    <a:lnTo>
                      <a:pt x="282" y="495"/>
                    </a:lnTo>
                    <a:lnTo>
                      <a:pt x="282" y="492"/>
                    </a:lnTo>
                    <a:lnTo>
                      <a:pt x="280" y="487"/>
                    </a:lnTo>
                    <a:lnTo>
                      <a:pt x="281" y="484"/>
                    </a:lnTo>
                    <a:lnTo>
                      <a:pt x="280" y="483"/>
                    </a:lnTo>
                    <a:lnTo>
                      <a:pt x="278" y="480"/>
                    </a:lnTo>
                    <a:lnTo>
                      <a:pt x="277" y="476"/>
                    </a:lnTo>
                    <a:lnTo>
                      <a:pt x="277" y="475"/>
                    </a:lnTo>
                    <a:lnTo>
                      <a:pt x="282" y="475"/>
                    </a:lnTo>
                    <a:lnTo>
                      <a:pt x="282" y="474"/>
                    </a:lnTo>
                    <a:lnTo>
                      <a:pt x="282" y="468"/>
                    </a:lnTo>
                    <a:lnTo>
                      <a:pt x="281" y="468"/>
                    </a:lnTo>
                    <a:lnTo>
                      <a:pt x="282" y="466"/>
                    </a:lnTo>
                    <a:lnTo>
                      <a:pt x="282" y="464"/>
                    </a:lnTo>
                    <a:lnTo>
                      <a:pt x="283" y="461"/>
                    </a:lnTo>
                    <a:lnTo>
                      <a:pt x="285" y="460"/>
                    </a:lnTo>
                    <a:lnTo>
                      <a:pt x="285" y="458"/>
                    </a:lnTo>
                    <a:lnTo>
                      <a:pt x="282" y="457"/>
                    </a:lnTo>
                    <a:lnTo>
                      <a:pt x="283" y="456"/>
                    </a:lnTo>
                    <a:lnTo>
                      <a:pt x="288" y="457"/>
                    </a:lnTo>
                    <a:lnTo>
                      <a:pt x="288" y="458"/>
                    </a:lnTo>
                    <a:lnTo>
                      <a:pt x="286" y="458"/>
                    </a:lnTo>
                    <a:lnTo>
                      <a:pt x="290" y="460"/>
                    </a:lnTo>
                    <a:lnTo>
                      <a:pt x="291" y="460"/>
                    </a:lnTo>
                    <a:lnTo>
                      <a:pt x="292" y="462"/>
                    </a:lnTo>
                    <a:lnTo>
                      <a:pt x="293" y="463"/>
                    </a:lnTo>
                    <a:lnTo>
                      <a:pt x="297" y="460"/>
                    </a:lnTo>
                    <a:lnTo>
                      <a:pt x="298" y="458"/>
                    </a:lnTo>
                    <a:lnTo>
                      <a:pt x="299" y="458"/>
                    </a:lnTo>
                    <a:lnTo>
                      <a:pt x="301" y="458"/>
                    </a:lnTo>
                    <a:lnTo>
                      <a:pt x="301" y="457"/>
                    </a:lnTo>
                    <a:lnTo>
                      <a:pt x="302" y="456"/>
                    </a:lnTo>
                    <a:lnTo>
                      <a:pt x="302" y="454"/>
                    </a:lnTo>
                    <a:lnTo>
                      <a:pt x="305" y="455"/>
                    </a:lnTo>
                    <a:lnTo>
                      <a:pt x="307" y="453"/>
                    </a:lnTo>
                    <a:lnTo>
                      <a:pt x="308" y="454"/>
                    </a:lnTo>
                    <a:lnTo>
                      <a:pt x="309" y="453"/>
                    </a:lnTo>
                    <a:lnTo>
                      <a:pt x="310" y="454"/>
                    </a:lnTo>
                    <a:lnTo>
                      <a:pt x="311" y="454"/>
                    </a:lnTo>
                    <a:lnTo>
                      <a:pt x="311" y="456"/>
                    </a:lnTo>
                    <a:lnTo>
                      <a:pt x="311" y="455"/>
                    </a:lnTo>
                    <a:lnTo>
                      <a:pt x="313" y="453"/>
                    </a:lnTo>
                    <a:lnTo>
                      <a:pt x="311" y="453"/>
                    </a:lnTo>
                    <a:lnTo>
                      <a:pt x="310" y="452"/>
                    </a:lnTo>
                    <a:lnTo>
                      <a:pt x="312" y="451"/>
                    </a:lnTo>
                    <a:lnTo>
                      <a:pt x="313" y="444"/>
                    </a:lnTo>
                    <a:lnTo>
                      <a:pt x="316" y="440"/>
                    </a:lnTo>
                    <a:lnTo>
                      <a:pt x="317" y="440"/>
                    </a:lnTo>
                    <a:lnTo>
                      <a:pt x="319" y="441"/>
                    </a:lnTo>
                    <a:lnTo>
                      <a:pt x="321" y="440"/>
                    </a:lnTo>
                    <a:lnTo>
                      <a:pt x="320" y="437"/>
                    </a:lnTo>
                    <a:lnTo>
                      <a:pt x="320" y="434"/>
                    </a:lnTo>
                    <a:lnTo>
                      <a:pt x="319" y="433"/>
                    </a:lnTo>
                    <a:lnTo>
                      <a:pt x="319" y="432"/>
                    </a:lnTo>
                    <a:lnTo>
                      <a:pt x="316" y="430"/>
                    </a:lnTo>
                    <a:lnTo>
                      <a:pt x="316" y="427"/>
                    </a:lnTo>
                    <a:lnTo>
                      <a:pt x="315" y="428"/>
                    </a:lnTo>
                    <a:lnTo>
                      <a:pt x="315" y="425"/>
                    </a:lnTo>
                    <a:lnTo>
                      <a:pt x="316" y="425"/>
                    </a:lnTo>
                    <a:lnTo>
                      <a:pt x="314" y="425"/>
                    </a:lnTo>
                    <a:lnTo>
                      <a:pt x="314" y="423"/>
                    </a:lnTo>
                    <a:lnTo>
                      <a:pt x="315" y="423"/>
                    </a:lnTo>
                    <a:lnTo>
                      <a:pt x="316" y="423"/>
                    </a:lnTo>
                    <a:lnTo>
                      <a:pt x="316" y="422"/>
                    </a:lnTo>
                    <a:lnTo>
                      <a:pt x="316" y="421"/>
                    </a:lnTo>
                    <a:lnTo>
                      <a:pt x="318" y="419"/>
                    </a:lnTo>
                    <a:lnTo>
                      <a:pt x="321" y="421"/>
                    </a:lnTo>
                    <a:lnTo>
                      <a:pt x="321" y="418"/>
                    </a:lnTo>
                    <a:lnTo>
                      <a:pt x="320" y="417"/>
                    </a:lnTo>
                    <a:lnTo>
                      <a:pt x="321" y="415"/>
                    </a:lnTo>
                    <a:lnTo>
                      <a:pt x="322" y="417"/>
                    </a:lnTo>
                    <a:lnTo>
                      <a:pt x="325" y="418"/>
                    </a:lnTo>
                    <a:lnTo>
                      <a:pt x="326" y="418"/>
                    </a:lnTo>
                    <a:lnTo>
                      <a:pt x="324" y="415"/>
                    </a:lnTo>
                    <a:lnTo>
                      <a:pt x="327" y="412"/>
                    </a:lnTo>
                    <a:lnTo>
                      <a:pt x="329" y="412"/>
                    </a:lnTo>
                    <a:lnTo>
                      <a:pt x="328" y="411"/>
                    </a:lnTo>
                    <a:lnTo>
                      <a:pt x="327" y="411"/>
                    </a:lnTo>
                    <a:lnTo>
                      <a:pt x="323" y="411"/>
                    </a:lnTo>
                    <a:lnTo>
                      <a:pt x="322" y="410"/>
                    </a:lnTo>
                    <a:lnTo>
                      <a:pt x="321" y="410"/>
                    </a:lnTo>
                    <a:lnTo>
                      <a:pt x="321" y="406"/>
                    </a:lnTo>
                    <a:lnTo>
                      <a:pt x="321" y="402"/>
                    </a:lnTo>
                    <a:lnTo>
                      <a:pt x="320" y="400"/>
                    </a:lnTo>
                    <a:lnTo>
                      <a:pt x="321" y="400"/>
                    </a:lnTo>
                    <a:lnTo>
                      <a:pt x="323" y="400"/>
                    </a:lnTo>
                    <a:lnTo>
                      <a:pt x="325" y="400"/>
                    </a:lnTo>
                    <a:lnTo>
                      <a:pt x="326" y="402"/>
                    </a:lnTo>
                    <a:lnTo>
                      <a:pt x="327" y="402"/>
                    </a:lnTo>
                    <a:lnTo>
                      <a:pt x="329" y="402"/>
                    </a:lnTo>
                    <a:lnTo>
                      <a:pt x="329" y="399"/>
                    </a:lnTo>
                    <a:lnTo>
                      <a:pt x="330" y="398"/>
                    </a:lnTo>
                    <a:lnTo>
                      <a:pt x="331" y="396"/>
                    </a:lnTo>
                    <a:lnTo>
                      <a:pt x="330" y="395"/>
                    </a:lnTo>
                    <a:lnTo>
                      <a:pt x="329" y="395"/>
                    </a:lnTo>
                    <a:lnTo>
                      <a:pt x="327" y="392"/>
                    </a:lnTo>
                    <a:lnTo>
                      <a:pt x="328" y="392"/>
                    </a:lnTo>
                    <a:lnTo>
                      <a:pt x="329" y="391"/>
                    </a:lnTo>
                    <a:lnTo>
                      <a:pt x="329" y="387"/>
                    </a:lnTo>
                    <a:lnTo>
                      <a:pt x="332" y="389"/>
                    </a:lnTo>
                    <a:lnTo>
                      <a:pt x="333" y="384"/>
                    </a:lnTo>
                    <a:lnTo>
                      <a:pt x="335" y="384"/>
                    </a:lnTo>
                    <a:lnTo>
                      <a:pt x="336" y="384"/>
                    </a:lnTo>
                    <a:lnTo>
                      <a:pt x="337" y="382"/>
                    </a:lnTo>
                    <a:lnTo>
                      <a:pt x="338" y="381"/>
                    </a:lnTo>
                    <a:lnTo>
                      <a:pt x="342" y="383"/>
                    </a:lnTo>
                    <a:lnTo>
                      <a:pt x="342" y="382"/>
                    </a:lnTo>
                    <a:lnTo>
                      <a:pt x="343" y="381"/>
                    </a:lnTo>
                    <a:lnTo>
                      <a:pt x="342" y="377"/>
                    </a:lnTo>
                    <a:lnTo>
                      <a:pt x="343" y="377"/>
                    </a:lnTo>
                    <a:lnTo>
                      <a:pt x="343" y="376"/>
                    </a:lnTo>
                    <a:lnTo>
                      <a:pt x="344" y="373"/>
                    </a:lnTo>
                    <a:lnTo>
                      <a:pt x="346" y="370"/>
                    </a:lnTo>
                    <a:lnTo>
                      <a:pt x="349" y="370"/>
                    </a:lnTo>
                    <a:lnTo>
                      <a:pt x="348" y="370"/>
                    </a:lnTo>
                    <a:lnTo>
                      <a:pt x="348" y="366"/>
                    </a:lnTo>
                    <a:lnTo>
                      <a:pt x="347" y="368"/>
                    </a:lnTo>
                    <a:lnTo>
                      <a:pt x="346" y="367"/>
                    </a:lnTo>
                    <a:lnTo>
                      <a:pt x="348" y="366"/>
                    </a:lnTo>
                    <a:lnTo>
                      <a:pt x="349" y="366"/>
                    </a:lnTo>
                    <a:lnTo>
                      <a:pt x="349" y="364"/>
                    </a:lnTo>
                    <a:lnTo>
                      <a:pt x="350" y="365"/>
                    </a:lnTo>
                    <a:lnTo>
                      <a:pt x="350" y="364"/>
                    </a:lnTo>
                    <a:lnTo>
                      <a:pt x="350" y="361"/>
                    </a:lnTo>
                    <a:lnTo>
                      <a:pt x="349" y="360"/>
                    </a:lnTo>
                    <a:lnTo>
                      <a:pt x="350" y="359"/>
                    </a:lnTo>
                    <a:lnTo>
                      <a:pt x="348" y="360"/>
                    </a:lnTo>
                    <a:lnTo>
                      <a:pt x="347" y="358"/>
                    </a:lnTo>
                    <a:lnTo>
                      <a:pt x="346" y="358"/>
                    </a:lnTo>
                    <a:lnTo>
                      <a:pt x="346" y="357"/>
                    </a:lnTo>
                    <a:lnTo>
                      <a:pt x="347" y="357"/>
                    </a:lnTo>
                    <a:lnTo>
                      <a:pt x="346" y="356"/>
                    </a:lnTo>
                    <a:lnTo>
                      <a:pt x="347" y="356"/>
                    </a:lnTo>
                    <a:lnTo>
                      <a:pt x="346" y="354"/>
                    </a:lnTo>
                    <a:lnTo>
                      <a:pt x="345" y="352"/>
                    </a:lnTo>
                    <a:lnTo>
                      <a:pt x="345" y="350"/>
                    </a:lnTo>
                    <a:lnTo>
                      <a:pt x="344" y="347"/>
                    </a:lnTo>
                    <a:lnTo>
                      <a:pt x="345" y="347"/>
                    </a:lnTo>
                    <a:lnTo>
                      <a:pt x="344" y="347"/>
                    </a:lnTo>
                    <a:lnTo>
                      <a:pt x="345" y="346"/>
                    </a:lnTo>
                    <a:lnTo>
                      <a:pt x="344" y="346"/>
                    </a:lnTo>
                    <a:lnTo>
                      <a:pt x="344" y="345"/>
                    </a:lnTo>
                    <a:lnTo>
                      <a:pt x="345" y="345"/>
                    </a:lnTo>
                    <a:lnTo>
                      <a:pt x="346" y="342"/>
                    </a:lnTo>
                    <a:lnTo>
                      <a:pt x="346" y="339"/>
                    </a:lnTo>
                    <a:lnTo>
                      <a:pt x="347" y="337"/>
                    </a:lnTo>
                    <a:lnTo>
                      <a:pt x="346" y="336"/>
                    </a:lnTo>
                    <a:lnTo>
                      <a:pt x="348" y="336"/>
                    </a:lnTo>
                    <a:lnTo>
                      <a:pt x="350" y="333"/>
                    </a:lnTo>
                    <a:lnTo>
                      <a:pt x="351" y="331"/>
                    </a:lnTo>
                    <a:lnTo>
                      <a:pt x="353" y="332"/>
                    </a:lnTo>
                    <a:lnTo>
                      <a:pt x="355" y="332"/>
                    </a:lnTo>
                    <a:lnTo>
                      <a:pt x="355" y="331"/>
                    </a:lnTo>
                    <a:lnTo>
                      <a:pt x="351" y="330"/>
                    </a:lnTo>
                    <a:lnTo>
                      <a:pt x="351" y="329"/>
                    </a:lnTo>
                    <a:lnTo>
                      <a:pt x="352" y="329"/>
                    </a:lnTo>
                    <a:lnTo>
                      <a:pt x="351" y="329"/>
                    </a:lnTo>
                    <a:lnTo>
                      <a:pt x="351" y="327"/>
                    </a:lnTo>
                    <a:lnTo>
                      <a:pt x="350" y="326"/>
                    </a:lnTo>
                    <a:lnTo>
                      <a:pt x="350" y="325"/>
                    </a:lnTo>
                    <a:lnTo>
                      <a:pt x="349" y="323"/>
                    </a:lnTo>
                    <a:lnTo>
                      <a:pt x="348" y="323"/>
                    </a:lnTo>
                    <a:lnTo>
                      <a:pt x="349" y="321"/>
                    </a:lnTo>
                    <a:lnTo>
                      <a:pt x="349" y="320"/>
                    </a:lnTo>
                    <a:lnTo>
                      <a:pt x="350" y="319"/>
                    </a:lnTo>
                    <a:lnTo>
                      <a:pt x="348" y="319"/>
                    </a:lnTo>
                    <a:lnTo>
                      <a:pt x="349" y="317"/>
                    </a:lnTo>
                    <a:lnTo>
                      <a:pt x="350" y="316"/>
                    </a:lnTo>
                    <a:lnTo>
                      <a:pt x="350" y="313"/>
                    </a:lnTo>
                    <a:lnTo>
                      <a:pt x="350" y="312"/>
                    </a:lnTo>
                    <a:lnTo>
                      <a:pt x="349" y="312"/>
                    </a:lnTo>
                    <a:lnTo>
                      <a:pt x="350" y="311"/>
                    </a:lnTo>
                    <a:lnTo>
                      <a:pt x="350" y="309"/>
                    </a:lnTo>
                    <a:lnTo>
                      <a:pt x="349" y="311"/>
                    </a:lnTo>
                    <a:lnTo>
                      <a:pt x="350" y="309"/>
                    </a:lnTo>
                    <a:lnTo>
                      <a:pt x="349" y="308"/>
                    </a:lnTo>
                    <a:lnTo>
                      <a:pt x="351" y="309"/>
                    </a:lnTo>
                    <a:lnTo>
                      <a:pt x="351" y="308"/>
                    </a:lnTo>
                    <a:lnTo>
                      <a:pt x="349" y="307"/>
                    </a:lnTo>
                    <a:lnTo>
                      <a:pt x="349" y="308"/>
                    </a:lnTo>
                    <a:lnTo>
                      <a:pt x="349" y="307"/>
                    </a:lnTo>
                    <a:lnTo>
                      <a:pt x="348" y="307"/>
                    </a:lnTo>
                    <a:lnTo>
                      <a:pt x="346" y="307"/>
                    </a:lnTo>
                    <a:lnTo>
                      <a:pt x="346" y="304"/>
                    </a:lnTo>
                    <a:lnTo>
                      <a:pt x="347" y="303"/>
                    </a:lnTo>
                    <a:lnTo>
                      <a:pt x="346" y="302"/>
                    </a:lnTo>
                    <a:lnTo>
                      <a:pt x="348" y="302"/>
                    </a:lnTo>
                    <a:lnTo>
                      <a:pt x="348" y="301"/>
                    </a:lnTo>
                    <a:lnTo>
                      <a:pt x="350" y="302"/>
                    </a:lnTo>
                    <a:lnTo>
                      <a:pt x="350" y="300"/>
                    </a:lnTo>
                    <a:lnTo>
                      <a:pt x="350" y="299"/>
                    </a:lnTo>
                    <a:lnTo>
                      <a:pt x="348" y="298"/>
                    </a:lnTo>
                    <a:lnTo>
                      <a:pt x="349" y="296"/>
                    </a:lnTo>
                    <a:lnTo>
                      <a:pt x="351" y="295"/>
                    </a:lnTo>
                    <a:lnTo>
                      <a:pt x="351" y="294"/>
                    </a:lnTo>
                    <a:lnTo>
                      <a:pt x="353" y="295"/>
                    </a:lnTo>
                    <a:lnTo>
                      <a:pt x="353" y="292"/>
                    </a:lnTo>
                    <a:lnTo>
                      <a:pt x="354" y="291"/>
                    </a:lnTo>
                    <a:lnTo>
                      <a:pt x="355" y="286"/>
                    </a:lnTo>
                    <a:lnTo>
                      <a:pt x="356" y="283"/>
                    </a:lnTo>
                    <a:lnTo>
                      <a:pt x="354" y="282"/>
                    </a:lnTo>
                    <a:lnTo>
                      <a:pt x="355" y="279"/>
                    </a:lnTo>
                    <a:lnTo>
                      <a:pt x="351" y="276"/>
                    </a:lnTo>
                    <a:lnTo>
                      <a:pt x="350" y="276"/>
                    </a:lnTo>
                    <a:lnTo>
                      <a:pt x="347" y="279"/>
                    </a:lnTo>
                    <a:lnTo>
                      <a:pt x="346" y="278"/>
                    </a:lnTo>
                    <a:lnTo>
                      <a:pt x="348" y="277"/>
                    </a:lnTo>
                    <a:lnTo>
                      <a:pt x="350" y="272"/>
                    </a:lnTo>
                    <a:lnTo>
                      <a:pt x="349" y="271"/>
                    </a:lnTo>
                    <a:lnTo>
                      <a:pt x="348" y="270"/>
                    </a:lnTo>
                    <a:lnTo>
                      <a:pt x="350" y="264"/>
                    </a:lnTo>
                    <a:lnTo>
                      <a:pt x="350" y="260"/>
                    </a:lnTo>
                    <a:lnTo>
                      <a:pt x="351" y="258"/>
                    </a:lnTo>
                    <a:lnTo>
                      <a:pt x="353" y="255"/>
                    </a:lnTo>
                    <a:lnTo>
                      <a:pt x="354" y="249"/>
                    </a:lnTo>
                    <a:lnTo>
                      <a:pt x="355" y="247"/>
                    </a:lnTo>
                    <a:lnTo>
                      <a:pt x="356" y="244"/>
                    </a:lnTo>
                    <a:lnTo>
                      <a:pt x="355" y="242"/>
                    </a:lnTo>
                    <a:lnTo>
                      <a:pt x="353" y="243"/>
                    </a:lnTo>
                    <a:lnTo>
                      <a:pt x="350" y="242"/>
                    </a:lnTo>
                    <a:lnTo>
                      <a:pt x="350" y="239"/>
                    </a:lnTo>
                    <a:lnTo>
                      <a:pt x="349" y="238"/>
                    </a:lnTo>
                    <a:lnTo>
                      <a:pt x="347" y="239"/>
                    </a:lnTo>
                    <a:lnTo>
                      <a:pt x="346" y="239"/>
                    </a:lnTo>
                    <a:lnTo>
                      <a:pt x="344" y="238"/>
                    </a:lnTo>
                    <a:lnTo>
                      <a:pt x="344" y="236"/>
                    </a:lnTo>
                    <a:lnTo>
                      <a:pt x="345" y="236"/>
                    </a:lnTo>
                    <a:lnTo>
                      <a:pt x="346" y="235"/>
                    </a:lnTo>
                    <a:lnTo>
                      <a:pt x="342" y="234"/>
                    </a:lnTo>
                    <a:lnTo>
                      <a:pt x="342" y="233"/>
                    </a:lnTo>
                    <a:lnTo>
                      <a:pt x="340" y="233"/>
                    </a:lnTo>
                    <a:lnTo>
                      <a:pt x="339" y="232"/>
                    </a:lnTo>
                    <a:lnTo>
                      <a:pt x="338" y="232"/>
                    </a:lnTo>
                    <a:lnTo>
                      <a:pt x="337" y="229"/>
                    </a:lnTo>
                    <a:lnTo>
                      <a:pt x="336" y="228"/>
                    </a:lnTo>
                    <a:lnTo>
                      <a:pt x="339" y="229"/>
                    </a:lnTo>
                    <a:lnTo>
                      <a:pt x="342" y="232"/>
                    </a:lnTo>
                    <a:lnTo>
                      <a:pt x="345" y="232"/>
                    </a:lnTo>
                    <a:lnTo>
                      <a:pt x="345" y="231"/>
                    </a:lnTo>
                    <a:lnTo>
                      <a:pt x="347" y="231"/>
                    </a:lnTo>
                    <a:lnTo>
                      <a:pt x="348" y="230"/>
                    </a:lnTo>
                    <a:lnTo>
                      <a:pt x="347" y="230"/>
                    </a:lnTo>
                    <a:lnTo>
                      <a:pt x="345" y="224"/>
                    </a:lnTo>
                    <a:lnTo>
                      <a:pt x="342" y="223"/>
                    </a:lnTo>
                    <a:lnTo>
                      <a:pt x="340" y="221"/>
                    </a:lnTo>
                    <a:lnTo>
                      <a:pt x="342" y="219"/>
                    </a:lnTo>
                    <a:lnTo>
                      <a:pt x="341" y="218"/>
                    </a:lnTo>
                    <a:lnTo>
                      <a:pt x="342" y="217"/>
                    </a:lnTo>
                    <a:lnTo>
                      <a:pt x="342" y="218"/>
                    </a:lnTo>
                    <a:lnTo>
                      <a:pt x="342" y="219"/>
                    </a:lnTo>
                    <a:lnTo>
                      <a:pt x="343" y="219"/>
                    </a:lnTo>
                    <a:lnTo>
                      <a:pt x="344" y="218"/>
                    </a:lnTo>
                    <a:lnTo>
                      <a:pt x="344" y="219"/>
                    </a:lnTo>
                    <a:lnTo>
                      <a:pt x="345" y="219"/>
                    </a:lnTo>
                    <a:lnTo>
                      <a:pt x="345" y="218"/>
                    </a:lnTo>
                    <a:lnTo>
                      <a:pt x="348" y="217"/>
                    </a:lnTo>
                    <a:lnTo>
                      <a:pt x="350" y="218"/>
                    </a:lnTo>
                    <a:lnTo>
                      <a:pt x="353" y="215"/>
                    </a:lnTo>
                    <a:lnTo>
                      <a:pt x="351" y="215"/>
                    </a:lnTo>
                    <a:lnTo>
                      <a:pt x="351" y="213"/>
                    </a:lnTo>
                    <a:lnTo>
                      <a:pt x="349" y="213"/>
                    </a:lnTo>
                    <a:lnTo>
                      <a:pt x="348" y="212"/>
                    </a:lnTo>
                    <a:lnTo>
                      <a:pt x="346" y="213"/>
                    </a:lnTo>
                    <a:lnTo>
                      <a:pt x="347" y="211"/>
                    </a:lnTo>
                    <a:lnTo>
                      <a:pt x="346" y="211"/>
                    </a:lnTo>
                    <a:lnTo>
                      <a:pt x="344" y="212"/>
                    </a:lnTo>
                    <a:lnTo>
                      <a:pt x="343" y="211"/>
                    </a:lnTo>
                    <a:lnTo>
                      <a:pt x="342" y="211"/>
                    </a:lnTo>
                    <a:lnTo>
                      <a:pt x="342" y="213"/>
                    </a:lnTo>
                    <a:lnTo>
                      <a:pt x="340" y="213"/>
                    </a:lnTo>
                    <a:lnTo>
                      <a:pt x="340" y="215"/>
                    </a:lnTo>
                    <a:lnTo>
                      <a:pt x="338" y="214"/>
                    </a:lnTo>
                    <a:lnTo>
                      <a:pt x="338" y="210"/>
                    </a:lnTo>
                    <a:lnTo>
                      <a:pt x="339" y="211"/>
                    </a:lnTo>
                    <a:lnTo>
                      <a:pt x="339" y="210"/>
                    </a:lnTo>
                    <a:lnTo>
                      <a:pt x="338" y="209"/>
                    </a:lnTo>
                    <a:lnTo>
                      <a:pt x="340" y="208"/>
                    </a:lnTo>
                    <a:lnTo>
                      <a:pt x="338" y="205"/>
                    </a:lnTo>
                    <a:lnTo>
                      <a:pt x="340" y="203"/>
                    </a:lnTo>
                    <a:lnTo>
                      <a:pt x="343" y="202"/>
                    </a:lnTo>
                    <a:lnTo>
                      <a:pt x="347" y="195"/>
                    </a:lnTo>
                    <a:lnTo>
                      <a:pt x="356" y="192"/>
                    </a:lnTo>
                    <a:lnTo>
                      <a:pt x="359" y="191"/>
                    </a:lnTo>
                    <a:lnTo>
                      <a:pt x="361" y="191"/>
                    </a:lnTo>
                    <a:lnTo>
                      <a:pt x="360" y="191"/>
                    </a:lnTo>
                    <a:lnTo>
                      <a:pt x="360" y="194"/>
                    </a:lnTo>
                    <a:lnTo>
                      <a:pt x="362" y="195"/>
                    </a:lnTo>
                    <a:lnTo>
                      <a:pt x="363" y="197"/>
                    </a:lnTo>
                    <a:lnTo>
                      <a:pt x="363" y="198"/>
                    </a:lnTo>
                    <a:lnTo>
                      <a:pt x="365" y="198"/>
                    </a:lnTo>
                    <a:lnTo>
                      <a:pt x="366" y="198"/>
                    </a:lnTo>
                    <a:lnTo>
                      <a:pt x="367" y="196"/>
                    </a:lnTo>
                    <a:lnTo>
                      <a:pt x="367" y="195"/>
                    </a:lnTo>
                    <a:lnTo>
                      <a:pt x="368" y="194"/>
                    </a:lnTo>
                    <a:lnTo>
                      <a:pt x="368" y="192"/>
                    </a:lnTo>
                    <a:lnTo>
                      <a:pt x="370" y="191"/>
                    </a:lnTo>
                    <a:lnTo>
                      <a:pt x="371" y="188"/>
                    </a:lnTo>
                    <a:lnTo>
                      <a:pt x="372" y="188"/>
                    </a:lnTo>
                    <a:lnTo>
                      <a:pt x="375" y="188"/>
                    </a:lnTo>
                    <a:lnTo>
                      <a:pt x="375" y="187"/>
                    </a:lnTo>
                    <a:lnTo>
                      <a:pt x="376" y="187"/>
                    </a:lnTo>
                    <a:lnTo>
                      <a:pt x="377" y="187"/>
                    </a:lnTo>
                    <a:lnTo>
                      <a:pt x="379" y="185"/>
                    </a:lnTo>
                    <a:lnTo>
                      <a:pt x="379" y="186"/>
                    </a:lnTo>
                    <a:lnTo>
                      <a:pt x="381" y="183"/>
                    </a:lnTo>
                    <a:lnTo>
                      <a:pt x="381" y="181"/>
                    </a:lnTo>
                    <a:lnTo>
                      <a:pt x="379" y="180"/>
                    </a:lnTo>
                    <a:lnTo>
                      <a:pt x="378" y="179"/>
                    </a:lnTo>
                    <a:lnTo>
                      <a:pt x="377" y="178"/>
                    </a:lnTo>
                    <a:lnTo>
                      <a:pt x="376" y="179"/>
                    </a:lnTo>
                    <a:lnTo>
                      <a:pt x="375" y="179"/>
                    </a:lnTo>
                    <a:lnTo>
                      <a:pt x="373" y="181"/>
                    </a:lnTo>
                    <a:lnTo>
                      <a:pt x="372" y="180"/>
                    </a:lnTo>
                    <a:lnTo>
                      <a:pt x="373" y="177"/>
                    </a:lnTo>
                    <a:lnTo>
                      <a:pt x="376" y="176"/>
                    </a:lnTo>
                    <a:lnTo>
                      <a:pt x="378" y="171"/>
                    </a:lnTo>
                    <a:lnTo>
                      <a:pt x="378" y="168"/>
                    </a:lnTo>
                    <a:lnTo>
                      <a:pt x="377" y="166"/>
                    </a:lnTo>
                    <a:lnTo>
                      <a:pt x="377" y="165"/>
                    </a:lnTo>
                    <a:lnTo>
                      <a:pt x="376" y="162"/>
                    </a:lnTo>
                    <a:lnTo>
                      <a:pt x="377" y="161"/>
                    </a:lnTo>
                    <a:lnTo>
                      <a:pt x="381" y="161"/>
                    </a:lnTo>
                    <a:lnTo>
                      <a:pt x="381" y="158"/>
                    </a:lnTo>
                    <a:lnTo>
                      <a:pt x="383" y="157"/>
                    </a:lnTo>
                    <a:lnTo>
                      <a:pt x="382" y="157"/>
                    </a:lnTo>
                    <a:lnTo>
                      <a:pt x="383" y="153"/>
                    </a:lnTo>
                    <a:lnTo>
                      <a:pt x="381" y="151"/>
                    </a:lnTo>
                    <a:lnTo>
                      <a:pt x="381" y="148"/>
                    </a:lnTo>
                    <a:lnTo>
                      <a:pt x="384" y="145"/>
                    </a:lnTo>
                    <a:lnTo>
                      <a:pt x="383" y="144"/>
                    </a:lnTo>
                    <a:lnTo>
                      <a:pt x="382" y="141"/>
                    </a:lnTo>
                    <a:lnTo>
                      <a:pt x="383" y="140"/>
                    </a:lnTo>
                    <a:lnTo>
                      <a:pt x="384" y="141"/>
                    </a:lnTo>
                    <a:lnTo>
                      <a:pt x="386" y="138"/>
                    </a:lnTo>
                    <a:lnTo>
                      <a:pt x="385" y="135"/>
                    </a:lnTo>
                    <a:lnTo>
                      <a:pt x="386" y="135"/>
                    </a:lnTo>
                    <a:lnTo>
                      <a:pt x="386" y="131"/>
                    </a:lnTo>
                    <a:lnTo>
                      <a:pt x="387" y="131"/>
                    </a:lnTo>
                    <a:lnTo>
                      <a:pt x="388" y="131"/>
                    </a:lnTo>
                    <a:lnTo>
                      <a:pt x="389" y="131"/>
                    </a:lnTo>
                    <a:lnTo>
                      <a:pt x="391" y="131"/>
                    </a:lnTo>
                    <a:lnTo>
                      <a:pt x="392" y="131"/>
                    </a:lnTo>
                    <a:lnTo>
                      <a:pt x="392" y="133"/>
                    </a:lnTo>
                    <a:lnTo>
                      <a:pt x="393" y="132"/>
                    </a:lnTo>
                    <a:lnTo>
                      <a:pt x="392" y="126"/>
                    </a:lnTo>
                    <a:lnTo>
                      <a:pt x="392" y="121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oup 62">
              <a:extLst>
                <a:ext uri="{FF2B5EF4-FFF2-40B4-BE49-F238E27FC236}">
                  <a16:creationId xmlns:a16="http://schemas.microsoft.com/office/drawing/2014/main" id="{45A15544-3EC1-C42C-E0B9-DB8E0499683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319" y="3149"/>
              <a:ext cx="411" cy="305"/>
              <a:chOff x="1319" y="3149"/>
              <a:chExt cx="411" cy="305"/>
            </a:xfrm>
          </p:grpSpPr>
          <p:sp>
            <p:nvSpPr>
              <p:cNvPr id="186" name="Freeform 60">
                <a:extLst>
                  <a:ext uri="{FF2B5EF4-FFF2-40B4-BE49-F238E27FC236}">
                    <a16:creationId xmlns:a16="http://schemas.microsoft.com/office/drawing/2014/main" id="{15CF166F-DB84-5771-4985-320A35BA2B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9" y="3149"/>
                <a:ext cx="411" cy="305"/>
              </a:xfrm>
              <a:custGeom>
                <a:avLst/>
                <a:gdLst>
                  <a:gd name="T0" fmla="*/ 390 w 411"/>
                  <a:gd name="T1" fmla="*/ 42 h 305"/>
                  <a:gd name="T2" fmla="*/ 357 w 411"/>
                  <a:gd name="T3" fmla="*/ 65 h 305"/>
                  <a:gd name="T4" fmla="*/ 321 w 411"/>
                  <a:gd name="T5" fmla="*/ 39 h 305"/>
                  <a:gd name="T6" fmla="*/ 299 w 411"/>
                  <a:gd name="T7" fmla="*/ 44 h 305"/>
                  <a:gd name="T8" fmla="*/ 286 w 411"/>
                  <a:gd name="T9" fmla="*/ 48 h 305"/>
                  <a:gd name="T10" fmla="*/ 265 w 411"/>
                  <a:gd name="T11" fmla="*/ 62 h 305"/>
                  <a:gd name="T12" fmla="*/ 257 w 411"/>
                  <a:gd name="T13" fmla="*/ 74 h 305"/>
                  <a:gd name="T14" fmla="*/ 245 w 411"/>
                  <a:gd name="T15" fmla="*/ 78 h 305"/>
                  <a:gd name="T16" fmla="*/ 233 w 411"/>
                  <a:gd name="T17" fmla="*/ 78 h 305"/>
                  <a:gd name="T18" fmla="*/ 218 w 411"/>
                  <a:gd name="T19" fmla="*/ 67 h 305"/>
                  <a:gd name="T20" fmla="*/ 199 w 411"/>
                  <a:gd name="T21" fmla="*/ 54 h 305"/>
                  <a:gd name="T22" fmla="*/ 166 w 411"/>
                  <a:gd name="T23" fmla="*/ 13 h 305"/>
                  <a:gd name="T24" fmla="*/ 133 w 411"/>
                  <a:gd name="T25" fmla="*/ 22 h 305"/>
                  <a:gd name="T26" fmla="*/ 120 w 411"/>
                  <a:gd name="T27" fmla="*/ 2 h 305"/>
                  <a:gd name="T28" fmla="*/ 105 w 411"/>
                  <a:gd name="T29" fmla="*/ 15 h 305"/>
                  <a:gd name="T30" fmla="*/ 90 w 411"/>
                  <a:gd name="T31" fmla="*/ 19 h 305"/>
                  <a:gd name="T32" fmla="*/ 76 w 411"/>
                  <a:gd name="T33" fmla="*/ 14 h 305"/>
                  <a:gd name="T34" fmla="*/ 68 w 411"/>
                  <a:gd name="T35" fmla="*/ 10 h 305"/>
                  <a:gd name="T36" fmla="*/ 61 w 411"/>
                  <a:gd name="T37" fmla="*/ 5 h 305"/>
                  <a:gd name="T38" fmla="*/ 48 w 411"/>
                  <a:gd name="T39" fmla="*/ 10 h 305"/>
                  <a:gd name="T40" fmla="*/ 39 w 411"/>
                  <a:gd name="T41" fmla="*/ 20 h 305"/>
                  <a:gd name="T42" fmla="*/ 19 w 411"/>
                  <a:gd name="T43" fmla="*/ 19 h 305"/>
                  <a:gd name="T44" fmla="*/ 15 w 411"/>
                  <a:gd name="T45" fmla="*/ 34 h 305"/>
                  <a:gd name="T46" fmla="*/ 9 w 411"/>
                  <a:gd name="T47" fmla="*/ 45 h 305"/>
                  <a:gd name="T48" fmla="*/ 2 w 411"/>
                  <a:gd name="T49" fmla="*/ 49 h 305"/>
                  <a:gd name="T50" fmla="*/ 14 w 411"/>
                  <a:gd name="T51" fmla="*/ 60 h 305"/>
                  <a:gd name="T52" fmla="*/ 24 w 411"/>
                  <a:gd name="T53" fmla="*/ 65 h 305"/>
                  <a:gd name="T54" fmla="*/ 24 w 411"/>
                  <a:gd name="T55" fmla="*/ 76 h 305"/>
                  <a:gd name="T56" fmla="*/ 41 w 411"/>
                  <a:gd name="T57" fmla="*/ 92 h 305"/>
                  <a:gd name="T58" fmla="*/ 38 w 411"/>
                  <a:gd name="T59" fmla="*/ 109 h 305"/>
                  <a:gd name="T60" fmla="*/ 30 w 411"/>
                  <a:gd name="T61" fmla="*/ 127 h 305"/>
                  <a:gd name="T62" fmla="*/ 36 w 411"/>
                  <a:gd name="T63" fmla="*/ 147 h 305"/>
                  <a:gd name="T64" fmla="*/ 50 w 411"/>
                  <a:gd name="T65" fmla="*/ 163 h 305"/>
                  <a:gd name="T66" fmla="*/ 60 w 411"/>
                  <a:gd name="T67" fmla="*/ 163 h 305"/>
                  <a:gd name="T68" fmla="*/ 76 w 411"/>
                  <a:gd name="T69" fmla="*/ 169 h 305"/>
                  <a:gd name="T70" fmla="*/ 83 w 411"/>
                  <a:gd name="T71" fmla="*/ 177 h 305"/>
                  <a:gd name="T72" fmla="*/ 98 w 411"/>
                  <a:gd name="T73" fmla="*/ 186 h 305"/>
                  <a:gd name="T74" fmla="*/ 105 w 411"/>
                  <a:gd name="T75" fmla="*/ 196 h 305"/>
                  <a:gd name="T76" fmla="*/ 116 w 411"/>
                  <a:gd name="T77" fmla="*/ 220 h 305"/>
                  <a:gd name="T78" fmla="*/ 143 w 411"/>
                  <a:gd name="T79" fmla="*/ 233 h 305"/>
                  <a:gd name="T80" fmla="*/ 159 w 411"/>
                  <a:gd name="T81" fmla="*/ 217 h 305"/>
                  <a:gd name="T82" fmla="*/ 176 w 411"/>
                  <a:gd name="T83" fmla="*/ 229 h 305"/>
                  <a:gd name="T84" fmla="*/ 195 w 411"/>
                  <a:gd name="T85" fmla="*/ 246 h 305"/>
                  <a:gd name="T86" fmla="*/ 215 w 411"/>
                  <a:gd name="T87" fmla="*/ 255 h 305"/>
                  <a:gd name="T88" fmla="*/ 237 w 411"/>
                  <a:gd name="T89" fmla="*/ 278 h 305"/>
                  <a:gd name="T90" fmla="*/ 263 w 411"/>
                  <a:gd name="T91" fmla="*/ 298 h 305"/>
                  <a:gd name="T92" fmla="*/ 278 w 411"/>
                  <a:gd name="T93" fmla="*/ 297 h 305"/>
                  <a:gd name="T94" fmla="*/ 296 w 411"/>
                  <a:gd name="T95" fmla="*/ 295 h 305"/>
                  <a:gd name="T96" fmla="*/ 310 w 411"/>
                  <a:gd name="T97" fmla="*/ 286 h 305"/>
                  <a:gd name="T98" fmla="*/ 333 w 411"/>
                  <a:gd name="T99" fmla="*/ 287 h 305"/>
                  <a:gd name="T100" fmla="*/ 356 w 411"/>
                  <a:gd name="T101" fmla="*/ 300 h 305"/>
                  <a:gd name="T102" fmla="*/ 373 w 411"/>
                  <a:gd name="T103" fmla="*/ 293 h 305"/>
                  <a:gd name="T104" fmla="*/ 378 w 411"/>
                  <a:gd name="T105" fmla="*/ 271 h 305"/>
                  <a:gd name="T106" fmla="*/ 379 w 411"/>
                  <a:gd name="T107" fmla="*/ 244 h 305"/>
                  <a:gd name="T108" fmla="*/ 373 w 411"/>
                  <a:gd name="T109" fmla="*/ 229 h 305"/>
                  <a:gd name="T110" fmla="*/ 365 w 411"/>
                  <a:gd name="T111" fmla="*/ 199 h 305"/>
                  <a:gd name="T112" fmla="*/ 370 w 411"/>
                  <a:gd name="T113" fmla="*/ 175 h 305"/>
                  <a:gd name="T114" fmla="*/ 366 w 411"/>
                  <a:gd name="T115" fmla="*/ 140 h 305"/>
                  <a:gd name="T116" fmla="*/ 373 w 411"/>
                  <a:gd name="T117" fmla="*/ 116 h 305"/>
                  <a:gd name="T118" fmla="*/ 392 w 411"/>
                  <a:gd name="T119" fmla="*/ 96 h 305"/>
                  <a:gd name="T120" fmla="*/ 398 w 411"/>
                  <a:gd name="T121" fmla="*/ 57 h 305"/>
                  <a:gd name="T122" fmla="*/ 411 w 411"/>
                  <a:gd name="T123" fmla="*/ 31 h 30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411"/>
                  <a:gd name="T187" fmla="*/ 0 h 305"/>
                  <a:gd name="T188" fmla="*/ 411 w 411"/>
                  <a:gd name="T189" fmla="*/ 305 h 30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411" h="305">
                    <a:moveTo>
                      <a:pt x="410" y="29"/>
                    </a:moveTo>
                    <a:lnTo>
                      <a:pt x="411" y="26"/>
                    </a:lnTo>
                    <a:lnTo>
                      <a:pt x="410" y="24"/>
                    </a:lnTo>
                    <a:lnTo>
                      <a:pt x="407" y="21"/>
                    </a:lnTo>
                    <a:lnTo>
                      <a:pt x="404" y="23"/>
                    </a:lnTo>
                    <a:lnTo>
                      <a:pt x="403" y="25"/>
                    </a:lnTo>
                    <a:lnTo>
                      <a:pt x="402" y="25"/>
                    </a:lnTo>
                    <a:lnTo>
                      <a:pt x="401" y="27"/>
                    </a:lnTo>
                    <a:lnTo>
                      <a:pt x="399" y="29"/>
                    </a:lnTo>
                    <a:lnTo>
                      <a:pt x="398" y="27"/>
                    </a:lnTo>
                    <a:lnTo>
                      <a:pt x="396" y="28"/>
                    </a:lnTo>
                    <a:lnTo>
                      <a:pt x="393" y="32"/>
                    </a:lnTo>
                    <a:lnTo>
                      <a:pt x="392" y="39"/>
                    </a:lnTo>
                    <a:lnTo>
                      <a:pt x="390" y="42"/>
                    </a:lnTo>
                    <a:lnTo>
                      <a:pt x="386" y="45"/>
                    </a:lnTo>
                    <a:lnTo>
                      <a:pt x="387" y="47"/>
                    </a:lnTo>
                    <a:lnTo>
                      <a:pt x="386" y="48"/>
                    </a:lnTo>
                    <a:lnTo>
                      <a:pt x="382" y="50"/>
                    </a:lnTo>
                    <a:lnTo>
                      <a:pt x="379" y="52"/>
                    </a:lnTo>
                    <a:lnTo>
                      <a:pt x="378" y="52"/>
                    </a:lnTo>
                    <a:lnTo>
                      <a:pt x="377" y="52"/>
                    </a:lnTo>
                    <a:lnTo>
                      <a:pt x="371" y="60"/>
                    </a:lnTo>
                    <a:lnTo>
                      <a:pt x="369" y="65"/>
                    </a:lnTo>
                    <a:lnTo>
                      <a:pt x="368" y="66"/>
                    </a:lnTo>
                    <a:lnTo>
                      <a:pt x="364" y="69"/>
                    </a:lnTo>
                    <a:lnTo>
                      <a:pt x="361" y="67"/>
                    </a:lnTo>
                    <a:lnTo>
                      <a:pt x="358" y="66"/>
                    </a:lnTo>
                    <a:lnTo>
                      <a:pt x="357" y="65"/>
                    </a:lnTo>
                    <a:lnTo>
                      <a:pt x="350" y="60"/>
                    </a:lnTo>
                    <a:lnTo>
                      <a:pt x="347" y="59"/>
                    </a:lnTo>
                    <a:lnTo>
                      <a:pt x="345" y="59"/>
                    </a:lnTo>
                    <a:lnTo>
                      <a:pt x="344" y="55"/>
                    </a:lnTo>
                    <a:lnTo>
                      <a:pt x="341" y="52"/>
                    </a:lnTo>
                    <a:lnTo>
                      <a:pt x="341" y="49"/>
                    </a:lnTo>
                    <a:lnTo>
                      <a:pt x="338" y="47"/>
                    </a:lnTo>
                    <a:lnTo>
                      <a:pt x="337" y="44"/>
                    </a:lnTo>
                    <a:lnTo>
                      <a:pt x="332" y="43"/>
                    </a:lnTo>
                    <a:lnTo>
                      <a:pt x="331" y="44"/>
                    </a:lnTo>
                    <a:lnTo>
                      <a:pt x="330" y="44"/>
                    </a:lnTo>
                    <a:lnTo>
                      <a:pt x="329" y="44"/>
                    </a:lnTo>
                    <a:lnTo>
                      <a:pt x="322" y="38"/>
                    </a:lnTo>
                    <a:lnTo>
                      <a:pt x="321" y="39"/>
                    </a:lnTo>
                    <a:lnTo>
                      <a:pt x="320" y="38"/>
                    </a:lnTo>
                    <a:lnTo>
                      <a:pt x="319" y="36"/>
                    </a:lnTo>
                    <a:lnTo>
                      <a:pt x="317" y="37"/>
                    </a:lnTo>
                    <a:lnTo>
                      <a:pt x="317" y="32"/>
                    </a:lnTo>
                    <a:lnTo>
                      <a:pt x="314" y="31"/>
                    </a:lnTo>
                    <a:lnTo>
                      <a:pt x="313" y="31"/>
                    </a:lnTo>
                    <a:lnTo>
                      <a:pt x="311" y="29"/>
                    </a:lnTo>
                    <a:lnTo>
                      <a:pt x="308" y="29"/>
                    </a:lnTo>
                    <a:lnTo>
                      <a:pt x="306" y="31"/>
                    </a:lnTo>
                    <a:lnTo>
                      <a:pt x="305" y="40"/>
                    </a:lnTo>
                    <a:lnTo>
                      <a:pt x="303" y="42"/>
                    </a:lnTo>
                    <a:lnTo>
                      <a:pt x="300" y="42"/>
                    </a:lnTo>
                    <a:lnTo>
                      <a:pt x="299" y="44"/>
                    </a:lnTo>
                    <a:lnTo>
                      <a:pt x="298" y="44"/>
                    </a:lnTo>
                    <a:lnTo>
                      <a:pt x="297" y="46"/>
                    </a:lnTo>
                    <a:lnTo>
                      <a:pt x="297" y="45"/>
                    </a:lnTo>
                    <a:lnTo>
                      <a:pt x="293" y="45"/>
                    </a:lnTo>
                    <a:lnTo>
                      <a:pt x="293" y="44"/>
                    </a:lnTo>
                    <a:lnTo>
                      <a:pt x="293" y="45"/>
                    </a:lnTo>
                    <a:lnTo>
                      <a:pt x="290" y="46"/>
                    </a:lnTo>
                    <a:lnTo>
                      <a:pt x="291" y="46"/>
                    </a:lnTo>
                    <a:lnTo>
                      <a:pt x="291" y="48"/>
                    </a:lnTo>
                    <a:lnTo>
                      <a:pt x="290" y="49"/>
                    </a:lnTo>
                    <a:lnTo>
                      <a:pt x="288" y="47"/>
                    </a:lnTo>
                    <a:lnTo>
                      <a:pt x="287" y="48"/>
                    </a:lnTo>
                    <a:lnTo>
                      <a:pt x="286" y="48"/>
                    </a:lnTo>
                    <a:lnTo>
                      <a:pt x="286" y="49"/>
                    </a:lnTo>
                    <a:lnTo>
                      <a:pt x="284" y="49"/>
                    </a:lnTo>
                    <a:lnTo>
                      <a:pt x="284" y="50"/>
                    </a:lnTo>
                    <a:lnTo>
                      <a:pt x="284" y="49"/>
                    </a:lnTo>
                    <a:lnTo>
                      <a:pt x="283" y="49"/>
                    </a:lnTo>
                    <a:lnTo>
                      <a:pt x="281" y="49"/>
                    </a:lnTo>
                    <a:lnTo>
                      <a:pt x="275" y="55"/>
                    </a:lnTo>
                    <a:lnTo>
                      <a:pt x="271" y="55"/>
                    </a:lnTo>
                    <a:lnTo>
                      <a:pt x="269" y="55"/>
                    </a:lnTo>
                    <a:lnTo>
                      <a:pt x="269" y="57"/>
                    </a:lnTo>
                    <a:lnTo>
                      <a:pt x="267" y="57"/>
                    </a:lnTo>
                    <a:lnTo>
                      <a:pt x="265" y="60"/>
                    </a:lnTo>
                    <a:lnTo>
                      <a:pt x="265" y="62"/>
                    </a:lnTo>
                    <a:lnTo>
                      <a:pt x="266" y="62"/>
                    </a:lnTo>
                    <a:lnTo>
                      <a:pt x="267" y="64"/>
                    </a:lnTo>
                    <a:lnTo>
                      <a:pt x="269" y="66"/>
                    </a:lnTo>
                    <a:lnTo>
                      <a:pt x="267" y="67"/>
                    </a:lnTo>
                    <a:lnTo>
                      <a:pt x="266" y="69"/>
                    </a:lnTo>
                    <a:lnTo>
                      <a:pt x="264" y="69"/>
                    </a:lnTo>
                    <a:lnTo>
                      <a:pt x="262" y="70"/>
                    </a:lnTo>
                    <a:lnTo>
                      <a:pt x="260" y="69"/>
                    </a:lnTo>
                    <a:lnTo>
                      <a:pt x="258" y="69"/>
                    </a:lnTo>
                    <a:lnTo>
                      <a:pt x="259" y="71"/>
                    </a:lnTo>
                    <a:lnTo>
                      <a:pt x="258" y="72"/>
                    </a:lnTo>
                    <a:lnTo>
                      <a:pt x="257" y="72"/>
                    </a:lnTo>
                    <a:lnTo>
                      <a:pt x="257" y="74"/>
                    </a:lnTo>
                    <a:lnTo>
                      <a:pt x="259" y="75"/>
                    </a:lnTo>
                    <a:lnTo>
                      <a:pt x="260" y="78"/>
                    </a:lnTo>
                    <a:lnTo>
                      <a:pt x="261" y="78"/>
                    </a:lnTo>
                    <a:lnTo>
                      <a:pt x="261" y="83"/>
                    </a:lnTo>
                    <a:lnTo>
                      <a:pt x="254" y="79"/>
                    </a:lnTo>
                    <a:lnTo>
                      <a:pt x="252" y="78"/>
                    </a:lnTo>
                    <a:lnTo>
                      <a:pt x="251" y="76"/>
                    </a:lnTo>
                    <a:lnTo>
                      <a:pt x="250" y="77"/>
                    </a:lnTo>
                    <a:lnTo>
                      <a:pt x="248" y="76"/>
                    </a:lnTo>
                    <a:lnTo>
                      <a:pt x="248" y="78"/>
                    </a:lnTo>
                    <a:lnTo>
                      <a:pt x="246" y="77"/>
                    </a:lnTo>
                    <a:lnTo>
                      <a:pt x="245" y="78"/>
                    </a:lnTo>
                    <a:lnTo>
                      <a:pt x="244" y="78"/>
                    </a:lnTo>
                    <a:lnTo>
                      <a:pt x="243" y="78"/>
                    </a:lnTo>
                    <a:lnTo>
                      <a:pt x="238" y="78"/>
                    </a:lnTo>
                    <a:lnTo>
                      <a:pt x="238" y="76"/>
                    </a:lnTo>
                    <a:lnTo>
                      <a:pt x="240" y="74"/>
                    </a:lnTo>
                    <a:lnTo>
                      <a:pt x="240" y="73"/>
                    </a:lnTo>
                    <a:lnTo>
                      <a:pt x="237" y="73"/>
                    </a:lnTo>
                    <a:lnTo>
                      <a:pt x="237" y="72"/>
                    </a:lnTo>
                    <a:lnTo>
                      <a:pt x="237" y="74"/>
                    </a:lnTo>
                    <a:lnTo>
                      <a:pt x="237" y="75"/>
                    </a:lnTo>
                    <a:lnTo>
                      <a:pt x="237" y="76"/>
                    </a:lnTo>
                    <a:lnTo>
                      <a:pt x="233" y="78"/>
                    </a:lnTo>
                    <a:lnTo>
                      <a:pt x="232" y="76"/>
                    </a:lnTo>
                    <a:lnTo>
                      <a:pt x="231" y="77"/>
                    </a:lnTo>
                    <a:lnTo>
                      <a:pt x="228" y="76"/>
                    </a:lnTo>
                    <a:lnTo>
                      <a:pt x="227" y="78"/>
                    </a:lnTo>
                    <a:lnTo>
                      <a:pt x="225" y="78"/>
                    </a:lnTo>
                    <a:lnTo>
                      <a:pt x="224" y="78"/>
                    </a:lnTo>
                    <a:lnTo>
                      <a:pt x="223" y="76"/>
                    </a:lnTo>
                    <a:lnTo>
                      <a:pt x="223" y="75"/>
                    </a:lnTo>
                    <a:lnTo>
                      <a:pt x="223" y="74"/>
                    </a:lnTo>
                    <a:lnTo>
                      <a:pt x="221" y="72"/>
                    </a:lnTo>
                    <a:lnTo>
                      <a:pt x="219" y="68"/>
                    </a:lnTo>
                    <a:lnTo>
                      <a:pt x="218" y="68"/>
                    </a:lnTo>
                    <a:lnTo>
                      <a:pt x="218" y="67"/>
                    </a:lnTo>
                    <a:lnTo>
                      <a:pt x="217" y="68"/>
                    </a:lnTo>
                    <a:lnTo>
                      <a:pt x="216" y="67"/>
                    </a:lnTo>
                    <a:lnTo>
                      <a:pt x="215" y="67"/>
                    </a:lnTo>
                    <a:lnTo>
                      <a:pt x="213" y="63"/>
                    </a:lnTo>
                    <a:lnTo>
                      <a:pt x="211" y="64"/>
                    </a:lnTo>
                    <a:lnTo>
                      <a:pt x="211" y="65"/>
                    </a:lnTo>
                    <a:lnTo>
                      <a:pt x="210" y="65"/>
                    </a:lnTo>
                    <a:lnTo>
                      <a:pt x="207" y="62"/>
                    </a:lnTo>
                    <a:lnTo>
                      <a:pt x="207" y="57"/>
                    </a:lnTo>
                    <a:lnTo>
                      <a:pt x="203" y="54"/>
                    </a:lnTo>
                    <a:lnTo>
                      <a:pt x="201" y="55"/>
                    </a:lnTo>
                    <a:lnTo>
                      <a:pt x="200" y="54"/>
                    </a:lnTo>
                    <a:lnTo>
                      <a:pt x="199" y="54"/>
                    </a:lnTo>
                    <a:lnTo>
                      <a:pt x="198" y="53"/>
                    </a:lnTo>
                    <a:lnTo>
                      <a:pt x="195" y="52"/>
                    </a:lnTo>
                    <a:lnTo>
                      <a:pt x="194" y="52"/>
                    </a:lnTo>
                    <a:lnTo>
                      <a:pt x="194" y="51"/>
                    </a:lnTo>
                    <a:lnTo>
                      <a:pt x="194" y="48"/>
                    </a:lnTo>
                    <a:lnTo>
                      <a:pt x="192" y="40"/>
                    </a:lnTo>
                    <a:lnTo>
                      <a:pt x="190" y="39"/>
                    </a:lnTo>
                    <a:lnTo>
                      <a:pt x="178" y="37"/>
                    </a:lnTo>
                    <a:lnTo>
                      <a:pt x="179" y="27"/>
                    </a:lnTo>
                    <a:lnTo>
                      <a:pt x="179" y="23"/>
                    </a:lnTo>
                    <a:lnTo>
                      <a:pt x="174" y="21"/>
                    </a:lnTo>
                    <a:lnTo>
                      <a:pt x="175" y="15"/>
                    </a:lnTo>
                    <a:lnTo>
                      <a:pt x="167" y="15"/>
                    </a:lnTo>
                    <a:lnTo>
                      <a:pt x="166" y="13"/>
                    </a:lnTo>
                    <a:lnTo>
                      <a:pt x="164" y="13"/>
                    </a:lnTo>
                    <a:lnTo>
                      <a:pt x="164" y="11"/>
                    </a:lnTo>
                    <a:lnTo>
                      <a:pt x="162" y="13"/>
                    </a:lnTo>
                    <a:lnTo>
                      <a:pt x="158" y="8"/>
                    </a:lnTo>
                    <a:lnTo>
                      <a:pt x="156" y="7"/>
                    </a:lnTo>
                    <a:lnTo>
                      <a:pt x="156" y="10"/>
                    </a:lnTo>
                    <a:lnTo>
                      <a:pt x="155" y="10"/>
                    </a:lnTo>
                    <a:lnTo>
                      <a:pt x="147" y="10"/>
                    </a:lnTo>
                    <a:lnTo>
                      <a:pt x="146" y="17"/>
                    </a:lnTo>
                    <a:lnTo>
                      <a:pt x="142" y="16"/>
                    </a:lnTo>
                    <a:lnTo>
                      <a:pt x="137" y="15"/>
                    </a:lnTo>
                    <a:lnTo>
                      <a:pt x="136" y="19"/>
                    </a:lnTo>
                    <a:lnTo>
                      <a:pt x="133" y="21"/>
                    </a:lnTo>
                    <a:lnTo>
                      <a:pt x="133" y="22"/>
                    </a:lnTo>
                    <a:lnTo>
                      <a:pt x="131" y="23"/>
                    </a:lnTo>
                    <a:lnTo>
                      <a:pt x="131" y="21"/>
                    </a:lnTo>
                    <a:lnTo>
                      <a:pt x="127" y="20"/>
                    </a:lnTo>
                    <a:lnTo>
                      <a:pt x="126" y="20"/>
                    </a:lnTo>
                    <a:lnTo>
                      <a:pt x="126" y="19"/>
                    </a:lnTo>
                    <a:lnTo>
                      <a:pt x="124" y="18"/>
                    </a:lnTo>
                    <a:lnTo>
                      <a:pt x="123" y="15"/>
                    </a:lnTo>
                    <a:lnTo>
                      <a:pt x="124" y="12"/>
                    </a:lnTo>
                    <a:lnTo>
                      <a:pt x="126" y="8"/>
                    </a:lnTo>
                    <a:lnTo>
                      <a:pt x="124" y="7"/>
                    </a:lnTo>
                    <a:lnTo>
                      <a:pt x="125" y="6"/>
                    </a:lnTo>
                    <a:lnTo>
                      <a:pt x="125" y="5"/>
                    </a:lnTo>
                    <a:lnTo>
                      <a:pt x="121" y="4"/>
                    </a:lnTo>
                    <a:lnTo>
                      <a:pt x="120" y="2"/>
                    </a:lnTo>
                    <a:lnTo>
                      <a:pt x="118" y="0"/>
                    </a:lnTo>
                    <a:lnTo>
                      <a:pt x="116" y="1"/>
                    </a:lnTo>
                    <a:lnTo>
                      <a:pt x="115" y="4"/>
                    </a:lnTo>
                    <a:lnTo>
                      <a:pt x="112" y="2"/>
                    </a:lnTo>
                    <a:lnTo>
                      <a:pt x="111" y="5"/>
                    </a:lnTo>
                    <a:lnTo>
                      <a:pt x="109" y="5"/>
                    </a:lnTo>
                    <a:lnTo>
                      <a:pt x="107" y="6"/>
                    </a:lnTo>
                    <a:lnTo>
                      <a:pt x="107" y="8"/>
                    </a:lnTo>
                    <a:lnTo>
                      <a:pt x="108" y="9"/>
                    </a:lnTo>
                    <a:lnTo>
                      <a:pt x="107" y="14"/>
                    </a:lnTo>
                    <a:lnTo>
                      <a:pt x="106" y="15"/>
                    </a:lnTo>
                    <a:lnTo>
                      <a:pt x="105" y="15"/>
                    </a:lnTo>
                    <a:lnTo>
                      <a:pt x="104" y="14"/>
                    </a:lnTo>
                    <a:lnTo>
                      <a:pt x="102" y="18"/>
                    </a:lnTo>
                    <a:lnTo>
                      <a:pt x="101" y="15"/>
                    </a:lnTo>
                    <a:lnTo>
                      <a:pt x="99" y="15"/>
                    </a:lnTo>
                    <a:lnTo>
                      <a:pt x="98" y="15"/>
                    </a:lnTo>
                    <a:lnTo>
                      <a:pt x="97" y="14"/>
                    </a:lnTo>
                    <a:lnTo>
                      <a:pt x="96" y="15"/>
                    </a:lnTo>
                    <a:lnTo>
                      <a:pt x="95" y="15"/>
                    </a:lnTo>
                    <a:lnTo>
                      <a:pt x="94" y="18"/>
                    </a:lnTo>
                    <a:lnTo>
                      <a:pt x="93" y="18"/>
                    </a:lnTo>
                    <a:lnTo>
                      <a:pt x="93" y="19"/>
                    </a:lnTo>
                    <a:lnTo>
                      <a:pt x="92" y="20"/>
                    </a:lnTo>
                    <a:lnTo>
                      <a:pt x="90" y="19"/>
                    </a:lnTo>
                    <a:lnTo>
                      <a:pt x="89" y="20"/>
                    </a:lnTo>
                    <a:lnTo>
                      <a:pt x="88" y="19"/>
                    </a:lnTo>
                    <a:lnTo>
                      <a:pt x="88" y="18"/>
                    </a:lnTo>
                    <a:lnTo>
                      <a:pt x="86" y="17"/>
                    </a:lnTo>
                    <a:lnTo>
                      <a:pt x="86" y="16"/>
                    </a:lnTo>
                    <a:lnTo>
                      <a:pt x="82" y="14"/>
                    </a:lnTo>
                    <a:lnTo>
                      <a:pt x="82" y="13"/>
                    </a:lnTo>
                    <a:lnTo>
                      <a:pt x="81" y="12"/>
                    </a:lnTo>
                    <a:lnTo>
                      <a:pt x="81" y="15"/>
                    </a:lnTo>
                    <a:lnTo>
                      <a:pt x="79" y="14"/>
                    </a:lnTo>
                    <a:lnTo>
                      <a:pt x="79" y="15"/>
                    </a:lnTo>
                    <a:lnTo>
                      <a:pt x="77" y="14"/>
                    </a:lnTo>
                    <a:lnTo>
                      <a:pt x="76" y="14"/>
                    </a:lnTo>
                    <a:lnTo>
                      <a:pt x="76" y="13"/>
                    </a:lnTo>
                    <a:lnTo>
                      <a:pt x="76" y="12"/>
                    </a:lnTo>
                    <a:lnTo>
                      <a:pt x="75" y="13"/>
                    </a:lnTo>
                    <a:lnTo>
                      <a:pt x="73" y="12"/>
                    </a:lnTo>
                    <a:lnTo>
                      <a:pt x="71" y="13"/>
                    </a:lnTo>
                    <a:lnTo>
                      <a:pt x="71" y="12"/>
                    </a:lnTo>
                    <a:lnTo>
                      <a:pt x="69" y="12"/>
                    </a:lnTo>
                    <a:lnTo>
                      <a:pt x="69" y="11"/>
                    </a:lnTo>
                    <a:lnTo>
                      <a:pt x="68" y="12"/>
                    </a:lnTo>
                    <a:lnTo>
                      <a:pt x="68" y="10"/>
                    </a:lnTo>
                    <a:lnTo>
                      <a:pt x="68" y="13"/>
                    </a:lnTo>
                    <a:lnTo>
                      <a:pt x="69" y="13"/>
                    </a:lnTo>
                    <a:lnTo>
                      <a:pt x="68" y="14"/>
                    </a:lnTo>
                    <a:lnTo>
                      <a:pt x="68" y="13"/>
                    </a:lnTo>
                    <a:lnTo>
                      <a:pt x="66" y="12"/>
                    </a:lnTo>
                    <a:lnTo>
                      <a:pt x="66" y="13"/>
                    </a:lnTo>
                    <a:lnTo>
                      <a:pt x="65" y="13"/>
                    </a:lnTo>
                    <a:lnTo>
                      <a:pt x="65" y="11"/>
                    </a:lnTo>
                    <a:lnTo>
                      <a:pt x="63" y="11"/>
                    </a:lnTo>
                    <a:lnTo>
                      <a:pt x="64" y="6"/>
                    </a:lnTo>
                    <a:lnTo>
                      <a:pt x="61" y="5"/>
                    </a:lnTo>
                    <a:lnTo>
                      <a:pt x="60" y="5"/>
                    </a:lnTo>
                    <a:lnTo>
                      <a:pt x="60" y="6"/>
                    </a:lnTo>
                    <a:lnTo>
                      <a:pt x="61" y="8"/>
                    </a:lnTo>
                    <a:lnTo>
                      <a:pt x="59" y="8"/>
                    </a:lnTo>
                    <a:lnTo>
                      <a:pt x="58" y="8"/>
                    </a:lnTo>
                    <a:lnTo>
                      <a:pt x="58" y="10"/>
                    </a:lnTo>
                    <a:lnTo>
                      <a:pt x="56" y="11"/>
                    </a:lnTo>
                    <a:lnTo>
                      <a:pt x="55" y="10"/>
                    </a:lnTo>
                    <a:lnTo>
                      <a:pt x="55" y="8"/>
                    </a:lnTo>
                    <a:lnTo>
                      <a:pt x="54" y="9"/>
                    </a:lnTo>
                    <a:lnTo>
                      <a:pt x="53" y="8"/>
                    </a:lnTo>
                    <a:lnTo>
                      <a:pt x="52" y="8"/>
                    </a:lnTo>
                    <a:lnTo>
                      <a:pt x="48" y="10"/>
                    </a:lnTo>
                    <a:lnTo>
                      <a:pt x="47" y="10"/>
                    </a:lnTo>
                    <a:lnTo>
                      <a:pt x="47" y="14"/>
                    </a:lnTo>
                    <a:lnTo>
                      <a:pt x="46" y="15"/>
                    </a:lnTo>
                    <a:lnTo>
                      <a:pt x="47" y="15"/>
                    </a:lnTo>
                    <a:lnTo>
                      <a:pt x="47" y="18"/>
                    </a:lnTo>
                    <a:lnTo>
                      <a:pt x="45" y="17"/>
                    </a:lnTo>
                    <a:lnTo>
                      <a:pt x="44" y="18"/>
                    </a:lnTo>
                    <a:lnTo>
                      <a:pt x="42" y="19"/>
                    </a:lnTo>
                    <a:lnTo>
                      <a:pt x="41" y="19"/>
                    </a:lnTo>
                    <a:lnTo>
                      <a:pt x="37" y="18"/>
                    </a:lnTo>
                    <a:lnTo>
                      <a:pt x="37" y="20"/>
                    </a:lnTo>
                    <a:lnTo>
                      <a:pt x="39" y="20"/>
                    </a:lnTo>
                    <a:lnTo>
                      <a:pt x="38" y="21"/>
                    </a:lnTo>
                    <a:lnTo>
                      <a:pt x="36" y="20"/>
                    </a:lnTo>
                    <a:lnTo>
                      <a:pt x="36" y="21"/>
                    </a:lnTo>
                    <a:lnTo>
                      <a:pt x="34" y="22"/>
                    </a:lnTo>
                    <a:lnTo>
                      <a:pt x="33" y="22"/>
                    </a:lnTo>
                    <a:lnTo>
                      <a:pt x="32" y="24"/>
                    </a:lnTo>
                    <a:lnTo>
                      <a:pt x="27" y="25"/>
                    </a:lnTo>
                    <a:lnTo>
                      <a:pt x="24" y="18"/>
                    </a:lnTo>
                    <a:lnTo>
                      <a:pt x="23" y="18"/>
                    </a:lnTo>
                    <a:lnTo>
                      <a:pt x="22" y="18"/>
                    </a:lnTo>
                    <a:lnTo>
                      <a:pt x="23" y="21"/>
                    </a:lnTo>
                    <a:lnTo>
                      <a:pt x="20" y="23"/>
                    </a:lnTo>
                    <a:lnTo>
                      <a:pt x="19" y="21"/>
                    </a:lnTo>
                    <a:lnTo>
                      <a:pt x="19" y="19"/>
                    </a:lnTo>
                    <a:lnTo>
                      <a:pt x="17" y="18"/>
                    </a:lnTo>
                    <a:lnTo>
                      <a:pt x="15" y="19"/>
                    </a:lnTo>
                    <a:lnTo>
                      <a:pt x="13" y="23"/>
                    </a:lnTo>
                    <a:lnTo>
                      <a:pt x="16" y="26"/>
                    </a:lnTo>
                    <a:lnTo>
                      <a:pt x="17" y="25"/>
                    </a:lnTo>
                    <a:lnTo>
                      <a:pt x="19" y="28"/>
                    </a:lnTo>
                    <a:lnTo>
                      <a:pt x="20" y="28"/>
                    </a:lnTo>
                    <a:lnTo>
                      <a:pt x="18" y="29"/>
                    </a:lnTo>
                    <a:lnTo>
                      <a:pt x="17" y="27"/>
                    </a:lnTo>
                    <a:lnTo>
                      <a:pt x="16" y="28"/>
                    </a:lnTo>
                    <a:lnTo>
                      <a:pt x="14" y="28"/>
                    </a:lnTo>
                    <a:lnTo>
                      <a:pt x="14" y="29"/>
                    </a:lnTo>
                    <a:lnTo>
                      <a:pt x="14" y="32"/>
                    </a:lnTo>
                    <a:lnTo>
                      <a:pt x="15" y="34"/>
                    </a:lnTo>
                    <a:lnTo>
                      <a:pt x="14" y="40"/>
                    </a:lnTo>
                    <a:lnTo>
                      <a:pt x="12" y="39"/>
                    </a:lnTo>
                    <a:lnTo>
                      <a:pt x="10" y="40"/>
                    </a:lnTo>
                    <a:lnTo>
                      <a:pt x="9" y="39"/>
                    </a:lnTo>
                    <a:lnTo>
                      <a:pt x="9" y="40"/>
                    </a:lnTo>
                    <a:lnTo>
                      <a:pt x="8" y="40"/>
                    </a:lnTo>
                    <a:lnTo>
                      <a:pt x="6" y="39"/>
                    </a:lnTo>
                    <a:lnTo>
                      <a:pt x="6" y="40"/>
                    </a:lnTo>
                    <a:lnTo>
                      <a:pt x="4" y="41"/>
                    </a:lnTo>
                    <a:lnTo>
                      <a:pt x="4" y="42"/>
                    </a:lnTo>
                    <a:lnTo>
                      <a:pt x="6" y="43"/>
                    </a:lnTo>
                    <a:lnTo>
                      <a:pt x="10" y="44"/>
                    </a:lnTo>
                    <a:lnTo>
                      <a:pt x="9" y="45"/>
                    </a:lnTo>
                    <a:lnTo>
                      <a:pt x="11" y="44"/>
                    </a:lnTo>
                    <a:lnTo>
                      <a:pt x="11" y="46"/>
                    </a:lnTo>
                    <a:lnTo>
                      <a:pt x="11" y="47"/>
                    </a:lnTo>
                    <a:lnTo>
                      <a:pt x="10" y="46"/>
                    </a:lnTo>
                    <a:lnTo>
                      <a:pt x="9" y="47"/>
                    </a:lnTo>
                    <a:lnTo>
                      <a:pt x="8" y="46"/>
                    </a:lnTo>
                    <a:lnTo>
                      <a:pt x="9" y="47"/>
                    </a:lnTo>
                    <a:lnTo>
                      <a:pt x="8" y="47"/>
                    </a:lnTo>
                    <a:lnTo>
                      <a:pt x="6" y="46"/>
                    </a:lnTo>
                    <a:lnTo>
                      <a:pt x="5" y="45"/>
                    </a:lnTo>
                    <a:lnTo>
                      <a:pt x="2" y="47"/>
                    </a:lnTo>
                    <a:lnTo>
                      <a:pt x="0" y="48"/>
                    </a:lnTo>
                    <a:lnTo>
                      <a:pt x="2" y="49"/>
                    </a:lnTo>
                    <a:lnTo>
                      <a:pt x="2" y="51"/>
                    </a:lnTo>
                    <a:lnTo>
                      <a:pt x="2" y="53"/>
                    </a:lnTo>
                    <a:lnTo>
                      <a:pt x="4" y="55"/>
                    </a:lnTo>
                    <a:lnTo>
                      <a:pt x="5" y="55"/>
                    </a:lnTo>
                    <a:lnTo>
                      <a:pt x="5" y="57"/>
                    </a:lnTo>
                    <a:lnTo>
                      <a:pt x="7" y="58"/>
                    </a:lnTo>
                    <a:lnTo>
                      <a:pt x="9" y="59"/>
                    </a:lnTo>
                    <a:lnTo>
                      <a:pt x="9" y="60"/>
                    </a:lnTo>
                    <a:lnTo>
                      <a:pt x="11" y="58"/>
                    </a:lnTo>
                    <a:lnTo>
                      <a:pt x="14" y="59"/>
                    </a:lnTo>
                    <a:lnTo>
                      <a:pt x="14" y="60"/>
                    </a:lnTo>
                    <a:lnTo>
                      <a:pt x="13" y="59"/>
                    </a:lnTo>
                    <a:lnTo>
                      <a:pt x="14" y="61"/>
                    </a:lnTo>
                    <a:lnTo>
                      <a:pt x="16" y="61"/>
                    </a:lnTo>
                    <a:lnTo>
                      <a:pt x="17" y="62"/>
                    </a:lnTo>
                    <a:lnTo>
                      <a:pt x="16" y="63"/>
                    </a:lnTo>
                    <a:lnTo>
                      <a:pt x="14" y="63"/>
                    </a:lnTo>
                    <a:lnTo>
                      <a:pt x="15" y="65"/>
                    </a:lnTo>
                    <a:lnTo>
                      <a:pt x="16" y="65"/>
                    </a:lnTo>
                    <a:lnTo>
                      <a:pt x="17" y="65"/>
                    </a:lnTo>
                    <a:lnTo>
                      <a:pt x="17" y="66"/>
                    </a:lnTo>
                    <a:lnTo>
                      <a:pt x="18" y="65"/>
                    </a:lnTo>
                    <a:lnTo>
                      <a:pt x="19" y="66"/>
                    </a:lnTo>
                    <a:lnTo>
                      <a:pt x="20" y="67"/>
                    </a:lnTo>
                    <a:lnTo>
                      <a:pt x="24" y="65"/>
                    </a:lnTo>
                    <a:lnTo>
                      <a:pt x="24" y="66"/>
                    </a:lnTo>
                    <a:lnTo>
                      <a:pt x="24" y="67"/>
                    </a:lnTo>
                    <a:lnTo>
                      <a:pt x="25" y="68"/>
                    </a:lnTo>
                    <a:lnTo>
                      <a:pt x="24" y="69"/>
                    </a:lnTo>
                    <a:lnTo>
                      <a:pt x="24" y="71"/>
                    </a:lnTo>
                    <a:lnTo>
                      <a:pt x="25" y="71"/>
                    </a:lnTo>
                    <a:lnTo>
                      <a:pt x="27" y="67"/>
                    </a:lnTo>
                    <a:lnTo>
                      <a:pt x="27" y="69"/>
                    </a:lnTo>
                    <a:lnTo>
                      <a:pt x="27" y="70"/>
                    </a:lnTo>
                    <a:lnTo>
                      <a:pt x="28" y="70"/>
                    </a:lnTo>
                    <a:lnTo>
                      <a:pt x="27" y="72"/>
                    </a:lnTo>
                    <a:lnTo>
                      <a:pt x="27" y="74"/>
                    </a:lnTo>
                    <a:lnTo>
                      <a:pt x="24" y="76"/>
                    </a:lnTo>
                    <a:lnTo>
                      <a:pt x="24" y="78"/>
                    </a:lnTo>
                    <a:lnTo>
                      <a:pt x="27" y="80"/>
                    </a:lnTo>
                    <a:lnTo>
                      <a:pt x="34" y="87"/>
                    </a:lnTo>
                    <a:lnTo>
                      <a:pt x="35" y="86"/>
                    </a:lnTo>
                    <a:lnTo>
                      <a:pt x="36" y="86"/>
                    </a:lnTo>
                    <a:lnTo>
                      <a:pt x="36" y="88"/>
                    </a:lnTo>
                    <a:lnTo>
                      <a:pt x="37" y="87"/>
                    </a:lnTo>
                    <a:lnTo>
                      <a:pt x="38" y="88"/>
                    </a:lnTo>
                    <a:lnTo>
                      <a:pt x="38" y="89"/>
                    </a:lnTo>
                    <a:lnTo>
                      <a:pt x="38" y="90"/>
                    </a:lnTo>
                    <a:lnTo>
                      <a:pt x="39" y="91"/>
                    </a:lnTo>
                    <a:lnTo>
                      <a:pt x="40" y="89"/>
                    </a:lnTo>
                    <a:lnTo>
                      <a:pt x="41" y="92"/>
                    </a:lnTo>
                    <a:lnTo>
                      <a:pt x="40" y="94"/>
                    </a:lnTo>
                    <a:lnTo>
                      <a:pt x="41" y="95"/>
                    </a:lnTo>
                    <a:lnTo>
                      <a:pt x="40" y="96"/>
                    </a:lnTo>
                    <a:lnTo>
                      <a:pt x="41" y="98"/>
                    </a:lnTo>
                    <a:lnTo>
                      <a:pt x="40" y="97"/>
                    </a:lnTo>
                    <a:lnTo>
                      <a:pt x="38" y="98"/>
                    </a:lnTo>
                    <a:lnTo>
                      <a:pt x="36" y="100"/>
                    </a:lnTo>
                    <a:lnTo>
                      <a:pt x="39" y="105"/>
                    </a:lnTo>
                    <a:lnTo>
                      <a:pt x="40" y="106"/>
                    </a:lnTo>
                    <a:lnTo>
                      <a:pt x="40" y="108"/>
                    </a:lnTo>
                    <a:lnTo>
                      <a:pt x="40" y="109"/>
                    </a:lnTo>
                    <a:lnTo>
                      <a:pt x="39" y="110"/>
                    </a:lnTo>
                    <a:lnTo>
                      <a:pt x="38" y="109"/>
                    </a:lnTo>
                    <a:lnTo>
                      <a:pt x="38" y="112"/>
                    </a:lnTo>
                    <a:lnTo>
                      <a:pt x="37" y="112"/>
                    </a:lnTo>
                    <a:lnTo>
                      <a:pt x="36" y="113"/>
                    </a:lnTo>
                    <a:lnTo>
                      <a:pt x="36" y="114"/>
                    </a:lnTo>
                    <a:lnTo>
                      <a:pt x="33" y="117"/>
                    </a:lnTo>
                    <a:lnTo>
                      <a:pt x="35" y="119"/>
                    </a:lnTo>
                    <a:lnTo>
                      <a:pt x="33" y="119"/>
                    </a:lnTo>
                    <a:lnTo>
                      <a:pt x="30" y="120"/>
                    </a:lnTo>
                    <a:lnTo>
                      <a:pt x="29" y="120"/>
                    </a:lnTo>
                    <a:lnTo>
                      <a:pt x="29" y="122"/>
                    </a:lnTo>
                    <a:lnTo>
                      <a:pt x="28" y="123"/>
                    </a:lnTo>
                    <a:lnTo>
                      <a:pt x="30" y="124"/>
                    </a:lnTo>
                    <a:lnTo>
                      <a:pt x="30" y="127"/>
                    </a:lnTo>
                    <a:lnTo>
                      <a:pt x="29" y="129"/>
                    </a:lnTo>
                    <a:lnTo>
                      <a:pt x="30" y="129"/>
                    </a:lnTo>
                    <a:lnTo>
                      <a:pt x="29" y="132"/>
                    </a:lnTo>
                    <a:lnTo>
                      <a:pt x="28" y="132"/>
                    </a:lnTo>
                    <a:lnTo>
                      <a:pt x="28" y="130"/>
                    </a:lnTo>
                    <a:lnTo>
                      <a:pt x="27" y="133"/>
                    </a:lnTo>
                    <a:lnTo>
                      <a:pt x="28" y="134"/>
                    </a:lnTo>
                    <a:lnTo>
                      <a:pt x="28" y="136"/>
                    </a:lnTo>
                    <a:lnTo>
                      <a:pt x="27" y="136"/>
                    </a:lnTo>
                    <a:lnTo>
                      <a:pt x="30" y="140"/>
                    </a:lnTo>
                    <a:lnTo>
                      <a:pt x="32" y="142"/>
                    </a:lnTo>
                    <a:lnTo>
                      <a:pt x="33" y="143"/>
                    </a:lnTo>
                    <a:lnTo>
                      <a:pt x="35" y="146"/>
                    </a:lnTo>
                    <a:lnTo>
                      <a:pt x="36" y="147"/>
                    </a:lnTo>
                    <a:lnTo>
                      <a:pt x="38" y="147"/>
                    </a:lnTo>
                    <a:lnTo>
                      <a:pt x="41" y="152"/>
                    </a:lnTo>
                    <a:lnTo>
                      <a:pt x="43" y="152"/>
                    </a:lnTo>
                    <a:lnTo>
                      <a:pt x="43" y="153"/>
                    </a:lnTo>
                    <a:lnTo>
                      <a:pt x="44" y="155"/>
                    </a:lnTo>
                    <a:lnTo>
                      <a:pt x="47" y="155"/>
                    </a:lnTo>
                    <a:lnTo>
                      <a:pt x="46" y="157"/>
                    </a:lnTo>
                    <a:lnTo>
                      <a:pt x="47" y="159"/>
                    </a:lnTo>
                    <a:lnTo>
                      <a:pt x="49" y="159"/>
                    </a:lnTo>
                    <a:lnTo>
                      <a:pt x="49" y="160"/>
                    </a:lnTo>
                    <a:lnTo>
                      <a:pt x="50" y="160"/>
                    </a:lnTo>
                    <a:lnTo>
                      <a:pt x="49" y="160"/>
                    </a:lnTo>
                    <a:lnTo>
                      <a:pt x="50" y="163"/>
                    </a:lnTo>
                    <a:lnTo>
                      <a:pt x="49" y="164"/>
                    </a:lnTo>
                    <a:lnTo>
                      <a:pt x="49" y="165"/>
                    </a:lnTo>
                    <a:lnTo>
                      <a:pt x="50" y="163"/>
                    </a:lnTo>
                    <a:lnTo>
                      <a:pt x="50" y="164"/>
                    </a:lnTo>
                    <a:lnTo>
                      <a:pt x="52" y="163"/>
                    </a:lnTo>
                    <a:lnTo>
                      <a:pt x="52" y="164"/>
                    </a:lnTo>
                    <a:lnTo>
                      <a:pt x="53" y="164"/>
                    </a:lnTo>
                    <a:lnTo>
                      <a:pt x="55" y="164"/>
                    </a:lnTo>
                    <a:lnTo>
                      <a:pt x="57" y="164"/>
                    </a:lnTo>
                    <a:lnTo>
                      <a:pt x="57" y="165"/>
                    </a:lnTo>
                    <a:lnTo>
                      <a:pt x="58" y="165"/>
                    </a:lnTo>
                    <a:lnTo>
                      <a:pt x="58" y="164"/>
                    </a:lnTo>
                    <a:lnTo>
                      <a:pt x="60" y="164"/>
                    </a:lnTo>
                    <a:lnTo>
                      <a:pt x="60" y="163"/>
                    </a:lnTo>
                    <a:lnTo>
                      <a:pt x="63" y="163"/>
                    </a:lnTo>
                    <a:lnTo>
                      <a:pt x="62" y="164"/>
                    </a:lnTo>
                    <a:lnTo>
                      <a:pt x="63" y="168"/>
                    </a:lnTo>
                    <a:lnTo>
                      <a:pt x="64" y="167"/>
                    </a:lnTo>
                    <a:lnTo>
                      <a:pt x="65" y="168"/>
                    </a:lnTo>
                    <a:lnTo>
                      <a:pt x="67" y="168"/>
                    </a:lnTo>
                    <a:lnTo>
                      <a:pt x="68" y="164"/>
                    </a:lnTo>
                    <a:lnTo>
                      <a:pt x="69" y="163"/>
                    </a:lnTo>
                    <a:lnTo>
                      <a:pt x="70" y="166"/>
                    </a:lnTo>
                    <a:lnTo>
                      <a:pt x="71" y="166"/>
                    </a:lnTo>
                    <a:lnTo>
                      <a:pt x="72" y="166"/>
                    </a:lnTo>
                    <a:lnTo>
                      <a:pt x="72" y="167"/>
                    </a:lnTo>
                    <a:lnTo>
                      <a:pt x="75" y="167"/>
                    </a:lnTo>
                    <a:lnTo>
                      <a:pt x="76" y="169"/>
                    </a:lnTo>
                    <a:lnTo>
                      <a:pt x="74" y="169"/>
                    </a:lnTo>
                    <a:lnTo>
                      <a:pt x="74" y="170"/>
                    </a:lnTo>
                    <a:lnTo>
                      <a:pt x="76" y="172"/>
                    </a:lnTo>
                    <a:lnTo>
                      <a:pt x="77" y="170"/>
                    </a:lnTo>
                    <a:lnTo>
                      <a:pt x="77" y="172"/>
                    </a:lnTo>
                    <a:lnTo>
                      <a:pt x="79" y="173"/>
                    </a:lnTo>
                    <a:lnTo>
                      <a:pt x="81" y="171"/>
                    </a:lnTo>
                    <a:lnTo>
                      <a:pt x="81" y="172"/>
                    </a:lnTo>
                    <a:lnTo>
                      <a:pt x="82" y="173"/>
                    </a:lnTo>
                    <a:lnTo>
                      <a:pt x="82" y="176"/>
                    </a:lnTo>
                    <a:lnTo>
                      <a:pt x="83" y="176"/>
                    </a:lnTo>
                    <a:lnTo>
                      <a:pt x="84" y="176"/>
                    </a:lnTo>
                    <a:lnTo>
                      <a:pt x="83" y="177"/>
                    </a:lnTo>
                    <a:lnTo>
                      <a:pt x="82" y="177"/>
                    </a:lnTo>
                    <a:lnTo>
                      <a:pt x="83" y="178"/>
                    </a:lnTo>
                    <a:lnTo>
                      <a:pt x="84" y="178"/>
                    </a:lnTo>
                    <a:lnTo>
                      <a:pt x="84" y="179"/>
                    </a:lnTo>
                    <a:lnTo>
                      <a:pt x="85" y="178"/>
                    </a:lnTo>
                    <a:lnTo>
                      <a:pt x="85" y="179"/>
                    </a:lnTo>
                    <a:lnTo>
                      <a:pt x="86" y="181"/>
                    </a:lnTo>
                    <a:lnTo>
                      <a:pt x="85" y="181"/>
                    </a:lnTo>
                    <a:lnTo>
                      <a:pt x="89" y="184"/>
                    </a:lnTo>
                    <a:lnTo>
                      <a:pt x="89" y="183"/>
                    </a:lnTo>
                    <a:lnTo>
                      <a:pt x="93" y="183"/>
                    </a:lnTo>
                    <a:lnTo>
                      <a:pt x="94" y="185"/>
                    </a:lnTo>
                    <a:lnTo>
                      <a:pt x="96" y="185"/>
                    </a:lnTo>
                    <a:lnTo>
                      <a:pt x="98" y="186"/>
                    </a:lnTo>
                    <a:lnTo>
                      <a:pt x="98" y="185"/>
                    </a:lnTo>
                    <a:lnTo>
                      <a:pt x="100" y="185"/>
                    </a:lnTo>
                    <a:lnTo>
                      <a:pt x="99" y="187"/>
                    </a:lnTo>
                    <a:lnTo>
                      <a:pt x="97" y="192"/>
                    </a:lnTo>
                    <a:lnTo>
                      <a:pt x="97" y="195"/>
                    </a:lnTo>
                    <a:lnTo>
                      <a:pt x="97" y="197"/>
                    </a:lnTo>
                    <a:lnTo>
                      <a:pt x="99" y="197"/>
                    </a:lnTo>
                    <a:lnTo>
                      <a:pt x="101" y="195"/>
                    </a:lnTo>
                    <a:lnTo>
                      <a:pt x="101" y="196"/>
                    </a:lnTo>
                    <a:lnTo>
                      <a:pt x="101" y="195"/>
                    </a:lnTo>
                    <a:lnTo>
                      <a:pt x="102" y="194"/>
                    </a:lnTo>
                    <a:lnTo>
                      <a:pt x="104" y="197"/>
                    </a:lnTo>
                    <a:lnTo>
                      <a:pt x="105" y="196"/>
                    </a:lnTo>
                    <a:lnTo>
                      <a:pt x="106" y="197"/>
                    </a:lnTo>
                    <a:lnTo>
                      <a:pt x="108" y="199"/>
                    </a:lnTo>
                    <a:lnTo>
                      <a:pt x="109" y="199"/>
                    </a:lnTo>
                    <a:lnTo>
                      <a:pt x="111" y="204"/>
                    </a:lnTo>
                    <a:lnTo>
                      <a:pt x="115" y="206"/>
                    </a:lnTo>
                    <a:lnTo>
                      <a:pt x="116" y="208"/>
                    </a:lnTo>
                    <a:lnTo>
                      <a:pt x="118" y="206"/>
                    </a:lnTo>
                    <a:lnTo>
                      <a:pt x="120" y="205"/>
                    </a:lnTo>
                    <a:lnTo>
                      <a:pt x="120" y="210"/>
                    </a:lnTo>
                    <a:lnTo>
                      <a:pt x="118" y="211"/>
                    </a:lnTo>
                    <a:lnTo>
                      <a:pt x="115" y="216"/>
                    </a:lnTo>
                    <a:lnTo>
                      <a:pt x="117" y="219"/>
                    </a:lnTo>
                    <a:lnTo>
                      <a:pt x="116" y="220"/>
                    </a:lnTo>
                    <a:lnTo>
                      <a:pt x="120" y="224"/>
                    </a:lnTo>
                    <a:lnTo>
                      <a:pt x="123" y="224"/>
                    </a:lnTo>
                    <a:lnTo>
                      <a:pt x="126" y="227"/>
                    </a:lnTo>
                    <a:lnTo>
                      <a:pt x="128" y="228"/>
                    </a:lnTo>
                    <a:lnTo>
                      <a:pt x="128" y="229"/>
                    </a:lnTo>
                    <a:lnTo>
                      <a:pt x="129" y="229"/>
                    </a:lnTo>
                    <a:lnTo>
                      <a:pt x="132" y="234"/>
                    </a:lnTo>
                    <a:lnTo>
                      <a:pt x="133" y="234"/>
                    </a:lnTo>
                    <a:lnTo>
                      <a:pt x="134" y="233"/>
                    </a:lnTo>
                    <a:lnTo>
                      <a:pt x="136" y="233"/>
                    </a:lnTo>
                    <a:lnTo>
                      <a:pt x="138" y="234"/>
                    </a:lnTo>
                    <a:lnTo>
                      <a:pt x="140" y="234"/>
                    </a:lnTo>
                    <a:lnTo>
                      <a:pt x="143" y="233"/>
                    </a:lnTo>
                    <a:lnTo>
                      <a:pt x="142" y="227"/>
                    </a:lnTo>
                    <a:lnTo>
                      <a:pt x="146" y="229"/>
                    </a:lnTo>
                    <a:lnTo>
                      <a:pt x="147" y="228"/>
                    </a:lnTo>
                    <a:lnTo>
                      <a:pt x="148" y="228"/>
                    </a:lnTo>
                    <a:lnTo>
                      <a:pt x="147" y="224"/>
                    </a:lnTo>
                    <a:lnTo>
                      <a:pt x="148" y="220"/>
                    </a:lnTo>
                    <a:lnTo>
                      <a:pt x="155" y="215"/>
                    </a:lnTo>
                    <a:lnTo>
                      <a:pt x="156" y="212"/>
                    </a:lnTo>
                    <a:lnTo>
                      <a:pt x="158" y="212"/>
                    </a:lnTo>
                    <a:lnTo>
                      <a:pt x="158" y="214"/>
                    </a:lnTo>
                    <a:lnTo>
                      <a:pt x="159" y="213"/>
                    </a:lnTo>
                    <a:lnTo>
                      <a:pt x="159" y="214"/>
                    </a:lnTo>
                    <a:lnTo>
                      <a:pt x="158" y="215"/>
                    </a:lnTo>
                    <a:lnTo>
                      <a:pt x="159" y="217"/>
                    </a:lnTo>
                    <a:lnTo>
                      <a:pt x="158" y="217"/>
                    </a:lnTo>
                    <a:lnTo>
                      <a:pt x="158" y="219"/>
                    </a:lnTo>
                    <a:lnTo>
                      <a:pt x="161" y="223"/>
                    </a:lnTo>
                    <a:lnTo>
                      <a:pt x="163" y="223"/>
                    </a:lnTo>
                    <a:lnTo>
                      <a:pt x="165" y="223"/>
                    </a:lnTo>
                    <a:lnTo>
                      <a:pt x="166" y="224"/>
                    </a:lnTo>
                    <a:lnTo>
                      <a:pt x="168" y="226"/>
                    </a:lnTo>
                    <a:lnTo>
                      <a:pt x="169" y="227"/>
                    </a:lnTo>
                    <a:lnTo>
                      <a:pt x="170" y="224"/>
                    </a:lnTo>
                    <a:lnTo>
                      <a:pt x="171" y="225"/>
                    </a:lnTo>
                    <a:lnTo>
                      <a:pt x="172" y="225"/>
                    </a:lnTo>
                    <a:lnTo>
                      <a:pt x="174" y="227"/>
                    </a:lnTo>
                    <a:lnTo>
                      <a:pt x="175" y="227"/>
                    </a:lnTo>
                    <a:lnTo>
                      <a:pt x="176" y="229"/>
                    </a:lnTo>
                    <a:lnTo>
                      <a:pt x="177" y="230"/>
                    </a:lnTo>
                    <a:lnTo>
                      <a:pt x="177" y="231"/>
                    </a:lnTo>
                    <a:lnTo>
                      <a:pt x="179" y="233"/>
                    </a:lnTo>
                    <a:lnTo>
                      <a:pt x="180" y="239"/>
                    </a:lnTo>
                    <a:lnTo>
                      <a:pt x="182" y="241"/>
                    </a:lnTo>
                    <a:lnTo>
                      <a:pt x="183" y="240"/>
                    </a:lnTo>
                    <a:lnTo>
                      <a:pt x="185" y="240"/>
                    </a:lnTo>
                    <a:lnTo>
                      <a:pt x="189" y="241"/>
                    </a:lnTo>
                    <a:lnTo>
                      <a:pt x="192" y="239"/>
                    </a:lnTo>
                    <a:lnTo>
                      <a:pt x="194" y="241"/>
                    </a:lnTo>
                    <a:lnTo>
                      <a:pt x="195" y="244"/>
                    </a:lnTo>
                    <a:lnTo>
                      <a:pt x="194" y="245"/>
                    </a:lnTo>
                    <a:lnTo>
                      <a:pt x="195" y="246"/>
                    </a:lnTo>
                    <a:lnTo>
                      <a:pt x="197" y="244"/>
                    </a:lnTo>
                    <a:lnTo>
                      <a:pt x="200" y="244"/>
                    </a:lnTo>
                    <a:lnTo>
                      <a:pt x="201" y="246"/>
                    </a:lnTo>
                    <a:lnTo>
                      <a:pt x="203" y="249"/>
                    </a:lnTo>
                    <a:lnTo>
                      <a:pt x="205" y="249"/>
                    </a:lnTo>
                    <a:lnTo>
                      <a:pt x="205" y="247"/>
                    </a:lnTo>
                    <a:lnTo>
                      <a:pt x="207" y="247"/>
                    </a:lnTo>
                    <a:lnTo>
                      <a:pt x="207" y="250"/>
                    </a:lnTo>
                    <a:lnTo>
                      <a:pt x="209" y="251"/>
                    </a:lnTo>
                    <a:lnTo>
                      <a:pt x="209" y="253"/>
                    </a:lnTo>
                    <a:lnTo>
                      <a:pt x="211" y="253"/>
                    </a:lnTo>
                    <a:lnTo>
                      <a:pt x="211" y="254"/>
                    </a:lnTo>
                    <a:lnTo>
                      <a:pt x="212" y="253"/>
                    </a:lnTo>
                    <a:lnTo>
                      <a:pt x="215" y="255"/>
                    </a:lnTo>
                    <a:lnTo>
                      <a:pt x="218" y="256"/>
                    </a:lnTo>
                    <a:lnTo>
                      <a:pt x="219" y="258"/>
                    </a:lnTo>
                    <a:lnTo>
                      <a:pt x="222" y="264"/>
                    </a:lnTo>
                    <a:lnTo>
                      <a:pt x="224" y="267"/>
                    </a:lnTo>
                    <a:lnTo>
                      <a:pt x="226" y="268"/>
                    </a:lnTo>
                    <a:lnTo>
                      <a:pt x="224" y="272"/>
                    </a:lnTo>
                    <a:lnTo>
                      <a:pt x="227" y="274"/>
                    </a:lnTo>
                    <a:lnTo>
                      <a:pt x="228" y="275"/>
                    </a:lnTo>
                    <a:lnTo>
                      <a:pt x="229" y="278"/>
                    </a:lnTo>
                    <a:lnTo>
                      <a:pt x="231" y="278"/>
                    </a:lnTo>
                    <a:lnTo>
                      <a:pt x="232" y="278"/>
                    </a:lnTo>
                    <a:lnTo>
                      <a:pt x="233" y="276"/>
                    </a:lnTo>
                    <a:lnTo>
                      <a:pt x="236" y="279"/>
                    </a:lnTo>
                    <a:lnTo>
                      <a:pt x="237" y="278"/>
                    </a:lnTo>
                    <a:lnTo>
                      <a:pt x="240" y="281"/>
                    </a:lnTo>
                    <a:lnTo>
                      <a:pt x="243" y="281"/>
                    </a:lnTo>
                    <a:lnTo>
                      <a:pt x="245" y="283"/>
                    </a:lnTo>
                    <a:lnTo>
                      <a:pt x="246" y="285"/>
                    </a:lnTo>
                    <a:lnTo>
                      <a:pt x="248" y="289"/>
                    </a:lnTo>
                    <a:lnTo>
                      <a:pt x="250" y="289"/>
                    </a:lnTo>
                    <a:lnTo>
                      <a:pt x="252" y="291"/>
                    </a:lnTo>
                    <a:lnTo>
                      <a:pt x="252" y="293"/>
                    </a:lnTo>
                    <a:lnTo>
                      <a:pt x="255" y="299"/>
                    </a:lnTo>
                    <a:lnTo>
                      <a:pt x="256" y="300"/>
                    </a:lnTo>
                    <a:lnTo>
                      <a:pt x="257" y="302"/>
                    </a:lnTo>
                    <a:lnTo>
                      <a:pt x="259" y="304"/>
                    </a:lnTo>
                    <a:lnTo>
                      <a:pt x="259" y="301"/>
                    </a:lnTo>
                    <a:lnTo>
                      <a:pt x="263" y="298"/>
                    </a:lnTo>
                    <a:lnTo>
                      <a:pt x="262" y="295"/>
                    </a:lnTo>
                    <a:lnTo>
                      <a:pt x="263" y="293"/>
                    </a:lnTo>
                    <a:lnTo>
                      <a:pt x="265" y="294"/>
                    </a:lnTo>
                    <a:lnTo>
                      <a:pt x="267" y="294"/>
                    </a:lnTo>
                    <a:lnTo>
                      <a:pt x="268" y="292"/>
                    </a:lnTo>
                    <a:lnTo>
                      <a:pt x="269" y="293"/>
                    </a:lnTo>
                    <a:lnTo>
                      <a:pt x="270" y="293"/>
                    </a:lnTo>
                    <a:lnTo>
                      <a:pt x="272" y="294"/>
                    </a:lnTo>
                    <a:lnTo>
                      <a:pt x="270" y="298"/>
                    </a:lnTo>
                    <a:lnTo>
                      <a:pt x="272" y="298"/>
                    </a:lnTo>
                    <a:lnTo>
                      <a:pt x="273" y="297"/>
                    </a:lnTo>
                    <a:lnTo>
                      <a:pt x="274" y="297"/>
                    </a:lnTo>
                    <a:lnTo>
                      <a:pt x="275" y="297"/>
                    </a:lnTo>
                    <a:lnTo>
                      <a:pt x="278" y="297"/>
                    </a:lnTo>
                    <a:lnTo>
                      <a:pt x="282" y="294"/>
                    </a:lnTo>
                    <a:lnTo>
                      <a:pt x="284" y="294"/>
                    </a:lnTo>
                    <a:lnTo>
                      <a:pt x="286" y="298"/>
                    </a:lnTo>
                    <a:lnTo>
                      <a:pt x="288" y="298"/>
                    </a:lnTo>
                    <a:lnTo>
                      <a:pt x="290" y="299"/>
                    </a:lnTo>
                    <a:lnTo>
                      <a:pt x="290" y="298"/>
                    </a:lnTo>
                    <a:lnTo>
                      <a:pt x="295" y="299"/>
                    </a:lnTo>
                    <a:lnTo>
                      <a:pt x="296" y="298"/>
                    </a:lnTo>
                    <a:lnTo>
                      <a:pt x="296" y="300"/>
                    </a:lnTo>
                    <a:lnTo>
                      <a:pt x="297" y="299"/>
                    </a:lnTo>
                    <a:lnTo>
                      <a:pt x="297" y="298"/>
                    </a:lnTo>
                    <a:lnTo>
                      <a:pt x="296" y="295"/>
                    </a:lnTo>
                    <a:lnTo>
                      <a:pt x="298" y="293"/>
                    </a:lnTo>
                    <a:lnTo>
                      <a:pt x="298" y="292"/>
                    </a:lnTo>
                    <a:lnTo>
                      <a:pt x="299" y="291"/>
                    </a:lnTo>
                    <a:lnTo>
                      <a:pt x="299" y="289"/>
                    </a:lnTo>
                    <a:lnTo>
                      <a:pt x="299" y="286"/>
                    </a:lnTo>
                    <a:lnTo>
                      <a:pt x="301" y="284"/>
                    </a:lnTo>
                    <a:lnTo>
                      <a:pt x="301" y="283"/>
                    </a:lnTo>
                    <a:lnTo>
                      <a:pt x="302" y="282"/>
                    </a:lnTo>
                    <a:lnTo>
                      <a:pt x="304" y="282"/>
                    </a:lnTo>
                    <a:lnTo>
                      <a:pt x="305" y="284"/>
                    </a:lnTo>
                    <a:lnTo>
                      <a:pt x="306" y="284"/>
                    </a:lnTo>
                    <a:lnTo>
                      <a:pt x="308" y="282"/>
                    </a:lnTo>
                    <a:lnTo>
                      <a:pt x="308" y="284"/>
                    </a:lnTo>
                    <a:lnTo>
                      <a:pt x="310" y="286"/>
                    </a:lnTo>
                    <a:lnTo>
                      <a:pt x="312" y="285"/>
                    </a:lnTo>
                    <a:lnTo>
                      <a:pt x="314" y="286"/>
                    </a:lnTo>
                    <a:lnTo>
                      <a:pt x="315" y="287"/>
                    </a:lnTo>
                    <a:lnTo>
                      <a:pt x="318" y="287"/>
                    </a:lnTo>
                    <a:lnTo>
                      <a:pt x="318" y="286"/>
                    </a:lnTo>
                    <a:lnTo>
                      <a:pt x="319" y="286"/>
                    </a:lnTo>
                    <a:lnTo>
                      <a:pt x="319" y="285"/>
                    </a:lnTo>
                    <a:lnTo>
                      <a:pt x="319" y="283"/>
                    </a:lnTo>
                    <a:lnTo>
                      <a:pt x="320" y="283"/>
                    </a:lnTo>
                    <a:lnTo>
                      <a:pt x="324" y="285"/>
                    </a:lnTo>
                    <a:lnTo>
                      <a:pt x="328" y="290"/>
                    </a:lnTo>
                    <a:lnTo>
                      <a:pt x="331" y="287"/>
                    </a:lnTo>
                    <a:lnTo>
                      <a:pt x="333" y="289"/>
                    </a:lnTo>
                    <a:lnTo>
                      <a:pt x="333" y="287"/>
                    </a:lnTo>
                    <a:lnTo>
                      <a:pt x="332" y="287"/>
                    </a:lnTo>
                    <a:lnTo>
                      <a:pt x="332" y="286"/>
                    </a:lnTo>
                    <a:lnTo>
                      <a:pt x="336" y="289"/>
                    </a:lnTo>
                    <a:lnTo>
                      <a:pt x="337" y="289"/>
                    </a:lnTo>
                    <a:lnTo>
                      <a:pt x="339" y="289"/>
                    </a:lnTo>
                    <a:lnTo>
                      <a:pt x="341" y="288"/>
                    </a:lnTo>
                    <a:lnTo>
                      <a:pt x="340" y="289"/>
                    </a:lnTo>
                    <a:lnTo>
                      <a:pt x="345" y="291"/>
                    </a:lnTo>
                    <a:lnTo>
                      <a:pt x="346" y="294"/>
                    </a:lnTo>
                    <a:lnTo>
                      <a:pt x="347" y="294"/>
                    </a:lnTo>
                    <a:lnTo>
                      <a:pt x="348" y="294"/>
                    </a:lnTo>
                    <a:lnTo>
                      <a:pt x="355" y="299"/>
                    </a:lnTo>
                    <a:lnTo>
                      <a:pt x="356" y="300"/>
                    </a:lnTo>
                    <a:lnTo>
                      <a:pt x="360" y="303"/>
                    </a:lnTo>
                    <a:lnTo>
                      <a:pt x="363" y="305"/>
                    </a:lnTo>
                    <a:lnTo>
                      <a:pt x="368" y="304"/>
                    </a:lnTo>
                    <a:lnTo>
                      <a:pt x="368" y="302"/>
                    </a:lnTo>
                    <a:lnTo>
                      <a:pt x="369" y="301"/>
                    </a:lnTo>
                    <a:lnTo>
                      <a:pt x="369" y="300"/>
                    </a:lnTo>
                    <a:lnTo>
                      <a:pt x="368" y="298"/>
                    </a:lnTo>
                    <a:lnTo>
                      <a:pt x="370" y="297"/>
                    </a:lnTo>
                    <a:lnTo>
                      <a:pt x="371" y="293"/>
                    </a:lnTo>
                    <a:lnTo>
                      <a:pt x="372" y="292"/>
                    </a:lnTo>
                    <a:lnTo>
                      <a:pt x="372" y="291"/>
                    </a:lnTo>
                    <a:lnTo>
                      <a:pt x="373" y="291"/>
                    </a:lnTo>
                    <a:lnTo>
                      <a:pt x="373" y="293"/>
                    </a:lnTo>
                    <a:lnTo>
                      <a:pt x="374" y="294"/>
                    </a:lnTo>
                    <a:lnTo>
                      <a:pt x="375" y="293"/>
                    </a:lnTo>
                    <a:lnTo>
                      <a:pt x="372" y="290"/>
                    </a:lnTo>
                    <a:lnTo>
                      <a:pt x="370" y="286"/>
                    </a:lnTo>
                    <a:lnTo>
                      <a:pt x="370" y="284"/>
                    </a:lnTo>
                    <a:lnTo>
                      <a:pt x="371" y="283"/>
                    </a:lnTo>
                    <a:lnTo>
                      <a:pt x="371" y="278"/>
                    </a:lnTo>
                    <a:lnTo>
                      <a:pt x="373" y="278"/>
                    </a:lnTo>
                    <a:lnTo>
                      <a:pt x="373" y="276"/>
                    </a:lnTo>
                    <a:lnTo>
                      <a:pt x="375" y="274"/>
                    </a:lnTo>
                    <a:lnTo>
                      <a:pt x="377" y="274"/>
                    </a:lnTo>
                    <a:lnTo>
                      <a:pt x="378" y="274"/>
                    </a:lnTo>
                    <a:lnTo>
                      <a:pt x="378" y="273"/>
                    </a:lnTo>
                    <a:lnTo>
                      <a:pt x="378" y="271"/>
                    </a:lnTo>
                    <a:lnTo>
                      <a:pt x="380" y="270"/>
                    </a:lnTo>
                    <a:lnTo>
                      <a:pt x="382" y="270"/>
                    </a:lnTo>
                    <a:lnTo>
                      <a:pt x="384" y="268"/>
                    </a:lnTo>
                    <a:lnTo>
                      <a:pt x="383" y="265"/>
                    </a:lnTo>
                    <a:lnTo>
                      <a:pt x="385" y="258"/>
                    </a:lnTo>
                    <a:lnTo>
                      <a:pt x="385" y="256"/>
                    </a:lnTo>
                    <a:lnTo>
                      <a:pt x="384" y="257"/>
                    </a:lnTo>
                    <a:lnTo>
                      <a:pt x="384" y="255"/>
                    </a:lnTo>
                    <a:lnTo>
                      <a:pt x="383" y="255"/>
                    </a:lnTo>
                    <a:lnTo>
                      <a:pt x="385" y="251"/>
                    </a:lnTo>
                    <a:lnTo>
                      <a:pt x="386" y="249"/>
                    </a:lnTo>
                    <a:lnTo>
                      <a:pt x="383" y="247"/>
                    </a:lnTo>
                    <a:lnTo>
                      <a:pt x="382" y="244"/>
                    </a:lnTo>
                    <a:lnTo>
                      <a:pt x="379" y="244"/>
                    </a:lnTo>
                    <a:lnTo>
                      <a:pt x="378" y="245"/>
                    </a:lnTo>
                    <a:lnTo>
                      <a:pt x="377" y="244"/>
                    </a:lnTo>
                    <a:lnTo>
                      <a:pt x="377" y="242"/>
                    </a:lnTo>
                    <a:lnTo>
                      <a:pt x="375" y="242"/>
                    </a:lnTo>
                    <a:lnTo>
                      <a:pt x="375" y="244"/>
                    </a:lnTo>
                    <a:lnTo>
                      <a:pt x="373" y="244"/>
                    </a:lnTo>
                    <a:lnTo>
                      <a:pt x="371" y="244"/>
                    </a:lnTo>
                    <a:lnTo>
                      <a:pt x="371" y="242"/>
                    </a:lnTo>
                    <a:lnTo>
                      <a:pt x="373" y="241"/>
                    </a:lnTo>
                    <a:lnTo>
                      <a:pt x="375" y="238"/>
                    </a:lnTo>
                    <a:lnTo>
                      <a:pt x="376" y="238"/>
                    </a:lnTo>
                    <a:lnTo>
                      <a:pt x="378" y="235"/>
                    </a:lnTo>
                    <a:lnTo>
                      <a:pt x="376" y="234"/>
                    </a:lnTo>
                    <a:lnTo>
                      <a:pt x="373" y="229"/>
                    </a:lnTo>
                    <a:lnTo>
                      <a:pt x="375" y="228"/>
                    </a:lnTo>
                    <a:lnTo>
                      <a:pt x="375" y="227"/>
                    </a:lnTo>
                    <a:lnTo>
                      <a:pt x="375" y="226"/>
                    </a:lnTo>
                    <a:lnTo>
                      <a:pt x="376" y="225"/>
                    </a:lnTo>
                    <a:lnTo>
                      <a:pt x="375" y="223"/>
                    </a:lnTo>
                    <a:lnTo>
                      <a:pt x="373" y="222"/>
                    </a:lnTo>
                    <a:lnTo>
                      <a:pt x="371" y="220"/>
                    </a:lnTo>
                    <a:lnTo>
                      <a:pt x="367" y="213"/>
                    </a:lnTo>
                    <a:lnTo>
                      <a:pt x="365" y="207"/>
                    </a:lnTo>
                    <a:lnTo>
                      <a:pt x="366" y="204"/>
                    </a:lnTo>
                    <a:lnTo>
                      <a:pt x="365" y="202"/>
                    </a:lnTo>
                    <a:lnTo>
                      <a:pt x="366" y="200"/>
                    </a:lnTo>
                    <a:lnTo>
                      <a:pt x="365" y="199"/>
                    </a:lnTo>
                    <a:lnTo>
                      <a:pt x="364" y="198"/>
                    </a:lnTo>
                    <a:lnTo>
                      <a:pt x="363" y="197"/>
                    </a:lnTo>
                    <a:lnTo>
                      <a:pt x="363" y="196"/>
                    </a:lnTo>
                    <a:lnTo>
                      <a:pt x="361" y="195"/>
                    </a:lnTo>
                    <a:lnTo>
                      <a:pt x="360" y="192"/>
                    </a:lnTo>
                    <a:lnTo>
                      <a:pt x="362" y="189"/>
                    </a:lnTo>
                    <a:lnTo>
                      <a:pt x="361" y="188"/>
                    </a:lnTo>
                    <a:lnTo>
                      <a:pt x="361" y="186"/>
                    </a:lnTo>
                    <a:lnTo>
                      <a:pt x="362" y="180"/>
                    </a:lnTo>
                    <a:lnTo>
                      <a:pt x="363" y="179"/>
                    </a:lnTo>
                    <a:lnTo>
                      <a:pt x="366" y="177"/>
                    </a:lnTo>
                    <a:lnTo>
                      <a:pt x="367" y="177"/>
                    </a:lnTo>
                    <a:lnTo>
                      <a:pt x="371" y="176"/>
                    </a:lnTo>
                    <a:lnTo>
                      <a:pt x="370" y="175"/>
                    </a:lnTo>
                    <a:lnTo>
                      <a:pt x="371" y="174"/>
                    </a:lnTo>
                    <a:lnTo>
                      <a:pt x="369" y="173"/>
                    </a:lnTo>
                    <a:lnTo>
                      <a:pt x="369" y="170"/>
                    </a:lnTo>
                    <a:lnTo>
                      <a:pt x="367" y="164"/>
                    </a:lnTo>
                    <a:lnTo>
                      <a:pt x="369" y="162"/>
                    </a:lnTo>
                    <a:lnTo>
                      <a:pt x="368" y="160"/>
                    </a:lnTo>
                    <a:lnTo>
                      <a:pt x="368" y="158"/>
                    </a:lnTo>
                    <a:lnTo>
                      <a:pt x="369" y="156"/>
                    </a:lnTo>
                    <a:lnTo>
                      <a:pt x="369" y="154"/>
                    </a:lnTo>
                    <a:lnTo>
                      <a:pt x="370" y="152"/>
                    </a:lnTo>
                    <a:lnTo>
                      <a:pt x="367" y="150"/>
                    </a:lnTo>
                    <a:lnTo>
                      <a:pt x="369" y="147"/>
                    </a:lnTo>
                    <a:lnTo>
                      <a:pt x="366" y="145"/>
                    </a:lnTo>
                    <a:lnTo>
                      <a:pt x="366" y="140"/>
                    </a:lnTo>
                    <a:lnTo>
                      <a:pt x="365" y="139"/>
                    </a:lnTo>
                    <a:lnTo>
                      <a:pt x="365" y="137"/>
                    </a:lnTo>
                    <a:lnTo>
                      <a:pt x="365" y="133"/>
                    </a:lnTo>
                    <a:lnTo>
                      <a:pt x="366" y="130"/>
                    </a:lnTo>
                    <a:lnTo>
                      <a:pt x="365" y="127"/>
                    </a:lnTo>
                    <a:lnTo>
                      <a:pt x="365" y="125"/>
                    </a:lnTo>
                    <a:lnTo>
                      <a:pt x="364" y="123"/>
                    </a:lnTo>
                    <a:lnTo>
                      <a:pt x="362" y="121"/>
                    </a:lnTo>
                    <a:lnTo>
                      <a:pt x="361" y="113"/>
                    </a:lnTo>
                    <a:lnTo>
                      <a:pt x="364" y="113"/>
                    </a:lnTo>
                    <a:lnTo>
                      <a:pt x="369" y="114"/>
                    </a:lnTo>
                    <a:lnTo>
                      <a:pt x="371" y="117"/>
                    </a:lnTo>
                    <a:lnTo>
                      <a:pt x="373" y="117"/>
                    </a:lnTo>
                    <a:lnTo>
                      <a:pt x="373" y="116"/>
                    </a:lnTo>
                    <a:lnTo>
                      <a:pt x="375" y="113"/>
                    </a:lnTo>
                    <a:lnTo>
                      <a:pt x="377" y="112"/>
                    </a:lnTo>
                    <a:lnTo>
                      <a:pt x="377" y="111"/>
                    </a:lnTo>
                    <a:lnTo>
                      <a:pt x="377" y="109"/>
                    </a:lnTo>
                    <a:lnTo>
                      <a:pt x="378" y="107"/>
                    </a:lnTo>
                    <a:lnTo>
                      <a:pt x="379" y="108"/>
                    </a:lnTo>
                    <a:lnTo>
                      <a:pt x="381" y="105"/>
                    </a:lnTo>
                    <a:lnTo>
                      <a:pt x="385" y="104"/>
                    </a:lnTo>
                    <a:lnTo>
                      <a:pt x="385" y="102"/>
                    </a:lnTo>
                    <a:lnTo>
                      <a:pt x="388" y="102"/>
                    </a:lnTo>
                    <a:lnTo>
                      <a:pt x="389" y="101"/>
                    </a:lnTo>
                    <a:lnTo>
                      <a:pt x="389" y="100"/>
                    </a:lnTo>
                    <a:lnTo>
                      <a:pt x="390" y="98"/>
                    </a:lnTo>
                    <a:lnTo>
                      <a:pt x="392" y="96"/>
                    </a:lnTo>
                    <a:lnTo>
                      <a:pt x="390" y="92"/>
                    </a:lnTo>
                    <a:lnTo>
                      <a:pt x="391" y="89"/>
                    </a:lnTo>
                    <a:lnTo>
                      <a:pt x="388" y="85"/>
                    </a:lnTo>
                    <a:lnTo>
                      <a:pt x="389" y="83"/>
                    </a:lnTo>
                    <a:lnTo>
                      <a:pt x="392" y="80"/>
                    </a:lnTo>
                    <a:lnTo>
                      <a:pt x="395" y="78"/>
                    </a:lnTo>
                    <a:lnTo>
                      <a:pt x="394" y="76"/>
                    </a:lnTo>
                    <a:lnTo>
                      <a:pt x="394" y="73"/>
                    </a:lnTo>
                    <a:lnTo>
                      <a:pt x="392" y="67"/>
                    </a:lnTo>
                    <a:lnTo>
                      <a:pt x="391" y="66"/>
                    </a:lnTo>
                    <a:lnTo>
                      <a:pt x="392" y="65"/>
                    </a:lnTo>
                    <a:lnTo>
                      <a:pt x="395" y="65"/>
                    </a:lnTo>
                    <a:lnTo>
                      <a:pt x="398" y="63"/>
                    </a:lnTo>
                    <a:lnTo>
                      <a:pt x="398" y="57"/>
                    </a:lnTo>
                    <a:lnTo>
                      <a:pt x="399" y="57"/>
                    </a:lnTo>
                    <a:lnTo>
                      <a:pt x="399" y="59"/>
                    </a:lnTo>
                    <a:lnTo>
                      <a:pt x="401" y="57"/>
                    </a:lnTo>
                    <a:lnTo>
                      <a:pt x="401" y="54"/>
                    </a:lnTo>
                    <a:lnTo>
                      <a:pt x="402" y="50"/>
                    </a:lnTo>
                    <a:lnTo>
                      <a:pt x="403" y="49"/>
                    </a:lnTo>
                    <a:lnTo>
                      <a:pt x="404" y="46"/>
                    </a:lnTo>
                    <a:lnTo>
                      <a:pt x="406" y="42"/>
                    </a:lnTo>
                    <a:lnTo>
                      <a:pt x="406" y="40"/>
                    </a:lnTo>
                    <a:lnTo>
                      <a:pt x="409" y="38"/>
                    </a:lnTo>
                    <a:lnTo>
                      <a:pt x="410" y="36"/>
                    </a:lnTo>
                    <a:lnTo>
                      <a:pt x="410" y="32"/>
                    </a:lnTo>
                    <a:lnTo>
                      <a:pt x="411" y="31"/>
                    </a:lnTo>
                    <a:lnTo>
                      <a:pt x="410" y="2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7" name="Freeform 61">
                <a:extLst>
                  <a:ext uri="{FF2B5EF4-FFF2-40B4-BE49-F238E27FC236}">
                    <a16:creationId xmlns:a16="http://schemas.microsoft.com/office/drawing/2014/main" id="{CAEF4FC6-1F7F-95E8-0F97-8BBA4981C1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9" y="3149"/>
                <a:ext cx="411" cy="305"/>
              </a:xfrm>
              <a:custGeom>
                <a:avLst/>
                <a:gdLst>
                  <a:gd name="T0" fmla="*/ 390 w 411"/>
                  <a:gd name="T1" fmla="*/ 42 h 305"/>
                  <a:gd name="T2" fmla="*/ 357 w 411"/>
                  <a:gd name="T3" fmla="*/ 65 h 305"/>
                  <a:gd name="T4" fmla="*/ 321 w 411"/>
                  <a:gd name="T5" fmla="*/ 39 h 305"/>
                  <a:gd name="T6" fmla="*/ 299 w 411"/>
                  <a:gd name="T7" fmla="*/ 44 h 305"/>
                  <a:gd name="T8" fmla="*/ 286 w 411"/>
                  <a:gd name="T9" fmla="*/ 48 h 305"/>
                  <a:gd name="T10" fmla="*/ 265 w 411"/>
                  <a:gd name="T11" fmla="*/ 62 h 305"/>
                  <a:gd name="T12" fmla="*/ 257 w 411"/>
                  <a:gd name="T13" fmla="*/ 74 h 305"/>
                  <a:gd name="T14" fmla="*/ 245 w 411"/>
                  <a:gd name="T15" fmla="*/ 78 h 305"/>
                  <a:gd name="T16" fmla="*/ 233 w 411"/>
                  <a:gd name="T17" fmla="*/ 78 h 305"/>
                  <a:gd name="T18" fmla="*/ 218 w 411"/>
                  <a:gd name="T19" fmla="*/ 67 h 305"/>
                  <a:gd name="T20" fmla="*/ 199 w 411"/>
                  <a:gd name="T21" fmla="*/ 54 h 305"/>
                  <a:gd name="T22" fmla="*/ 166 w 411"/>
                  <a:gd name="T23" fmla="*/ 13 h 305"/>
                  <a:gd name="T24" fmla="*/ 133 w 411"/>
                  <a:gd name="T25" fmla="*/ 22 h 305"/>
                  <a:gd name="T26" fmla="*/ 120 w 411"/>
                  <a:gd name="T27" fmla="*/ 2 h 305"/>
                  <a:gd name="T28" fmla="*/ 105 w 411"/>
                  <a:gd name="T29" fmla="*/ 15 h 305"/>
                  <a:gd name="T30" fmla="*/ 90 w 411"/>
                  <a:gd name="T31" fmla="*/ 19 h 305"/>
                  <a:gd name="T32" fmla="*/ 76 w 411"/>
                  <a:gd name="T33" fmla="*/ 14 h 305"/>
                  <a:gd name="T34" fmla="*/ 68 w 411"/>
                  <a:gd name="T35" fmla="*/ 10 h 305"/>
                  <a:gd name="T36" fmla="*/ 61 w 411"/>
                  <a:gd name="T37" fmla="*/ 5 h 305"/>
                  <a:gd name="T38" fmla="*/ 48 w 411"/>
                  <a:gd name="T39" fmla="*/ 10 h 305"/>
                  <a:gd name="T40" fmla="*/ 39 w 411"/>
                  <a:gd name="T41" fmla="*/ 20 h 305"/>
                  <a:gd name="T42" fmla="*/ 19 w 411"/>
                  <a:gd name="T43" fmla="*/ 19 h 305"/>
                  <a:gd name="T44" fmla="*/ 15 w 411"/>
                  <a:gd name="T45" fmla="*/ 34 h 305"/>
                  <a:gd name="T46" fmla="*/ 9 w 411"/>
                  <a:gd name="T47" fmla="*/ 45 h 305"/>
                  <a:gd name="T48" fmla="*/ 2 w 411"/>
                  <a:gd name="T49" fmla="*/ 49 h 305"/>
                  <a:gd name="T50" fmla="*/ 14 w 411"/>
                  <a:gd name="T51" fmla="*/ 60 h 305"/>
                  <a:gd name="T52" fmla="*/ 24 w 411"/>
                  <a:gd name="T53" fmla="*/ 65 h 305"/>
                  <a:gd name="T54" fmla="*/ 24 w 411"/>
                  <a:gd name="T55" fmla="*/ 76 h 305"/>
                  <a:gd name="T56" fmla="*/ 41 w 411"/>
                  <a:gd name="T57" fmla="*/ 92 h 305"/>
                  <a:gd name="T58" fmla="*/ 38 w 411"/>
                  <a:gd name="T59" fmla="*/ 109 h 305"/>
                  <a:gd name="T60" fmla="*/ 30 w 411"/>
                  <a:gd name="T61" fmla="*/ 127 h 305"/>
                  <a:gd name="T62" fmla="*/ 36 w 411"/>
                  <a:gd name="T63" fmla="*/ 147 h 305"/>
                  <a:gd name="T64" fmla="*/ 50 w 411"/>
                  <a:gd name="T65" fmla="*/ 163 h 305"/>
                  <a:gd name="T66" fmla="*/ 60 w 411"/>
                  <a:gd name="T67" fmla="*/ 163 h 305"/>
                  <a:gd name="T68" fmla="*/ 76 w 411"/>
                  <a:gd name="T69" fmla="*/ 169 h 305"/>
                  <a:gd name="T70" fmla="*/ 83 w 411"/>
                  <a:gd name="T71" fmla="*/ 177 h 305"/>
                  <a:gd name="T72" fmla="*/ 98 w 411"/>
                  <a:gd name="T73" fmla="*/ 186 h 305"/>
                  <a:gd name="T74" fmla="*/ 105 w 411"/>
                  <a:gd name="T75" fmla="*/ 196 h 305"/>
                  <a:gd name="T76" fmla="*/ 116 w 411"/>
                  <a:gd name="T77" fmla="*/ 220 h 305"/>
                  <a:gd name="T78" fmla="*/ 143 w 411"/>
                  <a:gd name="T79" fmla="*/ 233 h 305"/>
                  <a:gd name="T80" fmla="*/ 159 w 411"/>
                  <a:gd name="T81" fmla="*/ 217 h 305"/>
                  <a:gd name="T82" fmla="*/ 176 w 411"/>
                  <a:gd name="T83" fmla="*/ 229 h 305"/>
                  <a:gd name="T84" fmla="*/ 195 w 411"/>
                  <a:gd name="T85" fmla="*/ 246 h 305"/>
                  <a:gd name="T86" fmla="*/ 215 w 411"/>
                  <a:gd name="T87" fmla="*/ 255 h 305"/>
                  <a:gd name="T88" fmla="*/ 237 w 411"/>
                  <a:gd name="T89" fmla="*/ 278 h 305"/>
                  <a:gd name="T90" fmla="*/ 263 w 411"/>
                  <a:gd name="T91" fmla="*/ 298 h 305"/>
                  <a:gd name="T92" fmla="*/ 278 w 411"/>
                  <a:gd name="T93" fmla="*/ 297 h 305"/>
                  <a:gd name="T94" fmla="*/ 296 w 411"/>
                  <a:gd name="T95" fmla="*/ 295 h 305"/>
                  <a:gd name="T96" fmla="*/ 310 w 411"/>
                  <a:gd name="T97" fmla="*/ 286 h 305"/>
                  <a:gd name="T98" fmla="*/ 333 w 411"/>
                  <a:gd name="T99" fmla="*/ 287 h 305"/>
                  <a:gd name="T100" fmla="*/ 356 w 411"/>
                  <a:gd name="T101" fmla="*/ 300 h 305"/>
                  <a:gd name="T102" fmla="*/ 373 w 411"/>
                  <a:gd name="T103" fmla="*/ 293 h 305"/>
                  <a:gd name="T104" fmla="*/ 378 w 411"/>
                  <a:gd name="T105" fmla="*/ 271 h 305"/>
                  <a:gd name="T106" fmla="*/ 379 w 411"/>
                  <a:gd name="T107" fmla="*/ 244 h 305"/>
                  <a:gd name="T108" fmla="*/ 373 w 411"/>
                  <a:gd name="T109" fmla="*/ 229 h 305"/>
                  <a:gd name="T110" fmla="*/ 365 w 411"/>
                  <a:gd name="T111" fmla="*/ 199 h 305"/>
                  <a:gd name="T112" fmla="*/ 370 w 411"/>
                  <a:gd name="T113" fmla="*/ 175 h 305"/>
                  <a:gd name="T114" fmla="*/ 366 w 411"/>
                  <a:gd name="T115" fmla="*/ 140 h 305"/>
                  <a:gd name="T116" fmla="*/ 373 w 411"/>
                  <a:gd name="T117" fmla="*/ 116 h 305"/>
                  <a:gd name="T118" fmla="*/ 392 w 411"/>
                  <a:gd name="T119" fmla="*/ 96 h 305"/>
                  <a:gd name="T120" fmla="*/ 398 w 411"/>
                  <a:gd name="T121" fmla="*/ 57 h 305"/>
                  <a:gd name="T122" fmla="*/ 411 w 411"/>
                  <a:gd name="T123" fmla="*/ 31 h 30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411"/>
                  <a:gd name="T187" fmla="*/ 0 h 305"/>
                  <a:gd name="T188" fmla="*/ 411 w 411"/>
                  <a:gd name="T189" fmla="*/ 305 h 30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411" h="305">
                    <a:moveTo>
                      <a:pt x="410" y="29"/>
                    </a:moveTo>
                    <a:lnTo>
                      <a:pt x="411" y="26"/>
                    </a:lnTo>
                    <a:lnTo>
                      <a:pt x="410" y="24"/>
                    </a:lnTo>
                    <a:lnTo>
                      <a:pt x="407" y="21"/>
                    </a:lnTo>
                    <a:lnTo>
                      <a:pt x="404" y="23"/>
                    </a:lnTo>
                    <a:lnTo>
                      <a:pt x="403" y="25"/>
                    </a:lnTo>
                    <a:lnTo>
                      <a:pt x="402" y="25"/>
                    </a:lnTo>
                    <a:lnTo>
                      <a:pt x="401" y="27"/>
                    </a:lnTo>
                    <a:lnTo>
                      <a:pt x="399" y="29"/>
                    </a:lnTo>
                    <a:lnTo>
                      <a:pt x="398" y="27"/>
                    </a:lnTo>
                    <a:lnTo>
                      <a:pt x="396" y="28"/>
                    </a:lnTo>
                    <a:lnTo>
                      <a:pt x="393" y="32"/>
                    </a:lnTo>
                    <a:lnTo>
                      <a:pt x="392" y="39"/>
                    </a:lnTo>
                    <a:lnTo>
                      <a:pt x="390" y="42"/>
                    </a:lnTo>
                    <a:lnTo>
                      <a:pt x="386" y="45"/>
                    </a:lnTo>
                    <a:lnTo>
                      <a:pt x="387" y="47"/>
                    </a:lnTo>
                    <a:lnTo>
                      <a:pt x="386" y="48"/>
                    </a:lnTo>
                    <a:lnTo>
                      <a:pt x="382" y="50"/>
                    </a:lnTo>
                    <a:lnTo>
                      <a:pt x="379" y="52"/>
                    </a:lnTo>
                    <a:lnTo>
                      <a:pt x="378" y="52"/>
                    </a:lnTo>
                    <a:lnTo>
                      <a:pt x="377" y="52"/>
                    </a:lnTo>
                    <a:lnTo>
                      <a:pt x="371" y="60"/>
                    </a:lnTo>
                    <a:lnTo>
                      <a:pt x="369" y="65"/>
                    </a:lnTo>
                    <a:lnTo>
                      <a:pt x="368" y="66"/>
                    </a:lnTo>
                    <a:lnTo>
                      <a:pt x="364" y="69"/>
                    </a:lnTo>
                    <a:lnTo>
                      <a:pt x="361" y="67"/>
                    </a:lnTo>
                    <a:lnTo>
                      <a:pt x="358" y="66"/>
                    </a:lnTo>
                    <a:lnTo>
                      <a:pt x="357" y="65"/>
                    </a:lnTo>
                    <a:lnTo>
                      <a:pt x="350" y="60"/>
                    </a:lnTo>
                    <a:lnTo>
                      <a:pt x="347" y="59"/>
                    </a:lnTo>
                    <a:lnTo>
                      <a:pt x="345" y="59"/>
                    </a:lnTo>
                    <a:lnTo>
                      <a:pt x="344" y="55"/>
                    </a:lnTo>
                    <a:lnTo>
                      <a:pt x="341" y="52"/>
                    </a:lnTo>
                    <a:lnTo>
                      <a:pt x="341" y="49"/>
                    </a:lnTo>
                    <a:lnTo>
                      <a:pt x="338" y="47"/>
                    </a:lnTo>
                    <a:lnTo>
                      <a:pt x="337" y="44"/>
                    </a:lnTo>
                    <a:lnTo>
                      <a:pt x="332" y="43"/>
                    </a:lnTo>
                    <a:lnTo>
                      <a:pt x="331" y="44"/>
                    </a:lnTo>
                    <a:lnTo>
                      <a:pt x="330" y="44"/>
                    </a:lnTo>
                    <a:lnTo>
                      <a:pt x="329" y="44"/>
                    </a:lnTo>
                    <a:lnTo>
                      <a:pt x="322" y="38"/>
                    </a:lnTo>
                    <a:lnTo>
                      <a:pt x="321" y="39"/>
                    </a:lnTo>
                    <a:lnTo>
                      <a:pt x="320" y="38"/>
                    </a:lnTo>
                    <a:lnTo>
                      <a:pt x="319" y="36"/>
                    </a:lnTo>
                    <a:lnTo>
                      <a:pt x="317" y="37"/>
                    </a:lnTo>
                    <a:lnTo>
                      <a:pt x="317" y="32"/>
                    </a:lnTo>
                    <a:lnTo>
                      <a:pt x="314" y="31"/>
                    </a:lnTo>
                    <a:lnTo>
                      <a:pt x="313" y="31"/>
                    </a:lnTo>
                    <a:lnTo>
                      <a:pt x="311" y="29"/>
                    </a:lnTo>
                    <a:lnTo>
                      <a:pt x="308" y="29"/>
                    </a:lnTo>
                    <a:lnTo>
                      <a:pt x="306" y="31"/>
                    </a:lnTo>
                    <a:lnTo>
                      <a:pt x="305" y="40"/>
                    </a:lnTo>
                    <a:lnTo>
                      <a:pt x="303" y="42"/>
                    </a:lnTo>
                    <a:lnTo>
                      <a:pt x="300" y="42"/>
                    </a:lnTo>
                    <a:lnTo>
                      <a:pt x="299" y="44"/>
                    </a:lnTo>
                    <a:lnTo>
                      <a:pt x="298" y="44"/>
                    </a:lnTo>
                    <a:lnTo>
                      <a:pt x="297" y="46"/>
                    </a:lnTo>
                    <a:lnTo>
                      <a:pt x="297" y="45"/>
                    </a:lnTo>
                    <a:lnTo>
                      <a:pt x="293" y="45"/>
                    </a:lnTo>
                    <a:lnTo>
                      <a:pt x="293" y="44"/>
                    </a:lnTo>
                    <a:lnTo>
                      <a:pt x="293" y="45"/>
                    </a:lnTo>
                    <a:lnTo>
                      <a:pt x="290" y="46"/>
                    </a:lnTo>
                    <a:lnTo>
                      <a:pt x="291" y="46"/>
                    </a:lnTo>
                    <a:lnTo>
                      <a:pt x="291" y="48"/>
                    </a:lnTo>
                    <a:lnTo>
                      <a:pt x="290" y="49"/>
                    </a:lnTo>
                    <a:lnTo>
                      <a:pt x="288" y="47"/>
                    </a:lnTo>
                    <a:lnTo>
                      <a:pt x="287" y="48"/>
                    </a:lnTo>
                    <a:lnTo>
                      <a:pt x="286" y="48"/>
                    </a:lnTo>
                    <a:lnTo>
                      <a:pt x="286" y="49"/>
                    </a:lnTo>
                    <a:lnTo>
                      <a:pt x="284" y="49"/>
                    </a:lnTo>
                    <a:lnTo>
                      <a:pt x="284" y="50"/>
                    </a:lnTo>
                    <a:lnTo>
                      <a:pt x="284" y="49"/>
                    </a:lnTo>
                    <a:lnTo>
                      <a:pt x="283" y="49"/>
                    </a:lnTo>
                    <a:lnTo>
                      <a:pt x="281" y="49"/>
                    </a:lnTo>
                    <a:lnTo>
                      <a:pt x="275" y="55"/>
                    </a:lnTo>
                    <a:lnTo>
                      <a:pt x="271" y="55"/>
                    </a:lnTo>
                    <a:lnTo>
                      <a:pt x="269" y="55"/>
                    </a:lnTo>
                    <a:lnTo>
                      <a:pt x="269" y="57"/>
                    </a:lnTo>
                    <a:lnTo>
                      <a:pt x="267" y="57"/>
                    </a:lnTo>
                    <a:lnTo>
                      <a:pt x="265" y="60"/>
                    </a:lnTo>
                    <a:lnTo>
                      <a:pt x="265" y="62"/>
                    </a:lnTo>
                    <a:lnTo>
                      <a:pt x="266" y="62"/>
                    </a:lnTo>
                    <a:lnTo>
                      <a:pt x="267" y="64"/>
                    </a:lnTo>
                    <a:lnTo>
                      <a:pt x="269" y="66"/>
                    </a:lnTo>
                    <a:lnTo>
                      <a:pt x="267" y="67"/>
                    </a:lnTo>
                    <a:lnTo>
                      <a:pt x="266" y="69"/>
                    </a:lnTo>
                    <a:lnTo>
                      <a:pt x="264" y="69"/>
                    </a:lnTo>
                    <a:lnTo>
                      <a:pt x="262" y="70"/>
                    </a:lnTo>
                    <a:lnTo>
                      <a:pt x="260" y="69"/>
                    </a:lnTo>
                    <a:lnTo>
                      <a:pt x="258" y="69"/>
                    </a:lnTo>
                    <a:lnTo>
                      <a:pt x="259" y="71"/>
                    </a:lnTo>
                    <a:lnTo>
                      <a:pt x="258" y="72"/>
                    </a:lnTo>
                    <a:lnTo>
                      <a:pt x="257" y="72"/>
                    </a:lnTo>
                    <a:lnTo>
                      <a:pt x="257" y="74"/>
                    </a:lnTo>
                    <a:lnTo>
                      <a:pt x="259" y="75"/>
                    </a:lnTo>
                    <a:lnTo>
                      <a:pt x="260" y="78"/>
                    </a:lnTo>
                    <a:lnTo>
                      <a:pt x="261" y="78"/>
                    </a:lnTo>
                    <a:lnTo>
                      <a:pt x="261" y="83"/>
                    </a:lnTo>
                    <a:lnTo>
                      <a:pt x="254" y="79"/>
                    </a:lnTo>
                    <a:lnTo>
                      <a:pt x="252" y="78"/>
                    </a:lnTo>
                    <a:lnTo>
                      <a:pt x="251" y="76"/>
                    </a:lnTo>
                    <a:lnTo>
                      <a:pt x="250" y="77"/>
                    </a:lnTo>
                    <a:lnTo>
                      <a:pt x="248" y="76"/>
                    </a:lnTo>
                    <a:lnTo>
                      <a:pt x="248" y="78"/>
                    </a:lnTo>
                    <a:lnTo>
                      <a:pt x="246" y="77"/>
                    </a:lnTo>
                    <a:lnTo>
                      <a:pt x="245" y="78"/>
                    </a:lnTo>
                    <a:lnTo>
                      <a:pt x="244" y="78"/>
                    </a:lnTo>
                    <a:lnTo>
                      <a:pt x="243" y="78"/>
                    </a:lnTo>
                    <a:lnTo>
                      <a:pt x="238" y="78"/>
                    </a:lnTo>
                    <a:lnTo>
                      <a:pt x="238" y="76"/>
                    </a:lnTo>
                    <a:lnTo>
                      <a:pt x="240" y="74"/>
                    </a:lnTo>
                    <a:lnTo>
                      <a:pt x="240" y="73"/>
                    </a:lnTo>
                    <a:lnTo>
                      <a:pt x="237" y="73"/>
                    </a:lnTo>
                    <a:lnTo>
                      <a:pt x="237" y="72"/>
                    </a:lnTo>
                    <a:lnTo>
                      <a:pt x="237" y="74"/>
                    </a:lnTo>
                    <a:lnTo>
                      <a:pt x="237" y="75"/>
                    </a:lnTo>
                    <a:lnTo>
                      <a:pt x="237" y="76"/>
                    </a:lnTo>
                    <a:lnTo>
                      <a:pt x="233" y="78"/>
                    </a:lnTo>
                    <a:lnTo>
                      <a:pt x="232" y="76"/>
                    </a:lnTo>
                    <a:lnTo>
                      <a:pt x="231" y="77"/>
                    </a:lnTo>
                    <a:lnTo>
                      <a:pt x="228" y="76"/>
                    </a:lnTo>
                    <a:lnTo>
                      <a:pt x="227" y="78"/>
                    </a:lnTo>
                    <a:lnTo>
                      <a:pt x="225" y="78"/>
                    </a:lnTo>
                    <a:lnTo>
                      <a:pt x="224" y="78"/>
                    </a:lnTo>
                    <a:lnTo>
                      <a:pt x="223" y="76"/>
                    </a:lnTo>
                    <a:lnTo>
                      <a:pt x="223" y="75"/>
                    </a:lnTo>
                    <a:lnTo>
                      <a:pt x="223" y="74"/>
                    </a:lnTo>
                    <a:lnTo>
                      <a:pt x="221" y="72"/>
                    </a:lnTo>
                    <a:lnTo>
                      <a:pt x="219" y="68"/>
                    </a:lnTo>
                    <a:lnTo>
                      <a:pt x="218" y="68"/>
                    </a:lnTo>
                    <a:lnTo>
                      <a:pt x="218" y="67"/>
                    </a:lnTo>
                    <a:lnTo>
                      <a:pt x="217" y="68"/>
                    </a:lnTo>
                    <a:lnTo>
                      <a:pt x="216" y="67"/>
                    </a:lnTo>
                    <a:lnTo>
                      <a:pt x="215" y="67"/>
                    </a:lnTo>
                    <a:lnTo>
                      <a:pt x="213" y="63"/>
                    </a:lnTo>
                    <a:lnTo>
                      <a:pt x="211" y="64"/>
                    </a:lnTo>
                    <a:lnTo>
                      <a:pt x="211" y="65"/>
                    </a:lnTo>
                    <a:lnTo>
                      <a:pt x="210" y="65"/>
                    </a:lnTo>
                    <a:lnTo>
                      <a:pt x="207" y="62"/>
                    </a:lnTo>
                    <a:lnTo>
                      <a:pt x="207" y="57"/>
                    </a:lnTo>
                    <a:lnTo>
                      <a:pt x="203" y="54"/>
                    </a:lnTo>
                    <a:lnTo>
                      <a:pt x="201" y="55"/>
                    </a:lnTo>
                    <a:lnTo>
                      <a:pt x="200" y="54"/>
                    </a:lnTo>
                    <a:lnTo>
                      <a:pt x="199" y="54"/>
                    </a:lnTo>
                    <a:lnTo>
                      <a:pt x="198" y="53"/>
                    </a:lnTo>
                    <a:lnTo>
                      <a:pt x="195" y="52"/>
                    </a:lnTo>
                    <a:lnTo>
                      <a:pt x="194" y="52"/>
                    </a:lnTo>
                    <a:lnTo>
                      <a:pt x="194" y="51"/>
                    </a:lnTo>
                    <a:lnTo>
                      <a:pt x="194" y="48"/>
                    </a:lnTo>
                    <a:lnTo>
                      <a:pt x="192" y="40"/>
                    </a:lnTo>
                    <a:lnTo>
                      <a:pt x="190" y="39"/>
                    </a:lnTo>
                    <a:lnTo>
                      <a:pt x="178" y="37"/>
                    </a:lnTo>
                    <a:lnTo>
                      <a:pt x="179" y="27"/>
                    </a:lnTo>
                    <a:lnTo>
                      <a:pt x="179" y="23"/>
                    </a:lnTo>
                    <a:lnTo>
                      <a:pt x="174" y="21"/>
                    </a:lnTo>
                    <a:lnTo>
                      <a:pt x="175" y="15"/>
                    </a:lnTo>
                    <a:lnTo>
                      <a:pt x="167" y="15"/>
                    </a:lnTo>
                    <a:lnTo>
                      <a:pt x="166" y="13"/>
                    </a:lnTo>
                    <a:lnTo>
                      <a:pt x="164" y="13"/>
                    </a:lnTo>
                    <a:lnTo>
                      <a:pt x="164" y="11"/>
                    </a:lnTo>
                    <a:lnTo>
                      <a:pt x="162" y="13"/>
                    </a:lnTo>
                    <a:lnTo>
                      <a:pt x="158" y="8"/>
                    </a:lnTo>
                    <a:lnTo>
                      <a:pt x="156" y="7"/>
                    </a:lnTo>
                    <a:lnTo>
                      <a:pt x="156" y="10"/>
                    </a:lnTo>
                    <a:lnTo>
                      <a:pt x="155" y="10"/>
                    </a:lnTo>
                    <a:lnTo>
                      <a:pt x="147" y="10"/>
                    </a:lnTo>
                    <a:lnTo>
                      <a:pt x="146" y="17"/>
                    </a:lnTo>
                    <a:lnTo>
                      <a:pt x="142" y="16"/>
                    </a:lnTo>
                    <a:lnTo>
                      <a:pt x="137" y="15"/>
                    </a:lnTo>
                    <a:lnTo>
                      <a:pt x="136" y="19"/>
                    </a:lnTo>
                    <a:lnTo>
                      <a:pt x="133" y="21"/>
                    </a:lnTo>
                    <a:lnTo>
                      <a:pt x="133" y="22"/>
                    </a:lnTo>
                    <a:lnTo>
                      <a:pt x="131" y="23"/>
                    </a:lnTo>
                    <a:lnTo>
                      <a:pt x="131" y="21"/>
                    </a:lnTo>
                    <a:lnTo>
                      <a:pt x="127" y="20"/>
                    </a:lnTo>
                    <a:lnTo>
                      <a:pt x="126" y="20"/>
                    </a:lnTo>
                    <a:lnTo>
                      <a:pt x="126" y="19"/>
                    </a:lnTo>
                    <a:lnTo>
                      <a:pt x="124" y="18"/>
                    </a:lnTo>
                    <a:lnTo>
                      <a:pt x="123" y="15"/>
                    </a:lnTo>
                    <a:lnTo>
                      <a:pt x="124" y="12"/>
                    </a:lnTo>
                    <a:lnTo>
                      <a:pt x="126" y="8"/>
                    </a:lnTo>
                    <a:lnTo>
                      <a:pt x="124" y="7"/>
                    </a:lnTo>
                    <a:lnTo>
                      <a:pt x="125" y="6"/>
                    </a:lnTo>
                    <a:lnTo>
                      <a:pt x="125" y="5"/>
                    </a:lnTo>
                    <a:lnTo>
                      <a:pt x="121" y="4"/>
                    </a:lnTo>
                    <a:lnTo>
                      <a:pt x="120" y="2"/>
                    </a:lnTo>
                    <a:lnTo>
                      <a:pt x="118" y="0"/>
                    </a:lnTo>
                    <a:lnTo>
                      <a:pt x="116" y="1"/>
                    </a:lnTo>
                    <a:lnTo>
                      <a:pt x="115" y="4"/>
                    </a:lnTo>
                    <a:lnTo>
                      <a:pt x="112" y="2"/>
                    </a:lnTo>
                    <a:lnTo>
                      <a:pt x="111" y="5"/>
                    </a:lnTo>
                    <a:lnTo>
                      <a:pt x="109" y="5"/>
                    </a:lnTo>
                    <a:lnTo>
                      <a:pt x="107" y="6"/>
                    </a:lnTo>
                    <a:lnTo>
                      <a:pt x="107" y="8"/>
                    </a:lnTo>
                    <a:lnTo>
                      <a:pt x="108" y="9"/>
                    </a:lnTo>
                    <a:lnTo>
                      <a:pt x="107" y="14"/>
                    </a:lnTo>
                    <a:lnTo>
                      <a:pt x="106" y="15"/>
                    </a:lnTo>
                    <a:lnTo>
                      <a:pt x="105" y="15"/>
                    </a:lnTo>
                    <a:lnTo>
                      <a:pt x="104" y="14"/>
                    </a:lnTo>
                    <a:lnTo>
                      <a:pt x="102" y="18"/>
                    </a:lnTo>
                    <a:lnTo>
                      <a:pt x="101" y="15"/>
                    </a:lnTo>
                    <a:lnTo>
                      <a:pt x="99" y="15"/>
                    </a:lnTo>
                    <a:lnTo>
                      <a:pt x="98" y="15"/>
                    </a:lnTo>
                    <a:lnTo>
                      <a:pt x="97" y="14"/>
                    </a:lnTo>
                    <a:lnTo>
                      <a:pt x="96" y="15"/>
                    </a:lnTo>
                    <a:lnTo>
                      <a:pt x="95" y="15"/>
                    </a:lnTo>
                    <a:lnTo>
                      <a:pt x="94" y="18"/>
                    </a:lnTo>
                    <a:lnTo>
                      <a:pt x="93" y="18"/>
                    </a:lnTo>
                    <a:lnTo>
                      <a:pt x="93" y="19"/>
                    </a:lnTo>
                    <a:lnTo>
                      <a:pt x="92" y="20"/>
                    </a:lnTo>
                    <a:lnTo>
                      <a:pt x="90" y="19"/>
                    </a:lnTo>
                    <a:lnTo>
                      <a:pt x="89" y="20"/>
                    </a:lnTo>
                    <a:lnTo>
                      <a:pt x="88" y="19"/>
                    </a:lnTo>
                    <a:lnTo>
                      <a:pt x="88" y="18"/>
                    </a:lnTo>
                    <a:lnTo>
                      <a:pt x="86" y="17"/>
                    </a:lnTo>
                    <a:lnTo>
                      <a:pt x="86" y="16"/>
                    </a:lnTo>
                    <a:lnTo>
                      <a:pt x="82" y="14"/>
                    </a:lnTo>
                    <a:lnTo>
                      <a:pt x="82" y="13"/>
                    </a:lnTo>
                    <a:lnTo>
                      <a:pt x="81" y="12"/>
                    </a:lnTo>
                    <a:lnTo>
                      <a:pt x="81" y="15"/>
                    </a:lnTo>
                    <a:lnTo>
                      <a:pt x="79" y="14"/>
                    </a:lnTo>
                    <a:lnTo>
                      <a:pt x="79" y="15"/>
                    </a:lnTo>
                    <a:lnTo>
                      <a:pt x="77" y="14"/>
                    </a:lnTo>
                    <a:lnTo>
                      <a:pt x="76" y="14"/>
                    </a:lnTo>
                    <a:lnTo>
                      <a:pt x="76" y="13"/>
                    </a:lnTo>
                    <a:lnTo>
                      <a:pt x="76" y="12"/>
                    </a:lnTo>
                    <a:lnTo>
                      <a:pt x="75" y="13"/>
                    </a:lnTo>
                    <a:lnTo>
                      <a:pt x="73" y="12"/>
                    </a:lnTo>
                    <a:lnTo>
                      <a:pt x="71" y="13"/>
                    </a:lnTo>
                    <a:lnTo>
                      <a:pt x="71" y="12"/>
                    </a:lnTo>
                    <a:lnTo>
                      <a:pt x="69" y="12"/>
                    </a:lnTo>
                    <a:lnTo>
                      <a:pt x="69" y="11"/>
                    </a:lnTo>
                    <a:lnTo>
                      <a:pt x="68" y="12"/>
                    </a:lnTo>
                    <a:lnTo>
                      <a:pt x="68" y="10"/>
                    </a:lnTo>
                    <a:lnTo>
                      <a:pt x="68" y="13"/>
                    </a:lnTo>
                    <a:lnTo>
                      <a:pt x="69" y="13"/>
                    </a:lnTo>
                    <a:lnTo>
                      <a:pt x="68" y="14"/>
                    </a:lnTo>
                    <a:lnTo>
                      <a:pt x="68" y="13"/>
                    </a:lnTo>
                    <a:lnTo>
                      <a:pt x="66" y="12"/>
                    </a:lnTo>
                    <a:lnTo>
                      <a:pt x="66" y="13"/>
                    </a:lnTo>
                    <a:lnTo>
                      <a:pt x="65" y="13"/>
                    </a:lnTo>
                    <a:lnTo>
                      <a:pt x="65" y="11"/>
                    </a:lnTo>
                    <a:lnTo>
                      <a:pt x="63" y="11"/>
                    </a:lnTo>
                    <a:lnTo>
                      <a:pt x="64" y="6"/>
                    </a:lnTo>
                    <a:lnTo>
                      <a:pt x="61" y="5"/>
                    </a:lnTo>
                    <a:lnTo>
                      <a:pt x="60" y="5"/>
                    </a:lnTo>
                    <a:lnTo>
                      <a:pt x="60" y="6"/>
                    </a:lnTo>
                    <a:lnTo>
                      <a:pt x="61" y="8"/>
                    </a:lnTo>
                    <a:lnTo>
                      <a:pt x="59" y="8"/>
                    </a:lnTo>
                    <a:lnTo>
                      <a:pt x="58" y="8"/>
                    </a:lnTo>
                    <a:lnTo>
                      <a:pt x="58" y="10"/>
                    </a:lnTo>
                    <a:lnTo>
                      <a:pt x="56" y="11"/>
                    </a:lnTo>
                    <a:lnTo>
                      <a:pt x="55" y="10"/>
                    </a:lnTo>
                    <a:lnTo>
                      <a:pt x="55" y="8"/>
                    </a:lnTo>
                    <a:lnTo>
                      <a:pt x="54" y="9"/>
                    </a:lnTo>
                    <a:lnTo>
                      <a:pt x="53" y="8"/>
                    </a:lnTo>
                    <a:lnTo>
                      <a:pt x="52" y="8"/>
                    </a:lnTo>
                    <a:lnTo>
                      <a:pt x="48" y="10"/>
                    </a:lnTo>
                    <a:lnTo>
                      <a:pt x="47" y="10"/>
                    </a:lnTo>
                    <a:lnTo>
                      <a:pt x="47" y="14"/>
                    </a:lnTo>
                    <a:lnTo>
                      <a:pt x="46" y="15"/>
                    </a:lnTo>
                    <a:lnTo>
                      <a:pt x="47" y="15"/>
                    </a:lnTo>
                    <a:lnTo>
                      <a:pt x="47" y="18"/>
                    </a:lnTo>
                    <a:lnTo>
                      <a:pt x="45" y="17"/>
                    </a:lnTo>
                    <a:lnTo>
                      <a:pt x="44" y="18"/>
                    </a:lnTo>
                    <a:lnTo>
                      <a:pt x="42" y="19"/>
                    </a:lnTo>
                    <a:lnTo>
                      <a:pt x="41" y="19"/>
                    </a:lnTo>
                    <a:lnTo>
                      <a:pt x="37" y="18"/>
                    </a:lnTo>
                    <a:lnTo>
                      <a:pt x="37" y="20"/>
                    </a:lnTo>
                    <a:lnTo>
                      <a:pt x="39" y="20"/>
                    </a:lnTo>
                    <a:lnTo>
                      <a:pt x="38" y="21"/>
                    </a:lnTo>
                    <a:lnTo>
                      <a:pt x="36" y="20"/>
                    </a:lnTo>
                    <a:lnTo>
                      <a:pt x="36" y="21"/>
                    </a:lnTo>
                    <a:lnTo>
                      <a:pt x="34" y="22"/>
                    </a:lnTo>
                    <a:lnTo>
                      <a:pt x="33" y="22"/>
                    </a:lnTo>
                    <a:lnTo>
                      <a:pt x="32" y="24"/>
                    </a:lnTo>
                    <a:lnTo>
                      <a:pt x="27" y="25"/>
                    </a:lnTo>
                    <a:lnTo>
                      <a:pt x="24" y="18"/>
                    </a:lnTo>
                    <a:lnTo>
                      <a:pt x="23" y="18"/>
                    </a:lnTo>
                    <a:lnTo>
                      <a:pt x="22" y="18"/>
                    </a:lnTo>
                    <a:lnTo>
                      <a:pt x="23" y="21"/>
                    </a:lnTo>
                    <a:lnTo>
                      <a:pt x="20" y="23"/>
                    </a:lnTo>
                    <a:lnTo>
                      <a:pt x="19" y="21"/>
                    </a:lnTo>
                    <a:lnTo>
                      <a:pt x="19" y="19"/>
                    </a:lnTo>
                    <a:lnTo>
                      <a:pt x="17" y="18"/>
                    </a:lnTo>
                    <a:lnTo>
                      <a:pt x="15" y="19"/>
                    </a:lnTo>
                    <a:lnTo>
                      <a:pt x="13" y="23"/>
                    </a:lnTo>
                    <a:lnTo>
                      <a:pt x="16" y="26"/>
                    </a:lnTo>
                    <a:lnTo>
                      <a:pt x="17" y="25"/>
                    </a:lnTo>
                    <a:lnTo>
                      <a:pt x="19" y="28"/>
                    </a:lnTo>
                    <a:lnTo>
                      <a:pt x="20" y="28"/>
                    </a:lnTo>
                    <a:lnTo>
                      <a:pt x="18" y="29"/>
                    </a:lnTo>
                    <a:lnTo>
                      <a:pt x="17" y="27"/>
                    </a:lnTo>
                    <a:lnTo>
                      <a:pt x="16" y="28"/>
                    </a:lnTo>
                    <a:lnTo>
                      <a:pt x="14" y="28"/>
                    </a:lnTo>
                    <a:lnTo>
                      <a:pt x="14" y="29"/>
                    </a:lnTo>
                    <a:lnTo>
                      <a:pt x="14" y="32"/>
                    </a:lnTo>
                    <a:lnTo>
                      <a:pt x="15" y="34"/>
                    </a:lnTo>
                    <a:lnTo>
                      <a:pt x="14" y="40"/>
                    </a:lnTo>
                    <a:lnTo>
                      <a:pt x="12" y="39"/>
                    </a:lnTo>
                    <a:lnTo>
                      <a:pt x="10" y="40"/>
                    </a:lnTo>
                    <a:lnTo>
                      <a:pt x="9" y="39"/>
                    </a:lnTo>
                    <a:lnTo>
                      <a:pt x="9" y="40"/>
                    </a:lnTo>
                    <a:lnTo>
                      <a:pt x="8" y="40"/>
                    </a:lnTo>
                    <a:lnTo>
                      <a:pt x="6" y="39"/>
                    </a:lnTo>
                    <a:lnTo>
                      <a:pt x="6" y="40"/>
                    </a:lnTo>
                    <a:lnTo>
                      <a:pt x="4" y="41"/>
                    </a:lnTo>
                    <a:lnTo>
                      <a:pt x="4" y="42"/>
                    </a:lnTo>
                    <a:lnTo>
                      <a:pt x="6" y="43"/>
                    </a:lnTo>
                    <a:lnTo>
                      <a:pt x="10" y="44"/>
                    </a:lnTo>
                    <a:lnTo>
                      <a:pt x="9" y="45"/>
                    </a:lnTo>
                    <a:lnTo>
                      <a:pt x="11" y="44"/>
                    </a:lnTo>
                    <a:lnTo>
                      <a:pt x="11" y="46"/>
                    </a:lnTo>
                    <a:lnTo>
                      <a:pt x="11" y="47"/>
                    </a:lnTo>
                    <a:lnTo>
                      <a:pt x="10" y="46"/>
                    </a:lnTo>
                    <a:lnTo>
                      <a:pt x="9" y="47"/>
                    </a:lnTo>
                    <a:lnTo>
                      <a:pt x="8" y="46"/>
                    </a:lnTo>
                    <a:lnTo>
                      <a:pt x="9" y="47"/>
                    </a:lnTo>
                    <a:lnTo>
                      <a:pt x="8" y="47"/>
                    </a:lnTo>
                    <a:lnTo>
                      <a:pt x="6" y="46"/>
                    </a:lnTo>
                    <a:lnTo>
                      <a:pt x="5" y="45"/>
                    </a:lnTo>
                    <a:lnTo>
                      <a:pt x="2" y="47"/>
                    </a:lnTo>
                    <a:lnTo>
                      <a:pt x="0" y="48"/>
                    </a:lnTo>
                    <a:lnTo>
                      <a:pt x="2" y="49"/>
                    </a:lnTo>
                    <a:lnTo>
                      <a:pt x="2" y="51"/>
                    </a:lnTo>
                    <a:lnTo>
                      <a:pt x="2" y="53"/>
                    </a:lnTo>
                    <a:lnTo>
                      <a:pt x="4" y="55"/>
                    </a:lnTo>
                    <a:lnTo>
                      <a:pt x="5" y="55"/>
                    </a:lnTo>
                    <a:lnTo>
                      <a:pt x="5" y="57"/>
                    </a:lnTo>
                    <a:lnTo>
                      <a:pt x="7" y="58"/>
                    </a:lnTo>
                    <a:lnTo>
                      <a:pt x="9" y="59"/>
                    </a:lnTo>
                    <a:lnTo>
                      <a:pt x="9" y="60"/>
                    </a:lnTo>
                    <a:lnTo>
                      <a:pt x="11" y="58"/>
                    </a:lnTo>
                    <a:lnTo>
                      <a:pt x="14" y="59"/>
                    </a:lnTo>
                    <a:lnTo>
                      <a:pt x="14" y="60"/>
                    </a:lnTo>
                    <a:lnTo>
                      <a:pt x="13" y="59"/>
                    </a:lnTo>
                    <a:lnTo>
                      <a:pt x="14" y="61"/>
                    </a:lnTo>
                    <a:lnTo>
                      <a:pt x="16" y="61"/>
                    </a:lnTo>
                    <a:lnTo>
                      <a:pt x="17" y="62"/>
                    </a:lnTo>
                    <a:lnTo>
                      <a:pt x="16" y="63"/>
                    </a:lnTo>
                    <a:lnTo>
                      <a:pt x="14" y="63"/>
                    </a:lnTo>
                    <a:lnTo>
                      <a:pt x="15" y="65"/>
                    </a:lnTo>
                    <a:lnTo>
                      <a:pt x="16" y="65"/>
                    </a:lnTo>
                    <a:lnTo>
                      <a:pt x="17" y="65"/>
                    </a:lnTo>
                    <a:lnTo>
                      <a:pt x="17" y="66"/>
                    </a:lnTo>
                    <a:lnTo>
                      <a:pt x="18" y="65"/>
                    </a:lnTo>
                    <a:lnTo>
                      <a:pt x="19" y="66"/>
                    </a:lnTo>
                    <a:lnTo>
                      <a:pt x="20" y="67"/>
                    </a:lnTo>
                    <a:lnTo>
                      <a:pt x="24" y="65"/>
                    </a:lnTo>
                    <a:lnTo>
                      <a:pt x="24" y="66"/>
                    </a:lnTo>
                    <a:lnTo>
                      <a:pt x="24" y="67"/>
                    </a:lnTo>
                    <a:lnTo>
                      <a:pt x="25" y="68"/>
                    </a:lnTo>
                    <a:lnTo>
                      <a:pt x="24" y="69"/>
                    </a:lnTo>
                    <a:lnTo>
                      <a:pt x="24" y="71"/>
                    </a:lnTo>
                    <a:lnTo>
                      <a:pt x="25" y="71"/>
                    </a:lnTo>
                    <a:lnTo>
                      <a:pt x="27" y="67"/>
                    </a:lnTo>
                    <a:lnTo>
                      <a:pt x="27" y="69"/>
                    </a:lnTo>
                    <a:lnTo>
                      <a:pt x="27" y="70"/>
                    </a:lnTo>
                    <a:lnTo>
                      <a:pt x="28" y="70"/>
                    </a:lnTo>
                    <a:lnTo>
                      <a:pt x="27" y="72"/>
                    </a:lnTo>
                    <a:lnTo>
                      <a:pt x="27" y="74"/>
                    </a:lnTo>
                    <a:lnTo>
                      <a:pt x="24" y="76"/>
                    </a:lnTo>
                    <a:lnTo>
                      <a:pt x="24" y="78"/>
                    </a:lnTo>
                    <a:lnTo>
                      <a:pt x="27" y="80"/>
                    </a:lnTo>
                    <a:lnTo>
                      <a:pt x="34" y="87"/>
                    </a:lnTo>
                    <a:lnTo>
                      <a:pt x="35" y="86"/>
                    </a:lnTo>
                    <a:lnTo>
                      <a:pt x="36" y="86"/>
                    </a:lnTo>
                    <a:lnTo>
                      <a:pt x="36" y="88"/>
                    </a:lnTo>
                    <a:lnTo>
                      <a:pt x="37" y="87"/>
                    </a:lnTo>
                    <a:lnTo>
                      <a:pt x="38" y="88"/>
                    </a:lnTo>
                    <a:lnTo>
                      <a:pt x="38" y="89"/>
                    </a:lnTo>
                    <a:lnTo>
                      <a:pt x="38" y="90"/>
                    </a:lnTo>
                    <a:lnTo>
                      <a:pt x="39" y="91"/>
                    </a:lnTo>
                    <a:lnTo>
                      <a:pt x="40" y="89"/>
                    </a:lnTo>
                    <a:lnTo>
                      <a:pt x="41" y="92"/>
                    </a:lnTo>
                    <a:lnTo>
                      <a:pt x="40" y="94"/>
                    </a:lnTo>
                    <a:lnTo>
                      <a:pt x="41" y="95"/>
                    </a:lnTo>
                    <a:lnTo>
                      <a:pt x="40" y="96"/>
                    </a:lnTo>
                    <a:lnTo>
                      <a:pt x="41" y="98"/>
                    </a:lnTo>
                    <a:lnTo>
                      <a:pt x="40" y="97"/>
                    </a:lnTo>
                    <a:lnTo>
                      <a:pt x="38" y="98"/>
                    </a:lnTo>
                    <a:lnTo>
                      <a:pt x="36" y="100"/>
                    </a:lnTo>
                    <a:lnTo>
                      <a:pt x="39" y="105"/>
                    </a:lnTo>
                    <a:lnTo>
                      <a:pt x="40" y="106"/>
                    </a:lnTo>
                    <a:lnTo>
                      <a:pt x="40" y="108"/>
                    </a:lnTo>
                    <a:lnTo>
                      <a:pt x="40" y="109"/>
                    </a:lnTo>
                    <a:lnTo>
                      <a:pt x="39" y="110"/>
                    </a:lnTo>
                    <a:lnTo>
                      <a:pt x="38" y="109"/>
                    </a:lnTo>
                    <a:lnTo>
                      <a:pt x="38" y="112"/>
                    </a:lnTo>
                    <a:lnTo>
                      <a:pt x="37" y="112"/>
                    </a:lnTo>
                    <a:lnTo>
                      <a:pt x="36" y="113"/>
                    </a:lnTo>
                    <a:lnTo>
                      <a:pt x="36" y="114"/>
                    </a:lnTo>
                    <a:lnTo>
                      <a:pt x="33" y="117"/>
                    </a:lnTo>
                    <a:lnTo>
                      <a:pt x="35" y="119"/>
                    </a:lnTo>
                    <a:lnTo>
                      <a:pt x="33" y="119"/>
                    </a:lnTo>
                    <a:lnTo>
                      <a:pt x="30" y="120"/>
                    </a:lnTo>
                    <a:lnTo>
                      <a:pt x="29" y="120"/>
                    </a:lnTo>
                    <a:lnTo>
                      <a:pt x="29" y="122"/>
                    </a:lnTo>
                    <a:lnTo>
                      <a:pt x="28" y="123"/>
                    </a:lnTo>
                    <a:lnTo>
                      <a:pt x="30" y="124"/>
                    </a:lnTo>
                    <a:lnTo>
                      <a:pt x="30" y="127"/>
                    </a:lnTo>
                    <a:lnTo>
                      <a:pt x="29" y="129"/>
                    </a:lnTo>
                    <a:lnTo>
                      <a:pt x="30" y="129"/>
                    </a:lnTo>
                    <a:lnTo>
                      <a:pt x="29" y="132"/>
                    </a:lnTo>
                    <a:lnTo>
                      <a:pt x="28" y="132"/>
                    </a:lnTo>
                    <a:lnTo>
                      <a:pt x="28" y="130"/>
                    </a:lnTo>
                    <a:lnTo>
                      <a:pt x="27" y="133"/>
                    </a:lnTo>
                    <a:lnTo>
                      <a:pt x="28" y="134"/>
                    </a:lnTo>
                    <a:lnTo>
                      <a:pt x="28" y="136"/>
                    </a:lnTo>
                    <a:lnTo>
                      <a:pt x="27" y="136"/>
                    </a:lnTo>
                    <a:lnTo>
                      <a:pt x="30" y="140"/>
                    </a:lnTo>
                    <a:lnTo>
                      <a:pt x="32" y="142"/>
                    </a:lnTo>
                    <a:lnTo>
                      <a:pt x="33" y="143"/>
                    </a:lnTo>
                    <a:lnTo>
                      <a:pt x="35" y="146"/>
                    </a:lnTo>
                    <a:lnTo>
                      <a:pt x="36" y="147"/>
                    </a:lnTo>
                    <a:lnTo>
                      <a:pt x="38" y="147"/>
                    </a:lnTo>
                    <a:lnTo>
                      <a:pt x="41" y="152"/>
                    </a:lnTo>
                    <a:lnTo>
                      <a:pt x="43" y="152"/>
                    </a:lnTo>
                    <a:lnTo>
                      <a:pt x="43" y="153"/>
                    </a:lnTo>
                    <a:lnTo>
                      <a:pt x="44" y="155"/>
                    </a:lnTo>
                    <a:lnTo>
                      <a:pt x="47" y="155"/>
                    </a:lnTo>
                    <a:lnTo>
                      <a:pt x="46" y="157"/>
                    </a:lnTo>
                    <a:lnTo>
                      <a:pt x="47" y="159"/>
                    </a:lnTo>
                    <a:lnTo>
                      <a:pt x="49" y="159"/>
                    </a:lnTo>
                    <a:lnTo>
                      <a:pt x="49" y="160"/>
                    </a:lnTo>
                    <a:lnTo>
                      <a:pt x="50" y="160"/>
                    </a:lnTo>
                    <a:lnTo>
                      <a:pt x="49" y="160"/>
                    </a:lnTo>
                    <a:lnTo>
                      <a:pt x="50" y="163"/>
                    </a:lnTo>
                    <a:lnTo>
                      <a:pt x="49" y="164"/>
                    </a:lnTo>
                    <a:lnTo>
                      <a:pt x="49" y="165"/>
                    </a:lnTo>
                    <a:lnTo>
                      <a:pt x="50" y="163"/>
                    </a:lnTo>
                    <a:lnTo>
                      <a:pt x="50" y="164"/>
                    </a:lnTo>
                    <a:lnTo>
                      <a:pt x="52" y="163"/>
                    </a:lnTo>
                    <a:lnTo>
                      <a:pt x="52" y="164"/>
                    </a:lnTo>
                    <a:lnTo>
                      <a:pt x="53" y="164"/>
                    </a:lnTo>
                    <a:lnTo>
                      <a:pt x="55" y="164"/>
                    </a:lnTo>
                    <a:lnTo>
                      <a:pt x="57" y="164"/>
                    </a:lnTo>
                    <a:lnTo>
                      <a:pt x="57" y="165"/>
                    </a:lnTo>
                    <a:lnTo>
                      <a:pt x="58" y="165"/>
                    </a:lnTo>
                    <a:lnTo>
                      <a:pt x="58" y="164"/>
                    </a:lnTo>
                    <a:lnTo>
                      <a:pt x="60" y="164"/>
                    </a:lnTo>
                    <a:lnTo>
                      <a:pt x="60" y="163"/>
                    </a:lnTo>
                    <a:lnTo>
                      <a:pt x="63" y="163"/>
                    </a:lnTo>
                    <a:lnTo>
                      <a:pt x="62" y="164"/>
                    </a:lnTo>
                    <a:lnTo>
                      <a:pt x="63" y="168"/>
                    </a:lnTo>
                    <a:lnTo>
                      <a:pt x="64" y="167"/>
                    </a:lnTo>
                    <a:lnTo>
                      <a:pt x="65" y="168"/>
                    </a:lnTo>
                    <a:lnTo>
                      <a:pt x="67" y="168"/>
                    </a:lnTo>
                    <a:lnTo>
                      <a:pt x="68" y="164"/>
                    </a:lnTo>
                    <a:lnTo>
                      <a:pt x="69" y="163"/>
                    </a:lnTo>
                    <a:lnTo>
                      <a:pt x="70" y="166"/>
                    </a:lnTo>
                    <a:lnTo>
                      <a:pt x="71" y="166"/>
                    </a:lnTo>
                    <a:lnTo>
                      <a:pt x="72" y="166"/>
                    </a:lnTo>
                    <a:lnTo>
                      <a:pt x="72" y="167"/>
                    </a:lnTo>
                    <a:lnTo>
                      <a:pt x="75" y="167"/>
                    </a:lnTo>
                    <a:lnTo>
                      <a:pt x="76" y="169"/>
                    </a:lnTo>
                    <a:lnTo>
                      <a:pt x="74" y="169"/>
                    </a:lnTo>
                    <a:lnTo>
                      <a:pt x="74" y="170"/>
                    </a:lnTo>
                    <a:lnTo>
                      <a:pt x="76" y="172"/>
                    </a:lnTo>
                    <a:lnTo>
                      <a:pt x="77" y="170"/>
                    </a:lnTo>
                    <a:lnTo>
                      <a:pt x="77" y="172"/>
                    </a:lnTo>
                    <a:lnTo>
                      <a:pt x="79" y="173"/>
                    </a:lnTo>
                    <a:lnTo>
                      <a:pt x="81" y="171"/>
                    </a:lnTo>
                    <a:lnTo>
                      <a:pt x="81" y="172"/>
                    </a:lnTo>
                    <a:lnTo>
                      <a:pt x="82" y="173"/>
                    </a:lnTo>
                    <a:lnTo>
                      <a:pt x="82" y="176"/>
                    </a:lnTo>
                    <a:lnTo>
                      <a:pt x="83" y="176"/>
                    </a:lnTo>
                    <a:lnTo>
                      <a:pt x="84" y="176"/>
                    </a:lnTo>
                    <a:lnTo>
                      <a:pt x="83" y="177"/>
                    </a:lnTo>
                    <a:lnTo>
                      <a:pt x="82" y="177"/>
                    </a:lnTo>
                    <a:lnTo>
                      <a:pt x="83" y="178"/>
                    </a:lnTo>
                    <a:lnTo>
                      <a:pt x="84" y="178"/>
                    </a:lnTo>
                    <a:lnTo>
                      <a:pt x="84" y="179"/>
                    </a:lnTo>
                    <a:lnTo>
                      <a:pt x="85" y="178"/>
                    </a:lnTo>
                    <a:lnTo>
                      <a:pt x="85" y="179"/>
                    </a:lnTo>
                    <a:lnTo>
                      <a:pt x="86" y="181"/>
                    </a:lnTo>
                    <a:lnTo>
                      <a:pt x="85" y="181"/>
                    </a:lnTo>
                    <a:lnTo>
                      <a:pt x="89" y="184"/>
                    </a:lnTo>
                    <a:lnTo>
                      <a:pt x="89" y="183"/>
                    </a:lnTo>
                    <a:lnTo>
                      <a:pt x="93" y="183"/>
                    </a:lnTo>
                    <a:lnTo>
                      <a:pt x="94" y="185"/>
                    </a:lnTo>
                    <a:lnTo>
                      <a:pt x="96" y="185"/>
                    </a:lnTo>
                    <a:lnTo>
                      <a:pt x="98" y="186"/>
                    </a:lnTo>
                    <a:lnTo>
                      <a:pt x="98" y="185"/>
                    </a:lnTo>
                    <a:lnTo>
                      <a:pt x="100" y="185"/>
                    </a:lnTo>
                    <a:lnTo>
                      <a:pt x="99" y="187"/>
                    </a:lnTo>
                    <a:lnTo>
                      <a:pt x="97" y="192"/>
                    </a:lnTo>
                    <a:lnTo>
                      <a:pt x="97" y="195"/>
                    </a:lnTo>
                    <a:lnTo>
                      <a:pt x="97" y="197"/>
                    </a:lnTo>
                    <a:lnTo>
                      <a:pt x="99" y="197"/>
                    </a:lnTo>
                    <a:lnTo>
                      <a:pt x="101" y="195"/>
                    </a:lnTo>
                    <a:lnTo>
                      <a:pt x="101" y="196"/>
                    </a:lnTo>
                    <a:lnTo>
                      <a:pt x="101" y="195"/>
                    </a:lnTo>
                    <a:lnTo>
                      <a:pt x="102" y="194"/>
                    </a:lnTo>
                    <a:lnTo>
                      <a:pt x="104" y="197"/>
                    </a:lnTo>
                    <a:lnTo>
                      <a:pt x="105" y="196"/>
                    </a:lnTo>
                    <a:lnTo>
                      <a:pt x="106" y="197"/>
                    </a:lnTo>
                    <a:lnTo>
                      <a:pt x="108" y="199"/>
                    </a:lnTo>
                    <a:lnTo>
                      <a:pt x="109" y="199"/>
                    </a:lnTo>
                    <a:lnTo>
                      <a:pt x="111" y="204"/>
                    </a:lnTo>
                    <a:lnTo>
                      <a:pt x="115" y="206"/>
                    </a:lnTo>
                    <a:lnTo>
                      <a:pt x="116" y="208"/>
                    </a:lnTo>
                    <a:lnTo>
                      <a:pt x="118" y="206"/>
                    </a:lnTo>
                    <a:lnTo>
                      <a:pt x="120" y="205"/>
                    </a:lnTo>
                    <a:lnTo>
                      <a:pt x="120" y="210"/>
                    </a:lnTo>
                    <a:lnTo>
                      <a:pt x="118" y="211"/>
                    </a:lnTo>
                    <a:lnTo>
                      <a:pt x="115" y="216"/>
                    </a:lnTo>
                    <a:lnTo>
                      <a:pt x="117" y="219"/>
                    </a:lnTo>
                    <a:lnTo>
                      <a:pt x="116" y="220"/>
                    </a:lnTo>
                    <a:lnTo>
                      <a:pt x="120" y="224"/>
                    </a:lnTo>
                    <a:lnTo>
                      <a:pt x="123" y="224"/>
                    </a:lnTo>
                    <a:lnTo>
                      <a:pt x="126" y="227"/>
                    </a:lnTo>
                    <a:lnTo>
                      <a:pt x="128" y="228"/>
                    </a:lnTo>
                    <a:lnTo>
                      <a:pt x="128" y="229"/>
                    </a:lnTo>
                    <a:lnTo>
                      <a:pt x="129" y="229"/>
                    </a:lnTo>
                    <a:lnTo>
                      <a:pt x="132" y="234"/>
                    </a:lnTo>
                    <a:lnTo>
                      <a:pt x="133" y="234"/>
                    </a:lnTo>
                    <a:lnTo>
                      <a:pt x="134" y="233"/>
                    </a:lnTo>
                    <a:lnTo>
                      <a:pt x="136" y="233"/>
                    </a:lnTo>
                    <a:lnTo>
                      <a:pt x="138" y="234"/>
                    </a:lnTo>
                    <a:lnTo>
                      <a:pt x="140" y="234"/>
                    </a:lnTo>
                    <a:lnTo>
                      <a:pt x="143" y="233"/>
                    </a:lnTo>
                    <a:lnTo>
                      <a:pt x="142" y="227"/>
                    </a:lnTo>
                    <a:lnTo>
                      <a:pt x="146" y="229"/>
                    </a:lnTo>
                    <a:lnTo>
                      <a:pt x="147" y="228"/>
                    </a:lnTo>
                    <a:lnTo>
                      <a:pt x="148" y="228"/>
                    </a:lnTo>
                    <a:lnTo>
                      <a:pt x="147" y="224"/>
                    </a:lnTo>
                    <a:lnTo>
                      <a:pt x="148" y="220"/>
                    </a:lnTo>
                    <a:lnTo>
                      <a:pt x="155" y="215"/>
                    </a:lnTo>
                    <a:lnTo>
                      <a:pt x="156" y="212"/>
                    </a:lnTo>
                    <a:lnTo>
                      <a:pt x="158" y="212"/>
                    </a:lnTo>
                    <a:lnTo>
                      <a:pt x="158" y="214"/>
                    </a:lnTo>
                    <a:lnTo>
                      <a:pt x="159" y="213"/>
                    </a:lnTo>
                    <a:lnTo>
                      <a:pt x="159" y="214"/>
                    </a:lnTo>
                    <a:lnTo>
                      <a:pt x="158" y="215"/>
                    </a:lnTo>
                    <a:lnTo>
                      <a:pt x="159" y="217"/>
                    </a:lnTo>
                    <a:lnTo>
                      <a:pt x="158" y="217"/>
                    </a:lnTo>
                    <a:lnTo>
                      <a:pt x="158" y="219"/>
                    </a:lnTo>
                    <a:lnTo>
                      <a:pt x="161" y="223"/>
                    </a:lnTo>
                    <a:lnTo>
                      <a:pt x="163" y="223"/>
                    </a:lnTo>
                    <a:lnTo>
                      <a:pt x="165" y="223"/>
                    </a:lnTo>
                    <a:lnTo>
                      <a:pt x="166" y="224"/>
                    </a:lnTo>
                    <a:lnTo>
                      <a:pt x="168" y="226"/>
                    </a:lnTo>
                    <a:lnTo>
                      <a:pt x="169" y="227"/>
                    </a:lnTo>
                    <a:lnTo>
                      <a:pt x="170" y="224"/>
                    </a:lnTo>
                    <a:lnTo>
                      <a:pt x="171" y="225"/>
                    </a:lnTo>
                    <a:lnTo>
                      <a:pt x="172" y="225"/>
                    </a:lnTo>
                    <a:lnTo>
                      <a:pt x="174" y="227"/>
                    </a:lnTo>
                    <a:lnTo>
                      <a:pt x="175" y="227"/>
                    </a:lnTo>
                    <a:lnTo>
                      <a:pt x="176" y="229"/>
                    </a:lnTo>
                    <a:lnTo>
                      <a:pt x="177" y="230"/>
                    </a:lnTo>
                    <a:lnTo>
                      <a:pt x="177" y="231"/>
                    </a:lnTo>
                    <a:lnTo>
                      <a:pt x="179" y="233"/>
                    </a:lnTo>
                    <a:lnTo>
                      <a:pt x="180" y="239"/>
                    </a:lnTo>
                    <a:lnTo>
                      <a:pt x="182" y="241"/>
                    </a:lnTo>
                    <a:lnTo>
                      <a:pt x="183" y="240"/>
                    </a:lnTo>
                    <a:lnTo>
                      <a:pt x="185" y="240"/>
                    </a:lnTo>
                    <a:lnTo>
                      <a:pt x="189" y="241"/>
                    </a:lnTo>
                    <a:lnTo>
                      <a:pt x="192" y="239"/>
                    </a:lnTo>
                    <a:lnTo>
                      <a:pt x="194" y="241"/>
                    </a:lnTo>
                    <a:lnTo>
                      <a:pt x="195" y="244"/>
                    </a:lnTo>
                    <a:lnTo>
                      <a:pt x="194" y="245"/>
                    </a:lnTo>
                    <a:lnTo>
                      <a:pt x="195" y="246"/>
                    </a:lnTo>
                    <a:lnTo>
                      <a:pt x="197" y="244"/>
                    </a:lnTo>
                    <a:lnTo>
                      <a:pt x="200" y="244"/>
                    </a:lnTo>
                    <a:lnTo>
                      <a:pt x="201" y="246"/>
                    </a:lnTo>
                    <a:lnTo>
                      <a:pt x="203" y="249"/>
                    </a:lnTo>
                    <a:lnTo>
                      <a:pt x="205" y="249"/>
                    </a:lnTo>
                    <a:lnTo>
                      <a:pt x="205" y="247"/>
                    </a:lnTo>
                    <a:lnTo>
                      <a:pt x="207" y="247"/>
                    </a:lnTo>
                    <a:lnTo>
                      <a:pt x="207" y="250"/>
                    </a:lnTo>
                    <a:lnTo>
                      <a:pt x="209" y="251"/>
                    </a:lnTo>
                    <a:lnTo>
                      <a:pt x="209" y="253"/>
                    </a:lnTo>
                    <a:lnTo>
                      <a:pt x="211" y="253"/>
                    </a:lnTo>
                    <a:lnTo>
                      <a:pt x="211" y="254"/>
                    </a:lnTo>
                    <a:lnTo>
                      <a:pt x="212" y="253"/>
                    </a:lnTo>
                    <a:lnTo>
                      <a:pt x="215" y="255"/>
                    </a:lnTo>
                    <a:lnTo>
                      <a:pt x="218" y="256"/>
                    </a:lnTo>
                    <a:lnTo>
                      <a:pt x="219" y="258"/>
                    </a:lnTo>
                    <a:lnTo>
                      <a:pt x="222" y="264"/>
                    </a:lnTo>
                    <a:lnTo>
                      <a:pt x="224" y="267"/>
                    </a:lnTo>
                    <a:lnTo>
                      <a:pt x="226" y="268"/>
                    </a:lnTo>
                    <a:lnTo>
                      <a:pt x="224" y="272"/>
                    </a:lnTo>
                    <a:lnTo>
                      <a:pt x="227" y="274"/>
                    </a:lnTo>
                    <a:lnTo>
                      <a:pt x="228" y="275"/>
                    </a:lnTo>
                    <a:lnTo>
                      <a:pt x="229" y="278"/>
                    </a:lnTo>
                    <a:lnTo>
                      <a:pt x="231" y="278"/>
                    </a:lnTo>
                    <a:lnTo>
                      <a:pt x="232" y="278"/>
                    </a:lnTo>
                    <a:lnTo>
                      <a:pt x="233" y="276"/>
                    </a:lnTo>
                    <a:lnTo>
                      <a:pt x="236" y="279"/>
                    </a:lnTo>
                    <a:lnTo>
                      <a:pt x="237" y="278"/>
                    </a:lnTo>
                    <a:lnTo>
                      <a:pt x="240" y="281"/>
                    </a:lnTo>
                    <a:lnTo>
                      <a:pt x="243" y="281"/>
                    </a:lnTo>
                    <a:lnTo>
                      <a:pt x="245" y="283"/>
                    </a:lnTo>
                    <a:lnTo>
                      <a:pt x="246" y="285"/>
                    </a:lnTo>
                    <a:lnTo>
                      <a:pt x="248" y="289"/>
                    </a:lnTo>
                    <a:lnTo>
                      <a:pt x="250" y="289"/>
                    </a:lnTo>
                    <a:lnTo>
                      <a:pt x="252" y="291"/>
                    </a:lnTo>
                    <a:lnTo>
                      <a:pt x="252" y="293"/>
                    </a:lnTo>
                    <a:lnTo>
                      <a:pt x="255" y="299"/>
                    </a:lnTo>
                    <a:lnTo>
                      <a:pt x="256" y="300"/>
                    </a:lnTo>
                    <a:lnTo>
                      <a:pt x="257" y="302"/>
                    </a:lnTo>
                    <a:lnTo>
                      <a:pt x="259" y="304"/>
                    </a:lnTo>
                    <a:lnTo>
                      <a:pt x="259" y="301"/>
                    </a:lnTo>
                    <a:lnTo>
                      <a:pt x="263" y="298"/>
                    </a:lnTo>
                    <a:lnTo>
                      <a:pt x="262" y="295"/>
                    </a:lnTo>
                    <a:lnTo>
                      <a:pt x="263" y="293"/>
                    </a:lnTo>
                    <a:lnTo>
                      <a:pt x="265" y="294"/>
                    </a:lnTo>
                    <a:lnTo>
                      <a:pt x="267" y="294"/>
                    </a:lnTo>
                    <a:lnTo>
                      <a:pt x="268" y="292"/>
                    </a:lnTo>
                    <a:lnTo>
                      <a:pt x="269" y="293"/>
                    </a:lnTo>
                    <a:lnTo>
                      <a:pt x="270" y="293"/>
                    </a:lnTo>
                    <a:lnTo>
                      <a:pt x="272" y="294"/>
                    </a:lnTo>
                    <a:lnTo>
                      <a:pt x="270" y="298"/>
                    </a:lnTo>
                    <a:lnTo>
                      <a:pt x="272" y="298"/>
                    </a:lnTo>
                    <a:lnTo>
                      <a:pt x="273" y="297"/>
                    </a:lnTo>
                    <a:lnTo>
                      <a:pt x="274" y="297"/>
                    </a:lnTo>
                    <a:lnTo>
                      <a:pt x="275" y="297"/>
                    </a:lnTo>
                    <a:lnTo>
                      <a:pt x="278" y="297"/>
                    </a:lnTo>
                    <a:lnTo>
                      <a:pt x="282" y="294"/>
                    </a:lnTo>
                    <a:lnTo>
                      <a:pt x="284" y="294"/>
                    </a:lnTo>
                    <a:lnTo>
                      <a:pt x="286" y="298"/>
                    </a:lnTo>
                    <a:lnTo>
                      <a:pt x="288" y="298"/>
                    </a:lnTo>
                    <a:lnTo>
                      <a:pt x="290" y="299"/>
                    </a:lnTo>
                    <a:lnTo>
                      <a:pt x="290" y="298"/>
                    </a:lnTo>
                    <a:lnTo>
                      <a:pt x="295" y="299"/>
                    </a:lnTo>
                    <a:lnTo>
                      <a:pt x="296" y="298"/>
                    </a:lnTo>
                    <a:lnTo>
                      <a:pt x="296" y="300"/>
                    </a:lnTo>
                    <a:lnTo>
                      <a:pt x="297" y="299"/>
                    </a:lnTo>
                    <a:lnTo>
                      <a:pt x="297" y="298"/>
                    </a:lnTo>
                    <a:lnTo>
                      <a:pt x="296" y="295"/>
                    </a:lnTo>
                    <a:lnTo>
                      <a:pt x="298" y="293"/>
                    </a:lnTo>
                    <a:lnTo>
                      <a:pt x="298" y="292"/>
                    </a:lnTo>
                    <a:lnTo>
                      <a:pt x="299" y="291"/>
                    </a:lnTo>
                    <a:lnTo>
                      <a:pt x="299" y="289"/>
                    </a:lnTo>
                    <a:lnTo>
                      <a:pt x="299" y="286"/>
                    </a:lnTo>
                    <a:lnTo>
                      <a:pt x="301" y="284"/>
                    </a:lnTo>
                    <a:lnTo>
                      <a:pt x="301" y="283"/>
                    </a:lnTo>
                    <a:lnTo>
                      <a:pt x="302" y="282"/>
                    </a:lnTo>
                    <a:lnTo>
                      <a:pt x="304" y="282"/>
                    </a:lnTo>
                    <a:lnTo>
                      <a:pt x="305" y="284"/>
                    </a:lnTo>
                    <a:lnTo>
                      <a:pt x="306" y="284"/>
                    </a:lnTo>
                    <a:lnTo>
                      <a:pt x="308" y="282"/>
                    </a:lnTo>
                    <a:lnTo>
                      <a:pt x="308" y="284"/>
                    </a:lnTo>
                    <a:lnTo>
                      <a:pt x="310" y="286"/>
                    </a:lnTo>
                    <a:lnTo>
                      <a:pt x="312" y="285"/>
                    </a:lnTo>
                    <a:lnTo>
                      <a:pt x="314" y="286"/>
                    </a:lnTo>
                    <a:lnTo>
                      <a:pt x="315" y="287"/>
                    </a:lnTo>
                    <a:lnTo>
                      <a:pt x="318" y="287"/>
                    </a:lnTo>
                    <a:lnTo>
                      <a:pt x="318" y="286"/>
                    </a:lnTo>
                    <a:lnTo>
                      <a:pt x="319" y="286"/>
                    </a:lnTo>
                    <a:lnTo>
                      <a:pt x="319" y="285"/>
                    </a:lnTo>
                    <a:lnTo>
                      <a:pt x="319" y="283"/>
                    </a:lnTo>
                    <a:lnTo>
                      <a:pt x="320" y="283"/>
                    </a:lnTo>
                    <a:lnTo>
                      <a:pt x="324" y="285"/>
                    </a:lnTo>
                    <a:lnTo>
                      <a:pt x="328" y="290"/>
                    </a:lnTo>
                    <a:lnTo>
                      <a:pt x="331" y="287"/>
                    </a:lnTo>
                    <a:lnTo>
                      <a:pt x="333" y="289"/>
                    </a:lnTo>
                    <a:lnTo>
                      <a:pt x="333" y="287"/>
                    </a:lnTo>
                    <a:lnTo>
                      <a:pt x="332" y="287"/>
                    </a:lnTo>
                    <a:lnTo>
                      <a:pt x="332" y="286"/>
                    </a:lnTo>
                    <a:lnTo>
                      <a:pt x="336" y="289"/>
                    </a:lnTo>
                    <a:lnTo>
                      <a:pt x="337" y="289"/>
                    </a:lnTo>
                    <a:lnTo>
                      <a:pt x="339" y="289"/>
                    </a:lnTo>
                    <a:lnTo>
                      <a:pt x="341" y="288"/>
                    </a:lnTo>
                    <a:lnTo>
                      <a:pt x="340" y="289"/>
                    </a:lnTo>
                    <a:lnTo>
                      <a:pt x="345" y="291"/>
                    </a:lnTo>
                    <a:lnTo>
                      <a:pt x="346" y="294"/>
                    </a:lnTo>
                    <a:lnTo>
                      <a:pt x="347" y="294"/>
                    </a:lnTo>
                    <a:lnTo>
                      <a:pt x="348" y="294"/>
                    </a:lnTo>
                    <a:lnTo>
                      <a:pt x="355" y="299"/>
                    </a:lnTo>
                    <a:lnTo>
                      <a:pt x="356" y="300"/>
                    </a:lnTo>
                    <a:lnTo>
                      <a:pt x="360" y="303"/>
                    </a:lnTo>
                    <a:lnTo>
                      <a:pt x="363" y="305"/>
                    </a:lnTo>
                    <a:lnTo>
                      <a:pt x="368" y="304"/>
                    </a:lnTo>
                    <a:lnTo>
                      <a:pt x="368" y="302"/>
                    </a:lnTo>
                    <a:lnTo>
                      <a:pt x="369" y="301"/>
                    </a:lnTo>
                    <a:lnTo>
                      <a:pt x="369" y="300"/>
                    </a:lnTo>
                    <a:lnTo>
                      <a:pt x="368" y="298"/>
                    </a:lnTo>
                    <a:lnTo>
                      <a:pt x="370" y="297"/>
                    </a:lnTo>
                    <a:lnTo>
                      <a:pt x="371" y="293"/>
                    </a:lnTo>
                    <a:lnTo>
                      <a:pt x="372" y="292"/>
                    </a:lnTo>
                    <a:lnTo>
                      <a:pt x="372" y="291"/>
                    </a:lnTo>
                    <a:lnTo>
                      <a:pt x="373" y="291"/>
                    </a:lnTo>
                    <a:lnTo>
                      <a:pt x="373" y="293"/>
                    </a:lnTo>
                    <a:lnTo>
                      <a:pt x="374" y="294"/>
                    </a:lnTo>
                    <a:lnTo>
                      <a:pt x="375" y="293"/>
                    </a:lnTo>
                    <a:lnTo>
                      <a:pt x="372" y="290"/>
                    </a:lnTo>
                    <a:lnTo>
                      <a:pt x="370" y="286"/>
                    </a:lnTo>
                    <a:lnTo>
                      <a:pt x="370" y="284"/>
                    </a:lnTo>
                    <a:lnTo>
                      <a:pt x="371" y="283"/>
                    </a:lnTo>
                    <a:lnTo>
                      <a:pt x="371" y="278"/>
                    </a:lnTo>
                    <a:lnTo>
                      <a:pt x="373" y="278"/>
                    </a:lnTo>
                    <a:lnTo>
                      <a:pt x="373" y="276"/>
                    </a:lnTo>
                    <a:lnTo>
                      <a:pt x="375" y="274"/>
                    </a:lnTo>
                    <a:lnTo>
                      <a:pt x="377" y="274"/>
                    </a:lnTo>
                    <a:lnTo>
                      <a:pt x="378" y="274"/>
                    </a:lnTo>
                    <a:lnTo>
                      <a:pt x="378" y="273"/>
                    </a:lnTo>
                    <a:lnTo>
                      <a:pt x="378" y="271"/>
                    </a:lnTo>
                    <a:lnTo>
                      <a:pt x="380" y="270"/>
                    </a:lnTo>
                    <a:lnTo>
                      <a:pt x="382" y="270"/>
                    </a:lnTo>
                    <a:lnTo>
                      <a:pt x="384" y="268"/>
                    </a:lnTo>
                    <a:lnTo>
                      <a:pt x="383" y="265"/>
                    </a:lnTo>
                    <a:lnTo>
                      <a:pt x="385" y="258"/>
                    </a:lnTo>
                    <a:lnTo>
                      <a:pt x="385" y="256"/>
                    </a:lnTo>
                    <a:lnTo>
                      <a:pt x="384" y="257"/>
                    </a:lnTo>
                    <a:lnTo>
                      <a:pt x="384" y="255"/>
                    </a:lnTo>
                    <a:lnTo>
                      <a:pt x="383" y="255"/>
                    </a:lnTo>
                    <a:lnTo>
                      <a:pt x="385" y="251"/>
                    </a:lnTo>
                    <a:lnTo>
                      <a:pt x="386" y="249"/>
                    </a:lnTo>
                    <a:lnTo>
                      <a:pt x="383" y="247"/>
                    </a:lnTo>
                    <a:lnTo>
                      <a:pt x="382" y="244"/>
                    </a:lnTo>
                    <a:lnTo>
                      <a:pt x="379" y="244"/>
                    </a:lnTo>
                    <a:lnTo>
                      <a:pt x="378" y="245"/>
                    </a:lnTo>
                    <a:lnTo>
                      <a:pt x="377" y="244"/>
                    </a:lnTo>
                    <a:lnTo>
                      <a:pt x="377" y="242"/>
                    </a:lnTo>
                    <a:lnTo>
                      <a:pt x="375" y="242"/>
                    </a:lnTo>
                    <a:lnTo>
                      <a:pt x="375" y="244"/>
                    </a:lnTo>
                    <a:lnTo>
                      <a:pt x="373" y="244"/>
                    </a:lnTo>
                    <a:lnTo>
                      <a:pt x="371" y="244"/>
                    </a:lnTo>
                    <a:lnTo>
                      <a:pt x="371" y="242"/>
                    </a:lnTo>
                    <a:lnTo>
                      <a:pt x="373" y="241"/>
                    </a:lnTo>
                    <a:lnTo>
                      <a:pt x="375" y="238"/>
                    </a:lnTo>
                    <a:lnTo>
                      <a:pt x="376" y="238"/>
                    </a:lnTo>
                    <a:lnTo>
                      <a:pt x="378" y="235"/>
                    </a:lnTo>
                    <a:lnTo>
                      <a:pt x="376" y="234"/>
                    </a:lnTo>
                    <a:lnTo>
                      <a:pt x="373" y="229"/>
                    </a:lnTo>
                    <a:lnTo>
                      <a:pt x="375" y="228"/>
                    </a:lnTo>
                    <a:lnTo>
                      <a:pt x="375" y="227"/>
                    </a:lnTo>
                    <a:lnTo>
                      <a:pt x="375" y="226"/>
                    </a:lnTo>
                    <a:lnTo>
                      <a:pt x="376" y="225"/>
                    </a:lnTo>
                    <a:lnTo>
                      <a:pt x="375" y="223"/>
                    </a:lnTo>
                    <a:lnTo>
                      <a:pt x="373" y="222"/>
                    </a:lnTo>
                    <a:lnTo>
                      <a:pt x="371" y="220"/>
                    </a:lnTo>
                    <a:lnTo>
                      <a:pt x="367" y="213"/>
                    </a:lnTo>
                    <a:lnTo>
                      <a:pt x="365" y="207"/>
                    </a:lnTo>
                    <a:lnTo>
                      <a:pt x="366" y="204"/>
                    </a:lnTo>
                    <a:lnTo>
                      <a:pt x="365" y="202"/>
                    </a:lnTo>
                    <a:lnTo>
                      <a:pt x="366" y="200"/>
                    </a:lnTo>
                    <a:lnTo>
                      <a:pt x="365" y="199"/>
                    </a:lnTo>
                    <a:lnTo>
                      <a:pt x="364" y="198"/>
                    </a:lnTo>
                    <a:lnTo>
                      <a:pt x="363" y="197"/>
                    </a:lnTo>
                    <a:lnTo>
                      <a:pt x="363" y="196"/>
                    </a:lnTo>
                    <a:lnTo>
                      <a:pt x="361" y="195"/>
                    </a:lnTo>
                    <a:lnTo>
                      <a:pt x="360" y="192"/>
                    </a:lnTo>
                    <a:lnTo>
                      <a:pt x="362" y="189"/>
                    </a:lnTo>
                    <a:lnTo>
                      <a:pt x="361" y="188"/>
                    </a:lnTo>
                    <a:lnTo>
                      <a:pt x="361" y="186"/>
                    </a:lnTo>
                    <a:lnTo>
                      <a:pt x="362" y="180"/>
                    </a:lnTo>
                    <a:lnTo>
                      <a:pt x="363" y="179"/>
                    </a:lnTo>
                    <a:lnTo>
                      <a:pt x="366" y="177"/>
                    </a:lnTo>
                    <a:lnTo>
                      <a:pt x="367" y="177"/>
                    </a:lnTo>
                    <a:lnTo>
                      <a:pt x="371" y="176"/>
                    </a:lnTo>
                    <a:lnTo>
                      <a:pt x="370" y="175"/>
                    </a:lnTo>
                    <a:lnTo>
                      <a:pt x="371" y="174"/>
                    </a:lnTo>
                    <a:lnTo>
                      <a:pt x="369" y="173"/>
                    </a:lnTo>
                    <a:lnTo>
                      <a:pt x="369" y="170"/>
                    </a:lnTo>
                    <a:lnTo>
                      <a:pt x="367" y="164"/>
                    </a:lnTo>
                    <a:lnTo>
                      <a:pt x="369" y="162"/>
                    </a:lnTo>
                    <a:lnTo>
                      <a:pt x="368" y="160"/>
                    </a:lnTo>
                    <a:lnTo>
                      <a:pt x="368" y="158"/>
                    </a:lnTo>
                    <a:lnTo>
                      <a:pt x="369" y="156"/>
                    </a:lnTo>
                    <a:lnTo>
                      <a:pt x="369" y="154"/>
                    </a:lnTo>
                    <a:lnTo>
                      <a:pt x="370" y="152"/>
                    </a:lnTo>
                    <a:lnTo>
                      <a:pt x="367" y="150"/>
                    </a:lnTo>
                    <a:lnTo>
                      <a:pt x="369" y="147"/>
                    </a:lnTo>
                    <a:lnTo>
                      <a:pt x="366" y="145"/>
                    </a:lnTo>
                    <a:lnTo>
                      <a:pt x="366" y="140"/>
                    </a:lnTo>
                    <a:lnTo>
                      <a:pt x="365" y="139"/>
                    </a:lnTo>
                    <a:lnTo>
                      <a:pt x="365" y="137"/>
                    </a:lnTo>
                    <a:lnTo>
                      <a:pt x="365" y="133"/>
                    </a:lnTo>
                    <a:lnTo>
                      <a:pt x="366" y="130"/>
                    </a:lnTo>
                    <a:lnTo>
                      <a:pt x="365" y="127"/>
                    </a:lnTo>
                    <a:lnTo>
                      <a:pt x="365" y="125"/>
                    </a:lnTo>
                    <a:lnTo>
                      <a:pt x="364" y="123"/>
                    </a:lnTo>
                    <a:lnTo>
                      <a:pt x="362" y="121"/>
                    </a:lnTo>
                    <a:lnTo>
                      <a:pt x="361" y="113"/>
                    </a:lnTo>
                    <a:lnTo>
                      <a:pt x="364" y="113"/>
                    </a:lnTo>
                    <a:lnTo>
                      <a:pt x="369" y="114"/>
                    </a:lnTo>
                    <a:lnTo>
                      <a:pt x="371" y="117"/>
                    </a:lnTo>
                    <a:lnTo>
                      <a:pt x="373" y="117"/>
                    </a:lnTo>
                    <a:lnTo>
                      <a:pt x="373" y="116"/>
                    </a:lnTo>
                    <a:lnTo>
                      <a:pt x="375" y="113"/>
                    </a:lnTo>
                    <a:lnTo>
                      <a:pt x="377" y="112"/>
                    </a:lnTo>
                    <a:lnTo>
                      <a:pt x="377" y="111"/>
                    </a:lnTo>
                    <a:lnTo>
                      <a:pt x="377" y="109"/>
                    </a:lnTo>
                    <a:lnTo>
                      <a:pt x="378" y="107"/>
                    </a:lnTo>
                    <a:lnTo>
                      <a:pt x="379" y="108"/>
                    </a:lnTo>
                    <a:lnTo>
                      <a:pt x="381" y="105"/>
                    </a:lnTo>
                    <a:lnTo>
                      <a:pt x="385" y="104"/>
                    </a:lnTo>
                    <a:lnTo>
                      <a:pt x="385" y="102"/>
                    </a:lnTo>
                    <a:lnTo>
                      <a:pt x="388" y="102"/>
                    </a:lnTo>
                    <a:lnTo>
                      <a:pt x="389" y="101"/>
                    </a:lnTo>
                    <a:lnTo>
                      <a:pt x="389" y="100"/>
                    </a:lnTo>
                    <a:lnTo>
                      <a:pt x="390" y="98"/>
                    </a:lnTo>
                    <a:lnTo>
                      <a:pt x="392" y="96"/>
                    </a:lnTo>
                    <a:lnTo>
                      <a:pt x="390" y="92"/>
                    </a:lnTo>
                    <a:lnTo>
                      <a:pt x="391" y="89"/>
                    </a:lnTo>
                    <a:lnTo>
                      <a:pt x="388" y="85"/>
                    </a:lnTo>
                    <a:lnTo>
                      <a:pt x="389" y="83"/>
                    </a:lnTo>
                    <a:lnTo>
                      <a:pt x="392" y="80"/>
                    </a:lnTo>
                    <a:lnTo>
                      <a:pt x="395" y="78"/>
                    </a:lnTo>
                    <a:lnTo>
                      <a:pt x="394" y="76"/>
                    </a:lnTo>
                    <a:lnTo>
                      <a:pt x="394" y="73"/>
                    </a:lnTo>
                    <a:lnTo>
                      <a:pt x="392" y="67"/>
                    </a:lnTo>
                    <a:lnTo>
                      <a:pt x="391" y="66"/>
                    </a:lnTo>
                    <a:lnTo>
                      <a:pt x="392" y="65"/>
                    </a:lnTo>
                    <a:lnTo>
                      <a:pt x="395" y="65"/>
                    </a:lnTo>
                    <a:lnTo>
                      <a:pt x="398" y="63"/>
                    </a:lnTo>
                    <a:lnTo>
                      <a:pt x="398" y="57"/>
                    </a:lnTo>
                    <a:lnTo>
                      <a:pt x="399" y="57"/>
                    </a:lnTo>
                    <a:lnTo>
                      <a:pt x="399" y="59"/>
                    </a:lnTo>
                    <a:lnTo>
                      <a:pt x="401" y="57"/>
                    </a:lnTo>
                    <a:lnTo>
                      <a:pt x="401" y="54"/>
                    </a:lnTo>
                    <a:lnTo>
                      <a:pt x="402" y="50"/>
                    </a:lnTo>
                    <a:lnTo>
                      <a:pt x="403" y="49"/>
                    </a:lnTo>
                    <a:lnTo>
                      <a:pt x="404" y="46"/>
                    </a:lnTo>
                    <a:lnTo>
                      <a:pt x="406" y="42"/>
                    </a:lnTo>
                    <a:lnTo>
                      <a:pt x="406" y="40"/>
                    </a:lnTo>
                    <a:lnTo>
                      <a:pt x="409" y="38"/>
                    </a:lnTo>
                    <a:lnTo>
                      <a:pt x="410" y="36"/>
                    </a:lnTo>
                    <a:lnTo>
                      <a:pt x="410" y="32"/>
                    </a:lnTo>
                    <a:lnTo>
                      <a:pt x="411" y="31"/>
                    </a:lnTo>
                    <a:lnTo>
                      <a:pt x="410" y="29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oup 65">
              <a:extLst>
                <a:ext uri="{FF2B5EF4-FFF2-40B4-BE49-F238E27FC236}">
                  <a16:creationId xmlns:a16="http://schemas.microsoft.com/office/drawing/2014/main" id="{3AD5878B-3E7B-4FF5-C80C-B4DB0E46CD5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92" y="3139"/>
              <a:ext cx="454" cy="457"/>
              <a:chOff x="1792" y="3139"/>
              <a:chExt cx="454" cy="457"/>
            </a:xfrm>
          </p:grpSpPr>
          <p:sp>
            <p:nvSpPr>
              <p:cNvPr id="184" name="Freeform 63">
                <a:extLst>
                  <a:ext uri="{FF2B5EF4-FFF2-40B4-BE49-F238E27FC236}">
                    <a16:creationId xmlns:a16="http://schemas.microsoft.com/office/drawing/2014/main" id="{75C821AC-FC4D-07A8-705D-2FDCF0EF92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2" y="3139"/>
                <a:ext cx="454" cy="457"/>
              </a:xfrm>
              <a:custGeom>
                <a:avLst/>
                <a:gdLst>
                  <a:gd name="T0" fmla="*/ 446 w 454"/>
                  <a:gd name="T1" fmla="*/ 367 h 457"/>
                  <a:gd name="T2" fmla="*/ 440 w 454"/>
                  <a:gd name="T3" fmla="*/ 332 h 457"/>
                  <a:gd name="T4" fmla="*/ 417 w 454"/>
                  <a:gd name="T5" fmla="*/ 323 h 457"/>
                  <a:gd name="T6" fmla="*/ 399 w 454"/>
                  <a:gd name="T7" fmla="*/ 311 h 457"/>
                  <a:gd name="T8" fmla="*/ 392 w 454"/>
                  <a:gd name="T9" fmla="*/ 283 h 457"/>
                  <a:gd name="T10" fmla="*/ 384 w 454"/>
                  <a:gd name="T11" fmla="*/ 256 h 457"/>
                  <a:gd name="T12" fmla="*/ 388 w 454"/>
                  <a:gd name="T13" fmla="*/ 238 h 457"/>
                  <a:gd name="T14" fmla="*/ 389 w 454"/>
                  <a:gd name="T15" fmla="*/ 217 h 457"/>
                  <a:gd name="T16" fmla="*/ 373 w 454"/>
                  <a:gd name="T17" fmla="*/ 221 h 457"/>
                  <a:gd name="T18" fmla="*/ 352 w 454"/>
                  <a:gd name="T19" fmla="*/ 207 h 457"/>
                  <a:gd name="T20" fmla="*/ 325 w 454"/>
                  <a:gd name="T21" fmla="*/ 202 h 457"/>
                  <a:gd name="T22" fmla="*/ 312 w 454"/>
                  <a:gd name="T23" fmla="*/ 202 h 457"/>
                  <a:gd name="T24" fmla="*/ 287 w 454"/>
                  <a:gd name="T25" fmla="*/ 167 h 457"/>
                  <a:gd name="T26" fmla="*/ 267 w 454"/>
                  <a:gd name="T27" fmla="*/ 167 h 457"/>
                  <a:gd name="T28" fmla="*/ 256 w 454"/>
                  <a:gd name="T29" fmla="*/ 139 h 457"/>
                  <a:gd name="T30" fmla="*/ 242 w 454"/>
                  <a:gd name="T31" fmla="*/ 148 h 457"/>
                  <a:gd name="T32" fmla="*/ 249 w 454"/>
                  <a:gd name="T33" fmla="*/ 158 h 457"/>
                  <a:gd name="T34" fmla="*/ 214 w 454"/>
                  <a:gd name="T35" fmla="*/ 170 h 457"/>
                  <a:gd name="T36" fmla="*/ 191 w 454"/>
                  <a:gd name="T37" fmla="*/ 161 h 457"/>
                  <a:gd name="T38" fmla="*/ 175 w 454"/>
                  <a:gd name="T39" fmla="*/ 143 h 457"/>
                  <a:gd name="T40" fmla="*/ 173 w 454"/>
                  <a:gd name="T41" fmla="*/ 125 h 457"/>
                  <a:gd name="T42" fmla="*/ 159 w 454"/>
                  <a:gd name="T43" fmla="*/ 98 h 457"/>
                  <a:gd name="T44" fmla="*/ 136 w 454"/>
                  <a:gd name="T45" fmla="*/ 70 h 457"/>
                  <a:gd name="T46" fmla="*/ 165 w 454"/>
                  <a:gd name="T47" fmla="*/ 64 h 457"/>
                  <a:gd name="T48" fmla="*/ 176 w 454"/>
                  <a:gd name="T49" fmla="*/ 38 h 457"/>
                  <a:gd name="T50" fmla="*/ 173 w 454"/>
                  <a:gd name="T51" fmla="*/ 4 h 457"/>
                  <a:gd name="T52" fmla="*/ 140 w 454"/>
                  <a:gd name="T53" fmla="*/ 25 h 457"/>
                  <a:gd name="T54" fmla="*/ 120 w 454"/>
                  <a:gd name="T55" fmla="*/ 20 h 457"/>
                  <a:gd name="T56" fmla="*/ 95 w 454"/>
                  <a:gd name="T57" fmla="*/ 28 h 457"/>
                  <a:gd name="T58" fmla="*/ 77 w 454"/>
                  <a:gd name="T59" fmla="*/ 40 h 457"/>
                  <a:gd name="T60" fmla="*/ 48 w 454"/>
                  <a:gd name="T61" fmla="*/ 64 h 457"/>
                  <a:gd name="T62" fmla="*/ 31 w 454"/>
                  <a:gd name="T63" fmla="*/ 110 h 457"/>
                  <a:gd name="T64" fmla="*/ 8 w 454"/>
                  <a:gd name="T65" fmla="*/ 147 h 457"/>
                  <a:gd name="T66" fmla="*/ 9 w 454"/>
                  <a:gd name="T67" fmla="*/ 172 h 457"/>
                  <a:gd name="T68" fmla="*/ 3 w 454"/>
                  <a:gd name="T69" fmla="*/ 189 h 457"/>
                  <a:gd name="T70" fmla="*/ 9 w 454"/>
                  <a:gd name="T71" fmla="*/ 209 h 457"/>
                  <a:gd name="T72" fmla="*/ 16 w 454"/>
                  <a:gd name="T73" fmla="*/ 221 h 457"/>
                  <a:gd name="T74" fmla="*/ 25 w 454"/>
                  <a:gd name="T75" fmla="*/ 222 h 457"/>
                  <a:gd name="T76" fmla="*/ 39 w 454"/>
                  <a:gd name="T77" fmla="*/ 232 h 457"/>
                  <a:gd name="T78" fmla="*/ 63 w 454"/>
                  <a:gd name="T79" fmla="*/ 243 h 457"/>
                  <a:gd name="T80" fmla="*/ 72 w 454"/>
                  <a:gd name="T81" fmla="*/ 260 h 457"/>
                  <a:gd name="T82" fmla="*/ 100 w 454"/>
                  <a:gd name="T83" fmla="*/ 260 h 457"/>
                  <a:gd name="T84" fmla="*/ 130 w 454"/>
                  <a:gd name="T85" fmla="*/ 270 h 457"/>
                  <a:gd name="T86" fmla="*/ 143 w 454"/>
                  <a:gd name="T87" fmla="*/ 281 h 457"/>
                  <a:gd name="T88" fmla="*/ 149 w 454"/>
                  <a:gd name="T89" fmla="*/ 310 h 457"/>
                  <a:gd name="T90" fmla="*/ 163 w 454"/>
                  <a:gd name="T91" fmla="*/ 326 h 457"/>
                  <a:gd name="T92" fmla="*/ 179 w 454"/>
                  <a:gd name="T93" fmla="*/ 348 h 457"/>
                  <a:gd name="T94" fmla="*/ 177 w 454"/>
                  <a:gd name="T95" fmla="*/ 361 h 457"/>
                  <a:gd name="T96" fmla="*/ 193 w 454"/>
                  <a:gd name="T97" fmla="*/ 362 h 457"/>
                  <a:gd name="T98" fmla="*/ 209 w 454"/>
                  <a:gd name="T99" fmla="*/ 379 h 457"/>
                  <a:gd name="T100" fmla="*/ 239 w 454"/>
                  <a:gd name="T101" fmla="*/ 391 h 457"/>
                  <a:gd name="T102" fmla="*/ 272 w 454"/>
                  <a:gd name="T103" fmla="*/ 406 h 457"/>
                  <a:gd name="T104" fmla="*/ 304 w 454"/>
                  <a:gd name="T105" fmla="*/ 427 h 457"/>
                  <a:gd name="T106" fmla="*/ 320 w 454"/>
                  <a:gd name="T107" fmla="*/ 454 h 457"/>
                  <a:gd name="T108" fmla="*/ 350 w 454"/>
                  <a:gd name="T109" fmla="*/ 442 h 457"/>
                  <a:gd name="T110" fmla="*/ 364 w 454"/>
                  <a:gd name="T111" fmla="*/ 420 h 457"/>
                  <a:gd name="T112" fmla="*/ 381 w 454"/>
                  <a:gd name="T113" fmla="*/ 407 h 457"/>
                  <a:gd name="T114" fmla="*/ 404 w 454"/>
                  <a:gd name="T115" fmla="*/ 413 h 457"/>
                  <a:gd name="T116" fmla="*/ 438 w 454"/>
                  <a:gd name="T117" fmla="*/ 409 h 457"/>
                  <a:gd name="T118" fmla="*/ 454 w 454"/>
                  <a:gd name="T119" fmla="*/ 394 h 45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454"/>
                  <a:gd name="T181" fmla="*/ 0 h 457"/>
                  <a:gd name="T182" fmla="*/ 454 w 454"/>
                  <a:gd name="T183" fmla="*/ 457 h 45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454" h="457">
                    <a:moveTo>
                      <a:pt x="451" y="392"/>
                    </a:moveTo>
                    <a:lnTo>
                      <a:pt x="450" y="388"/>
                    </a:lnTo>
                    <a:lnTo>
                      <a:pt x="448" y="388"/>
                    </a:lnTo>
                    <a:lnTo>
                      <a:pt x="448" y="384"/>
                    </a:lnTo>
                    <a:lnTo>
                      <a:pt x="447" y="383"/>
                    </a:lnTo>
                    <a:lnTo>
                      <a:pt x="448" y="381"/>
                    </a:lnTo>
                    <a:lnTo>
                      <a:pt x="447" y="377"/>
                    </a:lnTo>
                    <a:lnTo>
                      <a:pt x="448" y="377"/>
                    </a:lnTo>
                    <a:lnTo>
                      <a:pt x="449" y="372"/>
                    </a:lnTo>
                    <a:lnTo>
                      <a:pt x="447" y="372"/>
                    </a:lnTo>
                    <a:lnTo>
                      <a:pt x="446" y="371"/>
                    </a:lnTo>
                    <a:lnTo>
                      <a:pt x="446" y="367"/>
                    </a:lnTo>
                    <a:lnTo>
                      <a:pt x="446" y="364"/>
                    </a:lnTo>
                    <a:lnTo>
                      <a:pt x="445" y="361"/>
                    </a:lnTo>
                    <a:lnTo>
                      <a:pt x="446" y="359"/>
                    </a:lnTo>
                    <a:lnTo>
                      <a:pt x="445" y="354"/>
                    </a:lnTo>
                    <a:lnTo>
                      <a:pt x="444" y="354"/>
                    </a:lnTo>
                    <a:lnTo>
                      <a:pt x="444" y="351"/>
                    </a:lnTo>
                    <a:lnTo>
                      <a:pt x="443" y="346"/>
                    </a:lnTo>
                    <a:lnTo>
                      <a:pt x="443" y="343"/>
                    </a:lnTo>
                    <a:lnTo>
                      <a:pt x="443" y="339"/>
                    </a:lnTo>
                    <a:lnTo>
                      <a:pt x="444" y="336"/>
                    </a:lnTo>
                    <a:lnTo>
                      <a:pt x="443" y="333"/>
                    </a:lnTo>
                    <a:lnTo>
                      <a:pt x="443" y="332"/>
                    </a:lnTo>
                    <a:lnTo>
                      <a:pt x="440" y="332"/>
                    </a:lnTo>
                    <a:lnTo>
                      <a:pt x="437" y="329"/>
                    </a:lnTo>
                    <a:lnTo>
                      <a:pt x="433" y="330"/>
                    </a:lnTo>
                    <a:lnTo>
                      <a:pt x="432" y="329"/>
                    </a:lnTo>
                    <a:lnTo>
                      <a:pt x="428" y="332"/>
                    </a:lnTo>
                    <a:lnTo>
                      <a:pt x="425" y="332"/>
                    </a:lnTo>
                    <a:lnTo>
                      <a:pt x="425" y="329"/>
                    </a:lnTo>
                    <a:lnTo>
                      <a:pt x="423" y="328"/>
                    </a:lnTo>
                    <a:lnTo>
                      <a:pt x="421" y="328"/>
                    </a:lnTo>
                    <a:lnTo>
                      <a:pt x="419" y="328"/>
                    </a:lnTo>
                    <a:lnTo>
                      <a:pt x="420" y="326"/>
                    </a:lnTo>
                    <a:lnTo>
                      <a:pt x="418" y="324"/>
                    </a:lnTo>
                    <a:lnTo>
                      <a:pt x="419" y="323"/>
                    </a:lnTo>
                    <a:lnTo>
                      <a:pt x="417" y="323"/>
                    </a:lnTo>
                    <a:lnTo>
                      <a:pt x="418" y="321"/>
                    </a:lnTo>
                    <a:lnTo>
                      <a:pt x="418" y="318"/>
                    </a:lnTo>
                    <a:lnTo>
                      <a:pt x="413" y="317"/>
                    </a:lnTo>
                    <a:lnTo>
                      <a:pt x="410" y="317"/>
                    </a:lnTo>
                    <a:lnTo>
                      <a:pt x="408" y="317"/>
                    </a:lnTo>
                    <a:lnTo>
                      <a:pt x="407" y="318"/>
                    </a:lnTo>
                    <a:lnTo>
                      <a:pt x="407" y="315"/>
                    </a:lnTo>
                    <a:lnTo>
                      <a:pt x="405" y="314"/>
                    </a:lnTo>
                    <a:lnTo>
                      <a:pt x="404" y="314"/>
                    </a:lnTo>
                    <a:lnTo>
                      <a:pt x="403" y="315"/>
                    </a:lnTo>
                    <a:lnTo>
                      <a:pt x="403" y="313"/>
                    </a:lnTo>
                    <a:lnTo>
                      <a:pt x="400" y="313"/>
                    </a:lnTo>
                    <a:lnTo>
                      <a:pt x="399" y="311"/>
                    </a:lnTo>
                    <a:lnTo>
                      <a:pt x="399" y="310"/>
                    </a:lnTo>
                    <a:lnTo>
                      <a:pt x="398" y="309"/>
                    </a:lnTo>
                    <a:lnTo>
                      <a:pt x="397" y="307"/>
                    </a:lnTo>
                    <a:lnTo>
                      <a:pt x="396" y="307"/>
                    </a:lnTo>
                    <a:lnTo>
                      <a:pt x="397" y="306"/>
                    </a:lnTo>
                    <a:lnTo>
                      <a:pt x="396" y="304"/>
                    </a:lnTo>
                    <a:lnTo>
                      <a:pt x="398" y="296"/>
                    </a:lnTo>
                    <a:lnTo>
                      <a:pt x="397" y="294"/>
                    </a:lnTo>
                    <a:lnTo>
                      <a:pt x="395" y="294"/>
                    </a:lnTo>
                    <a:lnTo>
                      <a:pt x="394" y="293"/>
                    </a:lnTo>
                    <a:lnTo>
                      <a:pt x="394" y="290"/>
                    </a:lnTo>
                    <a:lnTo>
                      <a:pt x="394" y="285"/>
                    </a:lnTo>
                    <a:lnTo>
                      <a:pt x="392" y="283"/>
                    </a:lnTo>
                    <a:lnTo>
                      <a:pt x="392" y="280"/>
                    </a:lnTo>
                    <a:lnTo>
                      <a:pt x="391" y="278"/>
                    </a:lnTo>
                    <a:lnTo>
                      <a:pt x="391" y="276"/>
                    </a:lnTo>
                    <a:lnTo>
                      <a:pt x="391" y="273"/>
                    </a:lnTo>
                    <a:lnTo>
                      <a:pt x="390" y="272"/>
                    </a:lnTo>
                    <a:lnTo>
                      <a:pt x="390" y="270"/>
                    </a:lnTo>
                    <a:lnTo>
                      <a:pt x="388" y="268"/>
                    </a:lnTo>
                    <a:lnTo>
                      <a:pt x="387" y="264"/>
                    </a:lnTo>
                    <a:lnTo>
                      <a:pt x="388" y="262"/>
                    </a:lnTo>
                    <a:lnTo>
                      <a:pt x="386" y="261"/>
                    </a:lnTo>
                    <a:lnTo>
                      <a:pt x="386" y="259"/>
                    </a:lnTo>
                    <a:lnTo>
                      <a:pt x="385" y="258"/>
                    </a:lnTo>
                    <a:lnTo>
                      <a:pt x="384" y="256"/>
                    </a:lnTo>
                    <a:lnTo>
                      <a:pt x="384" y="254"/>
                    </a:lnTo>
                    <a:lnTo>
                      <a:pt x="389" y="251"/>
                    </a:lnTo>
                    <a:lnTo>
                      <a:pt x="391" y="249"/>
                    </a:lnTo>
                    <a:lnTo>
                      <a:pt x="390" y="248"/>
                    </a:lnTo>
                    <a:lnTo>
                      <a:pt x="389" y="246"/>
                    </a:lnTo>
                    <a:lnTo>
                      <a:pt x="391" y="246"/>
                    </a:lnTo>
                    <a:lnTo>
                      <a:pt x="391" y="244"/>
                    </a:lnTo>
                    <a:lnTo>
                      <a:pt x="395" y="244"/>
                    </a:lnTo>
                    <a:lnTo>
                      <a:pt x="396" y="242"/>
                    </a:lnTo>
                    <a:lnTo>
                      <a:pt x="394" y="240"/>
                    </a:lnTo>
                    <a:lnTo>
                      <a:pt x="391" y="239"/>
                    </a:lnTo>
                    <a:lnTo>
                      <a:pt x="388" y="239"/>
                    </a:lnTo>
                    <a:lnTo>
                      <a:pt x="388" y="238"/>
                    </a:lnTo>
                    <a:lnTo>
                      <a:pt x="386" y="236"/>
                    </a:lnTo>
                    <a:lnTo>
                      <a:pt x="386" y="234"/>
                    </a:lnTo>
                    <a:lnTo>
                      <a:pt x="385" y="232"/>
                    </a:lnTo>
                    <a:lnTo>
                      <a:pt x="385" y="231"/>
                    </a:lnTo>
                    <a:lnTo>
                      <a:pt x="387" y="230"/>
                    </a:lnTo>
                    <a:lnTo>
                      <a:pt x="388" y="228"/>
                    </a:lnTo>
                    <a:lnTo>
                      <a:pt x="387" y="226"/>
                    </a:lnTo>
                    <a:lnTo>
                      <a:pt x="388" y="225"/>
                    </a:lnTo>
                    <a:lnTo>
                      <a:pt x="390" y="221"/>
                    </a:lnTo>
                    <a:lnTo>
                      <a:pt x="388" y="219"/>
                    </a:lnTo>
                    <a:lnTo>
                      <a:pt x="389" y="218"/>
                    </a:lnTo>
                    <a:lnTo>
                      <a:pt x="388" y="217"/>
                    </a:lnTo>
                    <a:lnTo>
                      <a:pt x="389" y="217"/>
                    </a:lnTo>
                    <a:lnTo>
                      <a:pt x="388" y="213"/>
                    </a:lnTo>
                    <a:lnTo>
                      <a:pt x="384" y="214"/>
                    </a:lnTo>
                    <a:lnTo>
                      <a:pt x="381" y="210"/>
                    </a:lnTo>
                    <a:lnTo>
                      <a:pt x="379" y="210"/>
                    </a:lnTo>
                    <a:lnTo>
                      <a:pt x="380" y="212"/>
                    </a:lnTo>
                    <a:lnTo>
                      <a:pt x="379" y="217"/>
                    </a:lnTo>
                    <a:lnTo>
                      <a:pt x="381" y="218"/>
                    </a:lnTo>
                    <a:lnTo>
                      <a:pt x="378" y="221"/>
                    </a:lnTo>
                    <a:lnTo>
                      <a:pt x="376" y="222"/>
                    </a:lnTo>
                    <a:lnTo>
                      <a:pt x="375" y="222"/>
                    </a:lnTo>
                    <a:lnTo>
                      <a:pt x="374" y="222"/>
                    </a:lnTo>
                    <a:lnTo>
                      <a:pt x="373" y="221"/>
                    </a:lnTo>
                    <a:lnTo>
                      <a:pt x="371" y="222"/>
                    </a:lnTo>
                    <a:lnTo>
                      <a:pt x="372" y="221"/>
                    </a:lnTo>
                    <a:lnTo>
                      <a:pt x="371" y="220"/>
                    </a:lnTo>
                    <a:lnTo>
                      <a:pt x="369" y="221"/>
                    </a:lnTo>
                    <a:lnTo>
                      <a:pt x="366" y="218"/>
                    </a:lnTo>
                    <a:lnTo>
                      <a:pt x="365" y="220"/>
                    </a:lnTo>
                    <a:lnTo>
                      <a:pt x="364" y="218"/>
                    </a:lnTo>
                    <a:lnTo>
                      <a:pt x="363" y="216"/>
                    </a:lnTo>
                    <a:lnTo>
                      <a:pt x="362" y="215"/>
                    </a:lnTo>
                    <a:lnTo>
                      <a:pt x="359" y="213"/>
                    </a:lnTo>
                    <a:lnTo>
                      <a:pt x="359" y="209"/>
                    </a:lnTo>
                    <a:lnTo>
                      <a:pt x="354" y="209"/>
                    </a:lnTo>
                    <a:lnTo>
                      <a:pt x="352" y="207"/>
                    </a:lnTo>
                    <a:lnTo>
                      <a:pt x="351" y="206"/>
                    </a:lnTo>
                    <a:lnTo>
                      <a:pt x="351" y="202"/>
                    </a:lnTo>
                    <a:lnTo>
                      <a:pt x="343" y="202"/>
                    </a:lnTo>
                    <a:lnTo>
                      <a:pt x="342" y="202"/>
                    </a:lnTo>
                    <a:lnTo>
                      <a:pt x="338" y="202"/>
                    </a:lnTo>
                    <a:lnTo>
                      <a:pt x="334" y="201"/>
                    </a:lnTo>
                    <a:lnTo>
                      <a:pt x="332" y="199"/>
                    </a:lnTo>
                    <a:lnTo>
                      <a:pt x="325" y="195"/>
                    </a:lnTo>
                    <a:lnTo>
                      <a:pt x="324" y="198"/>
                    </a:lnTo>
                    <a:lnTo>
                      <a:pt x="325" y="199"/>
                    </a:lnTo>
                    <a:lnTo>
                      <a:pt x="328" y="200"/>
                    </a:lnTo>
                    <a:lnTo>
                      <a:pt x="329" y="201"/>
                    </a:lnTo>
                    <a:lnTo>
                      <a:pt x="325" y="202"/>
                    </a:lnTo>
                    <a:lnTo>
                      <a:pt x="326" y="203"/>
                    </a:lnTo>
                    <a:lnTo>
                      <a:pt x="327" y="204"/>
                    </a:lnTo>
                    <a:lnTo>
                      <a:pt x="325" y="205"/>
                    </a:lnTo>
                    <a:lnTo>
                      <a:pt x="323" y="204"/>
                    </a:lnTo>
                    <a:lnTo>
                      <a:pt x="323" y="202"/>
                    </a:lnTo>
                    <a:lnTo>
                      <a:pt x="322" y="202"/>
                    </a:lnTo>
                    <a:lnTo>
                      <a:pt x="322" y="205"/>
                    </a:lnTo>
                    <a:lnTo>
                      <a:pt x="320" y="209"/>
                    </a:lnTo>
                    <a:lnTo>
                      <a:pt x="318" y="209"/>
                    </a:lnTo>
                    <a:lnTo>
                      <a:pt x="318" y="208"/>
                    </a:lnTo>
                    <a:lnTo>
                      <a:pt x="315" y="205"/>
                    </a:lnTo>
                    <a:lnTo>
                      <a:pt x="314" y="202"/>
                    </a:lnTo>
                    <a:lnTo>
                      <a:pt x="312" y="202"/>
                    </a:lnTo>
                    <a:lnTo>
                      <a:pt x="309" y="196"/>
                    </a:lnTo>
                    <a:lnTo>
                      <a:pt x="311" y="191"/>
                    </a:lnTo>
                    <a:lnTo>
                      <a:pt x="310" y="187"/>
                    </a:lnTo>
                    <a:lnTo>
                      <a:pt x="309" y="185"/>
                    </a:lnTo>
                    <a:lnTo>
                      <a:pt x="299" y="181"/>
                    </a:lnTo>
                    <a:lnTo>
                      <a:pt x="296" y="182"/>
                    </a:lnTo>
                    <a:lnTo>
                      <a:pt x="295" y="182"/>
                    </a:lnTo>
                    <a:lnTo>
                      <a:pt x="293" y="180"/>
                    </a:lnTo>
                    <a:lnTo>
                      <a:pt x="294" y="178"/>
                    </a:lnTo>
                    <a:lnTo>
                      <a:pt x="293" y="174"/>
                    </a:lnTo>
                    <a:lnTo>
                      <a:pt x="292" y="168"/>
                    </a:lnTo>
                    <a:lnTo>
                      <a:pt x="288" y="169"/>
                    </a:lnTo>
                    <a:lnTo>
                      <a:pt x="287" y="167"/>
                    </a:lnTo>
                    <a:lnTo>
                      <a:pt x="286" y="167"/>
                    </a:lnTo>
                    <a:lnTo>
                      <a:pt x="285" y="166"/>
                    </a:lnTo>
                    <a:lnTo>
                      <a:pt x="283" y="166"/>
                    </a:lnTo>
                    <a:lnTo>
                      <a:pt x="283" y="167"/>
                    </a:lnTo>
                    <a:lnTo>
                      <a:pt x="282" y="167"/>
                    </a:lnTo>
                    <a:lnTo>
                      <a:pt x="282" y="168"/>
                    </a:lnTo>
                    <a:lnTo>
                      <a:pt x="282" y="170"/>
                    </a:lnTo>
                    <a:lnTo>
                      <a:pt x="281" y="172"/>
                    </a:lnTo>
                    <a:lnTo>
                      <a:pt x="277" y="174"/>
                    </a:lnTo>
                    <a:lnTo>
                      <a:pt x="275" y="170"/>
                    </a:lnTo>
                    <a:lnTo>
                      <a:pt x="273" y="168"/>
                    </a:lnTo>
                    <a:lnTo>
                      <a:pt x="272" y="166"/>
                    </a:lnTo>
                    <a:lnTo>
                      <a:pt x="267" y="167"/>
                    </a:lnTo>
                    <a:lnTo>
                      <a:pt x="265" y="164"/>
                    </a:lnTo>
                    <a:lnTo>
                      <a:pt x="263" y="161"/>
                    </a:lnTo>
                    <a:lnTo>
                      <a:pt x="262" y="157"/>
                    </a:lnTo>
                    <a:lnTo>
                      <a:pt x="263" y="157"/>
                    </a:lnTo>
                    <a:lnTo>
                      <a:pt x="265" y="154"/>
                    </a:lnTo>
                    <a:lnTo>
                      <a:pt x="262" y="151"/>
                    </a:lnTo>
                    <a:lnTo>
                      <a:pt x="262" y="149"/>
                    </a:lnTo>
                    <a:lnTo>
                      <a:pt x="260" y="149"/>
                    </a:lnTo>
                    <a:lnTo>
                      <a:pt x="262" y="144"/>
                    </a:lnTo>
                    <a:lnTo>
                      <a:pt x="261" y="143"/>
                    </a:lnTo>
                    <a:lnTo>
                      <a:pt x="259" y="143"/>
                    </a:lnTo>
                    <a:lnTo>
                      <a:pt x="256" y="141"/>
                    </a:lnTo>
                    <a:lnTo>
                      <a:pt x="256" y="139"/>
                    </a:lnTo>
                    <a:lnTo>
                      <a:pt x="255" y="138"/>
                    </a:lnTo>
                    <a:lnTo>
                      <a:pt x="255" y="135"/>
                    </a:lnTo>
                    <a:lnTo>
                      <a:pt x="252" y="135"/>
                    </a:lnTo>
                    <a:lnTo>
                      <a:pt x="251" y="134"/>
                    </a:lnTo>
                    <a:lnTo>
                      <a:pt x="249" y="133"/>
                    </a:lnTo>
                    <a:lnTo>
                      <a:pt x="249" y="132"/>
                    </a:lnTo>
                    <a:lnTo>
                      <a:pt x="247" y="132"/>
                    </a:lnTo>
                    <a:lnTo>
                      <a:pt x="241" y="136"/>
                    </a:lnTo>
                    <a:lnTo>
                      <a:pt x="239" y="137"/>
                    </a:lnTo>
                    <a:lnTo>
                      <a:pt x="239" y="140"/>
                    </a:lnTo>
                    <a:lnTo>
                      <a:pt x="239" y="144"/>
                    </a:lnTo>
                    <a:lnTo>
                      <a:pt x="240" y="148"/>
                    </a:lnTo>
                    <a:lnTo>
                      <a:pt x="242" y="148"/>
                    </a:lnTo>
                    <a:lnTo>
                      <a:pt x="244" y="144"/>
                    </a:lnTo>
                    <a:lnTo>
                      <a:pt x="246" y="145"/>
                    </a:lnTo>
                    <a:lnTo>
                      <a:pt x="247" y="146"/>
                    </a:lnTo>
                    <a:lnTo>
                      <a:pt x="249" y="146"/>
                    </a:lnTo>
                    <a:lnTo>
                      <a:pt x="250" y="150"/>
                    </a:lnTo>
                    <a:lnTo>
                      <a:pt x="250" y="151"/>
                    </a:lnTo>
                    <a:lnTo>
                      <a:pt x="248" y="152"/>
                    </a:lnTo>
                    <a:lnTo>
                      <a:pt x="249" y="154"/>
                    </a:lnTo>
                    <a:lnTo>
                      <a:pt x="249" y="156"/>
                    </a:lnTo>
                    <a:lnTo>
                      <a:pt x="248" y="156"/>
                    </a:lnTo>
                    <a:lnTo>
                      <a:pt x="247" y="157"/>
                    </a:lnTo>
                    <a:lnTo>
                      <a:pt x="249" y="158"/>
                    </a:lnTo>
                    <a:lnTo>
                      <a:pt x="248" y="161"/>
                    </a:lnTo>
                    <a:lnTo>
                      <a:pt x="247" y="159"/>
                    </a:lnTo>
                    <a:lnTo>
                      <a:pt x="247" y="158"/>
                    </a:lnTo>
                    <a:lnTo>
                      <a:pt x="246" y="157"/>
                    </a:lnTo>
                    <a:lnTo>
                      <a:pt x="238" y="157"/>
                    </a:lnTo>
                    <a:lnTo>
                      <a:pt x="238" y="153"/>
                    </a:lnTo>
                    <a:lnTo>
                      <a:pt x="234" y="155"/>
                    </a:lnTo>
                    <a:lnTo>
                      <a:pt x="231" y="158"/>
                    </a:lnTo>
                    <a:lnTo>
                      <a:pt x="228" y="157"/>
                    </a:lnTo>
                    <a:lnTo>
                      <a:pt x="225" y="158"/>
                    </a:lnTo>
                    <a:lnTo>
                      <a:pt x="224" y="158"/>
                    </a:lnTo>
                    <a:lnTo>
                      <a:pt x="215" y="168"/>
                    </a:lnTo>
                    <a:lnTo>
                      <a:pt x="214" y="170"/>
                    </a:lnTo>
                    <a:lnTo>
                      <a:pt x="211" y="170"/>
                    </a:lnTo>
                    <a:lnTo>
                      <a:pt x="206" y="168"/>
                    </a:lnTo>
                    <a:lnTo>
                      <a:pt x="203" y="168"/>
                    </a:lnTo>
                    <a:lnTo>
                      <a:pt x="200" y="170"/>
                    </a:lnTo>
                    <a:lnTo>
                      <a:pt x="198" y="167"/>
                    </a:lnTo>
                    <a:lnTo>
                      <a:pt x="197" y="167"/>
                    </a:lnTo>
                    <a:lnTo>
                      <a:pt x="197" y="165"/>
                    </a:lnTo>
                    <a:lnTo>
                      <a:pt x="195" y="165"/>
                    </a:lnTo>
                    <a:lnTo>
                      <a:pt x="195" y="164"/>
                    </a:lnTo>
                    <a:lnTo>
                      <a:pt x="193" y="163"/>
                    </a:lnTo>
                    <a:lnTo>
                      <a:pt x="192" y="161"/>
                    </a:lnTo>
                    <a:lnTo>
                      <a:pt x="191" y="161"/>
                    </a:lnTo>
                    <a:lnTo>
                      <a:pt x="190" y="159"/>
                    </a:lnTo>
                    <a:lnTo>
                      <a:pt x="192" y="156"/>
                    </a:lnTo>
                    <a:lnTo>
                      <a:pt x="190" y="152"/>
                    </a:lnTo>
                    <a:lnTo>
                      <a:pt x="189" y="151"/>
                    </a:lnTo>
                    <a:lnTo>
                      <a:pt x="183" y="151"/>
                    </a:lnTo>
                    <a:lnTo>
                      <a:pt x="183" y="149"/>
                    </a:lnTo>
                    <a:lnTo>
                      <a:pt x="181" y="149"/>
                    </a:lnTo>
                    <a:lnTo>
                      <a:pt x="181" y="148"/>
                    </a:lnTo>
                    <a:lnTo>
                      <a:pt x="180" y="146"/>
                    </a:lnTo>
                    <a:lnTo>
                      <a:pt x="179" y="147"/>
                    </a:lnTo>
                    <a:lnTo>
                      <a:pt x="179" y="146"/>
                    </a:lnTo>
                    <a:lnTo>
                      <a:pt x="177" y="145"/>
                    </a:lnTo>
                    <a:lnTo>
                      <a:pt x="175" y="143"/>
                    </a:lnTo>
                    <a:lnTo>
                      <a:pt x="177" y="142"/>
                    </a:lnTo>
                    <a:lnTo>
                      <a:pt x="177" y="140"/>
                    </a:lnTo>
                    <a:lnTo>
                      <a:pt x="177" y="138"/>
                    </a:lnTo>
                    <a:lnTo>
                      <a:pt x="175" y="138"/>
                    </a:lnTo>
                    <a:lnTo>
                      <a:pt x="177" y="135"/>
                    </a:lnTo>
                    <a:lnTo>
                      <a:pt x="175" y="134"/>
                    </a:lnTo>
                    <a:lnTo>
                      <a:pt x="176" y="134"/>
                    </a:lnTo>
                    <a:lnTo>
                      <a:pt x="176" y="131"/>
                    </a:lnTo>
                    <a:lnTo>
                      <a:pt x="173" y="130"/>
                    </a:lnTo>
                    <a:lnTo>
                      <a:pt x="174" y="128"/>
                    </a:lnTo>
                    <a:lnTo>
                      <a:pt x="173" y="126"/>
                    </a:lnTo>
                    <a:lnTo>
                      <a:pt x="172" y="126"/>
                    </a:lnTo>
                    <a:lnTo>
                      <a:pt x="173" y="125"/>
                    </a:lnTo>
                    <a:lnTo>
                      <a:pt x="173" y="124"/>
                    </a:lnTo>
                    <a:lnTo>
                      <a:pt x="173" y="123"/>
                    </a:lnTo>
                    <a:lnTo>
                      <a:pt x="172" y="122"/>
                    </a:lnTo>
                    <a:lnTo>
                      <a:pt x="172" y="120"/>
                    </a:lnTo>
                    <a:lnTo>
                      <a:pt x="172" y="118"/>
                    </a:lnTo>
                    <a:lnTo>
                      <a:pt x="170" y="116"/>
                    </a:lnTo>
                    <a:lnTo>
                      <a:pt x="168" y="116"/>
                    </a:lnTo>
                    <a:lnTo>
                      <a:pt x="168" y="115"/>
                    </a:lnTo>
                    <a:lnTo>
                      <a:pt x="166" y="113"/>
                    </a:lnTo>
                    <a:lnTo>
                      <a:pt x="167" y="109"/>
                    </a:lnTo>
                    <a:lnTo>
                      <a:pt x="160" y="100"/>
                    </a:lnTo>
                    <a:lnTo>
                      <a:pt x="159" y="98"/>
                    </a:lnTo>
                    <a:lnTo>
                      <a:pt x="155" y="98"/>
                    </a:lnTo>
                    <a:lnTo>
                      <a:pt x="152" y="104"/>
                    </a:lnTo>
                    <a:lnTo>
                      <a:pt x="149" y="101"/>
                    </a:lnTo>
                    <a:lnTo>
                      <a:pt x="146" y="100"/>
                    </a:lnTo>
                    <a:lnTo>
                      <a:pt x="144" y="91"/>
                    </a:lnTo>
                    <a:lnTo>
                      <a:pt x="141" y="88"/>
                    </a:lnTo>
                    <a:lnTo>
                      <a:pt x="138" y="86"/>
                    </a:lnTo>
                    <a:lnTo>
                      <a:pt x="138" y="85"/>
                    </a:lnTo>
                    <a:lnTo>
                      <a:pt x="136" y="85"/>
                    </a:lnTo>
                    <a:lnTo>
                      <a:pt x="135" y="80"/>
                    </a:lnTo>
                    <a:lnTo>
                      <a:pt x="133" y="75"/>
                    </a:lnTo>
                    <a:lnTo>
                      <a:pt x="135" y="71"/>
                    </a:lnTo>
                    <a:lnTo>
                      <a:pt x="136" y="70"/>
                    </a:lnTo>
                    <a:lnTo>
                      <a:pt x="140" y="71"/>
                    </a:lnTo>
                    <a:lnTo>
                      <a:pt x="141" y="72"/>
                    </a:lnTo>
                    <a:lnTo>
                      <a:pt x="143" y="70"/>
                    </a:lnTo>
                    <a:lnTo>
                      <a:pt x="145" y="70"/>
                    </a:lnTo>
                    <a:lnTo>
                      <a:pt x="148" y="69"/>
                    </a:lnTo>
                    <a:lnTo>
                      <a:pt x="152" y="69"/>
                    </a:lnTo>
                    <a:lnTo>
                      <a:pt x="156" y="67"/>
                    </a:lnTo>
                    <a:lnTo>
                      <a:pt x="157" y="68"/>
                    </a:lnTo>
                    <a:lnTo>
                      <a:pt x="159" y="67"/>
                    </a:lnTo>
                    <a:lnTo>
                      <a:pt x="160" y="68"/>
                    </a:lnTo>
                    <a:lnTo>
                      <a:pt x="164" y="67"/>
                    </a:lnTo>
                    <a:lnTo>
                      <a:pt x="164" y="64"/>
                    </a:lnTo>
                    <a:lnTo>
                      <a:pt x="165" y="64"/>
                    </a:lnTo>
                    <a:lnTo>
                      <a:pt x="165" y="60"/>
                    </a:lnTo>
                    <a:lnTo>
                      <a:pt x="167" y="59"/>
                    </a:lnTo>
                    <a:lnTo>
                      <a:pt x="168" y="58"/>
                    </a:lnTo>
                    <a:lnTo>
                      <a:pt x="169" y="57"/>
                    </a:lnTo>
                    <a:lnTo>
                      <a:pt x="170" y="58"/>
                    </a:lnTo>
                    <a:lnTo>
                      <a:pt x="173" y="60"/>
                    </a:lnTo>
                    <a:lnTo>
                      <a:pt x="176" y="58"/>
                    </a:lnTo>
                    <a:lnTo>
                      <a:pt x="179" y="58"/>
                    </a:lnTo>
                    <a:lnTo>
                      <a:pt x="179" y="56"/>
                    </a:lnTo>
                    <a:lnTo>
                      <a:pt x="179" y="53"/>
                    </a:lnTo>
                    <a:lnTo>
                      <a:pt x="179" y="51"/>
                    </a:lnTo>
                    <a:lnTo>
                      <a:pt x="181" y="45"/>
                    </a:lnTo>
                    <a:lnTo>
                      <a:pt x="176" y="38"/>
                    </a:lnTo>
                    <a:lnTo>
                      <a:pt x="172" y="34"/>
                    </a:lnTo>
                    <a:lnTo>
                      <a:pt x="172" y="31"/>
                    </a:lnTo>
                    <a:lnTo>
                      <a:pt x="173" y="26"/>
                    </a:lnTo>
                    <a:lnTo>
                      <a:pt x="175" y="24"/>
                    </a:lnTo>
                    <a:lnTo>
                      <a:pt x="178" y="18"/>
                    </a:lnTo>
                    <a:lnTo>
                      <a:pt x="180" y="17"/>
                    </a:lnTo>
                    <a:lnTo>
                      <a:pt x="180" y="15"/>
                    </a:lnTo>
                    <a:lnTo>
                      <a:pt x="181" y="15"/>
                    </a:lnTo>
                    <a:lnTo>
                      <a:pt x="180" y="13"/>
                    </a:lnTo>
                    <a:lnTo>
                      <a:pt x="177" y="13"/>
                    </a:lnTo>
                    <a:lnTo>
                      <a:pt x="176" y="12"/>
                    </a:lnTo>
                    <a:lnTo>
                      <a:pt x="174" y="11"/>
                    </a:lnTo>
                    <a:lnTo>
                      <a:pt x="173" y="4"/>
                    </a:lnTo>
                    <a:lnTo>
                      <a:pt x="167" y="0"/>
                    </a:lnTo>
                    <a:lnTo>
                      <a:pt x="164" y="0"/>
                    </a:lnTo>
                    <a:lnTo>
                      <a:pt x="164" y="6"/>
                    </a:lnTo>
                    <a:lnTo>
                      <a:pt x="163" y="10"/>
                    </a:lnTo>
                    <a:lnTo>
                      <a:pt x="164" y="11"/>
                    </a:lnTo>
                    <a:lnTo>
                      <a:pt x="164" y="12"/>
                    </a:lnTo>
                    <a:lnTo>
                      <a:pt x="163" y="13"/>
                    </a:lnTo>
                    <a:lnTo>
                      <a:pt x="155" y="19"/>
                    </a:lnTo>
                    <a:lnTo>
                      <a:pt x="152" y="22"/>
                    </a:lnTo>
                    <a:lnTo>
                      <a:pt x="148" y="24"/>
                    </a:lnTo>
                    <a:lnTo>
                      <a:pt x="143" y="25"/>
                    </a:lnTo>
                    <a:lnTo>
                      <a:pt x="142" y="26"/>
                    </a:lnTo>
                    <a:lnTo>
                      <a:pt x="140" y="25"/>
                    </a:lnTo>
                    <a:lnTo>
                      <a:pt x="140" y="24"/>
                    </a:lnTo>
                    <a:lnTo>
                      <a:pt x="138" y="23"/>
                    </a:lnTo>
                    <a:lnTo>
                      <a:pt x="138" y="20"/>
                    </a:lnTo>
                    <a:lnTo>
                      <a:pt x="137" y="19"/>
                    </a:lnTo>
                    <a:lnTo>
                      <a:pt x="134" y="19"/>
                    </a:lnTo>
                    <a:lnTo>
                      <a:pt x="133" y="20"/>
                    </a:lnTo>
                    <a:lnTo>
                      <a:pt x="131" y="20"/>
                    </a:lnTo>
                    <a:lnTo>
                      <a:pt x="129" y="23"/>
                    </a:lnTo>
                    <a:lnTo>
                      <a:pt x="128" y="22"/>
                    </a:lnTo>
                    <a:lnTo>
                      <a:pt x="125" y="23"/>
                    </a:lnTo>
                    <a:lnTo>
                      <a:pt x="123" y="22"/>
                    </a:lnTo>
                    <a:lnTo>
                      <a:pt x="121" y="20"/>
                    </a:lnTo>
                    <a:lnTo>
                      <a:pt x="120" y="20"/>
                    </a:lnTo>
                    <a:lnTo>
                      <a:pt x="119" y="19"/>
                    </a:lnTo>
                    <a:lnTo>
                      <a:pt x="117" y="19"/>
                    </a:lnTo>
                    <a:lnTo>
                      <a:pt x="111" y="18"/>
                    </a:lnTo>
                    <a:lnTo>
                      <a:pt x="105" y="20"/>
                    </a:lnTo>
                    <a:lnTo>
                      <a:pt x="104" y="20"/>
                    </a:lnTo>
                    <a:lnTo>
                      <a:pt x="102" y="21"/>
                    </a:lnTo>
                    <a:lnTo>
                      <a:pt x="100" y="20"/>
                    </a:lnTo>
                    <a:lnTo>
                      <a:pt x="100" y="24"/>
                    </a:lnTo>
                    <a:lnTo>
                      <a:pt x="99" y="26"/>
                    </a:lnTo>
                    <a:lnTo>
                      <a:pt x="97" y="26"/>
                    </a:lnTo>
                    <a:lnTo>
                      <a:pt x="95" y="28"/>
                    </a:lnTo>
                    <a:lnTo>
                      <a:pt x="92" y="26"/>
                    </a:lnTo>
                    <a:lnTo>
                      <a:pt x="91" y="31"/>
                    </a:lnTo>
                    <a:lnTo>
                      <a:pt x="90" y="34"/>
                    </a:lnTo>
                    <a:lnTo>
                      <a:pt x="91" y="37"/>
                    </a:lnTo>
                    <a:lnTo>
                      <a:pt x="90" y="40"/>
                    </a:lnTo>
                    <a:lnTo>
                      <a:pt x="90" y="43"/>
                    </a:lnTo>
                    <a:lnTo>
                      <a:pt x="88" y="44"/>
                    </a:lnTo>
                    <a:lnTo>
                      <a:pt x="88" y="46"/>
                    </a:lnTo>
                    <a:lnTo>
                      <a:pt x="86" y="47"/>
                    </a:lnTo>
                    <a:lnTo>
                      <a:pt x="83" y="46"/>
                    </a:lnTo>
                    <a:lnTo>
                      <a:pt x="82" y="47"/>
                    </a:lnTo>
                    <a:lnTo>
                      <a:pt x="80" y="45"/>
                    </a:lnTo>
                    <a:lnTo>
                      <a:pt x="77" y="40"/>
                    </a:lnTo>
                    <a:lnTo>
                      <a:pt x="75" y="44"/>
                    </a:lnTo>
                    <a:lnTo>
                      <a:pt x="71" y="47"/>
                    </a:lnTo>
                    <a:lnTo>
                      <a:pt x="67" y="54"/>
                    </a:lnTo>
                    <a:lnTo>
                      <a:pt x="64" y="57"/>
                    </a:lnTo>
                    <a:lnTo>
                      <a:pt x="59" y="53"/>
                    </a:lnTo>
                    <a:lnTo>
                      <a:pt x="57" y="54"/>
                    </a:lnTo>
                    <a:lnTo>
                      <a:pt x="55" y="57"/>
                    </a:lnTo>
                    <a:lnTo>
                      <a:pt x="55" y="60"/>
                    </a:lnTo>
                    <a:lnTo>
                      <a:pt x="53" y="61"/>
                    </a:lnTo>
                    <a:lnTo>
                      <a:pt x="52" y="62"/>
                    </a:lnTo>
                    <a:lnTo>
                      <a:pt x="50" y="60"/>
                    </a:lnTo>
                    <a:lnTo>
                      <a:pt x="48" y="64"/>
                    </a:lnTo>
                    <a:lnTo>
                      <a:pt x="46" y="66"/>
                    </a:lnTo>
                    <a:lnTo>
                      <a:pt x="42" y="70"/>
                    </a:lnTo>
                    <a:lnTo>
                      <a:pt x="41" y="70"/>
                    </a:lnTo>
                    <a:lnTo>
                      <a:pt x="37" y="73"/>
                    </a:lnTo>
                    <a:lnTo>
                      <a:pt x="37" y="76"/>
                    </a:lnTo>
                    <a:lnTo>
                      <a:pt x="37" y="81"/>
                    </a:lnTo>
                    <a:lnTo>
                      <a:pt x="39" y="83"/>
                    </a:lnTo>
                    <a:lnTo>
                      <a:pt x="37" y="86"/>
                    </a:lnTo>
                    <a:lnTo>
                      <a:pt x="30" y="91"/>
                    </a:lnTo>
                    <a:lnTo>
                      <a:pt x="31" y="100"/>
                    </a:lnTo>
                    <a:lnTo>
                      <a:pt x="31" y="104"/>
                    </a:lnTo>
                    <a:lnTo>
                      <a:pt x="31" y="107"/>
                    </a:lnTo>
                    <a:lnTo>
                      <a:pt x="31" y="110"/>
                    </a:lnTo>
                    <a:lnTo>
                      <a:pt x="28" y="117"/>
                    </a:lnTo>
                    <a:lnTo>
                      <a:pt x="25" y="118"/>
                    </a:lnTo>
                    <a:lnTo>
                      <a:pt x="23" y="120"/>
                    </a:lnTo>
                    <a:lnTo>
                      <a:pt x="21" y="122"/>
                    </a:lnTo>
                    <a:lnTo>
                      <a:pt x="18" y="123"/>
                    </a:lnTo>
                    <a:lnTo>
                      <a:pt x="15" y="129"/>
                    </a:lnTo>
                    <a:lnTo>
                      <a:pt x="12" y="132"/>
                    </a:lnTo>
                    <a:lnTo>
                      <a:pt x="12" y="138"/>
                    </a:lnTo>
                    <a:lnTo>
                      <a:pt x="12" y="140"/>
                    </a:lnTo>
                    <a:lnTo>
                      <a:pt x="12" y="143"/>
                    </a:lnTo>
                    <a:lnTo>
                      <a:pt x="8" y="145"/>
                    </a:lnTo>
                    <a:lnTo>
                      <a:pt x="7" y="145"/>
                    </a:lnTo>
                    <a:lnTo>
                      <a:pt x="8" y="147"/>
                    </a:lnTo>
                    <a:lnTo>
                      <a:pt x="11" y="149"/>
                    </a:lnTo>
                    <a:lnTo>
                      <a:pt x="16" y="156"/>
                    </a:lnTo>
                    <a:lnTo>
                      <a:pt x="17" y="159"/>
                    </a:lnTo>
                    <a:lnTo>
                      <a:pt x="17" y="160"/>
                    </a:lnTo>
                    <a:lnTo>
                      <a:pt x="18" y="162"/>
                    </a:lnTo>
                    <a:lnTo>
                      <a:pt x="17" y="164"/>
                    </a:lnTo>
                    <a:lnTo>
                      <a:pt x="17" y="165"/>
                    </a:lnTo>
                    <a:lnTo>
                      <a:pt x="16" y="167"/>
                    </a:lnTo>
                    <a:lnTo>
                      <a:pt x="15" y="166"/>
                    </a:lnTo>
                    <a:lnTo>
                      <a:pt x="14" y="170"/>
                    </a:lnTo>
                    <a:lnTo>
                      <a:pt x="12" y="170"/>
                    </a:lnTo>
                    <a:lnTo>
                      <a:pt x="11" y="172"/>
                    </a:lnTo>
                    <a:lnTo>
                      <a:pt x="9" y="172"/>
                    </a:lnTo>
                    <a:lnTo>
                      <a:pt x="9" y="174"/>
                    </a:lnTo>
                    <a:lnTo>
                      <a:pt x="6" y="174"/>
                    </a:lnTo>
                    <a:lnTo>
                      <a:pt x="7" y="177"/>
                    </a:lnTo>
                    <a:lnTo>
                      <a:pt x="6" y="178"/>
                    </a:lnTo>
                    <a:lnTo>
                      <a:pt x="9" y="179"/>
                    </a:lnTo>
                    <a:lnTo>
                      <a:pt x="8" y="182"/>
                    </a:lnTo>
                    <a:lnTo>
                      <a:pt x="8" y="183"/>
                    </a:lnTo>
                    <a:lnTo>
                      <a:pt x="7" y="184"/>
                    </a:lnTo>
                    <a:lnTo>
                      <a:pt x="7" y="183"/>
                    </a:lnTo>
                    <a:lnTo>
                      <a:pt x="6" y="185"/>
                    </a:lnTo>
                    <a:lnTo>
                      <a:pt x="6" y="186"/>
                    </a:lnTo>
                    <a:lnTo>
                      <a:pt x="4" y="188"/>
                    </a:lnTo>
                    <a:lnTo>
                      <a:pt x="3" y="189"/>
                    </a:lnTo>
                    <a:lnTo>
                      <a:pt x="1" y="189"/>
                    </a:lnTo>
                    <a:lnTo>
                      <a:pt x="2" y="192"/>
                    </a:lnTo>
                    <a:lnTo>
                      <a:pt x="1" y="192"/>
                    </a:lnTo>
                    <a:lnTo>
                      <a:pt x="0" y="194"/>
                    </a:lnTo>
                    <a:lnTo>
                      <a:pt x="3" y="196"/>
                    </a:lnTo>
                    <a:lnTo>
                      <a:pt x="4" y="198"/>
                    </a:lnTo>
                    <a:lnTo>
                      <a:pt x="3" y="202"/>
                    </a:lnTo>
                    <a:lnTo>
                      <a:pt x="4" y="200"/>
                    </a:lnTo>
                    <a:lnTo>
                      <a:pt x="6" y="200"/>
                    </a:lnTo>
                    <a:lnTo>
                      <a:pt x="6" y="202"/>
                    </a:lnTo>
                    <a:lnTo>
                      <a:pt x="6" y="204"/>
                    </a:lnTo>
                    <a:lnTo>
                      <a:pt x="7" y="209"/>
                    </a:lnTo>
                    <a:lnTo>
                      <a:pt x="9" y="209"/>
                    </a:lnTo>
                    <a:lnTo>
                      <a:pt x="9" y="212"/>
                    </a:lnTo>
                    <a:lnTo>
                      <a:pt x="12" y="209"/>
                    </a:lnTo>
                    <a:lnTo>
                      <a:pt x="14" y="209"/>
                    </a:lnTo>
                    <a:lnTo>
                      <a:pt x="15" y="209"/>
                    </a:lnTo>
                    <a:lnTo>
                      <a:pt x="15" y="208"/>
                    </a:lnTo>
                    <a:lnTo>
                      <a:pt x="16" y="207"/>
                    </a:lnTo>
                    <a:lnTo>
                      <a:pt x="18" y="208"/>
                    </a:lnTo>
                    <a:lnTo>
                      <a:pt x="20" y="205"/>
                    </a:lnTo>
                    <a:lnTo>
                      <a:pt x="21" y="205"/>
                    </a:lnTo>
                    <a:lnTo>
                      <a:pt x="19" y="212"/>
                    </a:lnTo>
                    <a:lnTo>
                      <a:pt x="16" y="218"/>
                    </a:lnTo>
                    <a:lnTo>
                      <a:pt x="15" y="221"/>
                    </a:lnTo>
                    <a:lnTo>
                      <a:pt x="16" y="221"/>
                    </a:lnTo>
                    <a:lnTo>
                      <a:pt x="16" y="222"/>
                    </a:lnTo>
                    <a:lnTo>
                      <a:pt x="17" y="222"/>
                    </a:lnTo>
                    <a:lnTo>
                      <a:pt x="17" y="224"/>
                    </a:lnTo>
                    <a:lnTo>
                      <a:pt x="17" y="223"/>
                    </a:lnTo>
                    <a:lnTo>
                      <a:pt x="18" y="222"/>
                    </a:lnTo>
                    <a:lnTo>
                      <a:pt x="19" y="223"/>
                    </a:lnTo>
                    <a:lnTo>
                      <a:pt x="20" y="223"/>
                    </a:lnTo>
                    <a:lnTo>
                      <a:pt x="20" y="222"/>
                    </a:lnTo>
                    <a:lnTo>
                      <a:pt x="21" y="222"/>
                    </a:lnTo>
                    <a:lnTo>
                      <a:pt x="22" y="221"/>
                    </a:lnTo>
                    <a:lnTo>
                      <a:pt x="22" y="222"/>
                    </a:lnTo>
                    <a:lnTo>
                      <a:pt x="24" y="221"/>
                    </a:lnTo>
                    <a:lnTo>
                      <a:pt x="25" y="222"/>
                    </a:lnTo>
                    <a:lnTo>
                      <a:pt x="26" y="222"/>
                    </a:lnTo>
                    <a:lnTo>
                      <a:pt x="27" y="225"/>
                    </a:lnTo>
                    <a:lnTo>
                      <a:pt x="30" y="225"/>
                    </a:lnTo>
                    <a:lnTo>
                      <a:pt x="31" y="226"/>
                    </a:lnTo>
                    <a:lnTo>
                      <a:pt x="33" y="226"/>
                    </a:lnTo>
                    <a:lnTo>
                      <a:pt x="33" y="227"/>
                    </a:lnTo>
                    <a:lnTo>
                      <a:pt x="33" y="229"/>
                    </a:lnTo>
                    <a:lnTo>
                      <a:pt x="34" y="228"/>
                    </a:lnTo>
                    <a:lnTo>
                      <a:pt x="37" y="230"/>
                    </a:lnTo>
                    <a:lnTo>
                      <a:pt x="37" y="231"/>
                    </a:lnTo>
                    <a:lnTo>
                      <a:pt x="39" y="232"/>
                    </a:lnTo>
                    <a:lnTo>
                      <a:pt x="41" y="231"/>
                    </a:lnTo>
                    <a:lnTo>
                      <a:pt x="45" y="233"/>
                    </a:lnTo>
                    <a:lnTo>
                      <a:pt x="45" y="235"/>
                    </a:lnTo>
                    <a:lnTo>
                      <a:pt x="45" y="236"/>
                    </a:lnTo>
                    <a:lnTo>
                      <a:pt x="47" y="234"/>
                    </a:lnTo>
                    <a:lnTo>
                      <a:pt x="48" y="233"/>
                    </a:lnTo>
                    <a:lnTo>
                      <a:pt x="51" y="233"/>
                    </a:lnTo>
                    <a:lnTo>
                      <a:pt x="55" y="231"/>
                    </a:lnTo>
                    <a:lnTo>
                      <a:pt x="57" y="235"/>
                    </a:lnTo>
                    <a:lnTo>
                      <a:pt x="58" y="234"/>
                    </a:lnTo>
                    <a:lnTo>
                      <a:pt x="58" y="236"/>
                    </a:lnTo>
                    <a:lnTo>
                      <a:pt x="62" y="242"/>
                    </a:lnTo>
                    <a:lnTo>
                      <a:pt x="63" y="243"/>
                    </a:lnTo>
                    <a:lnTo>
                      <a:pt x="64" y="243"/>
                    </a:lnTo>
                    <a:lnTo>
                      <a:pt x="64" y="246"/>
                    </a:lnTo>
                    <a:lnTo>
                      <a:pt x="67" y="247"/>
                    </a:lnTo>
                    <a:lnTo>
                      <a:pt x="67" y="250"/>
                    </a:lnTo>
                    <a:lnTo>
                      <a:pt x="66" y="251"/>
                    </a:lnTo>
                    <a:lnTo>
                      <a:pt x="66" y="252"/>
                    </a:lnTo>
                    <a:lnTo>
                      <a:pt x="69" y="255"/>
                    </a:lnTo>
                    <a:lnTo>
                      <a:pt x="69" y="256"/>
                    </a:lnTo>
                    <a:lnTo>
                      <a:pt x="67" y="256"/>
                    </a:lnTo>
                    <a:lnTo>
                      <a:pt x="69" y="259"/>
                    </a:lnTo>
                    <a:lnTo>
                      <a:pt x="70" y="261"/>
                    </a:lnTo>
                    <a:lnTo>
                      <a:pt x="70" y="260"/>
                    </a:lnTo>
                    <a:lnTo>
                      <a:pt x="72" y="260"/>
                    </a:lnTo>
                    <a:lnTo>
                      <a:pt x="74" y="259"/>
                    </a:lnTo>
                    <a:lnTo>
                      <a:pt x="77" y="257"/>
                    </a:lnTo>
                    <a:lnTo>
                      <a:pt x="82" y="260"/>
                    </a:lnTo>
                    <a:lnTo>
                      <a:pt x="84" y="261"/>
                    </a:lnTo>
                    <a:lnTo>
                      <a:pt x="86" y="260"/>
                    </a:lnTo>
                    <a:lnTo>
                      <a:pt x="87" y="260"/>
                    </a:lnTo>
                    <a:lnTo>
                      <a:pt x="89" y="267"/>
                    </a:lnTo>
                    <a:lnTo>
                      <a:pt x="91" y="268"/>
                    </a:lnTo>
                    <a:lnTo>
                      <a:pt x="96" y="270"/>
                    </a:lnTo>
                    <a:lnTo>
                      <a:pt x="99" y="264"/>
                    </a:lnTo>
                    <a:lnTo>
                      <a:pt x="99" y="262"/>
                    </a:lnTo>
                    <a:lnTo>
                      <a:pt x="100" y="260"/>
                    </a:lnTo>
                    <a:lnTo>
                      <a:pt x="102" y="261"/>
                    </a:lnTo>
                    <a:lnTo>
                      <a:pt x="102" y="262"/>
                    </a:lnTo>
                    <a:lnTo>
                      <a:pt x="105" y="264"/>
                    </a:lnTo>
                    <a:lnTo>
                      <a:pt x="108" y="266"/>
                    </a:lnTo>
                    <a:lnTo>
                      <a:pt x="112" y="273"/>
                    </a:lnTo>
                    <a:lnTo>
                      <a:pt x="115" y="275"/>
                    </a:lnTo>
                    <a:lnTo>
                      <a:pt x="120" y="275"/>
                    </a:lnTo>
                    <a:lnTo>
                      <a:pt x="120" y="272"/>
                    </a:lnTo>
                    <a:lnTo>
                      <a:pt x="123" y="272"/>
                    </a:lnTo>
                    <a:lnTo>
                      <a:pt x="124" y="270"/>
                    </a:lnTo>
                    <a:lnTo>
                      <a:pt x="126" y="270"/>
                    </a:lnTo>
                    <a:lnTo>
                      <a:pt x="127" y="268"/>
                    </a:lnTo>
                    <a:lnTo>
                      <a:pt x="130" y="270"/>
                    </a:lnTo>
                    <a:lnTo>
                      <a:pt x="132" y="270"/>
                    </a:lnTo>
                    <a:lnTo>
                      <a:pt x="134" y="274"/>
                    </a:lnTo>
                    <a:lnTo>
                      <a:pt x="136" y="273"/>
                    </a:lnTo>
                    <a:lnTo>
                      <a:pt x="137" y="274"/>
                    </a:lnTo>
                    <a:lnTo>
                      <a:pt x="139" y="276"/>
                    </a:lnTo>
                    <a:lnTo>
                      <a:pt x="137" y="277"/>
                    </a:lnTo>
                    <a:lnTo>
                      <a:pt x="139" y="278"/>
                    </a:lnTo>
                    <a:lnTo>
                      <a:pt x="140" y="279"/>
                    </a:lnTo>
                    <a:lnTo>
                      <a:pt x="141" y="280"/>
                    </a:lnTo>
                    <a:lnTo>
                      <a:pt x="142" y="280"/>
                    </a:lnTo>
                    <a:lnTo>
                      <a:pt x="143" y="277"/>
                    </a:lnTo>
                    <a:lnTo>
                      <a:pt x="144" y="277"/>
                    </a:lnTo>
                    <a:lnTo>
                      <a:pt x="143" y="281"/>
                    </a:lnTo>
                    <a:lnTo>
                      <a:pt x="144" y="282"/>
                    </a:lnTo>
                    <a:lnTo>
                      <a:pt x="143" y="282"/>
                    </a:lnTo>
                    <a:lnTo>
                      <a:pt x="143" y="284"/>
                    </a:lnTo>
                    <a:lnTo>
                      <a:pt x="142" y="284"/>
                    </a:lnTo>
                    <a:lnTo>
                      <a:pt x="139" y="289"/>
                    </a:lnTo>
                    <a:lnTo>
                      <a:pt x="138" y="291"/>
                    </a:lnTo>
                    <a:lnTo>
                      <a:pt x="139" y="296"/>
                    </a:lnTo>
                    <a:lnTo>
                      <a:pt x="139" y="302"/>
                    </a:lnTo>
                    <a:lnTo>
                      <a:pt x="140" y="304"/>
                    </a:lnTo>
                    <a:lnTo>
                      <a:pt x="147" y="310"/>
                    </a:lnTo>
                    <a:lnTo>
                      <a:pt x="147" y="311"/>
                    </a:lnTo>
                    <a:lnTo>
                      <a:pt x="148" y="312"/>
                    </a:lnTo>
                    <a:lnTo>
                      <a:pt x="149" y="310"/>
                    </a:lnTo>
                    <a:lnTo>
                      <a:pt x="149" y="311"/>
                    </a:lnTo>
                    <a:lnTo>
                      <a:pt x="150" y="310"/>
                    </a:lnTo>
                    <a:lnTo>
                      <a:pt x="151" y="310"/>
                    </a:lnTo>
                    <a:lnTo>
                      <a:pt x="151" y="306"/>
                    </a:lnTo>
                    <a:lnTo>
                      <a:pt x="152" y="304"/>
                    </a:lnTo>
                    <a:lnTo>
                      <a:pt x="155" y="307"/>
                    </a:lnTo>
                    <a:lnTo>
                      <a:pt x="157" y="314"/>
                    </a:lnTo>
                    <a:lnTo>
                      <a:pt x="161" y="318"/>
                    </a:lnTo>
                    <a:lnTo>
                      <a:pt x="159" y="321"/>
                    </a:lnTo>
                    <a:lnTo>
                      <a:pt x="161" y="323"/>
                    </a:lnTo>
                    <a:lnTo>
                      <a:pt x="161" y="327"/>
                    </a:lnTo>
                    <a:lnTo>
                      <a:pt x="162" y="328"/>
                    </a:lnTo>
                    <a:lnTo>
                      <a:pt x="163" y="326"/>
                    </a:lnTo>
                    <a:lnTo>
                      <a:pt x="164" y="326"/>
                    </a:lnTo>
                    <a:lnTo>
                      <a:pt x="166" y="330"/>
                    </a:lnTo>
                    <a:lnTo>
                      <a:pt x="169" y="332"/>
                    </a:lnTo>
                    <a:lnTo>
                      <a:pt x="172" y="333"/>
                    </a:lnTo>
                    <a:lnTo>
                      <a:pt x="173" y="337"/>
                    </a:lnTo>
                    <a:lnTo>
                      <a:pt x="175" y="340"/>
                    </a:lnTo>
                    <a:lnTo>
                      <a:pt x="176" y="341"/>
                    </a:lnTo>
                    <a:lnTo>
                      <a:pt x="177" y="343"/>
                    </a:lnTo>
                    <a:lnTo>
                      <a:pt x="177" y="346"/>
                    </a:lnTo>
                    <a:lnTo>
                      <a:pt x="179" y="346"/>
                    </a:lnTo>
                    <a:lnTo>
                      <a:pt x="179" y="347"/>
                    </a:lnTo>
                    <a:lnTo>
                      <a:pt x="179" y="348"/>
                    </a:lnTo>
                    <a:lnTo>
                      <a:pt x="179" y="350"/>
                    </a:lnTo>
                    <a:lnTo>
                      <a:pt x="180" y="349"/>
                    </a:lnTo>
                    <a:lnTo>
                      <a:pt x="181" y="350"/>
                    </a:lnTo>
                    <a:lnTo>
                      <a:pt x="180" y="353"/>
                    </a:lnTo>
                    <a:lnTo>
                      <a:pt x="182" y="354"/>
                    </a:lnTo>
                    <a:lnTo>
                      <a:pt x="183" y="354"/>
                    </a:lnTo>
                    <a:lnTo>
                      <a:pt x="182" y="354"/>
                    </a:lnTo>
                    <a:lnTo>
                      <a:pt x="183" y="354"/>
                    </a:lnTo>
                    <a:lnTo>
                      <a:pt x="182" y="356"/>
                    </a:lnTo>
                    <a:lnTo>
                      <a:pt x="183" y="357"/>
                    </a:lnTo>
                    <a:lnTo>
                      <a:pt x="181" y="359"/>
                    </a:lnTo>
                    <a:lnTo>
                      <a:pt x="180" y="358"/>
                    </a:lnTo>
                    <a:lnTo>
                      <a:pt x="177" y="361"/>
                    </a:lnTo>
                    <a:lnTo>
                      <a:pt x="177" y="363"/>
                    </a:lnTo>
                    <a:lnTo>
                      <a:pt x="178" y="363"/>
                    </a:lnTo>
                    <a:lnTo>
                      <a:pt x="179" y="365"/>
                    </a:lnTo>
                    <a:lnTo>
                      <a:pt x="179" y="368"/>
                    </a:lnTo>
                    <a:lnTo>
                      <a:pt x="181" y="370"/>
                    </a:lnTo>
                    <a:lnTo>
                      <a:pt x="184" y="365"/>
                    </a:lnTo>
                    <a:lnTo>
                      <a:pt x="185" y="364"/>
                    </a:lnTo>
                    <a:lnTo>
                      <a:pt x="187" y="364"/>
                    </a:lnTo>
                    <a:lnTo>
                      <a:pt x="187" y="363"/>
                    </a:lnTo>
                    <a:lnTo>
                      <a:pt x="188" y="361"/>
                    </a:lnTo>
                    <a:lnTo>
                      <a:pt x="192" y="364"/>
                    </a:lnTo>
                    <a:lnTo>
                      <a:pt x="192" y="362"/>
                    </a:lnTo>
                    <a:lnTo>
                      <a:pt x="193" y="362"/>
                    </a:lnTo>
                    <a:lnTo>
                      <a:pt x="193" y="363"/>
                    </a:lnTo>
                    <a:lnTo>
                      <a:pt x="192" y="364"/>
                    </a:lnTo>
                    <a:lnTo>
                      <a:pt x="195" y="367"/>
                    </a:lnTo>
                    <a:lnTo>
                      <a:pt x="193" y="370"/>
                    </a:lnTo>
                    <a:lnTo>
                      <a:pt x="194" y="370"/>
                    </a:lnTo>
                    <a:lnTo>
                      <a:pt x="194" y="371"/>
                    </a:lnTo>
                    <a:lnTo>
                      <a:pt x="195" y="371"/>
                    </a:lnTo>
                    <a:lnTo>
                      <a:pt x="194" y="374"/>
                    </a:lnTo>
                    <a:lnTo>
                      <a:pt x="196" y="374"/>
                    </a:lnTo>
                    <a:lnTo>
                      <a:pt x="196" y="376"/>
                    </a:lnTo>
                    <a:lnTo>
                      <a:pt x="205" y="376"/>
                    </a:lnTo>
                    <a:lnTo>
                      <a:pt x="207" y="376"/>
                    </a:lnTo>
                    <a:lnTo>
                      <a:pt x="209" y="379"/>
                    </a:lnTo>
                    <a:lnTo>
                      <a:pt x="210" y="377"/>
                    </a:lnTo>
                    <a:lnTo>
                      <a:pt x="211" y="377"/>
                    </a:lnTo>
                    <a:lnTo>
                      <a:pt x="213" y="381"/>
                    </a:lnTo>
                    <a:lnTo>
                      <a:pt x="216" y="384"/>
                    </a:lnTo>
                    <a:lnTo>
                      <a:pt x="216" y="389"/>
                    </a:lnTo>
                    <a:lnTo>
                      <a:pt x="215" y="393"/>
                    </a:lnTo>
                    <a:lnTo>
                      <a:pt x="217" y="394"/>
                    </a:lnTo>
                    <a:lnTo>
                      <a:pt x="218" y="394"/>
                    </a:lnTo>
                    <a:lnTo>
                      <a:pt x="221" y="394"/>
                    </a:lnTo>
                    <a:lnTo>
                      <a:pt x="227" y="391"/>
                    </a:lnTo>
                    <a:lnTo>
                      <a:pt x="233" y="391"/>
                    </a:lnTo>
                    <a:lnTo>
                      <a:pt x="236" y="390"/>
                    </a:lnTo>
                    <a:lnTo>
                      <a:pt x="239" y="391"/>
                    </a:lnTo>
                    <a:lnTo>
                      <a:pt x="241" y="389"/>
                    </a:lnTo>
                    <a:lnTo>
                      <a:pt x="244" y="391"/>
                    </a:lnTo>
                    <a:lnTo>
                      <a:pt x="246" y="390"/>
                    </a:lnTo>
                    <a:lnTo>
                      <a:pt x="248" y="391"/>
                    </a:lnTo>
                    <a:lnTo>
                      <a:pt x="252" y="389"/>
                    </a:lnTo>
                    <a:lnTo>
                      <a:pt x="255" y="394"/>
                    </a:lnTo>
                    <a:lnTo>
                      <a:pt x="261" y="394"/>
                    </a:lnTo>
                    <a:lnTo>
                      <a:pt x="263" y="393"/>
                    </a:lnTo>
                    <a:lnTo>
                      <a:pt x="264" y="394"/>
                    </a:lnTo>
                    <a:lnTo>
                      <a:pt x="265" y="398"/>
                    </a:lnTo>
                    <a:lnTo>
                      <a:pt x="269" y="404"/>
                    </a:lnTo>
                    <a:lnTo>
                      <a:pt x="272" y="406"/>
                    </a:lnTo>
                    <a:lnTo>
                      <a:pt x="276" y="405"/>
                    </a:lnTo>
                    <a:lnTo>
                      <a:pt x="277" y="405"/>
                    </a:lnTo>
                    <a:lnTo>
                      <a:pt x="278" y="407"/>
                    </a:lnTo>
                    <a:lnTo>
                      <a:pt x="286" y="411"/>
                    </a:lnTo>
                    <a:lnTo>
                      <a:pt x="288" y="410"/>
                    </a:lnTo>
                    <a:lnTo>
                      <a:pt x="290" y="406"/>
                    </a:lnTo>
                    <a:lnTo>
                      <a:pt x="292" y="406"/>
                    </a:lnTo>
                    <a:lnTo>
                      <a:pt x="296" y="407"/>
                    </a:lnTo>
                    <a:lnTo>
                      <a:pt x="299" y="409"/>
                    </a:lnTo>
                    <a:lnTo>
                      <a:pt x="300" y="411"/>
                    </a:lnTo>
                    <a:lnTo>
                      <a:pt x="300" y="420"/>
                    </a:lnTo>
                    <a:lnTo>
                      <a:pt x="302" y="423"/>
                    </a:lnTo>
                    <a:lnTo>
                      <a:pt x="304" y="427"/>
                    </a:lnTo>
                    <a:lnTo>
                      <a:pt x="306" y="428"/>
                    </a:lnTo>
                    <a:lnTo>
                      <a:pt x="309" y="430"/>
                    </a:lnTo>
                    <a:lnTo>
                      <a:pt x="311" y="430"/>
                    </a:lnTo>
                    <a:lnTo>
                      <a:pt x="312" y="434"/>
                    </a:lnTo>
                    <a:lnTo>
                      <a:pt x="313" y="435"/>
                    </a:lnTo>
                    <a:lnTo>
                      <a:pt x="312" y="435"/>
                    </a:lnTo>
                    <a:lnTo>
                      <a:pt x="313" y="437"/>
                    </a:lnTo>
                    <a:lnTo>
                      <a:pt x="315" y="437"/>
                    </a:lnTo>
                    <a:lnTo>
                      <a:pt x="316" y="442"/>
                    </a:lnTo>
                    <a:lnTo>
                      <a:pt x="313" y="451"/>
                    </a:lnTo>
                    <a:lnTo>
                      <a:pt x="316" y="451"/>
                    </a:lnTo>
                    <a:lnTo>
                      <a:pt x="318" y="451"/>
                    </a:lnTo>
                    <a:lnTo>
                      <a:pt x="320" y="454"/>
                    </a:lnTo>
                    <a:lnTo>
                      <a:pt x="322" y="454"/>
                    </a:lnTo>
                    <a:lnTo>
                      <a:pt x="324" y="455"/>
                    </a:lnTo>
                    <a:lnTo>
                      <a:pt x="326" y="454"/>
                    </a:lnTo>
                    <a:lnTo>
                      <a:pt x="332" y="457"/>
                    </a:lnTo>
                    <a:lnTo>
                      <a:pt x="336" y="457"/>
                    </a:lnTo>
                    <a:lnTo>
                      <a:pt x="337" y="455"/>
                    </a:lnTo>
                    <a:lnTo>
                      <a:pt x="338" y="454"/>
                    </a:lnTo>
                    <a:lnTo>
                      <a:pt x="344" y="451"/>
                    </a:lnTo>
                    <a:lnTo>
                      <a:pt x="345" y="449"/>
                    </a:lnTo>
                    <a:lnTo>
                      <a:pt x="345" y="447"/>
                    </a:lnTo>
                    <a:lnTo>
                      <a:pt x="346" y="445"/>
                    </a:lnTo>
                    <a:lnTo>
                      <a:pt x="347" y="444"/>
                    </a:lnTo>
                    <a:lnTo>
                      <a:pt x="350" y="442"/>
                    </a:lnTo>
                    <a:lnTo>
                      <a:pt x="348" y="440"/>
                    </a:lnTo>
                    <a:lnTo>
                      <a:pt x="350" y="439"/>
                    </a:lnTo>
                    <a:lnTo>
                      <a:pt x="352" y="439"/>
                    </a:lnTo>
                    <a:lnTo>
                      <a:pt x="353" y="436"/>
                    </a:lnTo>
                    <a:lnTo>
                      <a:pt x="358" y="434"/>
                    </a:lnTo>
                    <a:lnTo>
                      <a:pt x="359" y="430"/>
                    </a:lnTo>
                    <a:lnTo>
                      <a:pt x="361" y="429"/>
                    </a:lnTo>
                    <a:lnTo>
                      <a:pt x="362" y="427"/>
                    </a:lnTo>
                    <a:lnTo>
                      <a:pt x="364" y="427"/>
                    </a:lnTo>
                    <a:lnTo>
                      <a:pt x="365" y="426"/>
                    </a:lnTo>
                    <a:lnTo>
                      <a:pt x="366" y="425"/>
                    </a:lnTo>
                    <a:lnTo>
                      <a:pt x="364" y="423"/>
                    </a:lnTo>
                    <a:lnTo>
                      <a:pt x="364" y="420"/>
                    </a:lnTo>
                    <a:lnTo>
                      <a:pt x="363" y="418"/>
                    </a:lnTo>
                    <a:lnTo>
                      <a:pt x="363" y="416"/>
                    </a:lnTo>
                    <a:lnTo>
                      <a:pt x="363" y="414"/>
                    </a:lnTo>
                    <a:lnTo>
                      <a:pt x="365" y="414"/>
                    </a:lnTo>
                    <a:lnTo>
                      <a:pt x="365" y="413"/>
                    </a:lnTo>
                    <a:lnTo>
                      <a:pt x="366" y="410"/>
                    </a:lnTo>
                    <a:lnTo>
                      <a:pt x="368" y="410"/>
                    </a:lnTo>
                    <a:lnTo>
                      <a:pt x="368" y="409"/>
                    </a:lnTo>
                    <a:lnTo>
                      <a:pt x="373" y="407"/>
                    </a:lnTo>
                    <a:lnTo>
                      <a:pt x="376" y="408"/>
                    </a:lnTo>
                    <a:lnTo>
                      <a:pt x="380" y="407"/>
                    </a:lnTo>
                    <a:lnTo>
                      <a:pt x="381" y="406"/>
                    </a:lnTo>
                    <a:lnTo>
                      <a:pt x="381" y="407"/>
                    </a:lnTo>
                    <a:lnTo>
                      <a:pt x="382" y="409"/>
                    </a:lnTo>
                    <a:lnTo>
                      <a:pt x="382" y="413"/>
                    </a:lnTo>
                    <a:lnTo>
                      <a:pt x="386" y="414"/>
                    </a:lnTo>
                    <a:lnTo>
                      <a:pt x="389" y="413"/>
                    </a:lnTo>
                    <a:lnTo>
                      <a:pt x="392" y="414"/>
                    </a:lnTo>
                    <a:lnTo>
                      <a:pt x="392" y="412"/>
                    </a:lnTo>
                    <a:lnTo>
                      <a:pt x="396" y="412"/>
                    </a:lnTo>
                    <a:lnTo>
                      <a:pt x="397" y="411"/>
                    </a:lnTo>
                    <a:lnTo>
                      <a:pt x="399" y="411"/>
                    </a:lnTo>
                    <a:lnTo>
                      <a:pt x="400" y="410"/>
                    </a:lnTo>
                    <a:lnTo>
                      <a:pt x="401" y="410"/>
                    </a:lnTo>
                    <a:lnTo>
                      <a:pt x="404" y="411"/>
                    </a:lnTo>
                    <a:lnTo>
                      <a:pt x="404" y="413"/>
                    </a:lnTo>
                    <a:lnTo>
                      <a:pt x="405" y="414"/>
                    </a:lnTo>
                    <a:lnTo>
                      <a:pt x="407" y="414"/>
                    </a:lnTo>
                    <a:lnTo>
                      <a:pt x="411" y="413"/>
                    </a:lnTo>
                    <a:lnTo>
                      <a:pt x="413" y="415"/>
                    </a:lnTo>
                    <a:lnTo>
                      <a:pt x="417" y="419"/>
                    </a:lnTo>
                    <a:lnTo>
                      <a:pt x="420" y="421"/>
                    </a:lnTo>
                    <a:lnTo>
                      <a:pt x="422" y="419"/>
                    </a:lnTo>
                    <a:lnTo>
                      <a:pt x="423" y="420"/>
                    </a:lnTo>
                    <a:lnTo>
                      <a:pt x="430" y="414"/>
                    </a:lnTo>
                    <a:lnTo>
                      <a:pt x="433" y="412"/>
                    </a:lnTo>
                    <a:lnTo>
                      <a:pt x="433" y="413"/>
                    </a:lnTo>
                    <a:lnTo>
                      <a:pt x="436" y="412"/>
                    </a:lnTo>
                    <a:lnTo>
                      <a:pt x="438" y="409"/>
                    </a:lnTo>
                    <a:lnTo>
                      <a:pt x="441" y="410"/>
                    </a:lnTo>
                    <a:lnTo>
                      <a:pt x="446" y="410"/>
                    </a:lnTo>
                    <a:lnTo>
                      <a:pt x="450" y="410"/>
                    </a:lnTo>
                    <a:lnTo>
                      <a:pt x="450" y="409"/>
                    </a:lnTo>
                    <a:lnTo>
                      <a:pt x="448" y="409"/>
                    </a:lnTo>
                    <a:lnTo>
                      <a:pt x="446" y="406"/>
                    </a:lnTo>
                    <a:lnTo>
                      <a:pt x="448" y="404"/>
                    </a:lnTo>
                    <a:lnTo>
                      <a:pt x="448" y="402"/>
                    </a:lnTo>
                    <a:lnTo>
                      <a:pt x="448" y="401"/>
                    </a:lnTo>
                    <a:lnTo>
                      <a:pt x="449" y="401"/>
                    </a:lnTo>
                    <a:lnTo>
                      <a:pt x="450" y="401"/>
                    </a:lnTo>
                    <a:lnTo>
                      <a:pt x="453" y="400"/>
                    </a:lnTo>
                    <a:lnTo>
                      <a:pt x="454" y="394"/>
                    </a:lnTo>
                    <a:lnTo>
                      <a:pt x="451" y="39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5" name="Freeform 64">
                <a:extLst>
                  <a:ext uri="{FF2B5EF4-FFF2-40B4-BE49-F238E27FC236}">
                    <a16:creationId xmlns:a16="http://schemas.microsoft.com/office/drawing/2014/main" id="{B59530C3-24D7-0E66-7103-C26E676603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2" y="3139"/>
                <a:ext cx="454" cy="457"/>
              </a:xfrm>
              <a:custGeom>
                <a:avLst/>
                <a:gdLst>
                  <a:gd name="T0" fmla="*/ 446 w 454"/>
                  <a:gd name="T1" fmla="*/ 367 h 457"/>
                  <a:gd name="T2" fmla="*/ 440 w 454"/>
                  <a:gd name="T3" fmla="*/ 332 h 457"/>
                  <a:gd name="T4" fmla="*/ 417 w 454"/>
                  <a:gd name="T5" fmla="*/ 323 h 457"/>
                  <a:gd name="T6" fmla="*/ 399 w 454"/>
                  <a:gd name="T7" fmla="*/ 311 h 457"/>
                  <a:gd name="T8" fmla="*/ 392 w 454"/>
                  <a:gd name="T9" fmla="*/ 283 h 457"/>
                  <a:gd name="T10" fmla="*/ 384 w 454"/>
                  <a:gd name="T11" fmla="*/ 256 h 457"/>
                  <a:gd name="T12" fmla="*/ 388 w 454"/>
                  <a:gd name="T13" fmla="*/ 238 h 457"/>
                  <a:gd name="T14" fmla="*/ 389 w 454"/>
                  <a:gd name="T15" fmla="*/ 217 h 457"/>
                  <a:gd name="T16" fmla="*/ 373 w 454"/>
                  <a:gd name="T17" fmla="*/ 221 h 457"/>
                  <a:gd name="T18" fmla="*/ 352 w 454"/>
                  <a:gd name="T19" fmla="*/ 207 h 457"/>
                  <a:gd name="T20" fmla="*/ 325 w 454"/>
                  <a:gd name="T21" fmla="*/ 202 h 457"/>
                  <a:gd name="T22" fmla="*/ 312 w 454"/>
                  <a:gd name="T23" fmla="*/ 202 h 457"/>
                  <a:gd name="T24" fmla="*/ 287 w 454"/>
                  <a:gd name="T25" fmla="*/ 167 h 457"/>
                  <a:gd name="T26" fmla="*/ 267 w 454"/>
                  <a:gd name="T27" fmla="*/ 167 h 457"/>
                  <a:gd name="T28" fmla="*/ 256 w 454"/>
                  <a:gd name="T29" fmla="*/ 139 h 457"/>
                  <a:gd name="T30" fmla="*/ 242 w 454"/>
                  <a:gd name="T31" fmla="*/ 148 h 457"/>
                  <a:gd name="T32" fmla="*/ 249 w 454"/>
                  <a:gd name="T33" fmla="*/ 158 h 457"/>
                  <a:gd name="T34" fmla="*/ 214 w 454"/>
                  <a:gd name="T35" fmla="*/ 170 h 457"/>
                  <a:gd name="T36" fmla="*/ 191 w 454"/>
                  <a:gd name="T37" fmla="*/ 161 h 457"/>
                  <a:gd name="T38" fmla="*/ 175 w 454"/>
                  <a:gd name="T39" fmla="*/ 143 h 457"/>
                  <a:gd name="T40" fmla="*/ 173 w 454"/>
                  <a:gd name="T41" fmla="*/ 125 h 457"/>
                  <a:gd name="T42" fmla="*/ 159 w 454"/>
                  <a:gd name="T43" fmla="*/ 98 h 457"/>
                  <a:gd name="T44" fmla="*/ 136 w 454"/>
                  <a:gd name="T45" fmla="*/ 70 h 457"/>
                  <a:gd name="T46" fmla="*/ 165 w 454"/>
                  <a:gd name="T47" fmla="*/ 64 h 457"/>
                  <a:gd name="T48" fmla="*/ 176 w 454"/>
                  <a:gd name="T49" fmla="*/ 38 h 457"/>
                  <a:gd name="T50" fmla="*/ 173 w 454"/>
                  <a:gd name="T51" fmla="*/ 4 h 457"/>
                  <a:gd name="T52" fmla="*/ 140 w 454"/>
                  <a:gd name="T53" fmla="*/ 25 h 457"/>
                  <a:gd name="T54" fmla="*/ 120 w 454"/>
                  <a:gd name="T55" fmla="*/ 20 h 457"/>
                  <a:gd name="T56" fmla="*/ 95 w 454"/>
                  <a:gd name="T57" fmla="*/ 28 h 457"/>
                  <a:gd name="T58" fmla="*/ 77 w 454"/>
                  <a:gd name="T59" fmla="*/ 40 h 457"/>
                  <a:gd name="T60" fmla="*/ 48 w 454"/>
                  <a:gd name="T61" fmla="*/ 64 h 457"/>
                  <a:gd name="T62" fmla="*/ 31 w 454"/>
                  <a:gd name="T63" fmla="*/ 110 h 457"/>
                  <a:gd name="T64" fmla="*/ 8 w 454"/>
                  <a:gd name="T65" fmla="*/ 147 h 457"/>
                  <a:gd name="T66" fmla="*/ 9 w 454"/>
                  <a:gd name="T67" fmla="*/ 172 h 457"/>
                  <a:gd name="T68" fmla="*/ 3 w 454"/>
                  <a:gd name="T69" fmla="*/ 189 h 457"/>
                  <a:gd name="T70" fmla="*/ 9 w 454"/>
                  <a:gd name="T71" fmla="*/ 209 h 457"/>
                  <a:gd name="T72" fmla="*/ 16 w 454"/>
                  <a:gd name="T73" fmla="*/ 221 h 457"/>
                  <a:gd name="T74" fmla="*/ 25 w 454"/>
                  <a:gd name="T75" fmla="*/ 222 h 457"/>
                  <a:gd name="T76" fmla="*/ 39 w 454"/>
                  <a:gd name="T77" fmla="*/ 232 h 457"/>
                  <a:gd name="T78" fmla="*/ 63 w 454"/>
                  <a:gd name="T79" fmla="*/ 243 h 457"/>
                  <a:gd name="T80" fmla="*/ 72 w 454"/>
                  <a:gd name="T81" fmla="*/ 260 h 457"/>
                  <a:gd name="T82" fmla="*/ 100 w 454"/>
                  <a:gd name="T83" fmla="*/ 260 h 457"/>
                  <a:gd name="T84" fmla="*/ 130 w 454"/>
                  <a:gd name="T85" fmla="*/ 270 h 457"/>
                  <a:gd name="T86" fmla="*/ 143 w 454"/>
                  <a:gd name="T87" fmla="*/ 281 h 457"/>
                  <a:gd name="T88" fmla="*/ 149 w 454"/>
                  <a:gd name="T89" fmla="*/ 310 h 457"/>
                  <a:gd name="T90" fmla="*/ 163 w 454"/>
                  <a:gd name="T91" fmla="*/ 326 h 457"/>
                  <a:gd name="T92" fmla="*/ 179 w 454"/>
                  <a:gd name="T93" fmla="*/ 348 h 457"/>
                  <a:gd name="T94" fmla="*/ 177 w 454"/>
                  <a:gd name="T95" fmla="*/ 361 h 457"/>
                  <a:gd name="T96" fmla="*/ 193 w 454"/>
                  <a:gd name="T97" fmla="*/ 362 h 457"/>
                  <a:gd name="T98" fmla="*/ 209 w 454"/>
                  <a:gd name="T99" fmla="*/ 379 h 457"/>
                  <a:gd name="T100" fmla="*/ 239 w 454"/>
                  <a:gd name="T101" fmla="*/ 391 h 457"/>
                  <a:gd name="T102" fmla="*/ 272 w 454"/>
                  <a:gd name="T103" fmla="*/ 406 h 457"/>
                  <a:gd name="T104" fmla="*/ 304 w 454"/>
                  <a:gd name="T105" fmla="*/ 427 h 457"/>
                  <a:gd name="T106" fmla="*/ 320 w 454"/>
                  <a:gd name="T107" fmla="*/ 454 h 457"/>
                  <a:gd name="T108" fmla="*/ 350 w 454"/>
                  <a:gd name="T109" fmla="*/ 442 h 457"/>
                  <a:gd name="T110" fmla="*/ 364 w 454"/>
                  <a:gd name="T111" fmla="*/ 420 h 457"/>
                  <a:gd name="T112" fmla="*/ 381 w 454"/>
                  <a:gd name="T113" fmla="*/ 407 h 457"/>
                  <a:gd name="T114" fmla="*/ 404 w 454"/>
                  <a:gd name="T115" fmla="*/ 413 h 457"/>
                  <a:gd name="T116" fmla="*/ 438 w 454"/>
                  <a:gd name="T117" fmla="*/ 409 h 457"/>
                  <a:gd name="T118" fmla="*/ 454 w 454"/>
                  <a:gd name="T119" fmla="*/ 394 h 45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454"/>
                  <a:gd name="T181" fmla="*/ 0 h 457"/>
                  <a:gd name="T182" fmla="*/ 454 w 454"/>
                  <a:gd name="T183" fmla="*/ 457 h 45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454" h="457">
                    <a:moveTo>
                      <a:pt x="451" y="392"/>
                    </a:moveTo>
                    <a:lnTo>
                      <a:pt x="450" y="388"/>
                    </a:lnTo>
                    <a:lnTo>
                      <a:pt x="448" y="388"/>
                    </a:lnTo>
                    <a:lnTo>
                      <a:pt x="448" y="384"/>
                    </a:lnTo>
                    <a:lnTo>
                      <a:pt x="447" y="383"/>
                    </a:lnTo>
                    <a:lnTo>
                      <a:pt x="448" y="381"/>
                    </a:lnTo>
                    <a:lnTo>
                      <a:pt x="447" y="377"/>
                    </a:lnTo>
                    <a:lnTo>
                      <a:pt x="448" y="377"/>
                    </a:lnTo>
                    <a:lnTo>
                      <a:pt x="449" y="372"/>
                    </a:lnTo>
                    <a:lnTo>
                      <a:pt x="447" y="372"/>
                    </a:lnTo>
                    <a:lnTo>
                      <a:pt x="446" y="371"/>
                    </a:lnTo>
                    <a:lnTo>
                      <a:pt x="446" y="367"/>
                    </a:lnTo>
                    <a:lnTo>
                      <a:pt x="446" y="364"/>
                    </a:lnTo>
                    <a:lnTo>
                      <a:pt x="445" y="361"/>
                    </a:lnTo>
                    <a:lnTo>
                      <a:pt x="446" y="359"/>
                    </a:lnTo>
                    <a:lnTo>
                      <a:pt x="445" y="354"/>
                    </a:lnTo>
                    <a:lnTo>
                      <a:pt x="444" y="354"/>
                    </a:lnTo>
                    <a:lnTo>
                      <a:pt x="444" y="351"/>
                    </a:lnTo>
                    <a:lnTo>
                      <a:pt x="443" y="346"/>
                    </a:lnTo>
                    <a:lnTo>
                      <a:pt x="443" y="343"/>
                    </a:lnTo>
                    <a:lnTo>
                      <a:pt x="443" y="339"/>
                    </a:lnTo>
                    <a:lnTo>
                      <a:pt x="444" y="336"/>
                    </a:lnTo>
                    <a:lnTo>
                      <a:pt x="443" y="333"/>
                    </a:lnTo>
                    <a:lnTo>
                      <a:pt x="443" y="332"/>
                    </a:lnTo>
                    <a:lnTo>
                      <a:pt x="440" y="332"/>
                    </a:lnTo>
                    <a:lnTo>
                      <a:pt x="437" y="329"/>
                    </a:lnTo>
                    <a:lnTo>
                      <a:pt x="433" y="330"/>
                    </a:lnTo>
                    <a:lnTo>
                      <a:pt x="432" y="329"/>
                    </a:lnTo>
                    <a:lnTo>
                      <a:pt x="428" y="332"/>
                    </a:lnTo>
                    <a:lnTo>
                      <a:pt x="425" y="332"/>
                    </a:lnTo>
                    <a:lnTo>
                      <a:pt x="425" y="329"/>
                    </a:lnTo>
                    <a:lnTo>
                      <a:pt x="423" y="328"/>
                    </a:lnTo>
                    <a:lnTo>
                      <a:pt x="421" y="328"/>
                    </a:lnTo>
                    <a:lnTo>
                      <a:pt x="419" y="328"/>
                    </a:lnTo>
                    <a:lnTo>
                      <a:pt x="420" y="326"/>
                    </a:lnTo>
                    <a:lnTo>
                      <a:pt x="418" y="324"/>
                    </a:lnTo>
                    <a:lnTo>
                      <a:pt x="419" y="323"/>
                    </a:lnTo>
                    <a:lnTo>
                      <a:pt x="417" y="323"/>
                    </a:lnTo>
                    <a:lnTo>
                      <a:pt x="418" y="321"/>
                    </a:lnTo>
                    <a:lnTo>
                      <a:pt x="418" y="318"/>
                    </a:lnTo>
                    <a:lnTo>
                      <a:pt x="413" y="317"/>
                    </a:lnTo>
                    <a:lnTo>
                      <a:pt x="410" y="317"/>
                    </a:lnTo>
                    <a:lnTo>
                      <a:pt x="408" y="317"/>
                    </a:lnTo>
                    <a:lnTo>
                      <a:pt x="407" y="318"/>
                    </a:lnTo>
                    <a:lnTo>
                      <a:pt x="407" y="315"/>
                    </a:lnTo>
                    <a:lnTo>
                      <a:pt x="405" y="314"/>
                    </a:lnTo>
                    <a:lnTo>
                      <a:pt x="404" y="314"/>
                    </a:lnTo>
                    <a:lnTo>
                      <a:pt x="403" y="315"/>
                    </a:lnTo>
                    <a:lnTo>
                      <a:pt x="403" y="313"/>
                    </a:lnTo>
                    <a:lnTo>
                      <a:pt x="400" y="313"/>
                    </a:lnTo>
                    <a:lnTo>
                      <a:pt x="399" y="311"/>
                    </a:lnTo>
                    <a:lnTo>
                      <a:pt x="399" y="310"/>
                    </a:lnTo>
                    <a:lnTo>
                      <a:pt x="398" y="309"/>
                    </a:lnTo>
                    <a:lnTo>
                      <a:pt x="397" y="307"/>
                    </a:lnTo>
                    <a:lnTo>
                      <a:pt x="396" y="307"/>
                    </a:lnTo>
                    <a:lnTo>
                      <a:pt x="397" y="306"/>
                    </a:lnTo>
                    <a:lnTo>
                      <a:pt x="396" y="304"/>
                    </a:lnTo>
                    <a:lnTo>
                      <a:pt x="398" y="296"/>
                    </a:lnTo>
                    <a:lnTo>
                      <a:pt x="397" y="294"/>
                    </a:lnTo>
                    <a:lnTo>
                      <a:pt x="395" y="294"/>
                    </a:lnTo>
                    <a:lnTo>
                      <a:pt x="394" y="293"/>
                    </a:lnTo>
                    <a:lnTo>
                      <a:pt x="394" y="290"/>
                    </a:lnTo>
                    <a:lnTo>
                      <a:pt x="394" y="285"/>
                    </a:lnTo>
                    <a:lnTo>
                      <a:pt x="392" y="283"/>
                    </a:lnTo>
                    <a:lnTo>
                      <a:pt x="392" y="280"/>
                    </a:lnTo>
                    <a:lnTo>
                      <a:pt x="391" y="278"/>
                    </a:lnTo>
                    <a:lnTo>
                      <a:pt x="391" y="276"/>
                    </a:lnTo>
                    <a:lnTo>
                      <a:pt x="391" y="273"/>
                    </a:lnTo>
                    <a:lnTo>
                      <a:pt x="390" y="272"/>
                    </a:lnTo>
                    <a:lnTo>
                      <a:pt x="390" y="270"/>
                    </a:lnTo>
                    <a:lnTo>
                      <a:pt x="388" y="268"/>
                    </a:lnTo>
                    <a:lnTo>
                      <a:pt x="387" y="264"/>
                    </a:lnTo>
                    <a:lnTo>
                      <a:pt x="388" y="262"/>
                    </a:lnTo>
                    <a:lnTo>
                      <a:pt x="386" y="261"/>
                    </a:lnTo>
                    <a:lnTo>
                      <a:pt x="386" y="259"/>
                    </a:lnTo>
                    <a:lnTo>
                      <a:pt x="385" y="258"/>
                    </a:lnTo>
                    <a:lnTo>
                      <a:pt x="384" y="256"/>
                    </a:lnTo>
                    <a:lnTo>
                      <a:pt x="384" y="254"/>
                    </a:lnTo>
                    <a:lnTo>
                      <a:pt x="389" y="251"/>
                    </a:lnTo>
                    <a:lnTo>
                      <a:pt x="391" y="249"/>
                    </a:lnTo>
                    <a:lnTo>
                      <a:pt x="390" y="248"/>
                    </a:lnTo>
                    <a:lnTo>
                      <a:pt x="389" y="246"/>
                    </a:lnTo>
                    <a:lnTo>
                      <a:pt x="391" y="246"/>
                    </a:lnTo>
                    <a:lnTo>
                      <a:pt x="391" y="244"/>
                    </a:lnTo>
                    <a:lnTo>
                      <a:pt x="395" y="244"/>
                    </a:lnTo>
                    <a:lnTo>
                      <a:pt x="396" y="242"/>
                    </a:lnTo>
                    <a:lnTo>
                      <a:pt x="394" y="240"/>
                    </a:lnTo>
                    <a:lnTo>
                      <a:pt x="391" y="239"/>
                    </a:lnTo>
                    <a:lnTo>
                      <a:pt x="388" y="239"/>
                    </a:lnTo>
                    <a:lnTo>
                      <a:pt x="388" y="238"/>
                    </a:lnTo>
                    <a:lnTo>
                      <a:pt x="386" y="236"/>
                    </a:lnTo>
                    <a:lnTo>
                      <a:pt x="386" y="234"/>
                    </a:lnTo>
                    <a:lnTo>
                      <a:pt x="385" y="232"/>
                    </a:lnTo>
                    <a:lnTo>
                      <a:pt x="385" y="231"/>
                    </a:lnTo>
                    <a:lnTo>
                      <a:pt x="387" y="230"/>
                    </a:lnTo>
                    <a:lnTo>
                      <a:pt x="388" y="228"/>
                    </a:lnTo>
                    <a:lnTo>
                      <a:pt x="387" y="226"/>
                    </a:lnTo>
                    <a:lnTo>
                      <a:pt x="388" y="225"/>
                    </a:lnTo>
                    <a:lnTo>
                      <a:pt x="390" y="221"/>
                    </a:lnTo>
                    <a:lnTo>
                      <a:pt x="388" y="219"/>
                    </a:lnTo>
                    <a:lnTo>
                      <a:pt x="389" y="218"/>
                    </a:lnTo>
                    <a:lnTo>
                      <a:pt x="388" y="217"/>
                    </a:lnTo>
                    <a:lnTo>
                      <a:pt x="389" y="217"/>
                    </a:lnTo>
                    <a:lnTo>
                      <a:pt x="388" y="213"/>
                    </a:lnTo>
                    <a:lnTo>
                      <a:pt x="384" y="214"/>
                    </a:lnTo>
                    <a:lnTo>
                      <a:pt x="381" y="210"/>
                    </a:lnTo>
                    <a:lnTo>
                      <a:pt x="379" y="210"/>
                    </a:lnTo>
                    <a:lnTo>
                      <a:pt x="380" y="212"/>
                    </a:lnTo>
                    <a:lnTo>
                      <a:pt x="379" y="217"/>
                    </a:lnTo>
                    <a:lnTo>
                      <a:pt x="381" y="218"/>
                    </a:lnTo>
                    <a:lnTo>
                      <a:pt x="378" y="221"/>
                    </a:lnTo>
                    <a:lnTo>
                      <a:pt x="376" y="222"/>
                    </a:lnTo>
                    <a:lnTo>
                      <a:pt x="375" y="222"/>
                    </a:lnTo>
                    <a:lnTo>
                      <a:pt x="374" y="222"/>
                    </a:lnTo>
                    <a:lnTo>
                      <a:pt x="373" y="221"/>
                    </a:lnTo>
                    <a:lnTo>
                      <a:pt x="371" y="222"/>
                    </a:lnTo>
                    <a:lnTo>
                      <a:pt x="372" y="221"/>
                    </a:lnTo>
                    <a:lnTo>
                      <a:pt x="371" y="220"/>
                    </a:lnTo>
                    <a:lnTo>
                      <a:pt x="369" y="221"/>
                    </a:lnTo>
                    <a:lnTo>
                      <a:pt x="366" y="218"/>
                    </a:lnTo>
                    <a:lnTo>
                      <a:pt x="365" y="220"/>
                    </a:lnTo>
                    <a:lnTo>
                      <a:pt x="364" y="218"/>
                    </a:lnTo>
                    <a:lnTo>
                      <a:pt x="363" y="216"/>
                    </a:lnTo>
                    <a:lnTo>
                      <a:pt x="362" y="215"/>
                    </a:lnTo>
                    <a:lnTo>
                      <a:pt x="359" y="213"/>
                    </a:lnTo>
                    <a:lnTo>
                      <a:pt x="359" y="209"/>
                    </a:lnTo>
                    <a:lnTo>
                      <a:pt x="354" y="209"/>
                    </a:lnTo>
                    <a:lnTo>
                      <a:pt x="352" y="207"/>
                    </a:lnTo>
                    <a:lnTo>
                      <a:pt x="351" y="206"/>
                    </a:lnTo>
                    <a:lnTo>
                      <a:pt x="351" y="202"/>
                    </a:lnTo>
                    <a:lnTo>
                      <a:pt x="343" y="202"/>
                    </a:lnTo>
                    <a:lnTo>
                      <a:pt x="342" y="202"/>
                    </a:lnTo>
                    <a:lnTo>
                      <a:pt x="338" y="202"/>
                    </a:lnTo>
                    <a:lnTo>
                      <a:pt x="334" y="201"/>
                    </a:lnTo>
                    <a:lnTo>
                      <a:pt x="332" y="199"/>
                    </a:lnTo>
                    <a:lnTo>
                      <a:pt x="325" y="195"/>
                    </a:lnTo>
                    <a:lnTo>
                      <a:pt x="324" y="198"/>
                    </a:lnTo>
                    <a:lnTo>
                      <a:pt x="325" y="199"/>
                    </a:lnTo>
                    <a:lnTo>
                      <a:pt x="328" y="200"/>
                    </a:lnTo>
                    <a:lnTo>
                      <a:pt x="329" y="201"/>
                    </a:lnTo>
                    <a:lnTo>
                      <a:pt x="325" y="202"/>
                    </a:lnTo>
                    <a:lnTo>
                      <a:pt x="326" y="203"/>
                    </a:lnTo>
                    <a:lnTo>
                      <a:pt x="327" y="204"/>
                    </a:lnTo>
                    <a:lnTo>
                      <a:pt x="325" y="205"/>
                    </a:lnTo>
                    <a:lnTo>
                      <a:pt x="323" y="204"/>
                    </a:lnTo>
                    <a:lnTo>
                      <a:pt x="323" y="202"/>
                    </a:lnTo>
                    <a:lnTo>
                      <a:pt x="322" y="202"/>
                    </a:lnTo>
                    <a:lnTo>
                      <a:pt x="322" y="205"/>
                    </a:lnTo>
                    <a:lnTo>
                      <a:pt x="320" y="209"/>
                    </a:lnTo>
                    <a:lnTo>
                      <a:pt x="318" y="209"/>
                    </a:lnTo>
                    <a:lnTo>
                      <a:pt x="318" y="208"/>
                    </a:lnTo>
                    <a:lnTo>
                      <a:pt x="315" y="205"/>
                    </a:lnTo>
                    <a:lnTo>
                      <a:pt x="314" y="202"/>
                    </a:lnTo>
                    <a:lnTo>
                      <a:pt x="312" y="202"/>
                    </a:lnTo>
                    <a:lnTo>
                      <a:pt x="309" y="196"/>
                    </a:lnTo>
                    <a:lnTo>
                      <a:pt x="311" y="191"/>
                    </a:lnTo>
                    <a:lnTo>
                      <a:pt x="310" y="187"/>
                    </a:lnTo>
                    <a:lnTo>
                      <a:pt x="309" y="185"/>
                    </a:lnTo>
                    <a:lnTo>
                      <a:pt x="299" y="181"/>
                    </a:lnTo>
                    <a:lnTo>
                      <a:pt x="296" y="182"/>
                    </a:lnTo>
                    <a:lnTo>
                      <a:pt x="295" y="182"/>
                    </a:lnTo>
                    <a:lnTo>
                      <a:pt x="293" y="180"/>
                    </a:lnTo>
                    <a:lnTo>
                      <a:pt x="294" y="178"/>
                    </a:lnTo>
                    <a:lnTo>
                      <a:pt x="293" y="174"/>
                    </a:lnTo>
                    <a:lnTo>
                      <a:pt x="292" y="168"/>
                    </a:lnTo>
                    <a:lnTo>
                      <a:pt x="288" y="169"/>
                    </a:lnTo>
                    <a:lnTo>
                      <a:pt x="287" y="167"/>
                    </a:lnTo>
                    <a:lnTo>
                      <a:pt x="286" y="167"/>
                    </a:lnTo>
                    <a:lnTo>
                      <a:pt x="285" y="166"/>
                    </a:lnTo>
                    <a:lnTo>
                      <a:pt x="283" y="166"/>
                    </a:lnTo>
                    <a:lnTo>
                      <a:pt x="283" y="167"/>
                    </a:lnTo>
                    <a:lnTo>
                      <a:pt x="282" y="167"/>
                    </a:lnTo>
                    <a:lnTo>
                      <a:pt x="282" y="168"/>
                    </a:lnTo>
                    <a:lnTo>
                      <a:pt x="282" y="170"/>
                    </a:lnTo>
                    <a:lnTo>
                      <a:pt x="281" y="172"/>
                    </a:lnTo>
                    <a:lnTo>
                      <a:pt x="277" y="174"/>
                    </a:lnTo>
                    <a:lnTo>
                      <a:pt x="275" y="170"/>
                    </a:lnTo>
                    <a:lnTo>
                      <a:pt x="273" y="168"/>
                    </a:lnTo>
                    <a:lnTo>
                      <a:pt x="272" y="166"/>
                    </a:lnTo>
                    <a:lnTo>
                      <a:pt x="267" y="167"/>
                    </a:lnTo>
                    <a:lnTo>
                      <a:pt x="265" y="164"/>
                    </a:lnTo>
                    <a:lnTo>
                      <a:pt x="263" y="161"/>
                    </a:lnTo>
                    <a:lnTo>
                      <a:pt x="262" y="157"/>
                    </a:lnTo>
                    <a:lnTo>
                      <a:pt x="263" y="157"/>
                    </a:lnTo>
                    <a:lnTo>
                      <a:pt x="265" y="154"/>
                    </a:lnTo>
                    <a:lnTo>
                      <a:pt x="262" y="151"/>
                    </a:lnTo>
                    <a:lnTo>
                      <a:pt x="262" y="149"/>
                    </a:lnTo>
                    <a:lnTo>
                      <a:pt x="260" y="149"/>
                    </a:lnTo>
                    <a:lnTo>
                      <a:pt x="262" y="144"/>
                    </a:lnTo>
                    <a:lnTo>
                      <a:pt x="261" y="143"/>
                    </a:lnTo>
                    <a:lnTo>
                      <a:pt x="259" y="143"/>
                    </a:lnTo>
                    <a:lnTo>
                      <a:pt x="256" y="141"/>
                    </a:lnTo>
                    <a:lnTo>
                      <a:pt x="256" y="139"/>
                    </a:lnTo>
                    <a:lnTo>
                      <a:pt x="255" y="138"/>
                    </a:lnTo>
                    <a:lnTo>
                      <a:pt x="255" y="135"/>
                    </a:lnTo>
                    <a:lnTo>
                      <a:pt x="252" y="135"/>
                    </a:lnTo>
                    <a:lnTo>
                      <a:pt x="251" y="134"/>
                    </a:lnTo>
                    <a:lnTo>
                      <a:pt x="249" y="133"/>
                    </a:lnTo>
                    <a:lnTo>
                      <a:pt x="249" y="132"/>
                    </a:lnTo>
                    <a:lnTo>
                      <a:pt x="247" y="132"/>
                    </a:lnTo>
                    <a:lnTo>
                      <a:pt x="241" y="136"/>
                    </a:lnTo>
                    <a:lnTo>
                      <a:pt x="239" y="137"/>
                    </a:lnTo>
                    <a:lnTo>
                      <a:pt x="239" y="140"/>
                    </a:lnTo>
                    <a:lnTo>
                      <a:pt x="239" y="144"/>
                    </a:lnTo>
                    <a:lnTo>
                      <a:pt x="240" y="148"/>
                    </a:lnTo>
                    <a:lnTo>
                      <a:pt x="242" y="148"/>
                    </a:lnTo>
                    <a:lnTo>
                      <a:pt x="244" y="144"/>
                    </a:lnTo>
                    <a:lnTo>
                      <a:pt x="246" y="145"/>
                    </a:lnTo>
                    <a:lnTo>
                      <a:pt x="247" y="146"/>
                    </a:lnTo>
                    <a:lnTo>
                      <a:pt x="249" y="146"/>
                    </a:lnTo>
                    <a:lnTo>
                      <a:pt x="250" y="150"/>
                    </a:lnTo>
                    <a:lnTo>
                      <a:pt x="250" y="151"/>
                    </a:lnTo>
                    <a:lnTo>
                      <a:pt x="248" y="152"/>
                    </a:lnTo>
                    <a:lnTo>
                      <a:pt x="249" y="154"/>
                    </a:lnTo>
                    <a:lnTo>
                      <a:pt x="249" y="156"/>
                    </a:lnTo>
                    <a:lnTo>
                      <a:pt x="248" y="156"/>
                    </a:lnTo>
                    <a:lnTo>
                      <a:pt x="247" y="157"/>
                    </a:lnTo>
                    <a:lnTo>
                      <a:pt x="249" y="158"/>
                    </a:lnTo>
                    <a:lnTo>
                      <a:pt x="248" y="161"/>
                    </a:lnTo>
                    <a:lnTo>
                      <a:pt x="247" y="159"/>
                    </a:lnTo>
                    <a:lnTo>
                      <a:pt x="247" y="158"/>
                    </a:lnTo>
                    <a:lnTo>
                      <a:pt x="246" y="157"/>
                    </a:lnTo>
                    <a:lnTo>
                      <a:pt x="238" y="157"/>
                    </a:lnTo>
                    <a:lnTo>
                      <a:pt x="238" y="153"/>
                    </a:lnTo>
                    <a:lnTo>
                      <a:pt x="234" y="155"/>
                    </a:lnTo>
                    <a:lnTo>
                      <a:pt x="231" y="158"/>
                    </a:lnTo>
                    <a:lnTo>
                      <a:pt x="228" y="157"/>
                    </a:lnTo>
                    <a:lnTo>
                      <a:pt x="225" y="158"/>
                    </a:lnTo>
                    <a:lnTo>
                      <a:pt x="224" y="158"/>
                    </a:lnTo>
                    <a:lnTo>
                      <a:pt x="215" y="168"/>
                    </a:lnTo>
                    <a:lnTo>
                      <a:pt x="214" y="170"/>
                    </a:lnTo>
                    <a:lnTo>
                      <a:pt x="211" y="170"/>
                    </a:lnTo>
                    <a:lnTo>
                      <a:pt x="206" y="168"/>
                    </a:lnTo>
                    <a:lnTo>
                      <a:pt x="203" y="168"/>
                    </a:lnTo>
                    <a:lnTo>
                      <a:pt x="200" y="170"/>
                    </a:lnTo>
                    <a:lnTo>
                      <a:pt x="198" y="167"/>
                    </a:lnTo>
                    <a:lnTo>
                      <a:pt x="197" y="167"/>
                    </a:lnTo>
                    <a:lnTo>
                      <a:pt x="197" y="165"/>
                    </a:lnTo>
                    <a:lnTo>
                      <a:pt x="195" y="165"/>
                    </a:lnTo>
                    <a:lnTo>
                      <a:pt x="195" y="164"/>
                    </a:lnTo>
                    <a:lnTo>
                      <a:pt x="193" y="163"/>
                    </a:lnTo>
                    <a:lnTo>
                      <a:pt x="192" y="161"/>
                    </a:lnTo>
                    <a:lnTo>
                      <a:pt x="191" y="161"/>
                    </a:lnTo>
                    <a:lnTo>
                      <a:pt x="190" y="159"/>
                    </a:lnTo>
                    <a:lnTo>
                      <a:pt x="192" y="156"/>
                    </a:lnTo>
                    <a:lnTo>
                      <a:pt x="190" y="152"/>
                    </a:lnTo>
                    <a:lnTo>
                      <a:pt x="189" y="151"/>
                    </a:lnTo>
                    <a:lnTo>
                      <a:pt x="183" y="151"/>
                    </a:lnTo>
                    <a:lnTo>
                      <a:pt x="183" y="149"/>
                    </a:lnTo>
                    <a:lnTo>
                      <a:pt x="181" y="149"/>
                    </a:lnTo>
                    <a:lnTo>
                      <a:pt x="181" y="148"/>
                    </a:lnTo>
                    <a:lnTo>
                      <a:pt x="180" y="146"/>
                    </a:lnTo>
                    <a:lnTo>
                      <a:pt x="179" y="147"/>
                    </a:lnTo>
                    <a:lnTo>
                      <a:pt x="179" y="146"/>
                    </a:lnTo>
                    <a:lnTo>
                      <a:pt x="177" y="145"/>
                    </a:lnTo>
                    <a:lnTo>
                      <a:pt x="175" y="143"/>
                    </a:lnTo>
                    <a:lnTo>
                      <a:pt x="177" y="142"/>
                    </a:lnTo>
                    <a:lnTo>
                      <a:pt x="177" y="140"/>
                    </a:lnTo>
                    <a:lnTo>
                      <a:pt x="177" y="138"/>
                    </a:lnTo>
                    <a:lnTo>
                      <a:pt x="175" y="138"/>
                    </a:lnTo>
                    <a:lnTo>
                      <a:pt x="177" y="135"/>
                    </a:lnTo>
                    <a:lnTo>
                      <a:pt x="175" y="134"/>
                    </a:lnTo>
                    <a:lnTo>
                      <a:pt x="176" y="134"/>
                    </a:lnTo>
                    <a:lnTo>
                      <a:pt x="176" y="131"/>
                    </a:lnTo>
                    <a:lnTo>
                      <a:pt x="173" y="130"/>
                    </a:lnTo>
                    <a:lnTo>
                      <a:pt x="174" y="128"/>
                    </a:lnTo>
                    <a:lnTo>
                      <a:pt x="173" y="126"/>
                    </a:lnTo>
                    <a:lnTo>
                      <a:pt x="172" y="126"/>
                    </a:lnTo>
                    <a:lnTo>
                      <a:pt x="173" y="125"/>
                    </a:lnTo>
                    <a:lnTo>
                      <a:pt x="173" y="124"/>
                    </a:lnTo>
                    <a:lnTo>
                      <a:pt x="173" y="123"/>
                    </a:lnTo>
                    <a:lnTo>
                      <a:pt x="172" y="122"/>
                    </a:lnTo>
                    <a:lnTo>
                      <a:pt x="172" y="120"/>
                    </a:lnTo>
                    <a:lnTo>
                      <a:pt x="172" y="118"/>
                    </a:lnTo>
                    <a:lnTo>
                      <a:pt x="170" y="116"/>
                    </a:lnTo>
                    <a:lnTo>
                      <a:pt x="168" y="116"/>
                    </a:lnTo>
                    <a:lnTo>
                      <a:pt x="168" y="115"/>
                    </a:lnTo>
                    <a:lnTo>
                      <a:pt x="166" y="113"/>
                    </a:lnTo>
                    <a:lnTo>
                      <a:pt x="167" y="109"/>
                    </a:lnTo>
                    <a:lnTo>
                      <a:pt x="160" y="100"/>
                    </a:lnTo>
                    <a:lnTo>
                      <a:pt x="159" y="98"/>
                    </a:lnTo>
                    <a:lnTo>
                      <a:pt x="155" y="98"/>
                    </a:lnTo>
                    <a:lnTo>
                      <a:pt x="152" y="104"/>
                    </a:lnTo>
                    <a:lnTo>
                      <a:pt x="149" y="101"/>
                    </a:lnTo>
                    <a:lnTo>
                      <a:pt x="146" y="100"/>
                    </a:lnTo>
                    <a:lnTo>
                      <a:pt x="144" y="91"/>
                    </a:lnTo>
                    <a:lnTo>
                      <a:pt x="141" y="88"/>
                    </a:lnTo>
                    <a:lnTo>
                      <a:pt x="138" y="86"/>
                    </a:lnTo>
                    <a:lnTo>
                      <a:pt x="138" y="85"/>
                    </a:lnTo>
                    <a:lnTo>
                      <a:pt x="136" y="85"/>
                    </a:lnTo>
                    <a:lnTo>
                      <a:pt x="135" y="80"/>
                    </a:lnTo>
                    <a:lnTo>
                      <a:pt x="133" y="75"/>
                    </a:lnTo>
                    <a:lnTo>
                      <a:pt x="135" y="71"/>
                    </a:lnTo>
                    <a:lnTo>
                      <a:pt x="136" y="70"/>
                    </a:lnTo>
                    <a:lnTo>
                      <a:pt x="140" y="71"/>
                    </a:lnTo>
                    <a:lnTo>
                      <a:pt x="141" y="72"/>
                    </a:lnTo>
                    <a:lnTo>
                      <a:pt x="143" y="70"/>
                    </a:lnTo>
                    <a:lnTo>
                      <a:pt x="145" y="70"/>
                    </a:lnTo>
                    <a:lnTo>
                      <a:pt x="148" y="69"/>
                    </a:lnTo>
                    <a:lnTo>
                      <a:pt x="152" y="69"/>
                    </a:lnTo>
                    <a:lnTo>
                      <a:pt x="156" y="67"/>
                    </a:lnTo>
                    <a:lnTo>
                      <a:pt x="157" y="68"/>
                    </a:lnTo>
                    <a:lnTo>
                      <a:pt x="159" y="67"/>
                    </a:lnTo>
                    <a:lnTo>
                      <a:pt x="160" y="68"/>
                    </a:lnTo>
                    <a:lnTo>
                      <a:pt x="164" y="67"/>
                    </a:lnTo>
                    <a:lnTo>
                      <a:pt x="164" y="64"/>
                    </a:lnTo>
                    <a:lnTo>
                      <a:pt x="165" y="64"/>
                    </a:lnTo>
                    <a:lnTo>
                      <a:pt x="165" y="60"/>
                    </a:lnTo>
                    <a:lnTo>
                      <a:pt x="167" y="59"/>
                    </a:lnTo>
                    <a:lnTo>
                      <a:pt x="168" y="58"/>
                    </a:lnTo>
                    <a:lnTo>
                      <a:pt x="169" y="57"/>
                    </a:lnTo>
                    <a:lnTo>
                      <a:pt x="170" y="58"/>
                    </a:lnTo>
                    <a:lnTo>
                      <a:pt x="173" y="60"/>
                    </a:lnTo>
                    <a:lnTo>
                      <a:pt x="176" y="58"/>
                    </a:lnTo>
                    <a:lnTo>
                      <a:pt x="179" y="58"/>
                    </a:lnTo>
                    <a:lnTo>
                      <a:pt x="179" y="56"/>
                    </a:lnTo>
                    <a:lnTo>
                      <a:pt x="179" y="53"/>
                    </a:lnTo>
                    <a:lnTo>
                      <a:pt x="179" y="51"/>
                    </a:lnTo>
                    <a:lnTo>
                      <a:pt x="181" y="45"/>
                    </a:lnTo>
                    <a:lnTo>
                      <a:pt x="176" y="38"/>
                    </a:lnTo>
                    <a:lnTo>
                      <a:pt x="172" y="34"/>
                    </a:lnTo>
                    <a:lnTo>
                      <a:pt x="172" y="31"/>
                    </a:lnTo>
                    <a:lnTo>
                      <a:pt x="173" y="26"/>
                    </a:lnTo>
                    <a:lnTo>
                      <a:pt x="175" y="24"/>
                    </a:lnTo>
                    <a:lnTo>
                      <a:pt x="178" y="18"/>
                    </a:lnTo>
                    <a:lnTo>
                      <a:pt x="180" y="17"/>
                    </a:lnTo>
                    <a:lnTo>
                      <a:pt x="180" y="15"/>
                    </a:lnTo>
                    <a:lnTo>
                      <a:pt x="181" y="15"/>
                    </a:lnTo>
                    <a:lnTo>
                      <a:pt x="180" y="13"/>
                    </a:lnTo>
                    <a:lnTo>
                      <a:pt x="177" y="13"/>
                    </a:lnTo>
                    <a:lnTo>
                      <a:pt x="176" y="12"/>
                    </a:lnTo>
                    <a:lnTo>
                      <a:pt x="174" y="11"/>
                    </a:lnTo>
                    <a:lnTo>
                      <a:pt x="173" y="4"/>
                    </a:lnTo>
                    <a:lnTo>
                      <a:pt x="167" y="0"/>
                    </a:lnTo>
                    <a:lnTo>
                      <a:pt x="164" y="0"/>
                    </a:lnTo>
                    <a:lnTo>
                      <a:pt x="164" y="6"/>
                    </a:lnTo>
                    <a:lnTo>
                      <a:pt x="163" y="10"/>
                    </a:lnTo>
                    <a:lnTo>
                      <a:pt x="164" y="11"/>
                    </a:lnTo>
                    <a:lnTo>
                      <a:pt x="164" y="12"/>
                    </a:lnTo>
                    <a:lnTo>
                      <a:pt x="163" y="13"/>
                    </a:lnTo>
                    <a:lnTo>
                      <a:pt x="155" y="19"/>
                    </a:lnTo>
                    <a:lnTo>
                      <a:pt x="152" y="22"/>
                    </a:lnTo>
                    <a:lnTo>
                      <a:pt x="148" y="24"/>
                    </a:lnTo>
                    <a:lnTo>
                      <a:pt x="143" y="25"/>
                    </a:lnTo>
                    <a:lnTo>
                      <a:pt x="142" y="26"/>
                    </a:lnTo>
                    <a:lnTo>
                      <a:pt x="140" y="25"/>
                    </a:lnTo>
                    <a:lnTo>
                      <a:pt x="140" y="24"/>
                    </a:lnTo>
                    <a:lnTo>
                      <a:pt x="138" y="23"/>
                    </a:lnTo>
                    <a:lnTo>
                      <a:pt x="138" y="20"/>
                    </a:lnTo>
                    <a:lnTo>
                      <a:pt x="137" y="19"/>
                    </a:lnTo>
                    <a:lnTo>
                      <a:pt x="134" y="19"/>
                    </a:lnTo>
                    <a:lnTo>
                      <a:pt x="133" y="20"/>
                    </a:lnTo>
                    <a:lnTo>
                      <a:pt x="131" y="20"/>
                    </a:lnTo>
                    <a:lnTo>
                      <a:pt x="129" y="23"/>
                    </a:lnTo>
                    <a:lnTo>
                      <a:pt x="128" y="22"/>
                    </a:lnTo>
                    <a:lnTo>
                      <a:pt x="125" y="23"/>
                    </a:lnTo>
                    <a:lnTo>
                      <a:pt x="123" y="22"/>
                    </a:lnTo>
                    <a:lnTo>
                      <a:pt x="121" y="20"/>
                    </a:lnTo>
                    <a:lnTo>
                      <a:pt x="120" y="20"/>
                    </a:lnTo>
                    <a:lnTo>
                      <a:pt x="119" y="19"/>
                    </a:lnTo>
                    <a:lnTo>
                      <a:pt x="117" y="19"/>
                    </a:lnTo>
                    <a:lnTo>
                      <a:pt x="111" y="18"/>
                    </a:lnTo>
                    <a:lnTo>
                      <a:pt x="105" y="20"/>
                    </a:lnTo>
                    <a:lnTo>
                      <a:pt x="104" y="20"/>
                    </a:lnTo>
                    <a:lnTo>
                      <a:pt x="102" y="21"/>
                    </a:lnTo>
                    <a:lnTo>
                      <a:pt x="100" y="20"/>
                    </a:lnTo>
                    <a:lnTo>
                      <a:pt x="100" y="24"/>
                    </a:lnTo>
                    <a:lnTo>
                      <a:pt x="99" y="26"/>
                    </a:lnTo>
                    <a:lnTo>
                      <a:pt x="97" y="26"/>
                    </a:lnTo>
                    <a:lnTo>
                      <a:pt x="95" y="28"/>
                    </a:lnTo>
                    <a:lnTo>
                      <a:pt x="92" y="26"/>
                    </a:lnTo>
                    <a:lnTo>
                      <a:pt x="91" y="31"/>
                    </a:lnTo>
                    <a:lnTo>
                      <a:pt x="90" y="34"/>
                    </a:lnTo>
                    <a:lnTo>
                      <a:pt x="91" y="37"/>
                    </a:lnTo>
                    <a:lnTo>
                      <a:pt x="90" y="40"/>
                    </a:lnTo>
                    <a:lnTo>
                      <a:pt x="90" y="43"/>
                    </a:lnTo>
                    <a:lnTo>
                      <a:pt x="88" y="44"/>
                    </a:lnTo>
                    <a:lnTo>
                      <a:pt x="88" y="46"/>
                    </a:lnTo>
                    <a:lnTo>
                      <a:pt x="86" y="47"/>
                    </a:lnTo>
                    <a:lnTo>
                      <a:pt x="83" y="46"/>
                    </a:lnTo>
                    <a:lnTo>
                      <a:pt x="82" y="47"/>
                    </a:lnTo>
                    <a:lnTo>
                      <a:pt x="80" y="45"/>
                    </a:lnTo>
                    <a:lnTo>
                      <a:pt x="77" y="40"/>
                    </a:lnTo>
                    <a:lnTo>
                      <a:pt x="75" y="44"/>
                    </a:lnTo>
                    <a:lnTo>
                      <a:pt x="71" y="47"/>
                    </a:lnTo>
                    <a:lnTo>
                      <a:pt x="67" y="54"/>
                    </a:lnTo>
                    <a:lnTo>
                      <a:pt x="64" y="57"/>
                    </a:lnTo>
                    <a:lnTo>
                      <a:pt x="59" y="53"/>
                    </a:lnTo>
                    <a:lnTo>
                      <a:pt x="57" y="54"/>
                    </a:lnTo>
                    <a:lnTo>
                      <a:pt x="55" y="57"/>
                    </a:lnTo>
                    <a:lnTo>
                      <a:pt x="55" y="60"/>
                    </a:lnTo>
                    <a:lnTo>
                      <a:pt x="53" y="61"/>
                    </a:lnTo>
                    <a:lnTo>
                      <a:pt x="52" y="62"/>
                    </a:lnTo>
                    <a:lnTo>
                      <a:pt x="50" y="60"/>
                    </a:lnTo>
                    <a:lnTo>
                      <a:pt x="48" y="64"/>
                    </a:lnTo>
                    <a:lnTo>
                      <a:pt x="46" y="66"/>
                    </a:lnTo>
                    <a:lnTo>
                      <a:pt x="42" y="70"/>
                    </a:lnTo>
                    <a:lnTo>
                      <a:pt x="41" y="70"/>
                    </a:lnTo>
                    <a:lnTo>
                      <a:pt x="37" y="73"/>
                    </a:lnTo>
                    <a:lnTo>
                      <a:pt x="37" y="76"/>
                    </a:lnTo>
                    <a:lnTo>
                      <a:pt x="37" y="81"/>
                    </a:lnTo>
                    <a:lnTo>
                      <a:pt x="39" y="83"/>
                    </a:lnTo>
                    <a:lnTo>
                      <a:pt x="37" y="86"/>
                    </a:lnTo>
                    <a:lnTo>
                      <a:pt x="30" y="91"/>
                    </a:lnTo>
                    <a:lnTo>
                      <a:pt x="31" y="100"/>
                    </a:lnTo>
                    <a:lnTo>
                      <a:pt x="31" y="104"/>
                    </a:lnTo>
                    <a:lnTo>
                      <a:pt x="31" y="107"/>
                    </a:lnTo>
                    <a:lnTo>
                      <a:pt x="31" y="110"/>
                    </a:lnTo>
                    <a:lnTo>
                      <a:pt x="28" y="117"/>
                    </a:lnTo>
                    <a:lnTo>
                      <a:pt x="25" y="118"/>
                    </a:lnTo>
                    <a:lnTo>
                      <a:pt x="23" y="120"/>
                    </a:lnTo>
                    <a:lnTo>
                      <a:pt x="21" y="122"/>
                    </a:lnTo>
                    <a:lnTo>
                      <a:pt x="18" y="123"/>
                    </a:lnTo>
                    <a:lnTo>
                      <a:pt x="15" y="129"/>
                    </a:lnTo>
                    <a:lnTo>
                      <a:pt x="12" y="132"/>
                    </a:lnTo>
                    <a:lnTo>
                      <a:pt x="12" y="138"/>
                    </a:lnTo>
                    <a:lnTo>
                      <a:pt x="12" y="140"/>
                    </a:lnTo>
                    <a:lnTo>
                      <a:pt x="12" y="143"/>
                    </a:lnTo>
                    <a:lnTo>
                      <a:pt x="8" y="145"/>
                    </a:lnTo>
                    <a:lnTo>
                      <a:pt x="7" y="145"/>
                    </a:lnTo>
                    <a:lnTo>
                      <a:pt x="8" y="147"/>
                    </a:lnTo>
                    <a:lnTo>
                      <a:pt x="11" y="149"/>
                    </a:lnTo>
                    <a:lnTo>
                      <a:pt x="16" y="156"/>
                    </a:lnTo>
                    <a:lnTo>
                      <a:pt x="17" y="159"/>
                    </a:lnTo>
                    <a:lnTo>
                      <a:pt x="17" y="160"/>
                    </a:lnTo>
                    <a:lnTo>
                      <a:pt x="18" y="162"/>
                    </a:lnTo>
                    <a:lnTo>
                      <a:pt x="17" y="164"/>
                    </a:lnTo>
                    <a:lnTo>
                      <a:pt x="17" y="165"/>
                    </a:lnTo>
                    <a:lnTo>
                      <a:pt x="16" y="167"/>
                    </a:lnTo>
                    <a:lnTo>
                      <a:pt x="15" y="166"/>
                    </a:lnTo>
                    <a:lnTo>
                      <a:pt x="14" y="170"/>
                    </a:lnTo>
                    <a:lnTo>
                      <a:pt x="12" y="170"/>
                    </a:lnTo>
                    <a:lnTo>
                      <a:pt x="11" y="172"/>
                    </a:lnTo>
                    <a:lnTo>
                      <a:pt x="9" y="172"/>
                    </a:lnTo>
                    <a:lnTo>
                      <a:pt x="9" y="174"/>
                    </a:lnTo>
                    <a:lnTo>
                      <a:pt x="6" y="174"/>
                    </a:lnTo>
                    <a:lnTo>
                      <a:pt x="7" y="177"/>
                    </a:lnTo>
                    <a:lnTo>
                      <a:pt x="6" y="178"/>
                    </a:lnTo>
                    <a:lnTo>
                      <a:pt x="9" y="179"/>
                    </a:lnTo>
                    <a:lnTo>
                      <a:pt x="8" y="182"/>
                    </a:lnTo>
                    <a:lnTo>
                      <a:pt x="8" y="183"/>
                    </a:lnTo>
                    <a:lnTo>
                      <a:pt x="7" y="184"/>
                    </a:lnTo>
                    <a:lnTo>
                      <a:pt x="7" y="183"/>
                    </a:lnTo>
                    <a:lnTo>
                      <a:pt x="6" y="185"/>
                    </a:lnTo>
                    <a:lnTo>
                      <a:pt x="6" y="186"/>
                    </a:lnTo>
                    <a:lnTo>
                      <a:pt x="4" y="188"/>
                    </a:lnTo>
                    <a:lnTo>
                      <a:pt x="3" y="189"/>
                    </a:lnTo>
                    <a:lnTo>
                      <a:pt x="1" y="189"/>
                    </a:lnTo>
                    <a:lnTo>
                      <a:pt x="2" y="192"/>
                    </a:lnTo>
                    <a:lnTo>
                      <a:pt x="1" y="192"/>
                    </a:lnTo>
                    <a:lnTo>
                      <a:pt x="0" y="194"/>
                    </a:lnTo>
                    <a:lnTo>
                      <a:pt x="3" y="196"/>
                    </a:lnTo>
                    <a:lnTo>
                      <a:pt x="4" y="198"/>
                    </a:lnTo>
                    <a:lnTo>
                      <a:pt x="3" y="202"/>
                    </a:lnTo>
                    <a:lnTo>
                      <a:pt x="4" y="200"/>
                    </a:lnTo>
                    <a:lnTo>
                      <a:pt x="6" y="200"/>
                    </a:lnTo>
                    <a:lnTo>
                      <a:pt x="6" y="202"/>
                    </a:lnTo>
                    <a:lnTo>
                      <a:pt x="6" y="204"/>
                    </a:lnTo>
                    <a:lnTo>
                      <a:pt x="7" y="209"/>
                    </a:lnTo>
                    <a:lnTo>
                      <a:pt x="9" y="209"/>
                    </a:lnTo>
                    <a:lnTo>
                      <a:pt x="9" y="212"/>
                    </a:lnTo>
                    <a:lnTo>
                      <a:pt x="12" y="209"/>
                    </a:lnTo>
                    <a:lnTo>
                      <a:pt x="14" y="209"/>
                    </a:lnTo>
                    <a:lnTo>
                      <a:pt x="15" y="209"/>
                    </a:lnTo>
                    <a:lnTo>
                      <a:pt x="15" y="208"/>
                    </a:lnTo>
                    <a:lnTo>
                      <a:pt x="16" y="207"/>
                    </a:lnTo>
                    <a:lnTo>
                      <a:pt x="18" y="208"/>
                    </a:lnTo>
                    <a:lnTo>
                      <a:pt x="20" y="205"/>
                    </a:lnTo>
                    <a:lnTo>
                      <a:pt x="21" y="205"/>
                    </a:lnTo>
                    <a:lnTo>
                      <a:pt x="19" y="212"/>
                    </a:lnTo>
                    <a:lnTo>
                      <a:pt x="16" y="218"/>
                    </a:lnTo>
                    <a:lnTo>
                      <a:pt x="15" y="221"/>
                    </a:lnTo>
                    <a:lnTo>
                      <a:pt x="16" y="221"/>
                    </a:lnTo>
                    <a:lnTo>
                      <a:pt x="16" y="222"/>
                    </a:lnTo>
                    <a:lnTo>
                      <a:pt x="17" y="222"/>
                    </a:lnTo>
                    <a:lnTo>
                      <a:pt x="17" y="224"/>
                    </a:lnTo>
                    <a:lnTo>
                      <a:pt x="17" y="223"/>
                    </a:lnTo>
                    <a:lnTo>
                      <a:pt x="18" y="222"/>
                    </a:lnTo>
                    <a:lnTo>
                      <a:pt x="19" y="223"/>
                    </a:lnTo>
                    <a:lnTo>
                      <a:pt x="20" y="223"/>
                    </a:lnTo>
                    <a:lnTo>
                      <a:pt x="20" y="222"/>
                    </a:lnTo>
                    <a:lnTo>
                      <a:pt x="21" y="222"/>
                    </a:lnTo>
                    <a:lnTo>
                      <a:pt x="22" y="221"/>
                    </a:lnTo>
                    <a:lnTo>
                      <a:pt x="22" y="222"/>
                    </a:lnTo>
                    <a:lnTo>
                      <a:pt x="24" y="221"/>
                    </a:lnTo>
                    <a:lnTo>
                      <a:pt x="25" y="222"/>
                    </a:lnTo>
                    <a:lnTo>
                      <a:pt x="26" y="222"/>
                    </a:lnTo>
                    <a:lnTo>
                      <a:pt x="27" y="225"/>
                    </a:lnTo>
                    <a:lnTo>
                      <a:pt x="30" y="225"/>
                    </a:lnTo>
                    <a:lnTo>
                      <a:pt x="31" y="226"/>
                    </a:lnTo>
                    <a:lnTo>
                      <a:pt x="33" y="226"/>
                    </a:lnTo>
                    <a:lnTo>
                      <a:pt x="33" y="227"/>
                    </a:lnTo>
                    <a:lnTo>
                      <a:pt x="33" y="229"/>
                    </a:lnTo>
                    <a:lnTo>
                      <a:pt x="34" y="228"/>
                    </a:lnTo>
                    <a:lnTo>
                      <a:pt x="37" y="230"/>
                    </a:lnTo>
                    <a:lnTo>
                      <a:pt x="37" y="231"/>
                    </a:lnTo>
                    <a:lnTo>
                      <a:pt x="39" y="232"/>
                    </a:lnTo>
                    <a:lnTo>
                      <a:pt x="41" y="231"/>
                    </a:lnTo>
                    <a:lnTo>
                      <a:pt x="45" y="233"/>
                    </a:lnTo>
                    <a:lnTo>
                      <a:pt x="45" y="235"/>
                    </a:lnTo>
                    <a:lnTo>
                      <a:pt x="45" y="236"/>
                    </a:lnTo>
                    <a:lnTo>
                      <a:pt x="47" y="234"/>
                    </a:lnTo>
                    <a:lnTo>
                      <a:pt x="48" y="233"/>
                    </a:lnTo>
                    <a:lnTo>
                      <a:pt x="51" y="233"/>
                    </a:lnTo>
                    <a:lnTo>
                      <a:pt x="55" y="231"/>
                    </a:lnTo>
                    <a:lnTo>
                      <a:pt x="57" y="235"/>
                    </a:lnTo>
                    <a:lnTo>
                      <a:pt x="58" y="234"/>
                    </a:lnTo>
                    <a:lnTo>
                      <a:pt x="58" y="236"/>
                    </a:lnTo>
                    <a:lnTo>
                      <a:pt x="62" y="242"/>
                    </a:lnTo>
                    <a:lnTo>
                      <a:pt x="63" y="243"/>
                    </a:lnTo>
                    <a:lnTo>
                      <a:pt x="64" y="243"/>
                    </a:lnTo>
                    <a:lnTo>
                      <a:pt x="64" y="246"/>
                    </a:lnTo>
                    <a:lnTo>
                      <a:pt x="67" y="247"/>
                    </a:lnTo>
                    <a:lnTo>
                      <a:pt x="67" y="250"/>
                    </a:lnTo>
                    <a:lnTo>
                      <a:pt x="66" y="251"/>
                    </a:lnTo>
                    <a:lnTo>
                      <a:pt x="66" y="252"/>
                    </a:lnTo>
                    <a:lnTo>
                      <a:pt x="69" y="255"/>
                    </a:lnTo>
                    <a:lnTo>
                      <a:pt x="69" y="256"/>
                    </a:lnTo>
                    <a:lnTo>
                      <a:pt x="67" y="256"/>
                    </a:lnTo>
                    <a:lnTo>
                      <a:pt x="69" y="259"/>
                    </a:lnTo>
                    <a:lnTo>
                      <a:pt x="70" y="261"/>
                    </a:lnTo>
                    <a:lnTo>
                      <a:pt x="70" y="260"/>
                    </a:lnTo>
                    <a:lnTo>
                      <a:pt x="72" y="260"/>
                    </a:lnTo>
                    <a:lnTo>
                      <a:pt x="74" y="259"/>
                    </a:lnTo>
                    <a:lnTo>
                      <a:pt x="77" y="257"/>
                    </a:lnTo>
                    <a:lnTo>
                      <a:pt x="82" y="260"/>
                    </a:lnTo>
                    <a:lnTo>
                      <a:pt x="84" y="261"/>
                    </a:lnTo>
                    <a:lnTo>
                      <a:pt x="86" y="260"/>
                    </a:lnTo>
                    <a:lnTo>
                      <a:pt x="87" y="260"/>
                    </a:lnTo>
                    <a:lnTo>
                      <a:pt x="89" y="267"/>
                    </a:lnTo>
                    <a:lnTo>
                      <a:pt x="91" y="268"/>
                    </a:lnTo>
                    <a:lnTo>
                      <a:pt x="96" y="270"/>
                    </a:lnTo>
                    <a:lnTo>
                      <a:pt x="99" y="264"/>
                    </a:lnTo>
                    <a:lnTo>
                      <a:pt x="99" y="262"/>
                    </a:lnTo>
                    <a:lnTo>
                      <a:pt x="100" y="260"/>
                    </a:lnTo>
                    <a:lnTo>
                      <a:pt x="102" y="261"/>
                    </a:lnTo>
                    <a:lnTo>
                      <a:pt x="102" y="262"/>
                    </a:lnTo>
                    <a:lnTo>
                      <a:pt x="105" y="264"/>
                    </a:lnTo>
                    <a:lnTo>
                      <a:pt x="108" y="266"/>
                    </a:lnTo>
                    <a:lnTo>
                      <a:pt x="112" y="273"/>
                    </a:lnTo>
                    <a:lnTo>
                      <a:pt x="115" y="275"/>
                    </a:lnTo>
                    <a:lnTo>
                      <a:pt x="120" y="275"/>
                    </a:lnTo>
                    <a:lnTo>
                      <a:pt x="120" y="272"/>
                    </a:lnTo>
                    <a:lnTo>
                      <a:pt x="123" y="272"/>
                    </a:lnTo>
                    <a:lnTo>
                      <a:pt x="124" y="270"/>
                    </a:lnTo>
                    <a:lnTo>
                      <a:pt x="126" y="270"/>
                    </a:lnTo>
                    <a:lnTo>
                      <a:pt x="127" y="268"/>
                    </a:lnTo>
                    <a:lnTo>
                      <a:pt x="130" y="270"/>
                    </a:lnTo>
                    <a:lnTo>
                      <a:pt x="132" y="270"/>
                    </a:lnTo>
                    <a:lnTo>
                      <a:pt x="134" y="274"/>
                    </a:lnTo>
                    <a:lnTo>
                      <a:pt x="136" y="273"/>
                    </a:lnTo>
                    <a:lnTo>
                      <a:pt x="137" y="274"/>
                    </a:lnTo>
                    <a:lnTo>
                      <a:pt x="139" y="276"/>
                    </a:lnTo>
                    <a:lnTo>
                      <a:pt x="137" y="277"/>
                    </a:lnTo>
                    <a:lnTo>
                      <a:pt x="139" y="278"/>
                    </a:lnTo>
                    <a:lnTo>
                      <a:pt x="140" y="279"/>
                    </a:lnTo>
                    <a:lnTo>
                      <a:pt x="141" y="280"/>
                    </a:lnTo>
                    <a:lnTo>
                      <a:pt x="142" y="280"/>
                    </a:lnTo>
                    <a:lnTo>
                      <a:pt x="143" y="277"/>
                    </a:lnTo>
                    <a:lnTo>
                      <a:pt x="144" y="277"/>
                    </a:lnTo>
                    <a:lnTo>
                      <a:pt x="143" y="281"/>
                    </a:lnTo>
                    <a:lnTo>
                      <a:pt x="144" y="282"/>
                    </a:lnTo>
                    <a:lnTo>
                      <a:pt x="143" y="282"/>
                    </a:lnTo>
                    <a:lnTo>
                      <a:pt x="143" y="284"/>
                    </a:lnTo>
                    <a:lnTo>
                      <a:pt x="142" y="284"/>
                    </a:lnTo>
                    <a:lnTo>
                      <a:pt x="139" y="289"/>
                    </a:lnTo>
                    <a:lnTo>
                      <a:pt x="138" y="291"/>
                    </a:lnTo>
                    <a:lnTo>
                      <a:pt x="139" y="296"/>
                    </a:lnTo>
                    <a:lnTo>
                      <a:pt x="139" y="302"/>
                    </a:lnTo>
                    <a:lnTo>
                      <a:pt x="140" y="304"/>
                    </a:lnTo>
                    <a:lnTo>
                      <a:pt x="147" y="310"/>
                    </a:lnTo>
                    <a:lnTo>
                      <a:pt x="147" y="311"/>
                    </a:lnTo>
                    <a:lnTo>
                      <a:pt x="148" y="312"/>
                    </a:lnTo>
                    <a:lnTo>
                      <a:pt x="149" y="310"/>
                    </a:lnTo>
                    <a:lnTo>
                      <a:pt x="149" y="311"/>
                    </a:lnTo>
                    <a:lnTo>
                      <a:pt x="150" y="310"/>
                    </a:lnTo>
                    <a:lnTo>
                      <a:pt x="151" y="310"/>
                    </a:lnTo>
                    <a:lnTo>
                      <a:pt x="151" y="306"/>
                    </a:lnTo>
                    <a:lnTo>
                      <a:pt x="152" y="304"/>
                    </a:lnTo>
                    <a:lnTo>
                      <a:pt x="155" y="307"/>
                    </a:lnTo>
                    <a:lnTo>
                      <a:pt x="157" y="314"/>
                    </a:lnTo>
                    <a:lnTo>
                      <a:pt x="161" y="318"/>
                    </a:lnTo>
                    <a:lnTo>
                      <a:pt x="159" y="321"/>
                    </a:lnTo>
                    <a:lnTo>
                      <a:pt x="161" y="323"/>
                    </a:lnTo>
                    <a:lnTo>
                      <a:pt x="161" y="327"/>
                    </a:lnTo>
                    <a:lnTo>
                      <a:pt x="162" y="328"/>
                    </a:lnTo>
                    <a:lnTo>
                      <a:pt x="163" y="326"/>
                    </a:lnTo>
                    <a:lnTo>
                      <a:pt x="164" y="326"/>
                    </a:lnTo>
                    <a:lnTo>
                      <a:pt x="166" y="330"/>
                    </a:lnTo>
                    <a:lnTo>
                      <a:pt x="169" y="332"/>
                    </a:lnTo>
                    <a:lnTo>
                      <a:pt x="172" y="333"/>
                    </a:lnTo>
                    <a:lnTo>
                      <a:pt x="173" y="337"/>
                    </a:lnTo>
                    <a:lnTo>
                      <a:pt x="175" y="340"/>
                    </a:lnTo>
                    <a:lnTo>
                      <a:pt x="176" y="341"/>
                    </a:lnTo>
                    <a:lnTo>
                      <a:pt x="177" y="343"/>
                    </a:lnTo>
                    <a:lnTo>
                      <a:pt x="177" y="346"/>
                    </a:lnTo>
                    <a:lnTo>
                      <a:pt x="179" y="346"/>
                    </a:lnTo>
                    <a:lnTo>
                      <a:pt x="179" y="347"/>
                    </a:lnTo>
                    <a:lnTo>
                      <a:pt x="179" y="348"/>
                    </a:lnTo>
                    <a:lnTo>
                      <a:pt x="179" y="350"/>
                    </a:lnTo>
                    <a:lnTo>
                      <a:pt x="180" y="349"/>
                    </a:lnTo>
                    <a:lnTo>
                      <a:pt x="181" y="350"/>
                    </a:lnTo>
                    <a:lnTo>
                      <a:pt x="180" y="353"/>
                    </a:lnTo>
                    <a:lnTo>
                      <a:pt x="182" y="354"/>
                    </a:lnTo>
                    <a:lnTo>
                      <a:pt x="183" y="354"/>
                    </a:lnTo>
                    <a:lnTo>
                      <a:pt x="182" y="354"/>
                    </a:lnTo>
                    <a:lnTo>
                      <a:pt x="183" y="354"/>
                    </a:lnTo>
                    <a:lnTo>
                      <a:pt x="182" y="356"/>
                    </a:lnTo>
                    <a:lnTo>
                      <a:pt x="183" y="357"/>
                    </a:lnTo>
                    <a:lnTo>
                      <a:pt x="181" y="359"/>
                    </a:lnTo>
                    <a:lnTo>
                      <a:pt x="180" y="358"/>
                    </a:lnTo>
                    <a:lnTo>
                      <a:pt x="177" y="361"/>
                    </a:lnTo>
                    <a:lnTo>
                      <a:pt x="177" y="363"/>
                    </a:lnTo>
                    <a:lnTo>
                      <a:pt x="178" y="363"/>
                    </a:lnTo>
                    <a:lnTo>
                      <a:pt x="179" y="365"/>
                    </a:lnTo>
                    <a:lnTo>
                      <a:pt x="179" y="368"/>
                    </a:lnTo>
                    <a:lnTo>
                      <a:pt x="181" y="370"/>
                    </a:lnTo>
                    <a:lnTo>
                      <a:pt x="184" y="365"/>
                    </a:lnTo>
                    <a:lnTo>
                      <a:pt x="185" y="364"/>
                    </a:lnTo>
                    <a:lnTo>
                      <a:pt x="187" y="364"/>
                    </a:lnTo>
                    <a:lnTo>
                      <a:pt x="187" y="363"/>
                    </a:lnTo>
                    <a:lnTo>
                      <a:pt x="188" y="361"/>
                    </a:lnTo>
                    <a:lnTo>
                      <a:pt x="192" y="364"/>
                    </a:lnTo>
                    <a:lnTo>
                      <a:pt x="192" y="362"/>
                    </a:lnTo>
                    <a:lnTo>
                      <a:pt x="193" y="362"/>
                    </a:lnTo>
                    <a:lnTo>
                      <a:pt x="193" y="363"/>
                    </a:lnTo>
                    <a:lnTo>
                      <a:pt x="192" y="364"/>
                    </a:lnTo>
                    <a:lnTo>
                      <a:pt x="195" y="367"/>
                    </a:lnTo>
                    <a:lnTo>
                      <a:pt x="193" y="370"/>
                    </a:lnTo>
                    <a:lnTo>
                      <a:pt x="194" y="370"/>
                    </a:lnTo>
                    <a:lnTo>
                      <a:pt x="194" y="371"/>
                    </a:lnTo>
                    <a:lnTo>
                      <a:pt x="195" y="371"/>
                    </a:lnTo>
                    <a:lnTo>
                      <a:pt x="194" y="374"/>
                    </a:lnTo>
                    <a:lnTo>
                      <a:pt x="196" y="374"/>
                    </a:lnTo>
                    <a:lnTo>
                      <a:pt x="196" y="376"/>
                    </a:lnTo>
                    <a:lnTo>
                      <a:pt x="205" y="376"/>
                    </a:lnTo>
                    <a:lnTo>
                      <a:pt x="207" y="376"/>
                    </a:lnTo>
                    <a:lnTo>
                      <a:pt x="209" y="379"/>
                    </a:lnTo>
                    <a:lnTo>
                      <a:pt x="210" y="377"/>
                    </a:lnTo>
                    <a:lnTo>
                      <a:pt x="211" y="377"/>
                    </a:lnTo>
                    <a:lnTo>
                      <a:pt x="213" y="381"/>
                    </a:lnTo>
                    <a:lnTo>
                      <a:pt x="216" y="384"/>
                    </a:lnTo>
                    <a:lnTo>
                      <a:pt x="216" y="389"/>
                    </a:lnTo>
                    <a:lnTo>
                      <a:pt x="215" y="393"/>
                    </a:lnTo>
                    <a:lnTo>
                      <a:pt x="217" y="394"/>
                    </a:lnTo>
                    <a:lnTo>
                      <a:pt x="218" y="394"/>
                    </a:lnTo>
                    <a:lnTo>
                      <a:pt x="221" y="394"/>
                    </a:lnTo>
                    <a:lnTo>
                      <a:pt x="227" y="391"/>
                    </a:lnTo>
                    <a:lnTo>
                      <a:pt x="233" y="391"/>
                    </a:lnTo>
                    <a:lnTo>
                      <a:pt x="236" y="390"/>
                    </a:lnTo>
                    <a:lnTo>
                      <a:pt x="239" y="391"/>
                    </a:lnTo>
                    <a:lnTo>
                      <a:pt x="241" y="389"/>
                    </a:lnTo>
                    <a:lnTo>
                      <a:pt x="244" y="391"/>
                    </a:lnTo>
                    <a:lnTo>
                      <a:pt x="246" y="390"/>
                    </a:lnTo>
                    <a:lnTo>
                      <a:pt x="248" y="391"/>
                    </a:lnTo>
                    <a:lnTo>
                      <a:pt x="252" y="389"/>
                    </a:lnTo>
                    <a:lnTo>
                      <a:pt x="255" y="394"/>
                    </a:lnTo>
                    <a:lnTo>
                      <a:pt x="261" y="394"/>
                    </a:lnTo>
                    <a:lnTo>
                      <a:pt x="263" y="393"/>
                    </a:lnTo>
                    <a:lnTo>
                      <a:pt x="264" y="394"/>
                    </a:lnTo>
                    <a:lnTo>
                      <a:pt x="265" y="398"/>
                    </a:lnTo>
                    <a:lnTo>
                      <a:pt x="269" y="404"/>
                    </a:lnTo>
                    <a:lnTo>
                      <a:pt x="272" y="406"/>
                    </a:lnTo>
                    <a:lnTo>
                      <a:pt x="276" y="405"/>
                    </a:lnTo>
                    <a:lnTo>
                      <a:pt x="277" y="405"/>
                    </a:lnTo>
                    <a:lnTo>
                      <a:pt x="278" y="407"/>
                    </a:lnTo>
                    <a:lnTo>
                      <a:pt x="286" y="411"/>
                    </a:lnTo>
                    <a:lnTo>
                      <a:pt x="288" y="410"/>
                    </a:lnTo>
                    <a:lnTo>
                      <a:pt x="290" y="406"/>
                    </a:lnTo>
                    <a:lnTo>
                      <a:pt x="292" y="406"/>
                    </a:lnTo>
                    <a:lnTo>
                      <a:pt x="296" y="407"/>
                    </a:lnTo>
                    <a:lnTo>
                      <a:pt x="299" y="409"/>
                    </a:lnTo>
                    <a:lnTo>
                      <a:pt x="300" y="411"/>
                    </a:lnTo>
                    <a:lnTo>
                      <a:pt x="300" y="420"/>
                    </a:lnTo>
                    <a:lnTo>
                      <a:pt x="302" y="423"/>
                    </a:lnTo>
                    <a:lnTo>
                      <a:pt x="304" y="427"/>
                    </a:lnTo>
                    <a:lnTo>
                      <a:pt x="306" y="428"/>
                    </a:lnTo>
                    <a:lnTo>
                      <a:pt x="309" y="430"/>
                    </a:lnTo>
                    <a:lnTo>
                      <a:pt x="311" y="430"/>
                    </a:lnTo>
                    <a:lnTo>
                      <a:pt x="312" y="434"/>
                    </a:lnTo>
                    <a:lnTo>
                      <a:pt x="313" y="435"/>
                    </a:lnTo>
                    <a:lnTo>
                      <a:pt x="312" y="435"/>
                    </a:lnTo>
                    <a:lnTo>
                      <a:pt x="313" y="437"/>
                    </a:lnTo>
                    <a:lnTo>
                      <a:pt x="315" y="437"/>
                    </a:lnTo>
                    <a:lnTo>
                      <a:pt x="316" y="442"/>
                    </a:lnTo>
                    <a:lnTo>
                      <a:pt x="313" y="451"/>
                    </a:lnTo>
                    <a:lnTo>
                      <a:pt x="316" y="451"/>
                    </a:lnTo>
                    <a:lnTo>
                      <a:pt x="318" y="451"/>
                    </a:lnTo>
                    <a:lnTo>
                      <a:pt x="320" y="454"/>
                    </a:lnTo>
                    <a:lnTo>
                      <a:pt x="322" y="454"/>
                    </a:lnTo>
                    <a:lnTo>
                      <a:pt x="324" y="455"/>
                    </a:lnTo>
                    <a:lnTo>
                      <a:pt x="326" y="454"/>
                    </a:lnTo>
                    <a:lnTo>
                      <a:pt x="332" y="457"/>
                    </a:lnTo>
                    <a:lnTo>
                      <a:pt x="336" y="457"/>
                    </a:lnTo>
                    <a:lnTo>
                      <a:pt x="337" y="455"/>
                    </a:lnTo>
                    <a:lnTo>
                      <a:pt x="338" y="454"/>
                    </a:lnTo>
                    <a:lnTo>
                      <a:pt x="344" y="451"/>
                    </a:lnTo>
                    <a:lnTo>
                      <a:pt x="345" y="449"/>
                    </a:lnTo>
                    <a:lnTo>
                      <a:pt x="345" y="447"/>
                    </a:lnTo>
                    <a:lnTo>
                      <a:pt x="346" y="445"/>
                    </a:lnTo>
                    <a:lnTo>
                      <a:pt x="347" y="444"/>
                    </a:lnTo>
                    <a:lnTo>
                      <a:pt x="350" y="442"/>
                    </a:lnTo>
                    <a:lnTo>
                      <a:pt x="348" y="440"/>
                    </a:lnTo>
                    <a:lnTo>
                      <a:pt x="350" y="439"/>
                    </a:lnTo>
                    <a:lnTo>
                      <a:pt x="352" y="439"/>
                    </a:lnTo>
                    <a:lnTo>
                      <a:pt x="353" y="436"/>
                    </a:lnTo>
                    <a:lnTo>
                      <a:pt x="358" y="434"/>
                    </a:lnTo>
                    <a:lnTo>
                      <a:pt x="359" y="430"/>
                    </a:lnTo>
                    <a:lnTo>
                      <a:pt x="361" y="429"/>
                    </a:lnTo>
                    <a:lnTo>
                      <a:pt x="362" y="427"/>
                    </a:lnTo>
                    <a:lnTo>
                      <a:pt x="364" y="427"/>
                    </a:lnTo>
                    <a:lnTo>
                      <a:pt x="365" y="426"/>
                    </a:lnTo>
                    <a:lnTo>
                      <a:pt x="366" y="425"/>
                    </a:lnTo>
                    <a:lnTo>
                      <a:pt x="364" y="423"/>
                    </a:lnTo>
                    <a:lnTo>
                      <a:pt x="364" y="420"/>
                    </a:lnTo>
                    <a:lnTo>
                      <a:pt x="363" y="418"/>
                    </a:lnTo>
                    <a:lnTo>
                      <a:pt x="363" y="416"/>
                    </a:lnTo>
                    <a:lnTo>
                      <a:pt x="363" y="414"/>
                    </a:lnTo>
                    <a:lnTo>
                      <a:pt x="365" y="414"/>
                    </a:lnTo>
                    <a:lnTo>
                      <a:pt x="365" y="413"/>
                    </a:lnTo>
                    <a:lnTo>
                      <a:pt x="366" y="410"/>
                    </a:lnTo>
                    <a:lnTo>
                      <a:pt x="368" y="410"/>
                    </a:lnTo>
                    <a:lnTo>
                      <a:pt x="368" y="409"/>
                    </a:lnTo>
                    <a:lnTo>
                      <a:pt x="373" y="407"/>
                    </a:lnTo>
                    <a:lnTo>
                      <a:pt x="376" y="408"/>
                    </a:lnTo>
                    <a:lnTo>
                      <a:pt x="380" y="407"/>
                    </a:lnTo>
                    <a:lnTo>
                      <a:pt x="381" y="406"/>
                    </a:lnTo>
                    <a:lnTo>
                      <a:pt x="381" y="407"/>
                    </a:lnTo>
                    <a:lnTo>
                      <a:pt x="382" y="409"/>
                    </a:lnTo>
                    <a:lnTo>
                      <a:pt x="382" y="413"/>
                    </a:lnTo>
                    <a:lnTo>
                      <a:pt x="386" y="414"/>
                    </a:lnTo>
                    <a:lnTo>
                      <a:pt x="389" y="413"/>
                    </a:lnTo>
                    <a:lnTo>
                      <a:pt x="392" y="414"/>
                    </a:lnTo>
                    <a:lnTo>
                      <a:pt x="392" y="412"/>
                    </a:lnTo>
                    <a:lnTo>
                      <a:pt x="396" y="412"/>
                    </a:lnTo>
                    <a:lnTo>
                      <a:pt x="397" y="411"/>
                    </a:lnTo>
                    <a:lnTo>
                      <a:pt x="399" y="411"/>
                    </a:lnTo>
                    <a:lnTo>
                      <a:pt x="400" y="410"/>
                    </a:lnTo>
                    <a:lnTo>
                      <a:pt x="401" y="410"/>
                    </a:lnTo>
                    <a:lnTo>
                      <a:pt x="404" y="411"/>
                    </a:lnTo>
                    <a:lnTo>
                      <a:pt x="404" y="413"/>
                    </a:lnTo>
                    <a:lnTo>
                      <a:pt x="405" y="414"/>
                    </a:lnTo>
                    <a:lnTo>
                      <a:pt x="407" y="414"/>
                    </a:lnTo>
                    <a:lnTo>
                      <a:pt x="411" y="413"/>
                    </a:lnTo>
                    <a:lnTo>
                      <a:pt x="413" y="415"/>
                    </a:lnTo>
                    <a:lnTo>
                      <a:pt x="417" y="419"/>
                    </a:lnTo>
                    <a:lnTo>
                      <a:pt x="420" y="421"/>
                    </a:lnTo>
                    <a:lnTo>
                      <a:pt x="422" y="419"/>
                    </a:lnTo>
                    <a:lnTo>
                      <a:pt x="423" y="420"/>
                    </a:lnTo>
                    <a:lnTo>
                      <a:pt x="430" y="414"/>
                    </a:lnTo>
                    <a:lnTo>
                      <a:pt x="433" y="412"/>
                    </a:lnTo>
                    <a:lnTo>
                      <a:pt x="433" y="413"/>
                    </a:lnTo>
                    <a:lnTo>
                      <a:pt x="436" y="412"/>
                    </a:lnTo>
                    <a:lnTo>
                      <a:pt x="438" y="409"/>
                    </a:lnTo>
                    <a:lnTo>
                      <a:pt x="441" y="410"/>
                    </a:lnTo>
                    <a:lnTo>
                      <a:pt x="446" y="410"/>
                    </a:lnTo>
                    <a:lnTo>
                      <a:pt x="450" y="410"/>
                    </a:lnTo>
                    <a:lnTo>
                      <a:pt x="450" y="409"/>
                    </a:lnTo>
                    <a:lnTo>
                      <a:pt x="448" y="409"/>
                    </a:lnTo>
                    <a:lnTo>
                      <a:pt x="446" y="406"/>
                    </a:lnTo>
                    <a:lnTo>
                      <a:pt x="448" y="404"/>
                    </a:lnTo>
                    <a:lnTo>
                      <a:pt x="448" y="402"/>
                    </a:lnTo>
                    <a:lnTo>
                      <a:pt x="448" y="401"/>
                    </a:lnTo>
                    <a:lnTo>
                      <a:pt x="449" y="401"/>
                    </a:lnTo>
                    <a:lnTo>
                      <a:pt x="450" y="401"/>
                    </a:lnTo>
                    <a:lnTo>
                      <a:pt x="453" y="400"/>
                    </a:lnTo>
                    <a:lnTo>
                      <a:pt x="454" y="394"/>
                    </a:lnTo>
                    <a:lnTo>
                      <a:pt x="451" y="392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24" name="Group 68">
              <a:extLst>
                <a:ext uri="{FF2B5EF4-FFF2-40B4-BE49-F238E27FC236}">
                  <a16:creationId xmlns:a16="http://schemas.microsoft.com/office/drawing/2014/main" id="{7C540515-0C91-26EA-9019-64D07B60B6D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156" y="3285"/>
              <a:ext cx="422" cy="438"/>
              <a:chOff x="1156" y="3285"/>
              <a:chExt cx="422" cy="438"/>
            </a:xfrm>
          </p:grpSpPr>
          <p:sp>
            <p:nvSpPr>
              <p:cNvPr id="182" name="Freeform 66">
                <a:extLst>
                  <a:ext uri="{FF2B5EF4-FFF2-40B4-BE49-F238E27FC236}">
                    <a16:creationId xmlns:a16="http://schemas.microsoft.com/office/drawing/2014/main" id="{1FE5A959-D8BD-FFBF-3FA1-814F13FA4B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6" y="3285"/>
                <a:ext cx="422" cy="438"/>
              </a:xfrm>
              <a:custGeom>
                <a:avLst/>
                <a:gdLst>
                  <a:gd name="T0" fmla="*/ 418 w 422"/>
                  <a:gd name="T1" fmla="*/ 168 h 438"/>
                  <a:gd name="T2" fmla="*/ 390 w 422"/>
                  <a:gd name="T3" fmla="*/ 138 h 438"/>
                  <a:gd name="T4" fmla="*/ 364 w 422"/>
                  <a:gd name="T5" fmla="*/ 110 h 438"/>
                  <a:gd name="T6" fmla="*/ 338 w 422"/>
                  <a:gd name="T7" fmla="*/ 91 h 438"/>
                  <a:gd name="T8" fmla="*/ 320 w 422"/>
                  <a:gd name="T9" fmla="*/ 76 h 438"/>
                  <a:gd name="T10" fmla="*/ 291 w 422"/>
                  <a:gd name="T11" fmla="*/ 93 h 438"/>
                  <a:gd name="T12" fmla="*/ 269 w 422"/>
                  <a:gd name="T13" fmla="*/ 61 h 438"/>
                  <a:gd name="T14" fmla="*/ 255 w 422"/>
                  <a:gd name="T15" fmla="*/ 47 h 438"/>
                  <a:gd name="T16" fmla="*/ 244 w 422"/>
                  <a:gd name="T17" fmla="*/ 35 h 438"/>
                  <a:gd name="T18" fmla="*/ 226 w 422"/>
                  <a:gd name="T19" fmla="*/ 32 h 438"/>
                  <a:gd name="T20" fmla="*/ 213 w 422"/>
                  <a:gd name="T21" fmla="*/ 24 h 438"/>
                  <a:gd name="T22" fmla="*/ 190 w 422"/>
                  <a:gd name="T23" fmla="*/ 0 h 438"/>
                  <a:gd name="T24" fmla="*/ 171 w 422"/>
                  <a:gd name="T25" fmla="*/ 11 h 438"/>
                  <a:gd name="T26" fmla="*/ 165 w 422"/>
                  <a:gd name="T27" fmla="*/ 29 h 438"/>
                  <a:gd name="T28" fmla="*/ 150 w 422"/>
                  <a:gd name="T29" fmla="*/ 34 h 438"/>
                  <a:gd name="T30" fmla="*/ 126 w 422"/>
                  <a:gd name="T31" fmla="*/ 41 h 438"/>
                  <a:gd name="T32" fmla="*/ 109 w 422"/>
                  <a:gd name="T33" fmla="*/ 41 h 438"/>
                  <a:gd name="T34" fmla="*/ 96 w 422"/>
                  <a:gd name="T35" fmla="*/ 62 h 438"/>
                  <a:gd name="T36" fmla="*/ 112 w 422"/>
                  <a:gd name="T37" fmla="*/ 94 h 438"/>
                  <a:gd name="T38" fmla="*/ 97 w 422"/>
                  <a:gd name="T39" fmla="*/ 104 h 438"/>
                  <a:gd name="T40" fmla="*/ 86 w 422"/>
                  <a:gd name="T41" fmla="*/ 114 h 438"/>
                  <a:gd name="T42" fmla="*/ 72 w 422"/>
                  <a:gd name="T43" fmla="*/ 104 h 438"/>
                  <a:gd name="T44" fmla="*/ 49 w 422"/>
                  <a:gd name="T45" fmla="*/ 105 h 438"/>
                  <a:gd name="T46" fmla="*/ 37 w 422"/>
                  <a:gd name="T47" fmla="*/ 112 h 438"/>
                  <a:gd name="T48" fmla="*/ 21 w 422"/>
                  <a:gd name="T49" fmla="*/ 130 h 438"/>
                  <a:gd name="T50" fmla="*/ 16 w 422"/>
                  <a:gd name="T51" fmla="*/ 149 h 438"/>
                  <a:gd name="T52" fmla="*/ 5 w 422"/>
                  <a:gd name="T53" fmla="*/ 183 h 438"/>
                  <a:gd name="T54" fmla="*/ 1 w 422"/>
                  <a:gd name="T55" fmla="*/ 201 h 438"/>
                  <a:gd name="T56" fmla="*/ 1 w 422"/>
                  <a:gd name="T57" fmla="*/ 223 h 438"/>
                  <a:gd name="T58" fmla="*/ 19 w 422"/>
                  <a:gd name="T59" fmla="*/ 253 h 438"/>
                  <a:gd name="T60" fmla="*/ 43 w 422"/>
                  <a:gd name="T61" fmla="*/ 258 h 438"/>
                  <a:gd name="T62" fmla="*/ 58 w 422"/>
                  <a:gd name="T63" fmla="*/ 275 h 438"/>
                  <a:gd name="T64" fmla="*/ 85 w 422"/>
                  <a:gd name="T65" fmla="*/ 288 h 438"/>
                  <a:gd name="T66" fmla="*/ 109 w 422"/>
                  <a:gd name="T67" fmla="*/ 293 h 438"/>
                  <a:gd name="T68" fmla="*/ 113 w 422"/>
                  <a:gd name="T69" fmla="*/ 321 h 438"/>
                  <a:gd name="T70" fmla="*/ 131 w 422"/>
                  <a:gd name="T71" fmla="*/ 341 h 438"/>
                  <a:gd name="T72" fmla="*/ 153 w 422"/>
                  <a:gd name="T73" fmla="*/ 347 h 438"/>
                  <a:gd name="T74" fmla="*/ 172 w 422"/>
                  <a:gd name="T75" fmla="*/ 351 h 438"/>
                  <a:gd name="T76" fmla="*/ 173 w 422"/>
                  <a:gd name="T77" fmla="*/ 371 h 438"/>
                  <a:gd name="T78" fmla="*/ 156 w 422"/>
                  <a:gd name="T79" fmla="*/ 388 h 438"/>
                  <a:gd name="T80" fmla="*/ 144 w 422"/>
                  <a:gd name="T81" fmla="*/ 407 h 438"/>
                  <a:gd name="T82" fmla="*/ 166 w 422"/>
                  <a:gd name="T83" fmla="*/ 424 h 438"/>
                  <a:gd name="T84" fmla="*/ 179 w 422"/>
                  <a:gd name="T85" fmla="*/ 435 h 438"/>
                  <a:gd name="T86" fmla="*/ 195 w 422"/>
                  <a:gd name="T87" fmla="*/ 427 h 438"/>
                  <a:gd name="T88" fmla="*/ 216 w 422"/>
                  <a:gd name="T89" fmla="*/ 427 h 438"/>
                  <a:gd name="T90" fmla="*/ 239 w 422"/>
                  <a:gd name="T91" fmla="*/ 409 h 438"/>
                  <a:gd name="T92" fmla="*/ 253 w 422"/>
                  <a:gd name="T93" fmla="*/ 398 h 438"/>
                  <a:gd name="T94" fmla="*/ 277 w 422"/>
                  <a:gd name="T95" fmla="*/ 396 h 438"/>
                  <a:gd name="T96" fmla="*/ 288 w 422"/>
                  <a:gd name="T97" fmla="*/ 409 h 438"/>
                  <a:gd name="T98" fmla="*/ 307 w 422"/>
                  <a:gd name="T99" fmla="*/ 406 h 438"/>
                  <a:gd name="T100" fmla="*/ 326 w 422"/>
                  <a:gd name="T101" fmla="*/ 404 h 438"/>
                  <a:gd name="T102" fmla="*/ 346 w 422"/>
                  <a:gd name="T103" fmla="*/ 392 h 438"/>
                  <a:gd name="T104" fmla="*/ 363 w 422"/>
                  <a:gd name="T105" fmla="*/ 370 h 438"/>
                  <a:gd name="T106" fmla="*/ 354 w 422"/>
                  <a:gd name="T107" fmla="*/ 355 h 438"/>
                  <a:gd name="T108" fmla="*/ 363 w 422"/>
                  <a:gd name="T109" fmla="*/ 332 h 438"/>
                  <a:gd name="T110" fmla="*/ 375 w 422"/>
                  <a:gd name="T111" fmla="*/ 311 h 438"/>
                  <a:gd name="T112" fmla="*/ 377 w 422"/>
                  <a:gd name="T113" fmla="*/ 289 h 438"/>
                  <a:gd name="T114" fmla="*/ 396 w 422"/>
                  <a:gd name="T115" fmla="*/ 275 h 438"/>
                  <a:gd name="T116" fmla="*/ 405 w 422"/>
                  <a:gd name="T117" fmla="*/ 253 h 438"/>
                  <a:gd name="T118" fmla="*/ 410 w 422"/>
                  <a:gd name="T119" fmla="*/ 221 h 438"/>
                  <a:gd name="T120" fmla="*/ 408 w 422"/>
                  <a:gd name="T121" fmla="*/ 201 h 43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422"/>
                  <a:gd name="T184" fmla="*/ 0 h 438"/>
                  <a:gd name="T185" fmla="*/ 422 w 422"/>
                  <a:gd name="T186" fmla="*/ 438 h 43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422" h="438">
                    <a:moveTo>
                      <a:pt x="422" y="187"/>
                    </a:moveTo>
                    <a:lnTo>
                      <a:pt x="421" y="184"/>
                    </a:lnTo>
                    <a:lnTo>
                      <a:pt x="417" y="183"/>
                    </a:lnTo>
                    <a:lnTo>
                      <a:pt x="417" y="182"/>
                    </a:lnTo>
                    <a:lnTo>
                      <a:pt x="415" y="182"/>
                    </a:lnTo>
                    <a:lnTo>
                      <a:pt x="414" y="181"/>
                    </a:lnTo>
                    <a:lnTo>
                      <a:pt x="414" y="180"/>
                    </a:lnTo>
                    <a:lnTo>
                      <a:pt x="413" y="179"/>
                    </a:lnTo>
                    <a:lnTo>
                      <a:pt x="413" y="178"/>
                    </a:lnTo>
                    <a:lnTo>
                      <a:pt x="411" y="177"/>
                    </a:lnTo>
                    <a:lnTo>
                      <a:pt x="412" y="175"/>
                    </a:lnTo>
                    <a:lnTo>
                      <a:pt x="414" y="175"/>
                    </a:lnTo>
                    <a:lnTo>
                      <a:pt x="415" y="174"/>
                    </a:lnTo>
                    <a:lnTo>
                      <a:pt x="417" y="172"/>
                    </a:lnTo>
                    <a:lnTo>
                      <a:pt x="417" y="169"/>
                    </a:lnTo>
                    <a:lnTo>
                      <a:pt x="418" y="169"/>
                    </a:lnTo>
                    <a:lnTo>
                      <a:pt x="418" y="168"/>
                    </a:lnTo>
                    <a:lnTo>
                      <a:pt x="418" y="164"/>
                    </a:lnTo>
                    <a:lnTo>
                      <a:pt x="418" y="163"/>
                    </a:lnTo>
                    <a:lnTo>
                      <a:pt x="414" y="157"/>
                    </a:lnTo>
                    <a:lnTo>
                      <a:pt x="414" y="155"/>
                    </a:lnTo>
                    <a:lnTo>
                      <a:pt x="413" y="152"/>
                    </a:lnTo>
                    <a:lnTo>
                      <a:pt x="410" y="152"/>
                    </a:lnTo>
                    <a:lnTo>
                      <a:pt x="408" y="149"/>
                    </a:lnTo>
                    <a:lnTo>
                      <a:pt x="408" y="147"/>
                    </a:lnTo>
                    <a:lnTo>
                      <a:pt x="405" y="145"/>
                    </a:lnTo>
                    <a:lnTo>
                      <a:pt x="403" y="145"/>
                    </a:lnTo>
                    <a:lnTo>
                      <a:pt x="400" y="142"/>
                    </a:lnTo>
                    <a:lnTo>
                      <a:pt x="398" y="143"/>
                    </a:lnTo>
                    <a:lnTo>
                      <a:pt x="396" y="140"/>
                    </a:lnTo>
                    <a:lnTo>
                      <a:pt x="395" y="142"/>
                    </a:lnTo>
                    <a:lnTo>
                      <a:pt x="394" y="142"/>
                    </a:lnTo>
                    <a:lnTo>
                      <a:pt x="392" y="142"/>
                    </a:lnTo>
                    <a:lnTo>
                      <a:pt x="391" y="139"/>
                    </a:lnTo>
                    <a:lnTo>
                      <a:pt x="390" y="138"/>
                    </a:lnTo>
                    <a:lnTo>
                      <a:pt x="387" y="136"/>
                    </a:lnTo>
                    <a:lnTo>
                      <a:pt x="389" y="132"/>
                    </a:lnTo>
                    <a:lnTo>
                      <a:pt x="387" y="131"/>
                    </a:lnTo>
                    <a:lnTo>
                      <a:pt x="385" y="128"/>
                    </a:lnTo>
                    <a:lnTo>
                      <a:pt x="382" y="122"/>
                    </a:lnTo>
                    <a:lnTo>
                      <a:pt x="380" y="120"/>
                    </a:lnTo>
                    <a:lnTo>
                      <a:pt x="377" y="119"/>
                    </a:lnTo>
                    <a:lnTo>
                      <a:pt x="375" y="117"/>
                    </a:lnTo>
                    <a:lnTo>
                      <a:pt x="374" y="117"/>
                    </a:lnTo>
                    <a:lnTo>
                      <a:pt x="372" y="117"/>
                    </a:lnTo>
                    <a:lnTo>
                      <a:pt x="372" y="115"/>
                    </a:lnTo>
                    <a:lnTo>
                      <a:pt x="370" y="114"/>
                    </a:lnTo>
                    <a:lnTo>
                      <a:pt x="369" y="111"/>
                    </a:lnTo>
                    <a:lnTo>
                      <a:pt x="368" y="111"/>
                    </a:lnTo>
                    <a:lnTo>
                      <a:pt x="367" y="113"/>
                    </a:lnTo>
                    <a:lnTo>
                      <a:pt x="366" y="113"/>
                    </a:lnTo>
                    <a:lnTo>
                      <a:pt x="364" y="110"/>
                    </a:lnTo>
                    <a:lnTo>
                      <a:pt x="362" y="108"/>
                    </a:lnTo>
                    <a:lnTo>
                      <a:pt x="360" y="108"/>
                    </a:lnTo>
                    <a:lnTo>
                      <a:pt x="358" y="110"/>
                    </a:lnTo>
                    <a:lnTo>
                      <a:pt x="357" y="109"/>
                    </a:lnTo>
                    <a:lnTo>
                      <a:pt x="358" y="108"/>
                    </a:lnTo>
                    <a:lnTo>
                      <a:pt x="356" y="105"/>
                    </a:lnTo>
                    <a:lnTo>
                      <a:pt x="355" y="103"/>
                    </a:lnTo>
                    <a:lnTo>
                      <a:pt x="351" y="105"/>
                    </a:lnTo>
                    <a:lnTo>
                      <a:pt x="348" y="104"/>
                    </a:lnTo>
                    <a:lnTo>
                      <a:pt x="346" y="104"/>
                    </a:lnTo>
                    <a:lnTo>
                      <a:pt x="345" y="105"/>
                    </a:lnTo>
                    <a:lnTo>
                      <a:pt x="343" y="103"/>
                    </a:lnTo>
                    <a:lnTo>
                      <a:pt x="342" y="97"/>
                    </a:lnTo>
                    <a:lnTo>
                      <a:pt x="340" y="94"/>
                    </a:lnTo>
                    <a:lnTo>
                      <a:pt x="339" y="93"/>
                    </a:lnTo>
                    <a:lnTo>
                      <a:pt x="338" y="91"/>
                    </a:lnTo>
                    <a:lnTo>
                      <a:pt x="337" y="91"/>
                    </a:lnTo>
                    <a:lnTo>
                      <a:pt x="335" y="89"/>
                    </a:lnTo>
                    <a:lnTo>
                      <a:pt x="334" y="89"/>
                    </a:lnTo>
                    <a:lnTo>
                      <a:pt x="333" y="88"/>
                    </a:lnTo>
                    <a:lnTo>
                      <a:pt x="332" y="91"/>
                    </a:lnTo>
                    <a:lnTo>
                      <a:pt x="331" y="90"/>
                    </a:lnTo>
                    <a:lnTo>
                      <a:pt x="329" y="88"/>
                    </a:lnTo>
                    <a:lnTo>
                      <a:pt x="328" y="87"/>
                    </a:lnTo>
                    <a:lnTo>
                      <a:pt x="326" y="87"/>
                    </a:lnTo>
                    <a:lnTo>
                      <a:pt x="324" y="87"/>
                    </a:lnTo>
                    <a:lnTo>
                      <a:pt x="321" y="83"/>
                    </a:lnTo>
                    <a:lnTo>
                      <a:pt x="321" y="81"/>
                    </a:lnTo>
                    <a:lnTo>
                      <a:pt x="321" y="79"/>
                    </a:lnTo>
                    <a:lnTo>
                      <a:pt x="321" y="78"/>
                    </a:lnTo>
                    <a:lnTo>
                      <a:pt x="322" y="77"/>
                    </a:lnTo>
                    <a:lnTo>
                      <a:pt x="321" y="78"/>
                    </a:lnTo>
                    <a:lnTo>
                      <a:pt x="320" y="76"/>
                    </a:lnTo>
                    <a:lnTo>
                      <a:pt x="318" y="76"/>
                    </a:lnTo>
                    <a:lnTo>
                      <a:pt x="318" y="79"/>
                    </a:lnTo>
                    <a:lnTo>
                      <a:pt x="311" y="84"/>
                    </a:lnTo>
                    <a:lnTo>
                      <a:pt x="310" y="88"/>
                    </a:lnTo>
                    <a:lnTo>
                      <a:pt x="310" y="92"/>
                    </a:lnTo>
                    <a:lnTo>
                      <a:pt x="309" y="93"/>
                    </a:lnTo>
                    <a:lnTo>
                      <a:pt x="305" y="91"/>
                    </a:lnTo>
                    <a:lnTo>
                      <a:pt x="306" y="97"/>
                    </a:lnTo>
                    <a:lnTo>
                      <a:pt x="303" y="98"/>
                    </a:lnTo>
                    <a:lnTo>
                      <a:pt x="301" y="98"/>
                    </a:lnTo>
                    <a:lnTo>
                      <a:pt x="299" y="97"/>
                    </a:lnTo>
                    <a:lnTo>
                      <a:pt x="297" y="97"/>
                    </a:lnTo>
                    <a:lnTo>
                      <a:pt x="296" y="98"/>
                    </a:lnTo>
                    <a:lnTo>
                      <a:pt x="295" y="98"/>
                    </a:lnTo>
                    <a:lnTo>
                      <a:pt x="292" y="93"/>
                    </a:lnTo>
                    <a:lnTo>
                      <a:pt x="291" y="93"/>
                    </a:lnTo>
                    <a:lnTo>
                      <a:pt x="291" y="92"/>
                    </a:lnTo>
                    <a:lnTo>
                      <a:pt x="289" y="91"/>
                    </a:lnTo>
                    <a:lnTo>
                      <a:pt x="286" y="88"/>
                    </a:lnTo>
                    <a:lnTo>
                      <a:pt x="283" y="88"/>
                    </a:lnTo>
                    <a:lnTo>
                      <a:pt x="279" y="84"/>
                    </a:lnTo>
                    <a:lnTo>
                      <a:pt x="280" y="83"/>
                    </a:lnTo>
                    <a:lnTo>
                      <a:pt x="278" y="80"/>
                    </a:lnTo>
                    <a:lnTo>
                      <a:pt x="281" y="75"/>
                    </a:lnTo>
                    <a:lnTo>
                      <a:pt x="283" y="74"/>
                    </a:lnTo>
                    <a:lnTo>
                      <a:pt x="283" y="69"/>
                    </a:lnTo>
                    <a:lnTo>
                      <a:pt x="281" y="70"/>
                    </a:lnTo>
                    <a:lnTo>
                      <a:pt x="279" y="71"/>
                    </a:lnTo>
                    <a:lnTo>
                      <a:pt x="278" y="70"/>
                    </a:lnTo>
                    <a:lnTo>
                      <a:pt x="274" y="68"/>
                    </a:lnTo>
                    <a:lnTo>
                      <a:pt x="272" y="63"/>
                    </a:lnTo>
                    <a:lnTo>
                      <a:pt x="271" y="63"/>
                    </a:lnTo>
                    <a:lnTo>
                      <a:pt x="269" y="61"/>
                    </a:lnTo>
                    <a:lnTo>
                      <a:pt x="268" y="60"/>
                    </a:lnTo>
                    <a:lnTo>
                      <a:pt x="266" y="61"/>
                    </a:lnTo>
                    <a:lnTo>
                      <a:pt x="265" y="58"/>
                    </a:lnTo>
                    <a:lnTo>
                      <a:pt x="264" y="59"/>
                    </a:lnTo>
                    <a:lnTo>
                      <a:pt x="264" y="60"/>
                    </a:lnTo>
                    <a:lnTo>
                      <a:pt x="263" y="59"/>
                    </a:lnTo>
                    <a:lnTo>
                      <a:pt x="261" y="61"/>
                    </a:lnTo>
                    <a:lnTo>
                      <a:pt x="260" y="61"/>
                    </a:lnTo>
                    <a:lnTo>
                      <a:pt x="260" y="59"/>
                    </a:lnTo>
                    <a:lnTo>
                      <a:pt x="260" y="56"/>
                    </a:lnTo>
                    <a:lnTo>
                      <a:pt x="261" y="51"/>
                    </a:lnTo>
                    <a:lnTo>
                      <a:pt x="263" y="49"/>
                    </a:lnTo>
                    <a:lnTo>
                      <a:pt x="261" y="49"/>
                    </a:lnTo>
                    <a:lnTo>
                      <a:pt x="261" y="50"/>
                    </a:lnTo>
                    <a:lnTo>
                      <a:pt x="259" y="49"/>
                    </a:lnTo>
                    <a:lnTo>
                      <a:pt x="257" y="49"/>
                    </a:lnTo>
                    <a:lnTo>
                      <a:pt x="255" y="47"/>
                    </a:lnTo>
                    <a:lnTo>
                      <a:pt x="252" y="47"/>
                    </a:lnTo>
                    <a:lnTo>
                      <a:pt x="248" y="45"/>
                    </a:lnTo>
                    <a:lnTo>
                      <a:pt x="249" y="45"/>
                    </a:lnTo>
                    <a:lnTo>
                      <a:pt x="248" y="43"/>
                    </a:lnTo>
                    <a:lnTo>
                      <a:pt x="248" y="42"/>
                    </a:lnTo>
                    <a:lnTo>
                      <a:pt x="247" y="43"/>
                    </a:lnTo>
                    <a:lnTo>
                      <a:pt x="247" y="42"/>
                    </a:lnTo>
                    <a:lnTo>
                      <a:pt x="246" y="42"/>
                    </a:lnTo>
                    <a:lnTo>
                      <a:pt x="245" y="41"/>
                    </a:lnTo>
                    <a:lnTo>
                      <a:pt x="246" y="41"/>
                    </a:lnTo>
                    <a:lnTo>
                      <a:pt x="247" y="40"/>
                    </a:lnTo>
                    <a:lnTo>
                      <a:pt x="246" y="40"/>
                    </a:lnTo>
                    <a:lnTo>
                      <a:pt x="245" y="40"/>
                    </a:lnTo>
                    <a:lnTo>
                      <a:pt x="245" y="37"/>
                    </a:lnTo>
                    <a:lnTo>
                      <a:pt x="244" y="36"/>
                    </a:lnTo>
                    <a:lnTo>
                      <a:pt x="244" y="35"/>
                    </a:lnTo>
                    <a:lnTo>
                      <a:pt x="242" y="37"/>
                    </a:lnTo>
                    <a:lnTo>
                      <a:pt x="240" y="36"/>
                    </a:lnTo>
                    <a:lnTo>
                      <a:pt x="240" y="34"/>
                    </a:lnTo>
                    <a:lnTo>
                      <a:pt x="239" y="36"/>
                    </a:lnTo>
                    <a:lnTo>
                      <a:pt x="237" y="34"/>
                    </a:lnTo>
                    <a:lnTo>
                      <a:pt x="237" y="33"/>
                    </a:lnTo>
                    <a:lnTo>
                      <a:pt x="239" y="33"/>
                    </a:lnTo>
                    <a:lnTo>
                      <a:pt x="238" y="31"/>
                    </a:lnTo>
                    <a:lnTo>
                      <a:pt x="235" y="31"/>
                    </a:lnTo>
                    <a:lnTo>
                      <a:pt x="235" y="30"/>
                    </a:lnTo>
                    <a:lnTo>
                      <a:pt x="234" y="30"/>
                    </a:lnTo>
                    <a:lnTo>
                      <a:pt x="233" y="30"/>
                    </a:lnTo>
                    <a:lnTo>
                      <a:pt x="232" y="27"/>
                    </a:lnTo>
                    <a:lnTo>
                      <a:pt x="231" y="28"/>
                    </a:lnTo>
                    <a:lnTo>
                      <a:pt x="230" y="32"/>
                    </a:lnTo>
                    <a:lnTo>
                      <a:pt x="228" y="32"/>
                    </a:lnTo>
                    <a:lnTo>
                      <a:pt x="227" y="31"/>
                    </a:lnTo>
                    <a:lnTo>
                      <a:pt x="226" y="32"/>
                    </a:lnTo>
                    <a:lnTo>
                      <a:pt x="225" y="28"/>
                    </a:lnTo>
                    <a:lnTo>
                      <a:pt x="226" y="27"/>
                    </a:lnTo>
                    <a:lnTo>
                      <a:pt x="223" y="27"/>
                    </a:lnTo>
                    <a:lnTo>
                      <a:pt x="223" y="28"/>
                    </a:lnTo>
                    <a:lnTo>
                      <a:pt x="221" y="28"/>
                    </a:lnTo>
                    <a:lnTo>
                      <a:pt x="221" y="29"/>
                    </a:lnTo>
                    <a:lnTo>
                      <a:pt x="220" y="29"/>
                    </a:lnTo>
                    <a:lnTo>
                      <a:pt x="220" y="28"/>
                    </a:lnTo>
                    <a:lnTo>
                      <a:pt x="218" y="28"/>
                    </a:lnTo>
                    <a:lnTo>
                      <a:pt x="216" y="28"/>
                    </a:lnTo>
                    <a:lnTo>
                      <a:pt x="215" y="28"/>
                    </a:lnTo>
                    <a:lnTo>
                      <a:pt x="215" y="27"/>
                    </a:lnTo>
                    <a:lnTo>
                      <a:pt x="213" y="28"/>
                    </a:lnTo>
                    <a:lnTo>
                      <a:pt x="213" y="27"/>
                    </a:lnTo>
                    <a:lnTo>
                      <a:pt x="213" y="29"/>
                    </a:lnTo>
                    <a:lnTo>
                      <a:pt x="212" y="28"/>
                    </a:lnTo>
                    <a:lnTo>
                      <a:pt x="213" y="27"/>
                    </a:lnTo>
                    <a:lnTo>
                      <a:pt x="213" y="24"/>
                    </a:lnTo>
                    <a:lnTo>
                      <a:pt x="212" y="24"/>
                    </a:lnTo>
                    <a:lnTo>
                      <a:pt x="212" y="23"/>
                    </a:lnTo>
                    <a:lnTo>
                      <a:pt x="210" y="23"/>
                    </a:lnTo>
                    <a:lnTo>
                      <a:pt x="209" y="21"/>
                    </a:lnTo>
                    <a:lnTo>
                      <a:pt x="209" y="19"/>
                    </a:lnTo>
                    <a:lnTo>
                      <a:pt x="207" y="19"/>
                    </a:lnTo>
                    <a:lnTo>
                      <a:pt x="206" y="17"/>
                    </a:lnTo>
                    <a:lnTo>
                      <a:pt x="206" y="16"/>
                    </a:lnTo>
                    <a:lnTo>
                      <a:pt x="204" y="16"/>
                    </a:lnTo>
                    <a:lnTo>
                      <a:pt x="201" y="11"/>
                    </a:lnTo>
                    <a:lnTo>
                      <a:pt x="199" y="11"/>
                    </a:lnTo>
                    <a:lnTo>
                      <a:pt x="198" y="10"/>
                    </a:lnTo>
                    <a:lnTo>
                      <a:pt x="196" y="7"/>
                    </a:lnTo>
                    <a:lnTo>
                      <a:pt x="195" y="6"/>
                    </a:lnTo>
                    <a:lnTo>
                      <a:pt x="193" y="4"/>
                    </a:lnTo>
                    <a:lnTo>
                      <a:pt x="190" y="0"/>
                    </a:lnTo>
                    <a:lnTo>
                      <a:pt x="189" y="1"/>
                    </a:lnTo>
                    <a:lnTo>
                      <a:pt x="189" y="4"/>
                    </a:lnTo>
                    <a:lnTo>
                      <a:pt x="187" y="6"/>
                    </a:lnTo>
                    <a:lnTo>
                      <a:pt x="186" y="4"/>
                    </a:lnTo>
                    <a:lnTo>
                      <a:pt x="183" y="4"/>
                    </a:lnTo>
                    <a:lnTo>
                      <a:pt x="183" y="5"/>
                    </a:lnTo>
                    <a:lnTo>
                      <a:pt x="183" y="6"/>
                    </a:lnTo>
                    <a:lnTo>
                      <a:pt x="183" y="7"/>
                    </a:lnTo>
                    <a:lnTo>
                      <a:pt x="181" y="8"/>
                    </a:lnTo>
                    <a:lnTo>
                      <a:pt x="180" y="8"/>
                    </a:lnTo>
                    <a:lnTo>
                      <a:pt x="180" y="10"/>
                    </a:lnTo>
                    <a:lnTo>
                      <a:pt x="179" y="10"/>
                    </a:lnTo>
                    <a:lnTo>
                      <a:pt x="178" y="7"/>
                    </a:lnTo>
                    <a:lnTo>
                      <a:pt x="176" y="6"/>
                    </a:lnTo>
                    <a:lnTo>
                      <a:pt x="175" y="6"/>
                    </a:lnTo>
                    <a:lnTo>
                      <a:pt x="171" y="10"/>
                    </a:lnTo>
                    <a:lnTo>
                      <a:pt x="171" y="11"/>
                    </a:lnTo>
                    <a:lnTo>
                      <a:pt x="169" y="11"/>
                    </a:lnTo>
                    <a:lnTo>
                      <a:pt x="167" y="13"/>
                    </a:lnTo>
                    <a:lnTo>
                      <a:pt x="166" y="16"/>
                    </a:lnTo>
                    <a:lnTo>
                      <a:pt x="166" y="17"/>
                    </a:lnTo>
                    <a:lnTo>
                      <a:pt x="166" y="19"/>
                    </a:lnTo>
                    <a:lnTo>
                      <a:pt x="168" y="19"/>
                    </a:lnTo>
                    <a:lnTo>
                      <a:pt x="169" y="19"/>
                    </a:lnTo>
                    <a:lnTo>
                      <a:pt x="169" y="21"/>
                    </a:lnTo>
                    <a:lnTo>
                      <a:pt x="170" y="22"/>
                    </a:lnTo>
                    <a:lnTo>
                      <a:pt x="169" y="24"/>
                    </a:lnTo>
                    <a:lnTo>
                      <a:pt x="171" y="25"/>
                    </a:lnTo>
                    <a:lnTo>
                      <a:pt x="170" y="26"/>
                    </a:lnTo>
                    <a:lnTo>
                      <a:pt x="170" y="27"/>
                    </a:lnTo>
                    <a:lnTo>
                      <a:pt x="169" y="28"/>
                    </a:lnTo>
                    <a:lnTo>
                      <a:pt x="167" y="28"/>
                    </a:lnTo>
                    <a:lnTo>
                      <a:pt x="166" y="30"/>
                    </a:lnTo>
                    <a:lnTo>
                      <a:pt x="165" y="29"/>
                    </a:lnTo>
                    <a:lnTo>
                      <a:pt x="164" y="29"/>
                    </a:lnTo>
                    <a:lnTo>
                      <a:pt x="164" y="28"/>
                    </a:lnTo>
                    <a:lnTo>
                      <a:pt x="162" y="29"/>
                    </a:lnTo>
                    <a:lnTo>
                      <a:pt x="159" y="27"/>
                    </a:lnTo>
                    <a:lnTo>
                      <a:pt x="159" y="28"/>
                    </a:lnTo>
                    <a:lnTo>
                      <a:pt x="158" y="28"/>
                    </a:lnTo>
                    <a:lnTo>
                      <a:pt x="157" y="27"/>
                    </a:lnTo>
                    <a:lnTo>
                      <a:pt x="157" y="24"/>
                    </a:lnTo>
                    <a:lnTo>
                      <a:pt x="156" y="25"/>
                    </a:lnTo>
                    <a:lnTo>
                      <a:pt x="156" y="24"/>
                    </a:lnTo>
                    <a:lnTo>
                      <a:pt x="155" y="27"/>
                    </a:lnTo>
                    <a:lnTo>
                      <a:pt x="152" y="29"/>
                    </a:lnTo>
                    <a:lnTo>
                      <a:pt x="151" y="32"/>
                    </a:lnTo>
                    <a:lnTo>
                      <a:pt x="152" y="33"/>
                    </a:lnTo>
                    <a:lnTo>
                      <a:pt x="151" y="34"/>
                    </a:lnTo>
                    <a:lnTo>
                      <a:pt x="151" y="36"/>
                    </a:lnTo>
                    <a:lnTo>
                      <a:pt x="150" y="36"/>
                    </a:lnTo>
                    <a:lnTo>
                      <a:pt x="150" y="34"/>
                    </a:lnTo>
                    <a:lnTo>
                      <a:pt x="148" y="34"/>
                    </a:lnTo>
                    <a:lnTo>
                      <a:pt x="145" y="37"/>
                    </a:lnTo>
                    <a:lnTo>
                      <a:pt x="142" y="34"/>
                    </a:lnTo>
                    <a:lnTo>
                      <a:pt x="139" y="36"/>
                    </a:lnTo>
                    <a:lnTo>
                      <a:pt x="136" y="38"/>
                    </a:lnTo>
                    <a:lnTo>
                      <a:pt x="135" y="38"/>
                    </a:lnTo>
                    <a:lnTo>
                      <a:pt x="134" y="38"/>
                    </a:lnTo>
                    <a:lnTo>
                      <a:pt x="133" y="38"/>
                    </a:lnTo>
                    <a:lnTo>
                      <a:pt x="131" y="38"/>
                    </a:lnTo>
                    <a:lnTo>
                      <a:pt x="131" y="36"/>
                    </a:lnTo>
                    <a:lnTo>
                      <a:pt x="131" y="38"/>
                    </a:lnTo>
                    <a:lnTo>
                      <a:pt x="130" y="38"/>
                    </a:lnTo>
                    <a:lnTo>
                      <a:pt x="128" y="38"/>
                    </a:lnTo>
                    <a:lnTo>
                      <a:pt x="127" y="40"/>
                    </a:lnTo>
                    <a:lnTo>
                      <a:pt x="126" y="39"/>
                    </a:lnTo>
                    <a:lnTo>
                      <a:pt x="125" y="40"/>
                    </a:lnTo>
                    <a:lnTo>
                      <a:pt x="126" y="41"/>
                    </a:lnTo>
                    <a:lnTo>
                      <a:pt x="123" y="42"/>
                    </a:lnTo>
                    <a:lnTo>
                      <a:pt x="123" y="41"/>
                    </a:lnTo>
                    <a:lnTo>
                      <a:pt x="122" y="43"/>
                    </a:lnTo>
                    <a:lnTo>
                      <a:pt x="121" y="41"/>
                    </a:lnTo>
                    <a:lnTo>
                      <a:pt x="120" y="42"/>
                    </a:lnTo>
                    <a:lnTo>
                      <a:pt x="120" y="41"/>
                    </a:lnTo>
                    <a:lnTo>
                      <a:pt x="117" y="41"/>
                    </a:lnTo>
                    <a:lnTo>
                      <a:pt x="120" y="38"/>
                    </a:lnTo>
                    <a:lnTo>
                      <a:pt x="119" y="37"/>
                    </a:lnTo>
                    <a:lnTo>
                      <a:pt x="118" y="37"/>
                    </a:lnTo>
                    <a:lnTo>
                      <a:pt x="117" y="38"/>
                    </a:lnTo>
                    <a:lnTo>
                      <a:pt x="115" y="38"/>
                    </a:lnTo>
                    <a:lnTo>
                      <a:pt x="114" y="40"/>
                    </a:lnTo>
                    <a:lnTo>
                      <a:pt x="112" y="40"/>
                    </a:lnTo>
                    <a:lnTo>
                      <a:pt x="112" y="39"/>
                    </a:lnTo>
                    <a:lnTo>
                      <a:pt x="110" y="41"/>
                    </a:lnTo>
                    <a:lnTo>
                      <a:pt x="109" y="41"/>
                    </a:lnTo>
                    <a:lnTo>
                      <a:pt x="109" y="43"/>
                    </a:lnTo>
                    <a:lnTo>
                      <a:pt x="110" y="44"/>
                    </a:lnTo>
                    <a:lnTo>
                      <a:pt x="110" y="45"/>
                    </a:lnTo>
                    <a:lnTo>
                      <a:pt x="107" y="47"/>
                    </a:lnTo>
                    <a:lnTo>
                      <a:pt x="107" y="51"/>
                    </a:lnTo>
                    <a:lnTo>
                      <a:pt x="107" y="53"/>
                    </a:lnTo>
                    <a:lnTo>
                      <a:pt x="102" y="55"/>
                    </a:lnTo>
                    <a:lnTo>
                      <a:pt x="102" y="56"/>
                    </a:lnTo>
                    <a:lnTo>
                      <a:pt x="100" y="59"/>
                    </a:lnTo>
                    <a:lnTo>
                      <a:pt x="99" y="59"/>
                    </a:lnTo>
                    <a:lnTo>
                      <a:pt x="99" y="58"/>
                    </a:lnTo>
                    <a:lnTo>
                      <a:pt x="98" y="58"/>
                    </a:lnTo>
                    <a:lnTo>
                      <a:pt x="98" y="59"/>
                    </a:lnTo>
                    <a:lnTo>
                      <a:pt x="97" y="59"/>
                    </a:lnTo>
                    <a:lnTo>
                      <a:pt x="98" y="61"/>
                    </a:lnTo>
                    <a:lnTo>
                      <a:pt x="96" y="62"/>
                    </a:lnTo>
                    <a:lnTo>
                      <a:pt x="96" y="64"/>
                    </a:lnTo>
                    <a:lnTo>
                      <a:pt x="95" y="65"/>
                    </a:lnTo>
                    <a:lnTo>
                      <a:pt x="96" y="67"/>
                    </a:lnTo>
                    <a:lnTo>
                      <a:pt x="94" y="71"/>
                    </a:lnTo>
                    <a:lnTo>
                      <a:pt x="95" y="73"/>
                    </a:lnTo>
                    <a:lnTo>
                      <a:pt x="94" y="75"/>
                    </a:lnTo>
                    <a:lnTo>
                      <a:pt x="96" y="76"/>
                    </a:lnTo>
                    <a:lnTo>
                      <a:pt x="95" y="76"/>
                    </a:lnTo>
                    <a:lnTo>
                      <a:pt x="96" y="80"/>
                    </a:lnTo>
                    <a:lnTo>
                      <a:pt x="97" y="80"/>
                    </a:lnTo>
                    <a:lnTo>
                      <a:pt x="99" y="77"/>
                    </a:lnTo>
                    <a:lnTo>
                      <a:pt x="101" y="82"/>
                    </a:lnTo>
                    <a:lnTo>
                      <a:pt x="104" y="81"/>
                    </a:lnTo>
                    <a:lnTo>
                      <a:pt x="109" y="82"/>
                    </a:lnTo>
                    <a:lnTo>
                      <a:pt x="108" y="84"/>
                    </a:lnTo>
                    <a:lnTo>
                      <a:pt x="109" y="88"/>
                    </a:lnTo>
                    <a:lnTo>
                      <a:pt x="112" y="93"/>
                    </a:lnTo>
                    <a:lnTo>
                      <a:pt x="112" y="94"/>
                    </a:lnTo>
                    <a:lnTo>
                      <a:pt x="110" y="95"/>
                    </a:lnTo>
                    <a:lnTo>
                      <a:pt x="110" y="97"/>
                    </a:lnTo>
                    <a:lnTo>
                      <a:pt x="111" y="98"/>
                    </a:lnTo>
                    <a:lnTo>
                      <a:pt x="109" y="102"/>
                    </a:lnTo>
                    <a:lnTo>
                      <a:pt x="108" y="100"/>
                    </a:lnTo>
                    <a:lnTo>
                      <a:pt x="108" y="102"/>
                    </a:lnTo>
                    <a:lnTo>
                      <a:pt x="107" y="102"/>
                    </a:lnTo>
                    <a:lnTo>
                      <a:pt x="105" y="104"/>
                    </a:lnTo>
                    <a:lnTo>
                      <a:pt x="105" y="105"/>
                    </a:lnTo>
                    <a:lnTo>
                      <a:pt x="102" y="106"/>
                    </a:lnTo>
                    <a:lnTo>
                      <a:pt x="102" y="105"/>
                    </a:lnTo>
                    <a:lnTo>
                      <a:pt x="101" y="105"/>
                    </a:lnTo>
                    <a:lnTo>
                      <a:pt x="99" y="106"/>
                    </a:lnTo>
                    <a:lnTo>
                      <a:pt x="99" y="105"/>
                    </a:lnTo>
                    <a:lnTo>
                      <a:pt x="98" y="106"/>
                    </a:lnTo>
                    <a:lnTo>
                      <a:pt x="97" y="104"/>
                    </a:lnTo>
                    <a:lnTo>
                      <a:pt x="94" y="102"/>
                    </a:lnTo>
                    <a:lnTo>
                      <a:pt x="94" y="103"/>
                    </a:lnTo>
                    <a:lnTo>
                      <a:pt x="92" y="102"/>
                    </a:lnTo>
                    <a:lnTo>
                      <a:pt x="92" y="105"/>
                    </a:lnTo>
                    <a:lnTo>
                      <a:pt x="90" y="106"/>
                    </a:lnTo>
                    <a:lnTo>
                      <a:pt x="89" y="105"/>
                    </a:lnTo>
                    <a:lnTo>
                      <a:pt x="90" y="104"/>
                    </a:lnTo>
                    <a:lnTo>
                      <a:pt x="88" y="104"/>
                    </a:lnTo>
                    <a:lnTo>
                      <a:pt x="88" y="105"/>
                    </a:lnTo>
                    <a:lnTo>
                      <a:pt x="89" y="106"/>
                    </a:lnTo>
                    <a:lnTo>
                      <a:pt x="89" y="108"/>
                    </a:lnTo>
                    <a:lnTo>
                      <a:pt x="87" y="108"/>
                    </a:lnTo>
                    <a:lnTo>
                      <a:pt x="87" y="110"/>
                    </a:lnTo>
                    <a:lnTo>
                      <a:pt x="86" y="110"/>
                    </a:lnTo>
                    <a:lnTo>
                      <a:pt x="86" y="111"/>
                    </a:lnTo>
                    <a:lnTo>
                      <a:pt x="86" y="113"/>
                    </a:lnTo>
                    <a:lnTo>
                      <a:pt x="86" y="114"/>
                    </a:lnTo>
                    <a:lnTo>
                      <a:pt x="82" y="114"/>
                    </a:lnTo>
                    <a:lnTo>
                      <a:pt x="82" y="111"/>
                    </a:lnTo>
                    <a:lnTo>
                      <a:pt x="82" y="109"/>
                    </a:lnTo>
                    <a:lnTo>
                      <a:pt x="79" y="107"/>
                    </a:lnTo>
                    <a:lnTo>
                      <a:pt x="79" y="108"/>
                    </a:lnTo>
                    <a:lnTo>
                      <a:pt x="77" y="108"/>
                    </a:lnTo>
                    <a:lnTo>
                      <a:pt x="76" y="108"/>
                    </a:lnTo>
                    <a:lnTo>
                      <a:pt x="75" y="108"/>
                    </a:lnTo>
                    <a:lnTo>
                      <a:pt x="74" y="106"/>
                    </a:lnTo>
                    <a:lnTo>
                      <a:pt x="74" y="105"/>
                    </a:lnTo>
                    <a:lnTo>
                      <a:pt x="73" y="105"/>
                    </a:lnTo>
                    <a:lnTo>
                      <a:pt x="73" y="104"/>
                    </a:lnTo>
                    <a:lnTo>
                      <a:pt x="74" y="104"/>
                    </a:lnTo>
                    <a:lnTo>
                      <a:pt x="74" y="103"/>
                    </a:lnTo>
                    <a:lnTo>
                      <a:pt x="73" y="103"/>
                    </a:lnTo>
                    <a:lnTo>
                      <a:pt x="72" y="104"/>
                    </a:lnTo>
                    <a:lnTo>
                      <a:pt x="71" y="104"/>
                    </a:lnTo>
                    <a:lnTo>
                      <a:pt x="70" y="104"/>
                    </a:lnTo>
                    <a:lnTo>
                      <a:pt x="70" y="107"/>
                    </a:lnTo>
                    <a:lnTo>
                      <a:pt x="68" y="105"/>
                    </a:lnTo>
                    <a:lnTo>
                      <a:pt x="65" y="106"/>
                    </a:lnTo>
                    <a:lnTo>
                      <a:pt x="65" y="108"/>
                    </a:lnTo>
                    <a:lnTo>
                      <a:pt x="63" y="108"/>
                    </a:lnTo>
                    <a:lnTo>
                      <a:pt x="62" y="106"/>
                    </a:lnTo>
                    <a:lnTo>
                      <a:pt x="61" y="108"/>
                    </a:lnTo>
                    <a:lnTo>
                      <a:pt x="60" y="108"/>
                    </a:lnTo>
                    <a:lnTo>
                      <a:pt x="59" y="107"/>
                    </a:lnTo>
                    <a:lnTo>
                      <a:pt x="57" y="108"/>
                    </a:lnTo>
                    <a:lnTo>
                      <a:pt x="54" y="105"/>
                    </a:lnTo>
                    <a:lnTo>
                      <a:pt x="52" y="105"/>
                    </a:lnTo>
                    <a:lnTo>
                      <a:pt x="52" y="104"/>
                    </a:lnTo>
                    <a:lnTo>
                      <a:pt x="49" y="104"/>
                    </a:lnTo>
                    <a:lnTo>
                      <a:pt x="49" y="105"/>
                    </a:lnTo>
                    <a:lnTo>
                      <a:pt x="48" y="105"/>
                    </a:lnTo>
                    <a:lnTo>
                      <a:pt x="47" y="105"/>
                    </a:lnTo>
                    <a:lnTo>
                      <a:pt x="47" y="104"/>
                    </a:lnTo>
                    <a:lnTo>
                      <a:pt x="46" y="104"/>
                    </a:lnTo>
                    <a:lnTo>
                      <a:pt x="44" y="103"/>
                    </a:lnTo>
                    <a:lnTo>
                      <a:pt x="45" y="102"/>
                    </a:lnTo>
                    <a:lnTo>
                      <a:pt x="43" y="100"/>
                    </a:lnTo>
                    <a:lnTo>
                      <a:pt x="38" y="100"/>
                    </a:lnTo>
                    <a:lnTo>
                      <a:pt x="36" y="100"/>
                    </a:lnTo>
                    <a:lnTo>
                      <a:pt x="33" y="104"/>
                    </a:lnTo>
                    <a:lnTo>
                      <a:pt x="34" y="105"/>
                    </a:lnTo>
                    <a:lnTo>
                      <a:pt x="36" y="106"/>
                    </a:lnTo>
                    <a:lnTo>
                      <a:pt x="37" y="109"/>
                    </a:lnTo>
                    <a:lnTo>
                      <a:pt x="37" y="110"/>
                    </a:lnTo>
                    <a:lnTo>
                      <a:pt x="37" y="111"/>
                    </a:lnTo>
                    <a:lnTo>
                      <a:pt x="37" y="112"/>
                    </a:lnTo>
                    <a:lnTo>
                      <a:pt x="34" y="113"/>
                    </a:lnTo>
                    <a:lnTo>
                      <a:pt x="30" y="111"/>
                    </a:lnTo>
                    <a:lnTo>
                      <a:pt x="29" y="114"/>
                    </a:lnTo>
                    <a:lnTo>
                      <a:pt x="26" y="111"/>
                    </a:lnTo>
                    <a:lnTo>
                      <a:pt x="24" y="111"/>
                    </a:lnTo>
                    <a:lnTo>
                      <a:pt x="23" y="112"/>
                    </a:lnTo>
                    <a:lnTo>
                      <a:pt x="23" y="115"/>
                    </a:lnTo>
                    <a:lnTo>
                      <a:pt x="22" y="115"/>
                    </a:lnTo>
                    <a:lnTo>
                      <a:pt x="22" y="116"/>
                    </a:lnTo>
                    <a:lnTo>
                      <a:pt x="23" y="117"/>
                    </a:lnTo>
                    <a:lnTo>
                      <a:pt x="24" y="121"/>
                    </a:lnTo>
                    <a:lnTo>
                      <a:pt x="23" y="121"/>
                    </a:lnTo>
                    <a:lnTo>
                      <a:pt x="21" y="121"/>
                    </a:lnTo>
                    <a:lnTo>
                      <a:pt x="21" y="124"/>
                    </a:lnTo>
                    <a:lnTo>
                      <a:pt x="19" y="127"/>
                    </a:lnTo>
                    <a:lnTo>
                      <a:pt x="21" y="130"/>
                    </a:lnTo>
                    <a:lnTo>
                      <a:pt x="21" y="134"/>
                    </a:lnTo>
                    <a:lnTo>
                      <a:pt x="22" y="135"/>
                    </a:lnTo>
                    <a:lnTo>
                      <a:pt x="22" y="136"/>
                    </a:lnTo>
                    <a:lnTo>
                      <a:pt x="20" y="138"/>
                    </a:lnTo>
                    <a:lnTo>
                      <a:pt x="17" y="136"/>
                    </a:lnTo>
                    <a:lnTo>
                      <a:pt x="16" y="136"/>
                    </a:lnTo>
                    <a:lnTo>
                      <a:pt x="14" y="135"/>
                    </a:lnTo>
                    <a:lnTo>
                      <a:pt x="14" y="136"/>
                    </a:lnTo>
                    <a:lnTo>
                      <a:pt x="13" y="135"/>
                    </a:lnTo>
                    <a:lnTo>
                      <a:pt x="11" y="138"/>
                    </a:lnTo>
                    <a:lnTo>
                      <a:pt x="11" y="140"/>
                    </a:lnTo>
                    <a:lnTo>
                      <a:pt x="13" y="141"/>
                    </a:lnTo>
                    <a:lnTo>
                      <a:pt x="14" y="142"/>
                    </a:lnTo>
                    <a:lnTo>
                      <a:pt x="14" y="143"/>
                    </a:lnTo>
                    <a:lnTo>
                      <a:pt x="14" y="144"/>
                    </a:lnTo>
                    <a:lnTo>
                      <a:pt x="17" y="148"/>
                    </a:lnTo>
                    <a:lnTo>
                      <a:pt x="16" y="148"/>
                    </a:lnTo>
                    <a:lnTo>
                      <a:pt x="16" y="149"/>
                    </a:lnTo>
                    <a:lnTo>
                      <a:pt x="17" y="149"/>
                    </a:lnTo>
                    <a:lnTo>
                      <a:pt x="16" y="152"/>
                    </a:lnTo>
                    <a:lnTo>
                      <a:pt x="17" y="155"/>
                    </a:lnTo>
                    <a:lnTo>
                      <a:pt x="16" y="155"/>
                    </a:lnTo>
                    <a:lnTo>
                      <a:pt x="14" y="158"/>
                    </a:lnTo>
                    <a:lnTo>
                      <a:pt x="13" y="158"/>
                    </a:lnTo>
                    <a:lnTo>
                      <a:pt x="13" y="161"/>
                    </a:lnTo>
                    <a:lnTo>
                      <a:pt x="14" y="161"/>
                    </a:lnTo>
                    <a:lnTo>
                      <a:pt x="14" y="162"/>
                    </a:lnTo>
                    <a:lnTo>
                      <a:pt x="13" y="171"/>
                    </a:lnTo>
                    <a:lnTo>
                      <a:pt x="11" y="171"/>
                    </a:lnTo>
                    <a:lnTo>
                      <a:pt x="9" y="173"/>
                    </a:lnTo>
                    <a:lnTo>
                      <a:pt x="9" y="178"/>
                    </a:lnTo>
                    <a:lnTo>
                      <a:pt x="7" y="180"/>
                    </a:lnTo>
                    <a:lnTo>
                      <a:pt x="6" y="180"/>
                    </a:lnTo>
                    <a:lnTo>
                      <a:pt x="5" y="181"/>
                    </a:lnTo>
                    <a:lnTo>
                      <a:pt x="5" y="183"/>
                    </a:lnTo>
                    <a:lnTo>
                      <a:pt x="7" y="182"/>
                    </a:lnTo>
                    <a:lnTo>
                      <a:pt x="8" y="181"/>
                    </a:lnTo>
                    <a:lnTo>
                      <a:pt x="9" y="181"/>
                    </a:lnTo>
                    <a:lnTo>
                      <a:pt x="8" y="184"/>
                    </a:lnTo>
                    <a:lnTo>
                      <a:pt x="6" y="185"/>
                    </a:lnTo>
                    <a:lnTo>
                      <a:pt x="6" y="187"/>
                    </a:lnTo>
                    <a:lnTo>
                      <a:pt x="5" y="187"/>
                    </a:lnTo>
                    <a:lnTo>
                      <a:pt x="5" y="191"/>
                    </a:lnTo>
                    <a:lnTo>
                      <a:pt x="4" y="192"/>
                    </a:lnTo>
                    <a:lnTo>
                      <a:pt x="4" y="193"/>
                    </a:lnTo>
                    <a:lnTo>
                      <a:pt x="4" y="195"/>
                    </a:lnTo>
                    <a:lnTo>
                      <a:pt x="3" y="196"/>
                    </a:lnTo>
                    <a:lnTo>
                      <a:pt x="1" y="195"/>
                    </a:lnTo>
                    <a:lnTo>
                      <a:pt x="1" y="197"/>
                    </a:lnTo>
                    <a:lnTo>
                      <a:pt x="2" y="198"/>
                    </a:lnTo>
                    <a:lnTo>
                      <a:pt x="1" y="198"/>
                    </a:lnTo>
                    <a:lnTo>
                      <a:pt x="0" y="200"/>
                    </a:lnTo>
                    <a:lnTo>
                      <a:pt x="1" y="201"/>
                    </a:lnTo>
                    <a:lnTo>
                      <a:pt x="1" y="202"/>
                    </a:lnTo>
                    <a:lnTo>
                      <a:pt x="0" y="204"/>
                    </a:lnTo>
                    <a:lnTo>
                      <a:pt x="0" y="205"/>
                    </a:lnTo>
                    <a:lnTo>
                      <a:pt x="1" y="205"/>
                    </a:lnTo>
                    <a:lnTo>
                      <a:pt x="4" y="208"/>
                    </a:lnTo>
                    <a:lnTo>
                      <a:pt x="7" y="208"/>
                    </a:lnTo>
                    <a:lnTo>
                      <a:pt x="8" y="211"/>
                    </a:lnTo>
                    <a:lnTo>
                      <a:pt x="8" y="215"/>
                    </a:lnTo>
                    <a:lnTo>
                      <a:pt x="10" y="215"/>
                    </a:lnTo>
                    <a:lnTo>
                      <a:pt x="9" y="217"/>
                    </a:lnTo>
                    <a:lnTo>
                      <a:pt x="8" y="216"/>
                    </a:lnTo>
                    <a:lnTo>
                      <a:pt x="7" y="217"/>
                    </a:lnTo>
                    <a:lnTo>
                      <a:pt x="5" y="219"/>
                    </a:lnTo>
                    <a:lnTo>
                      <a:pt x="4" y="219"/>
                    </a:lnTo>
                    <a:lnTo>
                      <a:pt x="4" y="221"/>
                    </a:lnTo>
                    <a:lnTo>
                      <a:pt x="3" y="221"/>
                    </a:lnTo>
                    <a:lnTo>
                      <a:pt x="3" y="223"/>
                    </a:lnTo>
                    <a:lnTo>
                      <a:pt x="1" y="223"/>
                    </a:lnTo>
                    <a:lnTo>
                      <a:pt x="1" y="225"/>
                    </a:lnTo>
                    <a:lnTo>
                      <a:pt x="2" y="226"/>
                    </a:lnTo>
                    <a:lnTo>
                      <a:pt x="4" y="230"/>
                    </a:lnTo>
                    <a:lnTo>
                      <a:pt x="7" y="231"/>
                    </a:lnTo>
                    <a:lnTo>
                      <a:pt x="7" y="232"/>
                    </a:lnTo>
                    <a:lnTo>
                      <a:pt x="5" y="236"/>
                    </a:lnTo>
                    <a:lnTo>
                      <a:pt x="8" y="237"/>
                    </a:lnTo>
                    <a:lnTo>
                      <a:pt x="11" y="238"/>
                    </a:lnTo>
                    <a:lnTo>
                      <a:pt x="11" y="239"/>
                    </a:lnTo>
                    <a:lnTo>
                      <a:pt x="12" y="240"/>
                    </a:lnTo>
                    <a:lnTo>
                      <a:pt x="11" y="242"/>
                    </a:lnTo>
                    <a:lnTo>
                      <a:pt x="13" y="245"/>
                    </a:lnTo>
                    <a:lnTo>
                      <a:pt x="13" y="246"/>
                    </a:lnTo>
                    <a:lnTo>
                      <a:pt x="14" y="245"/>
                    </a:lnTo>
                    <a:lnTo>
                      <a:pt x="17" y="248"/>
                    </a:lnTo>
                    <a:lnTo>
                      <a:pt x="18" y="251"/>
                    </a:lnTo>
                    <a:lnTo>
                      <a:pt x="18" y="253"/>
                    </a:lnTo>
                    <a:lnTo>
                      <a:pt x="19" y="253"/>
                    </a:lnTo>
                    <a:lnTo>
                      <a:pt x="22" y="255"/>
                    </a:lnTo>
                    <a:lnTo>
                      <a:pt x="25" y="250"/>
                    </a:lnTo>
                    <a:lnTo>
                      <a:pt x="27" y="249"/>
                    </a:lnTo>
                    <a:lnTo>
                      <a:pt x="29" y="248"/>
                    </a:lnTo>
                    <a:lnTo>
                      <a:pt x="30" y="248"/>
                    </a:lnTo>
                    <a:lnTo>
                      <a:pt x="31" y="247"/>
                    </a:lnTo>
                    <a:lnTo>
                      <a:pt x="33" y="246"/>
                    </a:lnTo>
                    <a:lnTo>
                      <a:pt x="34" y="247"/>
                    </a:lnTo>
                    <a:lnTo>
                      <a:pt x="35" y="247"/>
                    </a:lnTo>
                    <a:lnTo>
                      <a:pt x="34" y="249"/>
                    </a:lnTo>
                    <a:lnTo>
                      <a:pt x="36" y="249"/>
                    </a:lnTo>
                    <a:lnTo>
                      <a:pt x="37" y="253"/>
                    </a:lnTo>
                    <a:lnTo>
                      <a:pt x="38" y="255"/>
                    </a:lnTo>
                    <a:lnTo>
                      <a:pt x="41" y="258"/>
                    </a:lnTo>
                    <a:lnTo>
                      <a:pt x="41" y="259"/>
                    </a:lnTo>
                    <a:lnTo>
                      <a:pt x="42" y="259"/>
                    </a:lnTo>
                    <a:lnTo>
                      <a:pt x="43" y="258"/>
                    </a:lnTo>
                    <a:lnTo>
                      <a:pt x="44" y="259"/>
                    </a:lnTo>
                    <a:lnTo>
                      <a:pt x="47" y="260"/>
                    </a:lnTo>
                    <a:lnTo>
                      <a:pt x="52" y="262"/>
                    </a:lnTo>
                    <a:lnTo>
                      <a:pt x="52" y="265"/>
                    </a:lnTo>
                    <a:lnTo>
                      <a:pt x="50" y="266"/>
                    </a:lnTo>
                    <a:lnTo>
                      <a:pt x="51" y="269"/>
                    </a:lnTo>
                    <a:lnTo>
                      <a:pt x="50" y="271"/>
                    </a:lnTo>
                    <a:lnTo>
                      <a:pt x="45" y="270"/>
                    </a:lnTo>
                    <a:lnTo>
                      <a:pt x="44" y="269"/>
                    </a:lnTo>
                    <a:lnTo>
                      <a:pt x="45" y="272"/>
                    </a:lnTo>
                    <a:lnTo>
                      <a:pt x="47" y="272"/>
                    </a:lnTo>
                    <a:lnTo>
                      <a:pt x="49" y="275"/>
                    </a:lnTo>
                    <a:lnTo>
                      <a:pt x="52" y="272"/>
                    </a:lnTo>
                    <a:lnTo>
                      <a:pt x="55" y="272"/>
                    </a:lnTo>
                    <a:lnTo>
                      <a:pt x="57" y="273"/>
                    </a:lnTo>
                    <a:lnTo>
                      <a:pt x="57" y="275"/>
                    </a:lnTo>
                    <a:lnTo>
                      <a:pt x="58" y="275"/>
                    </a:lnTo>
                    <a:lnTo>
                      <a:pt x="59" y="278"/>
                    </a:lnTo>
                    <a:lnTo>
                      <a:pt x="60" y="279"/>
                    </a:lnTo>
                    <a:lnTo>
                      <a:pt x="59" y="280"/>
                    </a:lnTo>
                    <a:lnTo>
                      <a:pt x="60" y="284"/>
                    </a:lnTo>
                    <a:lnTo>
                      <a:pt x="59" y="285"/>
                    </a:lnTo>
                    <a:lnTo>
                      <a:pt x="62" y="287"/>
                    </a:lnTo>
                    <a:lnTo>
                      <a:pt x="65" y="288"/>
                    </a:lnTo>
                    <a:lnTo>
                      <a:pt x="66" y="289"/>
                    </a:lnTo>
                    <a:lnTo>
                      <a:pt x="69" y="287"/>
                    </a:lnTo>
                    <a:lnTo>
                      <a:pt x="74" y="283"/>
                    </a:lnTo>
                    <a:lnTo>
                      <a:pt x="74" y="281"/>
                    </a:lnTo>
                    <a:lnTo>
                      <a:pt x="76" y="281"/>
                    </a:lnTo>
                    <a:lnTo>
                      <a:pt x="77" y="287"/>
                    </a:lnTo>
                    <a:lnTo>
                      <a:pt x="78" y="285"/>
                    </a:lnTo>
                    <a:lnTo>
                      <a:pt x="81" y="285"/>
                    </a:lnTo>
                    <a:lnTo>
                      <a:pt x="84" y="288"/>
                    </a:lnTo>
                    <a:lnTo>
                      <a:pt x="85" y="288"/>
                    </a:lnTo>
                    <a:lnTo>
                      <a:pt x="87" y="289"/>
                    </a:lnTo>
                    <a:lnTo>
                      <a:pt x="91" y="293"/>
                    </a:lnTo>
                    <a:lnTo>
                      <a:pt x="90" y="294"/>
                    </a:lnTo>
                    <a:lnTo>
                      <a:pt x="89" y="297"/>
                    </a:lnTo>
                    <a:lnTo>
                      <a:pt x="91" y="296"/>
                    </a:lnTo>
                    <a:lnTo>
                      <a:pt x="91" y="295"/>
                    </a:lnTo>
                    <a:lnTo>
                      <a:pt x="93" y="294"/>
                    </a:lnTo>
                    <a:lnTo>
                      <a:pt x="94" y="294"/>
                    </a:lnTo>
                    <a:lnTo>
                      <a:pt x="95" y="296"/>
                    </a:lnTo>
                    <a:lnTo>
                      <a:pt x="97" y="295"/>
                    </a:lnTo>
                    <a:lnTo>
                      <a:pt x="99" y="293"/>
                    </a:lnTo>
                    <a:lnTo>
                      <a:pt x="101" y="293"/>
                    </a:lnTo>
                    <a:lnTo>
                      <a:pt x="104" y="296"/>
                    </a:lnTo>
                    <a:lnTo>
                      <a:pt x="107" y="295"/>
                    </a:lnTo>
                    <a:lnTo>
                      <a:pt x="107" y="293"/>
                    </a:lnTo>
                    <a:lnTo>
                      <a:pt x="109" y="293"/>
                    </a:lnTo>
                    <a:lnTo>
                      <a:pt x="109" y="294"/>
                    </a:lnTo>
                    <a:lnTo>
                      <a:pt x="110" y="294"/>
                    </a:lnTo>
                    <a:lnTo>
                      <a:pt x="112" y="294"/>
                    </a:lnTo>
                    <a:lnTo>
                      <a:pt x="114" y="295"/>
                    </a:lnTo>
                    <a:lnTo>
                      <a:pt x="115" y="296"/>
                    </a:lnTo>
                    <a:lnTo>
                      <a:pt x="115" y="300"/>
                    </a:lnTo>
                    <a:lnTo>
                      <a:pt x="115" y="303"/>
                    </a:lnTo>
                    <a:lnTo>
                      <a:pt x="115" y="306"/>
                    </a:lnTo>
                    <a:lnTo>
                      <a:pt x="116" y="307"/>
                    </a:lnTo>
                    <a:lnTo>
                      <a:pt x="114" y="310"/>
                    </a:lnTo>
                    <a:lnTo>
                      <a:pt x="114" y="311"/>
                    </a:lnTo>
                    <a:lnTo>
                      <a:pt x="112" y="313"/>
                    </a:lnTo>
                    <a:lnTo>
                      <a:pt x="112" y="316"/>
                    </a:lnTo>
                    <a:lnTo>
                      <a:pt x="110" y="319"/>
                    </a:lnTo>
                    <a:lnTo>
                      <a:pt x="112" y="319"/>
                    </a:lnTo>
                    <a:lnTo>
                      <a:pt x="113" y="319"/>
                    </a:lnTo>
                    <a:lnTo>
                      <a:pt x="113" y="321"/>
                    </a:lnTo>
                    <a:lnTo>
                      <a:pt x="114" y="324"/>
                    </a:lnTo>
                    <a:lnTo>
                      <a:pt x="114" y="326"/>
                    </a:lnTo>
                    <a:lnTo>
                      <a:pt x="115" y="326"/>
                    </a:lnTo>
                    <a:lnTo>
                      <a:pt x="115" y="324"/>
                    </a:lnTo>
                    <a:lnTo>
                      <a:pt x="116" y="324"/>
                    </a:lnTo>
                    <a:lnTo>
                      <a:pt x="117" y="324"/>
                    </a:lnTo>
                    <a:lnTo>
                      <a:pt x="116" y="326"/>
                    </a:lnTo>
                    <a:lnTo>
                      <a:pt x="118" y="328"/>
                    </a:lnTo>
                    <a:lnTo>
                      <a:pt x="119" y="327"/>
                    </a:lnTo>
                    <a:lnTo>
                      <a:pt x="120" y="329"/>
                    </a:lnTo>
                    <a:lnTo>
                      <a:pt x="121" y="332"/>
                    </a:lnTo>
                    <a:lnTo>
                      <a:pt x="120" y="334"/>
                    </a:lnTo>
                    <a:lnTo>
                      <a:pt x="123" y="336"/>
                    </a:lnTo>
                    <a:lnTo>
                      <a:pt x="124" y="336"/>
                    </a:lnTo>
                    <a:lnTo>
                      <a:pt x="125" y="336"/>
                    </a:lnTo>
                    <a:lnTo>
                      <a:pt x="127" y="337"/>
                    </a:lnTo>
                    <a:lnTo>
                      <a:pt x="128" y="340"/>
                    </a:lnTo>
                    <a:lnTo>
                      <a:pt x="131" y="341"/>
                    </a:lnTo>
                    <a:lnTo>
                      <a:pt x="131" y="344"/>
                    </a:lnTo>
                    <a:lnTo>
                      <a:pt x="131" y="345"/>
                    </a:lnTo>
                    <a:lnTo>
                      <a:pt x="133" y="343"/>
                    </a:lnTo>
                    <a:lnTo>
                      <a:pt x="134" y="340"/>
                    </a:lnTo>
                    <a:lnTo>
                      <a:pt x="135" y="339"/>
                    </a:lnTo>
                    <a:lnTo>
                      <a:pt x="136" y="338"/>
                    </a:lnTo>
                    <a:lnTo>
                      <a:pt x="138" y="338"/>
                    </a:lnTo>
                    <a:lnTo>
                      <a:pt x="139" y="340"/>
                    </a:lnTo>
                    <a:lnTo>
                      <a:pt x="141" y="344"/>
                    </a:lnTo>
                    <a:lnTo>
                      <a:pt x="142" y="344"/>
                    </a:lnTo>
                    <a:lnTo>
                      <a:pt x="142" y="346"/>
                    </a:lnTo>
                    <a:lnTo>
                      <a:pt x="143" y="345"/>
                    </a:lnTo>
                    <a:lnTo>
                      <a:pt x="144" y="346"/>
                    </a:lnTo>
                    <a:lnTo>
                      <a:pt x="144" y="344"/>
                    </a:lnTo>
                    <a:lnTo>
                      <a:pt x="149" y="346"/>
                    </a:lnTo>
                    <a:lnTo>
                      <a:pt x="151" y="346"/>
                    </a:lnTo>
                    <a:lnTo>
                      <a:pt x="153" y="347"/>
                    </a:lnTo>
                    <a:lnTo>
                      <a:pt x="156" y="343"/>
                    </a:lnTo>
                    <a:lnTo>
                      <a:pt x="157" y="342"/>
                    </a:lnTo>
                    <a:lnTo>
                      <a:pt x="160" y="343"/>
                    </a:lnTo>
                    <a:lnTo>
                      <a:pt x="161" y="345"/>
                    </a:lnTo>
                    <a:lnTo>
                      <a:pt x="161" y="346"/>
                    </a:lnTo>
                    <a:lnTo>
                      <a:pt x="163" y="346"/>
                    </a:lnTo>
                    <a:lnTo>
                      <a:pt x="164" y="345"/>
                    </a:lnTo>
                    <a:lnTo>
                      <a:pt x="163" y="343"/>
                    </a:lnTo>
                    <a:lnTo>
                      <a:pt x="164" y="341"/>
                    </a:lnTo>
                    <a:lnTo>
                      <a:pt x="165" y="341"/>
                    </a:lnTo>
                    <a:lnTo>
                      <a:pt x="166" y="341"/>
                    </a:lnTo>
                    <a:lnTo>
                      <a:pt x="169" y="343"/>
                    </a:lnTo>
                    <a:lnTo>
                      <a:pt x="168" y="346"/>
                    </a:lnTo>
                    <a:lnTo>
                      <a:pt x="169" y="343"/>
                    </a:lnTo>
                    <a:lnTo>
                      <a:pt x="172" y="345"/>
                    </a:lnTo>
                    <a:lnTo>
                      <a:pt x="172" y="349"/>
                    </a:lnTo>
                    <a:lnTo>
                      <a:pt x="172" y="351"/>
                    </a:lnTo>
                    <a:lnTo>
                      <a:pt x="169" y="351"/>
                    </a:lnTo>
                    <a:lnTo>
                      <a:pt x="168" y="351"/>
                    </a:lnTo>
                    <a:lnTo>
                      <a:pt x="169" y="353"/>
                    </a:lnTo>
                    <a:lnTo>
                      <a:pt x="172" y="357"/>
                    </a:lnTo>
                    <a:lnTo>
                      <a:pt x="173" y="357"/>
                    </a:lnTo>
                    <a:lnTo>
                      <a:pt x="172" y="356"/>
                    </a:lnTo>
                    <a:lnTo>
                      <a:pt x="174" y="355"/>
                    </a:lnTo>
                    <a:lnTo>
                      <a:pt x="177" y="357"/>
                    </a:lnTo>
                    <a:lnTo>
                      <a:pt x="177" y="358"/>
                    </a:lnTo>
                    <a:lnTo>
                      <a:pt x="175" y="358"/>
                    </a:lnTo>
                    <a:lnTo>
                      <a:pt x="174" y="359"/>
                    </a:lnTo>
                    <a:lnTo>
                      <a:pt x="179" y="366"/>
                    </a:lnTo>
                    <a:lnTo>
                      <a:pt x="176" y="366"/>
                    </a:lnTo>
                    <a:lnTo>
                      <a:pt x="177" y="369"/>
                    </a:lnTo>
                    <a:lnTo>
                      <a:pt x="177" y="371"/>
                    </a:lnTo>
                    <a:lnTo>
                      <a:pt x="176" y="372"/>
                    </a:lnTo>
                    <a:lnTo>
                      <a:pt x="174" y="372"/>
                    </a:lnTo>
                    <a:lnTo>
                      <a:pt x="173" y="371"/>
                    </a:lnTo>
                    <a:lnTo>
                      <a:pt x="172" y="372"/>
                    </a:lnTo>
                    <a:lnTo>
                      <a:pt x="172" y="371"/>
                    </a:lnTo>
                    <a:lnTo>
                      <a:pt x="169" y="371"/>
                    </a:lnTo>
                    <a:lnTo>
                      <a:pt x="165" y="369"/>
                    </a:lnTo>
                    <a:lnTo>
                      <a:pt x="164" y="371"/>
                    </a:lnTo>
                    <a:lnTo>
                      <a:pt x="166" y="374"/>
                    </a:lnTo>
                    <a:lnTo>
                      <a:pt x="165" y="377"/>
                    </a:lnTo>
                    <a:lnTo>
                      <a:pt x="164" y="376"/>
                    </a:lnTo>
                    <a:lnTo>
                      <a:pt x="161" y="376"/>
                    </a:lnTo>
                    <a:lnTo>
                      <a:pt x="161" y="377"/>
                    </a:lnTo>
                    <a:lnTo>
                      <a:pt x="162" y="377"/>
                    </a:lnTo>
                    <a:lnTo>
                      <a:pt x="161" y="380"/>
                    </a:lnTo>
                    <a:lnTo>
                      <a:pt x="163" y="381"/>
                    </a:lnTo>
                    <a:lnTo>
                      <a:pt x="162" y="384"/>
                    </a:lnTo>
                    <a:lnTo>
                      <a:pt x="159" y="385"/>
                    </a:lnTo>
                    <a:lnTo>
                      <a:pt x="156" y="385"/>
                    </a:lnTo>
                    <a:lnTo>
                      <a:pt x="156" y="387"/>
                    </a:lnTo>
                    <a:lnTo>
                      <a:pt x="156" y="388"/>
                    </a:lnTo>
                    <a:lnTo>
                      <a:pt x="157" y="389"/>
                    </a:lnTo>
                    <a:lnTo>
                      <a:pt x="156" y="391"/>
                    </a:lnTo>
                    <a:lnTo>
                      <a:pt x="156" y="392"/>
                    </a:lnTo>
                    <a:lnTo>
                      <a:pt x="155" y="393"/>
                    </a:lnTo>
                    <a:lnTo>
                      <a:pt x="155" y="394"/>
                    </a:lnTo>
                    <a:lnTo>
                      <a:pt x="152" y="393"/>
                    </a:lnTo>
                    <a:lnTo>
                      <a:pt x="152" y="397"/>
                    </a:lnTo>
                    <a:lnTo>
                      <a:pt x="152" y="396"/>
                    </a:lnTo>
                    <a:lnTo>
                      <a:pt x="151" y="395"/>
                    </a:lnTo>
                    <a:lnTo>
                      <a:pt x="150" y="395"/>
                    </a:lnTo>
                    <a:lnTo>
                      <a:pt x="150" y="397"/>
                    </a:lnTo>
                    <a:lnTo>
                      <a:pt x="148" y="399"/>
                    </a:lnTo>
                    <a:lnTo>
                      <a:pt x="146" y="399"/>
                    </a:lnTo>
                    <a:lnTo>
                      <a:pt x="144" y="400"/>
                    </a:lnTo>
                    <a:lnTo>
                      <a:pt x="144" y="402"/>
                    </a:lnTo>
                    <a:lnTo>
                      <a:pt x="142" y="404"/>
                    </a:lnTo>
                    <a:lnTo>
                      <a:pt x="144" y="407"/>
                    </a:lnTo>
                    <a:lnTo>
                      <a:pt x="145" y="406"/>
                    </a:lnTo>
                    <a:lnTo>
                      <a:pt x="147" y="406"/>
                    </a:lnTo>
                    <a:lnTo>
                      <a:pt x="149" y="404"/>
                    </a:lnTo>
                    <a:lnTo>
                      <a:pt x="151" y="405"/>
                    </a:lnTo>
                    <a:lnTo>
                      <a:pt x="152" y="406"/>
                    </a:lnTo>
                    <a:lnTo>
                      <a:pt x="153" y="408"/>
                    </a:lnTo>
                    <a:lnTo>
                      <a:pt x="152" y="409"/>
                    </a:lnTo>
                    <a:lnTo>
                      <a:pt x="152" y="411"/>
                    </a:lnTo>
                    <a:lnTo>
                      <a:pt x="151" y="413"/>
                    </a:lnTo>
                    <a:lnTo>
                      <a:pt x="152" y="415"/>
                    </a:lnTo>
                    <a:lnTo>
                      <a:pt x="153" y="416"/>
                    </a:lnTo>
                    <a:lnTo>
                      <a:pt x="158" y="417"/>
                    </a:lnTo>
                    <a:lnTo>
                      <a:pt x="159" y="417"/>
                    </a:lnTo>
                    <a:lnTo>
                      <a:pt x="163" y="419"/>
                    </a:lnTo>
                    <a:lnTo>
                      <a:pt x="167" y="422"/>
                    </a:lnTo>
                    <a:lnTo>
                      <a:pt x="166" y="423"/>
                    </a:lnTo>
                    <a:lnTo>
                      <a:pt x="166" y="424"/>
                    </a:lnTo>
                    <a:lnTo>
                      <a:pt x="165" y="425"/>
                    </a:lnTo>
                    <a:lnTo>
                      <a:pt x="164" y="427"/>
                    </a:lnTo>
                    <a:lnTo>
                      <a:pt x="167" y="430"/>
                    </a:lnTo>
                    <a:lnTo>
                      <a:pt x="170" y="428"/>
                    </a:lnTo>
                    <a:lnTo>
                      <a:pt x="169" y="428"/>
                    </a:lnTo>
                    <a:lnTo>
                      <a:pt x="169" y="427"/>
                    </a:lnTo>
                    <a:lnTo>
                      <a:pt x="167" y="427"/>
                    </a:lnTo>
                    <a:lnTo>
                      <a:pt x="166" y="427"/>
                    </a:lnTo>
                    <a:lnTo>
                      <a:pt x="169" y="427"/>
                    </a:lnTo>
                    <a:lnTo>
                      <a:pt x="173" y="430"/>
                    </a:lnTo>
                    <a:lnTo>
                      <a:pt x="172" y="427"/>
                    </a:lnTo>
                    <a:lnTo>
                      <a:pt x="175" y="426"/>
                    </a:lnTo>
                    <a:lnTo>
                      <a:pt x="176" y="427"/>
                    </a:lnTo>
                    <a:lnTo>
                      <a:pt x="177" y="429"/>
                    </a:lnTo>
                    <a:lnTo>
                      <a:pt x="178" y="430"/>
                    </a:lnTo>
                    <a:lnTo>
                      <a:pt x="177" y="432"/>
                    </a:lnTo>
                    <a:lnTo>
                      <a:pt x="177" y="434"/>
                    </a:lnTo>
                    <a:lnTo>
                      <a:pt x="179" y="435"/>
                    </a:lnTo>
                    <a:lnTo>
                      <a:pt x="180" y="435"/>
                    </a:lnTo>
                    <a:lnTo>
                      <a:pt x="182" y="434"/>
                    </a:lnTo>
                    <a:lnTo>
                      <a:pt x="182" y="437"/>
                    </a:lnTo>
                    <a:lnTo>
                      <a:pt x="183" y="438"/>
                    </a:lnTo>
                    <a:lnTo>
                      <a:pt x="185" y="435"/>
                    </a:lnTo>
                    <a:lnTo>
                      <a:pt x="185" y="434"/>
                    </a:lnTo>
                    <a:lnTo>
                      <a:pt x="185" y="433"/>
                    </a:lnTo>
                    <a:lnTo>
                      <a:pt x="187" y="433"/>
                    </a:lnTo>
                    <a:lnTo>
                      <a:pt x="187" y="431"/>
                    </a:lnTo>
                    <a:lnTo>
                      <a:pt x="189" y="430"/>
                    </a:lnTo>
                    <a:lnTo>
                      <a:pt x="190" y="430"/>
                    </a:lnTo>
                    <a:lnTo>
                      <a:pt x="188" y="426"/>
                    </a:lnTo>
                    <a:lnTo>
                      <a:pt x="190" y="425"/>
                    </a:lnTo>
                    <a:lnTo>
                      <a:pt x="191" y="425"/>
                    </a:lnTo>
                    <a:lnTo>
                      <a:pt x="192" y="427"/>
                    </a:lnTo>
                    <a:lnTo>
                      <a:pt x="194" y="427"/>
                    </a:lnTo>
                    <a:lnTo>
                      <a:pt x="194" y="428"/>
                    </a:lnTo>
                    <a:lnTo>
                      <a:pt x="195" y="427"/>
                    </a:lnTo>
                    <a:lnTo>
                      <a:pt x="198" y="425"/>
                    </a:lnTo>
                    <a:lnTo>
                      <a:pt x="201" y="425"/>
                    </a:lnTo>
                    <a:lnTo>
                      <a:pt x="201" y="427"/>
                    </a:lnTo>
                    <a:lnTo>
                      <a:pt x="204" y="429"/>
                    </a:lnTo>
                    <a:lnTo>
                      <a:pt x="204" y="432"/>
                    </a:lnTo>
                    <a:lnTo>
                      <a:pt x="206" y="434"/>
                    </a:lnTo>
                    <a:lnTo>
                      <a:pt x="207" y="435"/>
                    </a:lnTo>
                    <a:lnTo>
                      <a:pt x="208" y="434"/>
                    </a:lnTo>
                    <a:lnTo>
                      <a:pt x="209" y="434"/>
                    </a:lnTo>
                    <a:lnTo>
                      <a:pt x="209" y="432"/>
                    </a:lnTo>
                    <a:lnTo>
                      <a:pt x="211" y="430"/>
                    </a:lnTo>
                    <a:lnTo>
                      <a:pt x="210" y="430"/>
                    </a:lnTo>
                    <a:lnTo>
                      <a:pt x="210" y="429"/>
                    </a:lnTo>
                    <a:lnTo>
                      <a:pt x="209" y="428"/>
                    </a:lnTo>
                    <a:lnTo>
                      <a:pt x="211" y="429"/>
                    </a:lnTo>
                    <a:lnTo>
                      <a:pt x="213" y="426"/>
                    </a:lnTo>
                    <a:lnTo>
                      <a:pt x="215" y="428"/>
                    </a:lnTo>
                    <a:lnTo>
                      <a:pt x="216" y="427"/>
                    </a:lnTo>
                    <a:lnTo>
                      <a:pt x="216" y="426"/>
                    </a:lnTo>
                    <a:lnTo>
                      <a:pt x="216" y="422"/>
                    </a:lnTo>
                    <a:lnTo>
                      <a:pt x="216" y="421"/>
                    </a:lnTo>
                    <a:lnTo>
                      <a:pt x="218" y="422"/>
                    </a:lnTo>
                    <a:lnTo>
                      <a:pt x="223" y="423"/>
                    </a:lnTo>
                    <a:lnTo>
                      <a:pt x="226" y="421"/>
                    </a:lnTo>
                    <a:lnTo>
                      <a:pt x="227" y="418"/>
                    </a:lnTo>
                    <a:lnTo>
                      <a:pt x="229" y="418"/>
                    </a:lnTo>
                    <a:lnTo>
                      <a:pt x="229" y="417"/>
                    </a:lnTo>
                    <a:lnTo>
                      <a:pt x="230" y="417"/>
                    </a:lnTo>
                    <a:lnTo>
                      <a:pt x="230" y="416"/>
                    </a:lnTo>
                    <a:lnTo>
                      <a:pt x="228" y="415"/>
                    </a:lnTo>
                    <a:lnTo>
                      <a:pt x="229" y="413"/>
                    </a:lnTo>
                    <a:lnTo>
                      <a:pt x="230" y="413"/>
                    </a:lnTo>
                    <a:lnTo>
                      <a:pt x="233" y="411"/>
                    </a:lnTo>
                    <a:lnTo>
                      <a:pt x="234" y="410"/>
                    </a:lnTo>
                    <a:lnTo>
                      <a:pt x="237" y="411"/>
                    </a:lnTo>
                    <a:lnTo>
                      <a:pt x="239" y="409"/>
                    </a:lnTo>
                    <a:lnTo>
                      <a:pt x="242" y="411"/>
                    </a:lnTo>
                    <a:lnTo>
                      <a:pt x="243" y="409"/>
                    </a:lnTo>
                    <a:lnTo>
                      <a:pt x="246" y="411"/>
                    </a:lnTo>
                    <a:lnTo>
                      <a:pt x="247" y="411"/>
                    </a:lnTo>
                    <a:lnTo>
                      <a:pt x="247" y="413"/>
                    </a:lnTo>
                    <a:lnTo>
                      <a:pt x="250" y="413"/>
                    </a:lnTo>
                    <a:lnTo>
                      <a:pt x="248" y="411"/>
                    </a:lnTo>
                    <a:lnTo>
                      <a:pt x="250" y="410"/>
                    </a:lnTo>
                    <a:lnTo>
                      <a:pt x="251" y="410"/>
                    </a:lnTo>
                    <a:lnTo>
                      <a:pt x="252" y="410"/>
                    </a:lnTo>
                    <a:lnTo>
                      <a:pt x="251" y="408"/>
                    </a:lnTo>
                    <a:lnTo>
                      <a:pt x="252" y="408"/>
                    </a:lnTo>
                    <a:lnTo>
                      <a:pt x="252" y="407"/>
                    </a:lnTo>
                    <a:lnTo>
                      <a:pt x="251" y="407"/>
                    </a:lnTo>
                    <a:lnTo>
                      <a:pt x="253" y="404"/>
                    </a:lnTo>
                    <a:lnTo>
                      <a:pt x="253" y="402"/>
                    </a:lnTo>
                    <a:lnTo>
                      <a:pt x="254" y="401"/>
                    </a:lnTo>
                    <a:lnTo>
                      <a:pt x="253" y="398"/>
                    </a:lnTo>
                    <a:lnTo>
                      <a:pt x="255" y="399"/>
                    </a:lnTo>
                    <a:lnTo>
                      <a:pt x="256" y="399"/>
                    </a:lnTo>
                    <a:lnTo>
                      <a:pt x="260" y="402"/>
                    </a:lnTo>
                    <a:lnTo>
                      <a:pt x="260" y="403"/>
                    </a:lnTo>
                    <a:lnTo>
                      <a:pt x="258" y="403"/>
                    </a:lnTo>
                    <a:lnTo>
                      <a:pt x="258" y="404"/>
                    </a:lnTo>
                    <a:lnTo>
                      <a:pt x="260" y="404"/>
                    </a:lnTo>
                    <a:lnTo>
                      <a:pt x="261" y="404"/>
                    </a:lnTo>
                    <a:lnTo>
                      <a:pt x="261" y="405"/>
                    </a:lnTo>
                    <a:lnTo>
                      <a:pt x="264" y="402"/>
                    </a:lnTo>
                    <a:lnTo>
                      <a:pt x="268" y="400"/>
                    </a:lnTo>
                    <a:lnTo>
                      <a:pt x="266" y="400"/>
                    </a:lnTo>
                    <a:lnTo>
                      <a:pt x="267" y="394"/>
                    </a:lnTo>
                    <a:lnTo>
                      <a:pt x="271" y="398"/>
                    </a:lnTo>
                    <a:lnTo>
                      <a:pt x="273" y="395"/>
                    </a:lnTo>
                    <a:lnTo>
                      <a:pt x="276" y="393"/>
                    </a:lnTo>
                    <a:lnTo>
                      <a:pt x="277" y="394"/>
                    </a:lnTo>
                    <a:lnTo>
                      <a:pt x="277" y="396"/>
                    </a:lnTo>
                    <a:lnTo>
                      <a:pt x="277" y="398"/>
                    </a:lnTo>
                    <a:lnTo>
                      <a:pt x="278" y="398"/>
                    </a:lnTo>
                    <a:lnTo>
                      <a:pt x="278" y="400"/>
                    </a:lnTo>
                    <a:lnTo>
                      <a:pt x="277" y="400"/>
                    </a:lnTo>
                    <a:lnTo>
                      <a:pt x="278" y="401"/>
                    </a:lnTo>
                    <a:lnTo>
                      <a:pt x="277" y="401"/>
                    </a:lnTo>
                    <a:lnTo>
                      <a:pt x="277" y="402"/>
                    </a:lnTo>
                    <a:lnTo>
                      <a:pt x="278" y="402"/>
                    </a:lnTo>
                    <a:lnTo>
                      <a:pt x="279" y="404"/>
                    </a:lnTo>
                    <a:lnTo>
                      <a:pt x="280" y="403"/>
                    </a:lnTo>
                    <a:lnTo>
                      <a:pt x="280" y="401"/>
                    </a:lnTo>
                    <a:lnTo>
                      <a:pt x="280" y="402"/>
                    </a:lnTo>
                    <a:lnTo>
                      <a:pt x="281" y="404"/>
                    </a:lnTo>
                    <a:lnTo>
                      <a:pt x="280" y="404"/>
                    </a:lnTo>
                    <a:lnTo>
                      <a:pt x="280" y="405"/>
                    </a:lnTo>
                    <a:lnTo>
                      <a:pt x="283" y="407"/>
                    </a:lnTo>
                    <a:lnTo>
                      <a:pt x="285" y="408"/>
                    </a:lnTo>
                    <a:lnTo>
                      <a:pt x="288" y="409"/>
                    </a:lnTo>
                    <a:lnTo>
                      <a:pt x="289" y="408"/>
                    </a:lnTo>
                    <a:lnTo>
                      <a:pt x="291" y="408"/>
                    </a:lnTo>
                    <a:lnTo>
                      <a:pt x="293" y="406"/>
                    </a:lnTo>
                    <a:lnTo>
                      <a:pt x="294" y="406"/>
                    </a:lnTo>
                    <a:lnTo>
                      <a:pt x="295" y="403"/>
                    </a:lnTo>
                    <a:lnTo>
                      <a:pt x="294" y="401"/>
                    </a:lnTo>
                    <a:lnTo>
                      <a:pt x="294" y="400"/>
                    </a:lnTo>
                    <a:lnTo>
                      <a:pt x="296" y="400"/>
                    </a:lnTo>
                    <a:lnTo>
                      <a:pt x="296" y="401"/>
                    </a:lnTo>
                    <a:lnTo>
                      <a:pt x="296" y="403"/>
                    </a:lnTo>
                    <a:lnTo>
                      <a:pt x="298" y="403"/>
                    </a:lnTo>
                    <a:lnTo>
                      <a:pt x="298" y="404"/>
                    </a:lnTo>
                    <a:lnTo>
                      <a:pt x="300" y="404"/>
                    </a:lnTo>
                    <a:lnTo>
                      <a:pt x="301" y="404"/>
                    </a:lnTo>
                    <a:lnTo>
                      <a:pt x="303" y="406"/>
                    </a:lnTo>
                    <a:lnTo>
                      <a:pt x="304" y="407"/>
                    </a:lnTo>
                    <a:lnTo>
                      <a:pt x="305" y="406"/>
                    </a:lnTo>
                    <a:lnTo>
                      <a:pt x="307" y="406"/>
                    </a:lnTo>
                    <a:lnTo>
                      <a:pt x="308" y="409"/>
                    </a:lnTo>
                    <a:lnTo>
                      <a:pt x="309" y="410"/>
                    </a:lnTo>
                    <a:lnTo>
                      <a:pt x="309" y="407"/>
                    </a:lnTo>
                    <a:lnTo>
                      <a:pt x="309" y="406"/>
                    </a:lnTo>
                    <a:lnTo>
                      <a:pt x="311" y="406"/>
                    </a:lnTo>
                    <a:lnTo>
                      <a:pt x="313" y="407"/>
                    </a:lnTo>
                    <a:lnTo>
                      <a:pt x="313" y="406"/>
                    </a:lnTo>
                    <a:lnTo>
                      <a:pt x="314" y="406"/>
                    </a:lnTo>
                    <a:lnTo>
                      <a:pt x="318" y="408"/>
                    </a:lnTo>
                    <a:lnTo>
                      <a:pt x="318" y="407"/>
                    </a:lnTo>
                    <a:lnTo>
                      <a:pt x="320" y="407"/>
                    </a:lnTo>
                    <a:lnTo>
                      <a:pt x="318" y="406"/>
                    </a:lnTo>
                    <a:lnTo>
                      <a:pt x="320" y="406"/>
                    </a:lnTo>
                    <a:lnTo>
                      <a:pt x="320" y="404"/>
                    </a:lnTo>
                    <a:lnTo>
                      <a:pt x="321" y="404"/>
                    </a:lnTo>
                    <a:lnTo>
                      <a:pt x="322" y="406"/>
                    </a:lnTo>
                    <a:lnTo>
                      <a:pt x="326" y="404"/>
                    </a:lnTo>
                    <a:lnTo>
                      <a:pt x="326" y="403"/>
                    </a:lnTo>
                    <a:lnTo>
                      <a:pt x="325" y="402"/>
                    </a:lnTo>
                    <a:lnTo>
                      <a:pt x="325" y="400"/>
                    </a:lnTo>
                    <a:lnTo>
                      <a:pt x="321" y="398"/>
                    </a:lnTo>
                    <a:lnTo>
                      <a:pt x="324" y="396"/>
                    </a:lnTo>
                    <a:lnTo>
                      <a:pt x="323" y="395"/>
                    </a:lnTo>
                    <a:lnTo>
                      <a:pt x="324" y="396"/>
                    </a:lnTo>
                    <a:lnTo>
                      <a:pt x="329" y="394"/>
                    </a:lnTo>
                    <a:lnTo>
                      <a:pt x="330" y="394"/>
                    </a:lnTo>
                    <a:lnTo>
                      <a:pt x="332" y="393"/>
                    </a:lnTo>
                    <a:lnTo>
                      <a:pt x="333" y="393"/>
                    </a:lnTo>
                    <a:lnTo>
                      <a:pt x="336" y="394"/>
                    </a:lnTo>
                    <a:lnTo>
                      <a:pt x="337" y="393"/>
                    </a:lnTo>
                    <a:lnTo>
                      <a:pt x="339" y="394"/>
                    </a:lnTo>
                    <a:lnTo>
                      <a:pt x="342" y="393"/>
                    </a:lnTo>
                    <a:lnTo>
                      <a:pt x="345" y="395"/>
                    </a:lnTo>
                    <a:lnTo>
                      <a:pt x="346" y="393"/>
                    </a:lnTo>
                    <a:lnTo>
                      <a:pt x="346" y="392"/>
                    </a:lnTo>
                    <a:lnTo>
                      <a:pt x="348" y="390"/>
                    </a:lnTo>
                    <a:lnTo>
                      <a:pt x="350" y="390"/>
                    </a:lnTo>
                    <a:lnTo>
                      <a:pt x="350" y="388"/>
                    </a:lnTo>
                    <a:lnTo>
                      <a:pt x="348" y="384"/>
                    </a:lnTo>
                    <a:lnTo>
                      <a:pt x="349" y="383"/>
                    </a:lnTo>
                    <a:lnTo>
                      <a:pt x="351" y="383"/>
                    </a:lnTo>
                    <a:lnTo>
                      <a:pt x="353" y="383"/>
                    </a:lnTo>
                    <a:lnTo>
                      <a:pt x="355" y="383"/>
                    </a:lnTo>
                    <a:lnTo>
                      <a:pt x="356" y="383"/>
                    </a:lnTo>
                    <a:lnTo>
                      <a:pt x="357" y="381"/>
                    </a:lnTo>
                    <a:lnTo>
                      <a:pt x="359" y="381"/>
                    </a:lnTo>
                    <a:lnTo>
                      <a:pt x="359" y="380"/>
                    </a:lnTo>
                    <a:lnTo>
                      <a:pt x="361" y="378"/>
                    </a:lnTo>
                    <a:lnTo>
                      <a:pt x="362" y="376"/>
                    </a:lnTo>
                    <a:lnTo>
                      <a:pt x="362" y="377"/>
                    </a:lnTo>
                    <a:lnTo>
                      <a:pt x="362" y="376"/>
                    </a:lnTo>
                    <a:lnTo>
                      <a:pt x="364" y="370"/>
                    </a:lnTo>
                    <a:lnTo>
                      <a:pt x="363" y="370"/>
                    </a:lnTo>
                    <a:lnTo>
                      <a:pt x="363" y="367"/>
                    </a:lnTo>
                    <a:lnTo>
                      <a:pt x="360" y="367"/>
                    </a:lnTo>
                    <a:lnTo>
                      <a:pt x="362" y="364"/>
                    </a:lnTo>
                    <a:lnTo>
                      <a:pt x="362" y="362"/>
                    </a:lnTo>
                    <a:lnTo>
                      <a:pt x="361" y="361"/>
                    </a:lnTo>
                    <a:lnTo>
                      <a:pt x="361" y="363"/>
                    </a:lnTo>
                    <a:lnTo>
                      <a:pt x="358" y="365"/>
                    </a:lnTo>
                    <a:lnTo>
                      <a:pt x="356" y="364"/>
                    </a:lnTo>
                    <a:lnTo>
                      <a:pt x="355" y="366"/>
                    </a:lnTo>
                    <a:lnTo>
                      <a:pt x="354" y="366"/>
                    </a:lnTo>
                    <a:lnTo>
                      <a:pt x="356" y="364"/>
                    </a:lnTo>
                    <a:lnTo>
                      <a:pt x="356" y="362"/>
                    </a:lnTo>
                    <a:lnTo>
                      <a:pt x="357" y="363"/>
                    </a:lnTo>
                    <a:lnTo>
                      <a:pt x="358" y="361"/>
                    </a:lnTo>
                    <a:lnTo>
                      <a:pt x="356" y="358"/>
                    </a:lnTo>
                    <a:lnTo>
                      <a:pt x="356" y="357"/>
                    </a:lnTo>
                    <a:lnTo>
                      <a:pt x="356" y="354"/>
                    </a:lnTo>
                    <a:lnTo>
                      <a:pt x="354" y="355"/>
                    </a:lnTo>
                    <a:lnTo>
                      <a:pt x="355" y="353"/>
                    </a:lnTo>
                    <a:lnTo>
                      <a:pt x="353" y="353"/>
                    </a:lnTo>
                    <a:lnTo>
                      <a:pt x="354" y="351"/>
                    </a:lnTo>
                    <a:lnTo>
                      <a:pt x="356" y="347"/>
                    </a:lnTo>
                    <a:lnTo>
                      <a:pt x="359" y="347"/>
                    </a:lnTo>
                    <a:lnTo>
                      <a:pt x="362" y="349"/>
                    </a:lnTo>
                    <a:lnTo>
                      <a:pt x="364" y="347"/>
                    </a:lnTo>
                    <a:lnTo>
                      <a:pt x="364" y="346"/>
                    </a:lnTo>
                    <a:lnTo>
                      <a:pt x="366" y="348"/>
                    </a:lnTo>
                    <a:lnTo>
                      <a:pt x="368" y="345"/>
                    </a:lnTo>
                    <a:lnTo>
                      <a:pt x="366" y="344"/>
                    </a:lnTo>
                    <a:lnTo>
                      <a:pt x="366" y="340"/>
                    </a:lnTo>
                    <a:lnTo>
                      <a:pt x="367" y="338"/>
                    </a:lnTo>
                    <a:lnTo>
                      <a:pt x="367" y="339"/>
                    </a:lnTo>
                    <a:lnTo>
                      <a:pt x="368" y="337"/>
                    </a:lnTo>
                    <a:lnTo>
                      <a:pt x="366" y="334"/>
                    </a:lnTo>
                    <a:lnTo>
                      <a:pt x="365" y="332"/>
                    </a:lnTo>
                    <a:lnTo>
                      <a:pt x="363" y="332"/>
                    </a:lnTo>
                    <a:lnTo>
                      <a:pt x="361" y="331"/>
                    </a:lnTo>
                    <a:lnTo>
                      <a:pt x="359" y="331"/>
                    </a:lnTo>
                    <a:lnTo>
                      <a:pt x="358" y="330"/>
                    </a:lnTo>
                    <a:lnTo>
                      <a:pt x="359" y="326"/>
                    </a:lnTo>
                    <a:lnTo>
                      <a:pt x="359" y="324"/>
                    </a:lnTo>
                    <a:lnTo>
                      <a:pt x="360" y="322"/>
                    </a:lnTo>
                    <a:lnTo>
                      <a:pt x="362" y="317"/>
                    </a:lnTo>
                    <a:lnTo>
                      <a:pt x="364" y="315"/>
                    </a:lnTo>
                    <a:lnTo>
                      <a:pt x="364" y="313"/>
                    </a:lnTo>
                    <a:lnTo>
                      <a:pt x="366" y="311"/>
                    </a:lnTo>
                    <a:lnTo>
                      <a:pt x="369" y="311"/>
                    </a:lnTo>
                    <a:lnTo>
                      <a:pt x="369" y="313"/>
                    </a:lnTo>
                    <a:lnTo>
                      <a:pt x="370" y="313"/>
                    </a:lnTo>
                    <a:lnTo>
                      <a:pt x="371" y="312"/>
                    </a:lnTo>
                    <a:lnTo>
                      <a:pt x="373" y="311"/>
                    </a:lnTo>
                    <a:lnTo>
                      <a:pt x="374" y="311"/>
                    </a:lnTo>
                    <a:lnTo>
                      <a:pt x="375" y="311"/>
                    </a:lnTo>
                    <a:lnTo>
                      <a:pt x="375" y="307"/>
                    </a:lnTo>
                    <a:lnTo>
                      <a:pt x="372" y="306"/>
                    </a:lnTo>
                    <a:lnTo>
                      <a:pt x="373" y="303"/>
                    </a:lnTo>
                    <a:lnTo>
                      <a:pt x="372" y="303"/>
                    </a:lnTo>
                    <a:lnTo>
                      <a:pt x="372" y="302"/>
                    </a:lnTo>
                    <a:lnTo>
                      <a:pt x="368" y="302"/>
                    </a:lnTo>
                    <a:lnTo>
                      <a:pt x="367" y="300"/>
                    </a:lnTo>
                    <a:lnTo>
                      <a:pt x="367" y="297"/>
                    </a:lnTo>
                    <a:lnTo>
                      <a:pt x="369" y="294"/>
                    </a:lnTo>
                    <a:lnTo>
                      <a:pt x="369" y="293"/>
                    </a:lnTo>
                    <a:lnTo>
                      <a:pt x="370" y="294"/>
                    </a:lnTo>
                    <a:lnTo>
                      <a:pt x="373" y="293"/>
                    </a:lnTo>
                    <a:lnTo>
                      <a:pt x="373" y="292"/>
                    </a:lnTo>
                    <a:lnTo>
                      <a:pt x="375" y="293"/>
                    </a:lnTo>
                    <a:lnTo>
                      <a:pt x="375" y="292"/>
                    </a:lnTo>
                    <a:lnTo>
                      <a:pt x="374" y="290"/>
                    </a:lnTo>
                    <a:lnTo>
                      <a:pt x="375" y="289"/>
                    </a:lnTo>
                    <a:lnTo>
                      <a:pt x="377" y="289"/>
                    </a:lnTo>
                    <a:lnTo>
                      <a:pt x="378" y="288"/>
                    </a:lnTo>
                    <a:lnTo>
                      <a:pt x="378" y="286"/>
                    </a:lnTo>
                    <a:lnTo>
                      <a:pt x="379" y="285"/>
                    </a:lnTo>
                    <a:lnTo>
                      <a:pt x="378" y="283"/>
                    </a:lnTo>
                    <a:lnTo>
                      <a:pt x="378" y="282"/>
                    </a:lnTo>
                    <a:lnTo>
                      <a:pt x="378" y="281"/>
                    </a:lnTo>
                    <a:lnTo>
                      <a:pt x="378" y="279"/>
                    </a:lnTo>
                    <a:lnTo>
                      <a:pt x="379" y="279"/>
                    </a:lnTo>
                    <a:lnTo>
                      <a:pt x="382" y="279"/>
                    </a:lnTo>
                    <a:lnTo>
                      <a:pt x="384" y="278"/>
                    </a:lnTo>
                    <a:lnTo>
                      <a:pt x="386" y="279"/>
                    </a:lnTo>
                    <a:lnTo>
                      <a:pt x="390" y="276"/>
                    </a:lnTo>
                    <a:lnTo>
                      <a:pt x="392" y="274"/>
                    </a:lnTo>
                    <a:lnTo>
                      <a:pt x="392" y="272"/>
                    </a:lnTo>
                    <a:lnTo>
                      <a:pt x="395" y="272"/>
                    </a:lnTo>
                    <a:lnTo>
                      <a:pt x="395" y="274"/>
                    </a:lnTo>
                    <a:lnTo>
                      <a:pt x="396" y="275"/>
                    </a:lnTo>
                    <a:lnTo>
                      <a:pt x="396" y="274"/>
                    </a:lnTo>
                    <a:lnTo>
                      <a:pt x="398" y="272"/>
                    </a:lnTo>
                    <a:lnTo>
                      <a:pt x="400" y="272"/>
                    </a:lnTo>
                    <a:lnTo>
                      <a:pt x="403" y="270"/>
                    </a:lnTo>
                    <a:lnTo>
                      <a:pt x="403" y="268"/>
                    </a:lnTo>
                    <a:lnTo>
                      <a:pt x="406" y="268"/>
                    </a:lnTo>
                    <a:lnTo>
                      <a:pt x="406" y="266"/>
                    </a:lnTo>
                    <a:lnTo>
                      <a:pt x="405" y="266"/>
                    </a:lnTo>
                    <a:lnTo>
                      <a:pt x="406" y="266"/>
                    </a:lnTo>
                    <a:lnTo>
                      <a:pt x="405" y="264"/>
                    </a:lnTo>
                    <a:lnTo>
                      <a:pt x="403" y="260"/>
                    </a:lnTo>
                    <a:lnTo>
                      <a:pt x="406" y="258"/>
                    </a:lnTo>
                    <a:lnTo>
                      <a:pt x="405" y="258"/>
                    </a:lnTo>
                    <a:lnTo>
                      <a:pt x="404" y="253"/>
                    </a:lnTo>
                    <a:lnTo>
                      <a:pt x="405" y="253"/>
                    </a:lnTo>
                    <a:lnTo>
                      <a:pt x="405" y="251"/>
                    </a:lnTo>
                    <a:lnTo>
                      <a:pt x="406" y="248"/>
                    </a:lnTo>
                    <a:lnTo>
                      <a:pt x="406" y="246"/>
                    </a:lnTo>
                    <a:lnTo>
                      <a:pt x="407" y="244"/>
                    </a:lnTo>
                    <a:lnTo>
                      <a:pt x="408" y="243"/>
                    </a:lnTo>
                    <a:lnTo>
                      <a:pt x="408" y="240"/>
                    </a:lnTo>
                    <a:lnTo>
                      <a:pt x="406" y="242"/>
                    </a:lnTo>
                    <a:lnTo>
                      <a:pt x="405" y="241"/>
                    </a:lnTo>
                    <a:lnTo>
                      <a:pt x="404" y="239"/>
                    </a:lnTo>
                    <a:lnTo>
                      <a:pt x="406" y="238"/>
                    </a:lnTo>
                    <a:lnTo>
                      <a:pt x="405" y="236"/>
                    </a:lnTo>
                    <a:lnTo>
                      <a:pt x="405" y="235"/>
                    </a:lnTo>
                    <a:lnTo>
                      <a:pt x="406" y="234"/>
                    </a:lnTo>
                    <a:lnTo>
                      <a:pt x="404" y="229"/>
                    </a:lnTo>
                    <a:lnTo>
                      <a:pt x="405" y="226"/>
                    </a:lnTo>
                    <a:lnTo>
                      <a:pt x="406" y="225"/>
                    </a:lnTo>
                    <a:lnTo>
                      <a:pt x="408" y="223"/>
                    </a:lnTo>
                    <a:lnTo>
                      <a:pt x="410" y="221"/>
                    </a:lnTo>
                    <a:lnTo>
                      <a:pt x="408" y="217"/>
                    </a:lnTo>
                    <a:lnTo>
                      <a:pt x="412" y="215"/>
                    </a:lnTo>
                    <a:lnTo>
                      <a:pt x="413" y="213"/>
                    </a:lnTo>
                    <a:lnTo>
                      <a:pt x="410" y="212"/>
                    </a:lnTo>
                    <a:lnTo>
                      <a:pt x="410" y="211"/>
                    </a:lnTo>
                    <a:lnTo>
                      <a:pt x="410" y="209"/>
                    </a:lnTo>
                    <a:lnTo>
                      <a:pt x="411" y="208"/>
                    </a:lnTo>
                    <a:lnTo>
                      <a:pt x="410" y="208"/>
                    </a:lnTo>
                    <a:lnTo>
                      <a:pt x="409" y="209"/>
                    </a:lnTo>
                    <a:lnTo>
                      <a:pt x="408" y="208"/>
                    </a:lnTo>
                    <a:lnTo>
                      <a:pt x="406" y="206"/>
                    </a:lnTo>
                    <a:lnTo>
                      <a:pt x="405" y="204"/>
                    </a:lnTo>
                    <a:lnTo>
                      <a:pt x="406" y="203"/>
                    </a:lnTo>
                    <a:lnTo>
                      <a:pt x="406" y="202"/>
                    </a:lnTo>
                    <a:lnTo>
                      <a:pt x="404" y="200"/>
                    </a:lnTo>
                    <a:lnTo>
                      <a:pt x="405" y="200"/>
                    </a:lnTo>
                    <a:lnTo>
                      <a:pt x="407" y="200"/>
                    </a:lnTo>
                    <a:lnTo>
                      <a:pt x="408" y="201"/>
                    </a:lnTo>
                    <a:lnTo>
                      <a:pt x="409" y="205"/>
                    </a:lnTo>
                    <a:lnTo>
                      <a:pt x="412" y="204"/>
                    </a:lnTo>
                    <a:lnTo>
                      <a:pt x="413" y="203"/>
                    </a:lnTo>
                    <a:lnTo>
                      <a:pt x="413" y="202"/>
                    </a:lnTo>
                    <a:lnTo>
                      <a:pt x="416" y="200"/>
                    </a:lnTo>
                    <a:lnTo>
                      <a:pt x="418" y="197"/>
                    </a:lnTo>
                    <a:lnTo>
                      <a:pt x="419" y="197"/>
                    </a:lnTo>
                    <a:lnTo>
                      <a:pt x="422" y="191"/>
                    </a:lnTo>
                    <a:lnTo>
                      <a:pt x="422" y="1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3" name="Freeform 67">
                <a:extLst>
                  <a:ext uri="{FF2B5EF4-FFF2-40B4-BE49-F238E27FC236}">
                    <a16:creationId xmlns:a16="http://schemas.microsoft.com/office/drawing/2014/main" id="{8F2F03D8-B397-3017-D977-E552F1C358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6" y="3285"/>
                <a:ext cx="422" cy="438"/>
              </a:xfrm>
              <a:custGeom>
                <a:avLst/>
                <a:gdLst>
                  <a:gd name="T0" fmla="*/ 418 w 422"/>
                  <a:gd name="T1" fmla="*/ 168 h 438"/>
                  <a:gd name="T2" fmla="*/ 390 w 422"/>
                  <a:gd name="T3" fmla="*/ 138 h 438"/>
                  <a:gd name="T4" fmla="*/ 364 w 422"/>
                  <a:gd name="T5" fmla="*/ 110 h 438"/>
                  <a:gd name="T6" fmla="*/ 338 w 422"/>
                  <a:gd name="T7" fmla="*/ 91 h 438"/>
                  <a:gd name="T8" fmla="*/ 320 w 422"/>
                  <a:gd name="T9" fmla="*/ 76 h 438"/>
                  <a:gd name="T10" fmla="*/ 291 w 422"/>
                  <a:gd name="T11" fmla="*/ 93 h 438"/>
                  <a:gd name="T12" fmla="*/ 269 w 422"/>
                  <a:gd name="T13" fmla="*/ 61 h 438"/>
                  <a:gd name="T14" fmla="*/ 255 w 422"/>
                  <a:gd name="T15" fmla="*/ 47 h 438"/>
                  <a:gd name="T16" fmla="*/ 244 w 422"/>
                  <a:gd name="T17" fmla="*/ 35 h 438"/>
                  <a:gd name="T18" fmla="*/ 226 w 422"/>
                  <a:gd name="T19" fmla="*/ 32 h 438"/>
                  <a:gd name="T20" fmla="*/ 213 w 422"/>
                  <a:gd name="T21" fmla="*/ 24 h 438"/>
                  <a:gd name="T22" fmla="*/ 190 w 422"/>
                  <a:gd name="T23" fmla="*/ 0 h 438"/>
                  <a:gd name="T24" fmla="*/ 171 w 422"/>
                  <a:gd name="T25" fmla="*/ 11 h 438"/>
                  <a:gd name="T26" fmla="*/ 165 w 422"/>
                  <a:gd name="T27" fmla="*/ 29 h 438"/>
                  <a:gd name="T28" fmla="*/ 150 w 422"/>
                  <a:gd name="T29" fmla="*/ 34 h 438"/>
                  <a:gd name="T30" fmla="*/ 126 w 422"/>
                  <a:gd name="T31" fmla="*/ 41 h 438"/>
                  <a:gd name="T32" fmla="*/ 109 w 422"/>
                  <a:gd name="T33" fmla="*/ 41 h 438"/>
                  <a:gd name="T34" fmla="*/ 96 w 422"/>
                  <a:gd name="T35" fmla="*/ 62 h 438"/>
                  <a:gd name="T36" fmla="*/ 112 w 422"/>
                  <a:gd name="T37" fmla="*/ 94 h 438"/>
                  <a:gd name="T38" fmla="*/ 97 w 422"/>
                  <a:gd name="T39" fmla="*/ 104 h 438"/>
                  <a:gd name="T40" fmla="*/ 86 w 422"/>
                  <a:gd name="T41" fmla="*/ 114 h 438"/>
                  <a:gd name="T42" fmla="*/ 72 w 422"/>
                  <a:gd name="T43" fmla="*/ 104 h 438"/>
                  <a:gd name="T44" fmla="*/ 49 w 422"/>
                  <a:gd name="T45" fmla="*/ 105 h 438"/>
                  <a:gd name="T46" fmla="*/ 37 w 422"/>
                  <a:gd name="T47" fmla="*/ 112 h 438"/>
                  <a:gd name="T48" fmla="*/ 21 w 422"/>
                  <a:gd name="T49" fmla="*/ 130 h 438"/>
                  <a:gd name="T50" fmla="*/ 16 w 422"/>
                  <a:gd name="T51" fmla="*/ 149 h 438"/>
                  <a:gd name="T52" fmla="*/ 5 w 422"/>
                  <a:gd name="T53" fmla="*/ 183 h 438"/>
                  <a:gd name="T54" fmla="*/ 1 w 422"/>
                  <a:gd name="T55" fmla="*/ 201 h 438"/>
                  <a:gd name="T56" fmla="*/ 1 w 422"/>
                  <a:gd name="T57" fmla="*/ 223 h 438"/>
                  <a:gd name="T58" fmla="*/ 19 w 422"/>
                  <a:gd name="T59" fmla="*/ 253 h 438"/>
                  <a:gd name="T60" fmla="*/ 43 w 422"/>
                  <a:gd name="T61" fmla="*/ 258 h 438"/>
                  <a:gd name="T62" fmla="*/ 58 w 422"/>
                  <a:gd name="T63" fmla="*/ 275 h 438"/>
                  <a:gd name="T64" fmla="*/ 85 w 422"/>
                  <a:gd name="T65" fmla="*/ 288 h 438"/>
                  <a:gd name="T66" fmla="*/ 109 w 422"/>
                  <a:gd name="T67" fmla="*/ 293 h 438"/>
                  <a:gd name="T68" fmla="*/ 113 w 422"/>
                  <a:gd name="T69" fmla="*/ 321 h 438"/>
                  <a:gd name="T70" fmla="*/ 131 w 422"/>
                  <a:gd name="T71" fmla="*/ 341 h 438"/>
                  <a:gd name="T72" fmla="*/ 153 w 422"/>
                  <a:gd name="T73" fmla="*/ 347 h 438"/>
                  <a:gd name="T74" fmla="*/ 172 w 422"/>
                  <a:gd name="T75" fmla="*/ 351 h 438"/>
                  <a:gd name="T76" fmla="*/ 173 w 422"/>
                  <a:gd name="T77" fmla="*/ 371 h 438"/>
                  <a:gd name="T78" fmla="*/ 156 w 422"/>
                  <a:gd name="T79" fmla="*/ 388 h 438"/>
                  <a:gd name="T80" fmla="*/ 144 w 422"/>
                  <a:gd name="T81" fmla="*/ 407 h 438"/>
                  <a:gd name="T82" fmla="*/ 166 w 422"/>
                  <a:gd name="T83" fmla="*/ 424 h 438"/>
                  <a:gd name="T84" fmla="*/ 179 w 422"/>
                  <a:gd name="T85" fmla="*/ 435 h 438"/>
                  <a:gd name="T86" fmla="*/ 195 w 422"/>
                  <a:gd name="T87" fmla="*/ 427 h 438"/>
                  <a:gd name="T88" fmla="*/ 216 w 422"/>
                  <a:gd name="T89" fmla="*/ 427 h 438"/>
                  <a:gd name="T90" fmla="*/ 239 w 422"/>
                  <a:gd name="T91" fmla="*/ 409 h 438"/>
                  <a:gd name="T92" fmla="*/ 253 w 422"/>
                  <a:gd name="T93" fmla="*/ 398 h 438"/>
                  <a:gd name="T94" fmla="*/ 277 w 422"/>
                  <a:gd name="T95" fmla="*/ 396 h 438"/>
                  <a:gd name="T96" fmla="*/ 288 w 422"/>
                  <a:gd name="T97" fmla="*/ 409 h 438"/>
                  <a:gd name="T98" fmla="*/ 307 w 422"/>
                  <a:gd name="T99" fmla="*/ 406 h 438"/>
                  <a:gd name="T100" fmla="*/ 326 w 422"/>
                  <a:gd name="T101" fmla="*/ 404 h 438"/>
                  <a:gd name="T102" fmla="*/ 346 w 422"/>
                  <a:gd name="T103" fmla="*/ 392 h 438"/>
                  <a:gd name="T104" fmla="*/ 363 w 422"/>
                  <a:gd name="T105" fmla="*/ 370 h 438"/>
                  <a:gd name="T106" fmla="*/ 354 w 422"/>
                  <a:gd name="T107" fmla="*/ 355 h 438"/>
                  <a:gd name="T108" fmla="*/ 363 w 422"/>
                  <a:gd name="T109" fmla="*/ 332 h 438"/>
                  <a:gd name="T110" fmla="*/ 375 w 422"/>
                  <a:gd name="T111" fmla="*/ 311 h 438"/>
                  <a:gd name="T112" fmla="*/ 377 w 422"/>
                  <a:gd name="T113" fmla="*/ 289 h 438"/>
                  <a:gd name="T114" fmla="*/ 396 w 422"/>
                  <a:gd name="T115" fmla="*/ 275 h 438"/>
                  <a:gd name="T116" fmla="*/ 405 w 422"/>
                  <a:gd name="T117" fmla="*/ 253 h 438"/>
                  <a:gd name="T118" fmla="*/ 410 w 422"/>
                  <a:gd name="T119" fmla="*/ 221 h 438"/>
                  <a:gd name="T120" fmla="*/ 408 w 422"/>
                  <a:gd name="T121" fmla="*/ 201 h 43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422"/>
                  <a:gd name="T184" fmla="*/ 0 h 438"/>
                  <a:gd name="T185" fmla="*/ 422 w 422"/>
                  <a:gd name="T186" fmla="*/ 438 h 43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422" h="438">
                    <a:moveTo>
                      <a:pt x="422" y="187"/>
                    </a:moveTo>
                    <a:lnTo>
                      <a:pt x="421" y="184"/>
                    </a:lnTo>
                    <a:lnTo>
                      <a:pt x="417" y="183"/>
                    </a:lnTo>
                    <a:lnTo>
                      <a:pt x="417" y="182"/>
                    </a:lnTo>
                    <a:lnTo>
                      <a:pt x="415" y="182"/>
                    </a:lnTo>
                    <a:lnTo>
                      <a:pt x="414" y="181"/>
                    </a:lnTo>
                    <a:lnTo>
                      <a:pt x="414" y="180"/>
                    </a:lnTo>
                    <a:lnTo>
                      <a:pt x="413" y="179"/>
                    </a:lnTo>
                    <a:lnTo>
                      <a:pt x="413" y="178"/>
                    </a:lnTo>
                    <a:lnTo>
                      <a:pt x="411" y="177"/>
                    </a:lnTo>
                    <a:lnTo>
                      <a:pt x="412" y="175"/>
                    </a:lnTo>
                    <a:lnTo>
                      <a:pt x="414" y="175"/>
                    </a:lnTo>
                    <a:lnTo>
                      <a:pt x="415" y="174"/>
                    </a:lnTo>
                    <a:lnTo>
                      <a:pt x="417" y="172"/>
                    </a:lnTo>
                    <a:lnTo>
                      <a:pt x="417" y="169"/>
                    </a:lnTo>
                    <a:lnTo>
                      <a:pt x="418" y="169"/>
                    </a:lnTo>
                    <a:lnTo>
                      <a:pt x="418" y="168"/>
                    </a:lnTo>
                    <a:lnTo>
                      <a:pt x="418" y="164"/>
                    </a:lnTo>
                    <a:lnTo>
                      <a:pt x="418" y="163"/>
                    </a:lnTo>
                    <a:lnTo>
                      <a:pt x="414" y="157"/>
                    </a:lnTo>
                    <a:lnTo>
                      <a:pt x="414" y="155"/>
                    </a:lnTo>
                    <a:lnTo>
                      <a:pt x="413" y="152"/>
                    </a:lnTo>
                    <a:lnTo>
                      <a:pt x="410" y="152"/>
                    </a:lnTo>
                    <a:lnTo>
                      <a:pt x="408" y="149"/>
                    </a:lnTo>
                    <a:lnTo>
                      <a:pt x="408" y="147"/>
                    </a:lnTo>
                    <a:lnTo>
                      <a:pt x="405" y="145"/>
                    </a:lnTo>
                    <a:lnTo>
                      <a:pt x="403" y="145"/>
                    </a:lnTo>
                    <a:lnTo>
                      <a:pt x="400" y="142"/>
                    </a:lnTo>
                    <a:lnTo>
                      <a:pt x="398" y="143"/>
                    </a:lnTo>
                    <a:lnTo>
                      <a:pt x="396" y="140"/>
                    </a:lnTo>
                    <a:lnTo>
                      <a:pt x="395" y="142"/>
                    </a:lnTo>
                    <a:lnTo>
                      <a:pt x="394" y="142"/>
                    </a:lnTo>
                    <a:lnTo>
                      <a:pt x="392" y="142"/>
                    </a:lnTo>
                    <a:lnTo>
                      <a:pt x="391" y="139"/>
                    </a:lnTo>
                    <a:lnTo>
                      <a:pt x="390" y="138"/>
                    </a:lnTo>
                    <a:lnTo>
                      <a:pt x="387" y="136"/>
                    </a:lnTo>
                    <a:lnTo>
                      <a:pt x="389" y="132"/>
                    </a:lnTo>
                    <a:lnTo>
                      <a:pt x="387" y="131"/>
                    </a:lnTo>
                    <a:lnTo>
                      <a:pt x="385" y="128"/>
                    </a:lnTo>
                    <a:lnTo>
                      <a:pt x="382" y="122"/>
                    </a:lnTo>
                    <a:lnTo>
                      <a:pt x="380" y="120"/>
                    </a:lnTo>
                    <a:lnTo>
                      <a:pt x="377" y="119"/>
                    </a:lnTo>
                    <a:lnTo>
                      <a:pt x="375" y="117"/>
                    </a:lnTo>
                    <a:lnTo>
                      <a:pt x="374" y="117"/>
                    </a:lnTo>
                    <a:lnTo>
                      <a:pt x="372" y="117"/>
                    </a:lnTo>
                    <a:lnTo>
                      <a:pt x="372" y="115"/>
                    </a:lnTo>
                    <a:lnTo>
                      <a:pt x="370" y="114"/>
                    </a:lnTo>
                    <a:lnTo>
                      <a:pt x="369" y="111"/>
                    </a:lnTo>
                    <a:lnTo>
                      <a:pt x="368" y="111"/>
                    </a:lnTo>
                    <a:lnTo>
                      <a:pt x="367" y="113"/>
                    </a:lnTo>
                    <a:lnTo>
                      <a:pt x="366" y="113"/>
                    </a:lnTo>
                    <a:lnTo>
                      <a:pt x="364" y="110"/>
                    </a:lnTo>
                    <a:lnTo>
                      <a:pt x="362" y="108"/>
                    </a:lnTo>
                    <a:lnTo>
                      <a:pt x="360" y="108"/>
                    </a:lnTo>
                    <a:lnTo>
                      <a:pt x="358" y="110"/>
                    </a:lnTo>
                    <a:lnTo>
                      <a:pt x="357" y="109"/>
                    </a:lnTo>
                    <a:lnTo>
                      <a:pt x="358" y="108"/>
                    </a:lnTo>
                    <a:lnTo>
                      <a:pt x="356" y="105"/>
                    </a:lnTo>
                    <a:lnTo>
                      <a:pt x="355" y="103"/>
                    </a:lnTo>
                    <a:lnTo>
                      <a:pt x="351" y="105"/>
                    </a:lnTo>
                    <a:lnTo>
                      <a:pt x="348" y="104"/>
                    </a:lnTo>
                    <a:lnTo>
                      <a:pt x="346" y="104"/>
                    </a:lnTo>
                    <a:lnTo>
                      <a:pt x="345" y="105"/>
                    </a:lnTo>
                    <a:lnTo>
                      <a:pt x="343" y="103"/>
                    </a:lnTo>
                    <a:lnTo>
                      <a:pt x="342" y="97"/>
                    </a:lnTo>
                    <a:lnTo>
                      <a:pt x="340" y="94"/>
                    </a:lnTo>
                    <a:lnTo>
                      <a:pt x="339" y="93"/>
                    </a:lnTo>
                    <a:lnTo>
                      <a:pt x="338" y="91"/>
                    </a:lnTo>
                    <a:lnTo>
                      <a:pt x="337" y="91"/>
                    </a:lnTo>
                    <a:lnTo>
                      <a:pt x="335" y="89"/>
                    </a:lnTo>
                    <a:lnTo>
                      <a:pt x="334" y="89"/>
                    </a:lnTo>
                    <a:lnTo>
                      <a:pt x="333" y="88"/>
                    </a:lnTo>
                    <a:lnTo>
                      <a:pt x="332" y="91"/>
                    </a:lnTo>
                    <a:lnTo>
                      <a:pt x="331" y="90"/>
                    </a:lnTo>
                    <a:lnTo>
                      <a:pt x="329" y="88"/>
                    </a:lnTo>
                    <a:lnTo>
                      <a:pt x="328" y="87"/>
                    </a:lnTo>
                    <a:lnTo>
                      <a:pt x="326" y="87"/>
                    </a:lnTo>
                    <a:lnTo>
                      <a:pt x="324" y="87"/>
                    </a:lnTo>
                    <a:lnTo>
                      <a:pt x="321" y="83"/>
                    </a:lnTo>
                    <a:lnTo>
                      <a:pt x="321" y="81"/>
                    </a:lnTo>
                    <a:lnTo>
                      <a:pt x="321" y="79"/>
                    </a:lnTo>
                    <a:lnTo>
                      <a:pt x="321" y="78"/>
                    </a:lnTo>
                    <a:lnTo>
                      <a:pt x="322" y="77"/>
                    </a:lnTo>
                    <a:lnTo>
                      <a:pt x="321" y="78"/>
                    </a:lnTo>
                    <a:lnTo>
                      <a:pt x="320" y="76"/>
                    </a:lnTo>
                    <a:lnTo>
                      <a:pt x="318" y="76"/>
                    </a:lnTo>
                    <a:lnTo>
                      <a:pt x="318" y="79"/>
                    </a:lnTo>
                    <a:lnTo>
                      <a:pt x="311" y="84"/>
                    </a:lnTo>
                    <a:lnTo>
                      <a:pt x="310" y="88"/>
                    </a:lnTo>
                    <a:lnTo>
                      <a:pt x="310" y="92"/>
                    </a:lnTo>
                    <a:lnTo>
                      <a:pt x="309" y="93"/>
                    </a:lnTo>
                    <a:lnTo>
                      <a:pt x="305" y="91"/>
                    </a:lnTo>
                    <a:lnTo>
                      <a:pt x="306" y="97"/>
                    </a:lnTo>
                    <a:lnTo>
                      <a:pt x="303" y="98"/>
                    </a:lnTo>
                    <a:lnTo>
                      <a:pt x="301" y="98"/>
                    </a:lnTo>
                    <a:lnTo>
                      <a:pt x="299" y="97"/>
                    </a:lnTo>
                    <a:lnTo>
                      <a:pt x="297" y="97"/>
                    </a:lnTo>
                    <a:lnTo>
                      <a:pt x="296" y="98"/>
                    </a:lnTo>
                    <a:lnTo>
                      <a:pt x="295" y="98"/>
                    </a:lnTo>
                    <a:lnTo>
                      <a:pt x="292" y="93"/>
                    </a:lnTo>
                    <a:lnTo>
                      <a:pt x="291" y="93"/>
                    </a:lnTo>
                    <a:lnTo>
                      <a:pt x="291" y="92"/>
                    </a:lnTo>
                    <a:lnTo>
                      <a:pt x="289" y="91"/>
                    </a:lnTo>
                    <a:lnTo>
                      <a:pt x="286" y="88"/>
                    </a:lnTo>
                    <a:lnTo>
                      <a:pt x="283" y="88"/>
                    </a:lnTo>
                    <a:lnTo>
                      <a:pt x="279" y="84"/>
                    </a:lnTo>
                    <a:lnTo>
                      <a:pt x="280" y="83"/>
                    </a:lnTo>
                    <a:lnTo>
                      <a:pt x="278" y="80"/>
                    </a:lnTo>
                    <a:lnTo>
                      <a:pt x="281" y="75"/>
                    </a:lnTo>
                    <a:lnTo>
                      <a:pt x="283" y="74"/>
                    </a:lnTo>
                    <a:lnTo>
                      <a:pt x="283" y="69"/>
                    </a:lnTo>
                    <a:lnTo>
                      <a:pt x="281" y="70"/>
                    </a:lnTo>
                    <a:lnTo>
                      <a:pt x="279" y="71"/>
                    </a:lnTo>
                    <a:lnTo>
                      <a:pt x="278" y="70"/>
                    </a:lnTo>
                    <a:lnTo>
                      <a:pt x="274" y="68"/>
                    </a:lnTo>
                    <a:lnTo>
                      <a:pt x="272" y="63"/>
                    </a:lnTo>
                    <a:lnTo>
                      <a:pt x="271" y="63"/>
                    </a:lnTo>
                    <a:lnTo>
                      <a:pt x="269" y="61"/>
                    </a:lnTo>
                    <a:lnTo>
                      <a:pt x="268" y="60"/>
                    </a:lnTo>
                    <a:lnTo>
                      <a:pt x="266" y="61"/>
                    </a:lnTo>
                    <a:lnTo>
                      <a:pt x="265" y="58"/>
                    </a:lnTo>
                    <a:lnTo>
                      <a:pt x="264" y="59"/>
                    </a:lnTo>
                    <a:lnTo>
                      <a:pt x="264" y="60"/>
                    </a:lnTo>
                    <a:lnTo>
                      <a:pt x="263" y="59"/>
                    </a:lnTo>
                    <a:lnTo>
                      <a:pt x="261" y="61"/>
                    </a:lnTo>
                    <a:lnTo>
                      <a:pt x="260" y="61"/>
                    </a:lnTo>
                    <a:lnTo>
                      <a:pt x="260" y="59"/>
                    </a:lnTo>
                    <a:lnTo>
                      <a:pt x="260" y="56"/>
                    </a:lnTo>
                    <a:lnTo>
                      <a:pt x="261" y="51"/>
                    </a:lnTo>
                    <a:lnTo>
                      <a:pt x="263" y="49"/>
                    </a:lnTo>
                    <a:lnTo>
                      <a:pt x="261" y="49"/>
                    </a:lnTo>
                    <a:lnTo>
                      <a:pt x="261" y="50"/>
                    </a:lnTo>
                    <a:lnTo>
                      <a:pt x="259" y="49"/>
                    </a:lnTo>
                    <a:lnTo>
                      <a:pt x="257" y="49"/>
                    </a:lnTo>
                    <a:lnTo>
                      <a:pt x="255" y="47"/>
                    </a:lnTo>
                    <a:lnTo>
                      <a:pt x="252" y="47"/>
                    </a:lnTo>
                    <a:lnTo>
                      <a:pt x="248" y="45"/>
                    </a:lnTo>
                    <a:lnTo>
                      <a:pt x="249" y="45"/>
                    </a:lnTo>
                    <a:lnTo>
                      <a:pt x="248" y="43"/>
                    </a:lnTo>
                    <a:lnTo>
                      <a:pt x="248" y="42"/>
                    </a:lnTo>
                    <a:lnTo>
                      <a:pt x="247" y="43"/>
                    </a:lnTo>
                    <a:lnTo>
                      <a:pt x="247" y="42"/>
                    </a:lnTo>
                    <a:lnTo>
                      <a:pt x="246" y="42"/>
                    </a:lnTo>
                    <a:lnTo>
                      <a:pt x="245" y="41"/>
                    </a:lnTo>
                    <a:lnTo>
                      <a:pt x="246" y="41"/>
                    </a:lnTo>
                    <a:lnTo>
                      <a:pt x="247" y="40"/>
                    </a:lnTo>
                    <a:lnTo>
                      <a:pt x="246" y="40"/>
                    </a:lnTo>
                    <a:lnTo>
                      <a:pt x="245" y="40"/>
                    </a:lnTo>
                    <a:lnTo>
                      <a:pt x="245" y="37"/>
                    </a:lnTo>
                    <a:lnTo>
                      <a:pt x="244" y="36"/>
                    </a:lnTo>
                    <a:lnTo>
                      <a:pt x="244" y="35"/>
                    </a:lnTo>
                    <a:lnTo>
                      <a:pt x="242" y="37"/>
                    </a:lnTo>
                    <a:lnTo>
                      <a:pt x="240" y="36"/>
                    </a:lnTo>
                    <a:lnTo>
                      <a:pt x="240" y="34"/>
                    </a:lnTo>
                    <a:lnTo>
                      <a:pt x="239" y="36"/>
                    </a:lnTo>
                    <a:lnTo>
                      <a:pt x="237" y="34"/>
                    </a:lnTo>
                    <a:lnTo>
                      <a:pt x="237" y="33"/>
                    </a:lnTo>
                    <a:lnTo>
                      <a:pt x="239" y="33"/>
                    </a:lnTo>
                    <a:lnTo>
                      <a:pt x="238" y="31"/>
                    </a:lnTo>
                    <a:lnTo>
                      <a:pt x="235" y="31"/>
                    </a:lnTo>
                    <a:lnTo>
                      <a:pt x="235" y="30"/>
                    </a:lnTo>
                    <a:lnTo>
                      <a:pt x="234" y="30"/>
                    </a:lnTo>
                    <a:lnTo>
                      <a:pt x="233" y="30"/>
                    </a:lnTo>
                    <a:lnTo>
                      <a:pt x="232" y="27"/>
                    </a:lnTo>
                    <a:lnTo>
                      <a:pt x="231" y="28"/>
                    </a:lnTo>
                    <a:lnTo>
                      <a:pt x="230" y="32"/>
                    </a:lnTo>
                    <a:lnTo>
                      <a:pt x="228" y="32"/>
                    </a:lnTo>
                    <a:lnTo>
                      <a:pt x="227" y="31"/>
                    </a:lnTo>
                    <a:lnTo>
                      <a:pt x="226" y="32"/>
                    </a:lnTo>
                    <a:lnTo>
                      <a:pt x="225" y="28"/>
                    </a:lnTo>
                    <a:lnTo>
                      <a:pt x="226" y="27"/>
                    </a:lnTo>
                    <a:lnTo>
                      <a:pt x="223" y="27"/>
                    </a:lnTo>
                    <a:lnTo>
                      <a:pt x="223" y="28"/>
                    </a:lnTo>
                    <a:lnTo>
                      <a:pt x="221" y="28"/>
                    </a:lnTo>
                    <a:lnTo>
                      <a:pt x="221" y="29"/>
                    </a:lnTo>
                    <a:lnTo>
                      <a:pt x="220" y="29"/>
                    </a:lnTo>
                    <a:lnTo>
                      <a:pt x="220" y="28"/>
                    </a:lnTo>
                    <a:lnTo>
                      <a:pt x="218" y="28"/>
                    </a:lnTo>
                    <a:lnTo>
                      <a:pt x="216" y="28"/>
                    </a:lnTo>
                    <a:lnTo>
                      <a:pt x="215" y="28"/>
                    </a:lnTo>
                    <a:lnTo>
                      <a:pt x="215" y="27"/>
                    </a:lnTo>
                    <a:lnTo>
                      <a:pt x="213" y="28"/>
                    </a:lnTo>
                    <a:lnTo>
                      <a:pt x="213" y="27"/>
                    </a:lnTo>
                    <a:lnTo>
                      <a:pt x="213" y="29"/>
                    </a:lnTo>
                    <a:lnTo>
                      <a:pt x="212" y="28"/>
                    </a:lnTo>
                    <a:lnTo>
                      <a:pt x="213" y="27"/>
                    </a:lnTo>
                    <a:lnTo>
                      <a:pt x="213" y="24"/>
                    </a:lnTo>
                    <a:lnTo>
                      <a:pt x="212" y="24"/>
                    </a:lnTo>
                    <a:lnTo>
                      <a:pt x="212" y="23"/>
                    </a:lnTo>
                    <a:lnTo>
                      <a:pt x="210" y="23"/>
                    </a:lnTo>
                    <a:lnTo>
                      <a:pt x="209" y="21"/>
                    </a:lnTo>
                    <a:lnTo>
                      <a:pt x="209" y="19"/>
                    </a:lnTo>
                    <a:lnTo>
                      <a:pt x="207" y="19"/>
                    </a:lnTo>
                    <a:lnTo>
                      <a:pt x="206" y="17"/>
                    </a:lnTo>
                    <a:lnTo>
                      <a:pt x="206" y="16"/>
                    </a:lnTo>
                    <a:lnTo>
                      <a:pt x="204" y="16"/>
                    </a:lnTo>
                    <a:lnTo>
                      <a:pt x="201" y="11"/>
                    </a:lnTo>
                    <a:lnTo>
                      <a:pt x="199" y="11"/>
                    </a:lnTo>
                    <a:lnTo>
                      <a:pt x="198" y="10"/>
                    </a:lnTo>
                    <a:lnTo>
                      <a:pt x="196" y="7"/>
                    </a:lnTo>
                    <a:lnTo>
                      <a:pt x="195" y="6"/>
                    </a:lnTo>
                    <a:lnTo>
                      <a:pt x="193" y="4"/>
                    </a:lnTo>
                    <a:lnTo>
                      <a:pt x="190" y="0"/>
                    </a:lnTo>
                    <a:lnTo>
                      <a:pt x="189" y="1"/>
                    </a:lnTo>
                    <a:lnTo>
                      <a:pt x="189" y="4"/>
                    </a:lnTo>
                    <a:lnTo>
                      <a:pt x="187" y="6"/>
                    </a:lnTo>
                    <a:lnTo>
                      <a:pt x="186" y="4"/>
                    </a:lnTo>
                    <a:lnTo>
                      <a:pt x="183" y="4"/>
                    </a:lnTo>
                    <a:lnTo>
                      <a:pt x="183" y="5"/>
                    </a:lnTo>
                    <a:lnTo>
                      <a:pt x="183" y="6"/>
                    </a:lnTo>
                    <a:lnTo>
                      <a:pt x="183" y="7"/>
                    </a:lnTo>
                    <a:lnTo>
                      <a:pt x="181" y="8"/>
                    </a:lnTo>
                    <a:lnTo>
                      <a:pt x="180" y="8"/>
                    </a:lnTo>
                    <a:lnTo>
                      <a:pt x="180" y="10"/>
                    </a:lnTo>
                    <a:lnTo>
                      <a:pt x="179" y="10"/>
                    </a:lnTo>
                    <a:lnTo>
                      <a:pt x="178" y="7"/>
                    </a:lnTo>
                    <a:lnTo>
                      <a:pt x="176" y="6"/>
                    </a:lnTo>
                    <a:lnTo>
                      <a:pt x="175" y="6"/>
                    </a:lnTo>
                    <a:lnTo>
                      <a:pt x="171" y="10"/>
                    </a:lnTo>
                    <a:lnTo>
                      <a:pt x="171" y="11"/>
                    </a:lnTo>
                    <a:lnTo>
                      <a:pt x="169" y="11"/>
                    </a:lnTo>
                    <a:lnTo>
                      <a:pt x="167" y="13"/>
                    </a:lnTo>
                    <a:lnTo>
                      <a:pt x="166" y="16"/>
                    </a:lnTo>
                    <a:lnTo>
                      <a:pt x="166" y="17"/>
                    </a:lnTo>
                    <a:lnTo>
                      <a:pt x="166" y="19"/>
                    </a:lnTo>
                    <a:lnTo>
                      <a:pt x="168" y="19"/>
                    </a:lnTo>
                    <a:lnTo>
                      <a:pt x="169" y="19"/>
                    </a:lnTo>
                    <a:lnTo>
                      <a:pt x="169" y="21"/>
                    </a:lnTo>
                    <a:lnTo>
                      <a:pt x="170" y="22"/>
                    </a:lnTo>
                    <a:lnTo>
                      <a:pt x="169" y="24"/>
                    </a:lnTo>
                    <a:lnTo>
                      <a:pt x="171" y="25"/>
                    </a:lnTo>
                    <a:lnTo>
                      <a:pt x="170" y="26"/>
                    </a:lnTo>
                    <a:lnTo>
                      <a:pt x="170" y="27"/>
                    </a:lnTo>
                    <a:lnTo>
                      <a:pt x="169" y="28"/>
                    </a:lnTo>
                    <a:lnTo>
                      <a:pt x="167" y="28"/>
                    </a:lnTo>
                    <a:lnTo>
                      <a:pt x="166" y="30"/>
                    </a:lnTo>
                    <a:lnTo>
                      <a:pt x="165" y="29"/>
                    </a:lnTo>
                    <a:lnTo>
                      <a:pt x="164" y="29"/>
                    </a:lnTo>
                    <a:lnTo>
                      <a:pt x="164" y="28"/>
                    </a:lnTo>
                    <a:lnTo>
                      <a:pt x="162" y="29"/>
                    </a:lnTo>
                    <a:lnTo>
                      <a:pt x="159" y="27"/>
                    </a:lnTo>
                    <a:lnTo>
                      <a:pt x="159" y="28"/>
                    </a:lnTo>
                    <a:lnTo>
                      <a:pt x="158" y="28"/>
                    </a:lnTo>
                    <a:lnTo>
                      <a:pt x="157" y="27"/>
                    </a:lnTo>
                    <a:lnTo>
                      <a:pt x="157" y="24"/>
                    </a:lnTo>
                    <a:lnTo>
                      <a:pt x="156" y="25"/>
                    </a:lnTo>
                    <a:lnTo>
                      <a:pt x="156" y="24"/>
                    </a:lnTo>
                    <a:lnTo>
                      <a:pt x="155" y="27"/>
                    </a:lnTo>
                    <a:lnTo>
                      <a:pt x="152" y="29"/>
                    </a:lnTo>
                    <a:lnTo>
                      <a:pt x="151" y="32"/>
                    </a:lnTo>
                    <a:lnTo>
                      <a:pt x="152" y="33"/>
                    </a:lnTo>
                    <a:lnTo>
                      <a:pt x="151" y="34"/>
                    </a:lnTo>
                    <a:lnTo>
                      <a:pt x="151" y="36"/>
                    </a:lnTo>
                    <a:lnTo>
                      <a:pt x="150" y="36"/>
                    </a:lnTo>
                    <a:lnTo>
                      <a:pt x="150" y="34"/>
                    </a:lnTo>
                    <a:lnTo>
                      <a:pt x="148" y="34"/>
                    </a:lnTo>
                    <a:lnTo>
                      <a:pt x="145" y="37"/>
                    </a:lnTo>
                    <a:lnTo>
                      <a:pt x="142" y="34"/>
                    </a:lnTo>
                    <a:lnTo>
                      <a:pt x="139" y="36"/>
                    </a:lnTo>
                    <a:lnTo>
                      <a:pt x="136" y="38"/>
                    </a:lnTo>
                    <a:lnTo>
                      <a:pt x="135" y="38"/>
                    </a:lnTo>
                    <a:lnTo>
                      <a:pt x="134" y="38"/>
                    </a:lnTo>
                    <a:lnTo>
                      <a:pt x="133" y="38"/>
                    </a:lnTo>
                    <a:lnTo>
                      <a:pt x="131" y="38"/>
                    </a:lnTo>
                    <a:lnTo>
                      <a:pt x="131" y="36"/>
                    </a:lnTo>
                    <a:lnTo>
                      <a:pt x="131" y="38"/>
                    </a:lnTo>
                    <a:lnTo>
                      <a:pt x="130" y="38"/>
                    </a:lnTo>
                    <a:lnTo>
                      <a:pt x="128" y="38"/>
                    </a:lnTo>
                    <a:lnTo>
                      <a:pt x="127" y="40"/>
                    </a:lnTo>
                    <a:lnTo>
                      <a:pt x="126" y="39"/>
                    </a:lnTo>
                    <a:lnTo>
                      <a:pt x="125" y="40"/>
                    </a:lnTo>
                    <a:lnTo>
                      <a:pt x="126" y="41"/>
                    </a:lnTo>
                    <a:lnTo>
                      <a:pt x="123" y="42"/>
                    </a:lnTo>
                    <a:lnTo>
                      <a:pt x="123" y="41"/>
                    </a:lnTo>
                    <a:lnTo>
                      <a:pt x="122" y="43"/>
                    </a:lnTo>
                    <a:lnTo>
                      <a:pt x="121" y="41"/>
                    </a:lnTo>
                    <a:lnTo>
                      <a:pt x="120" y="42"/>
                    </a:lnTo>
                    <a:lnTo>
                      <a:pt x="120" y="41"/>
                    </a:lnTo>
                    <a:lnTo>
                      <a:pt x="117" y="41"/>
                    </a:lnTo>
                    <a:lnTo>
                      <a:pt x="120" y="38"/>
                    </a:lnTo>
                    <a:lnTo>
                      <a:pt x="119" y="37"/>
                    </a:lnTo>
                    <a:lnTo>
                      <a:pt x="118" y="37"/>
                    </a:lnTo>
                    <a:lnTo>
                      <a:pt x="117" y="38"/>
                    </a:lnTo>
                    <a:lnTo>
                      <a:pt x="115" y="38"/>
                    </a:lnTo>
                    <a:lnTo>
                      <a:pt x="114" y="40"/>
                    </a:lnTo>
                    <a:lnTo>
                      <a:pt x="112" y="40"/>
                    </a:lnTo>
                    <a:lnTo>
                      <a:pt x="112" y="39"/>
                    </a:lnTo>
                    <a:lnTo>
                      <a:pt x="110" y="41"/>
                    </a:lnTo>
                    <a:lnTo>
                      <a:pt x="109" y="41"/>
                    </a:lnTo>
                    <a:lnTo>
                      <a:pt x="109" y="43"/>
                    </a:lnTo>
                    <a:lnTo>
                      <a:pt x="110" y="44"/>
                    </a:lnTo>
                    <a:lnTo>
                      <a:pt x="110" y="45"/>
                    </a:lnTo>
                    <a:lnTo>
                      <a:pt x="107" y="47"/>
                    </a:lnTo>
                    <a:lnTo>
                      <a:pt x="107" y="51"/>
                    </a:lnTo>
                    <a:lnTo>
                      <a:pt x="107" y="53"/>
                    </a:lnTo>
                    <a:lnTo>
                      <a:pt x="102" y="55"/>
                    </a:lnTo>
                    <a:lnTo>
                      <a:pt x="102" y="56"/>
                    </a:lnTo>
                    <a:lnTo>
                      <a:pt x="100" y="59"/>
                    </a:lnTo>
                    <a:lnTo>
                      <a:pt x="99" y="59"/>
                    </a:lnTo>
                    <a:lnTo>
                      <a:pt x="99" y="58"/>
                    </a:lnTo>
                    <a:lnTo>
                      <a:pt x="98" y="58"/>
                    </a:lnTo>
                    <a:lnTo>
                      <a:pt x="98" y="59"/>
                    </a:lnTo>
                    <a:lnTo>
                      <a:pt x="97" y="59"/>
                    </a:lnTo>
                    <a:lnTo>
                      <a:pt x="98" y="61"/>
                    </a:lnTo>
                    <a:lnTo>
                      <a:pt x="96" y="62"/>
                    </a:lnTo>
                    <a:lnTo>
                      <a:pt x="96" y="64"/>
                    </a:lnTo>
                    <a:lnTo>
                      <a:pt x="95" y="65"/>
                    </a:lnTo>
                    <a:lnTo>
                      <a:pt x="96" y="67"/>
                    </a:lnTo>
                    <a:lnTo>
                      <a:pt x="94" y="71"/>
                    </a:lnTo>
                    <a:lnTo>
                      <a:pt x="95" y="73"/>
                    </a:lnTo>
                    <a:lnTo>
                      <a:pt x="94" y="75"/>
                    </a:lnTo>
                    <a:lnTo>
                      <a:pt x="96" y="76"/>
                    </a:lnTo>
                    <a:lnTo>
                      <a:pt x="95" y="76"/>
                    </a:lnTo>
                    <a:lnTo>
                      <a:pt x="96" y="80"/>
                    </a:lnTo>
                    <a:lnTo>
                      <a:pt x="97" y="80"/>
                    </a:lnTo>
                    <a:lnTo>
                      <a:pt x="99" y="77"/>
                    </a:lnTo>
                    <a:lnTo>
                      <a:pt x="101" y="82"/>
                    </a:lnTo>
                    <a:lnTo>
                      <a:pt x="104" y="81"/>
                    </a:lnTo>
                    <a:lnTo>
                      <a:pt x="109" y="82"/>
                    </a:lnTo>
                    <a:lnTo>
                      <a:pt x="108" y="84"/>
                    </a:lnTo>
                    <a:lnTo>
                      <a:pt x="109" y="88"/>
                    </a:lnTo>
                    <a:lnTo>
                      <a:pt x="112" y="93"/>
                    </a:lnTo>
                    <a:lnTo>
                      <a:pt x="112" y="94"/>
                    </a:lnTo>
                    <a:lnTo>
                      <a:pt x="110" y="95"/>
                    </a:lnTo>
                    <a:lnTo>
                      <a:pt x="110" y="97"/>
                    </a:lnTo>
                    <a:lnTo>
                      <a:pt x="111" y="98"/>
                    </a:lnTo>
                    <a:lnTo>
                      <a:pt x="109" y="102"/>
                    </a:lnTo>
                    <a:lnTo>
                      <a:pt x="108" y="100"/>
                    </a:lnTo>
                    <a:lnTo>
                      <a:pt x="108" y="102"/>
                    </a:lnTo>
                    <a:lnTo>
                      <a:pt x="107" y="102"/>
                    </a:lnTo>
                    <a:lnTo>
                      <a:pt x="105" y="104"/>
                    </a:lnTo>
                    <a:lnTo>
                      <a:pt x="105" y="105"/>
                    </a:lnTo>
                    <a:lnTo>
                      <a:pt x="102" y="106"/>
                    </a:lnTo>
                    <a:lnTo>
                      <a:pt x="102" y="105"/>
                    </a:lnTo>
                    <a:lnTo>
                      <a:pt x="101" y="105"/>
                    </a:lnTo>
                    <a:lnTo>
                      <a:pt x="99" y="106"/>
                    </a:lnTo>
                    <a:lnTo>
                      <a:pt x="99" y="105"/>
                    </a:lnTo>
                    <a:lnTo>
                      <a:pt x="98" y="106"/>
                    </a:lnTo>
                    <a:lnTo>
                      <a:pt x="97" y="104"/>
                    </a:lnTo>
                    <a:lnTo>
                      <a:pt x="94" y="102"/>
                    </a:lnTo>
                    <a:lnTo>
                      <a:pt x="94" y="103"/>
                    </a:lnTo>
                    <a:lnTo>
                      <a:pt x="92" y="102"/>
                    </a:lnTo>
                    <a:lnTo>
                      <a:pt x="92" y="105"/>
                    </a:lnTo>
                    <a:lnTo>
                      <a:pt x="90" y="106"/>
                    </a:lnTo>
                    <a:lnTo>
                      <a:pt x="89" y="105"/>
                    </a:lnTo>
                    <a:lnTo>
                      <a:pt x="90" y="104"/>
                    </a:lnTo>
                    <a:lnTo>
                      <a:pt x="88" y="104"/>
                    </a:lnTo>
                    <a:lnTo>
                      <a:pt x="88" y="105"/>
                    </a:lnTo>
                    <a:lnTo>
                      <a:pt x="89" y="106"/>
                    </a:lnTo>
                    <a:lnTo>
                      <a:pt x="89" y="108"/>
                    </a:lnTo>
                    <a:lnTo>
                      <a:pt x="87" y="108"/>
                    </a:lnTo>
                    <a:lnTo>
                      <a:pt x="87" y="110"/>
                    </a:lnTo>
                    <a:lnTo>
                      <a:pt x="86" y="110"/>
                    </a:lnTo>
                    <a:lnTo>
                      <a:pt x="86" y="111"/>
                    </a:lnTo>
                    <a:lnTo>
                      <a:pt x="86" y="113"/>
                    </a:lnTo>
                    <a:lnTo>
                      <a:pt x="86" y="114"/>
                    </a:lnTo>
                    <a:lnTo>
                      <a:pt x="82" y="114"/>
                    </a:lnTo>
                    <a:lnTo>
                      <a:pt x="82" y="111"/>
                    </a:lnTo>
                    <a:lnTo>
                      <a:pt x="82" y="109"/>
                    </a:lnTo>
                    <a:lnTo>
                      <a:pt x="79" y="107"/>
                    </a:lnTo>
                    <a:lnTo>
                      <a:pt x="79" y="108"/>
                    </a:lnTo>
                    <a:lnTo>
                      <a:pt x="77" y="108"/>
                    </a:lnTo>
                    <a:lnTo>
                      <a:pt x="76" y="108"/>
                    </a:lnTo>
                    <a:lnTo>
                      <a:pt x="75" y="108"/>
                    </a:lnTo>
                    <a:lnTo>
                      <a:pt x="74" y="106"/>
                    </a:lnTo>
                    <a:lnTo>
                      <a:pt x="74" y="105"/>
                    </a:lnTo>
                    <a:lnTo>
                      <a:pt x="73" y="105"/>
                    </a:lnTo>
                    <a:lnTo>
                      <a:pt x="73" y="104"/>
                    </a:lnTo>
                    <a:lnTo>
                      <a:pt x="74" y="104"/>
                    </a:lnTo>
                    <a:lnTo>
                      <a:pt x="74" y="103"/>
                    </a:lnTo>
                    <a:lnTo>
                      <a:pt x="73" y="103"/>
                    </a:lnTo>
                    <a:lnTo>
                      <a:pt x="72" y="104"/>
                    </a:lnTo>
                    <a:lnTo>
                      <a:pt x="71" y="104"/>
                    </a:lnTo>
                    <a:lnTo>
                      <a:pt x="70" y="104"/>
                    </a:lnTo>
                    <a:lnTo>
                      <a:pt x="70" y="107"/>
                    </a:lnTo>
                    <a:lnTo>
                      <a:pt x="68" y="105"/>
                    </a:lnTo>
                    <a:lnTo>
                      <a:pt x="65" y="106"/>
                    </a:lnTo>
                    <a:lnTo>
                      <a:pt x="65" y="108"/>
                    </a:lnTo>
                    <a:lnTo>
                      <a:pt x="63" y="108"/>
                    </a:lnTo>
                    <a:lnTo>
                      <a:pt x="62" y="106"/>
                    </a:lnTo>
                    <a:lnTo>
                      <a:pt x="61" y="108"/>
                    </a:lnTo>
                    <a:lnTo>
                      <a:pt x="60" y="108"/>
                    </a:lnTo>
                    <a:lnTo>
                      <a:pt x="59" y="107"/>
                    </a:lnTo>
                    <a:lnTo>
                      <a:pt x="57" y="108"/>
                    </a:lnTo>
                    <a:lnTo>
                      <a:pt x="54" y="105"/>
                    </a:lnTo>
                    <a:lnTo>
                      <a:pt x="52" y="105"/>
                    </a:lnTo>
                    <a:lnTo>
                      <a:pt x="52" y="104"/>
                    </a:lnTo>
                    <a:lnTo>
                      <a:pt x="49" y="104"/>
                    </a:lnTo>
                    <a:lnTo>
                      <a:pt x="49" y="105"/>
                    </a:lnTo>
                    <a:lnTo>
                      <a:pt x="48" y="105"/>
                    </a:lnTo>
                    <a:lnTo>
                      <a:pt x="47" y="105"/>
                    </a:lnTo>
                    <a:lnTo>
                      <a:pt x="47" y="104"/>
                    </a:lnTo>
                    <a:lnTo>
                      <a:pt x="46" y="104"/>
                    </a:lnTo>
                    <a:lnTo>
                      <a:pt x="44" y="103"/>
                    </a:lnTo>
                    <a:lnTo>
                      <a:pt x="45" y="102"/>
                    </a:lnTo>
                    <a:lnTo>
                      <a:pt x="43" y="100"/>
                    </a:lnTo>
                    <a:lnTo>
                      <a:pt x="38" y="100"/>
                    </a:lnTo>
                    <a:lnTo>
                      <a:pt x="36" y="100"/>
                    </a:lnTo>
                    <a:lnTo>
                      <a:pt x="33" y="104"/>
                    </a:lnTo>
                    <a:lnTo>
                      <a:pt x="34" y="105"/>
                    </a:lnTo>
                    <a:lnTo>
                      <a:pt x="36" y="106"/>
                    </a:lnTo>
                    <a:lnTo>
                      <a:pt x="37" y="109"/>
                    </a:lnTo>
                    <a:lnTo>
                      <a:pt x="37" y="110"/>
                    </a:lnTo>
                    <a:lnTo>
                      <a:pt x="37" y="111"/>
                    </a:lnTo>
                    <a:lnTo>
                      <a:pt x="37" y="112"/>
                    </a:lnTo>
                    <a:lnTo>
                      <a:pt x="34" y="113"/>
                    </a:lnTo>
                    <a:lnTo>
                      <a:pt x="30" y="111"/>
                    </a:lnTo>
                    <a:lnTo>
                      <a:pt x="29" y="114"/>
                    </a:lnTo>
                    <a:lnTo>
                      <a:pt x="26" y="111"/>
                    </a:lnTo>
                    <a:lnTo>
                      <a:pt x="24" y="111"/>
                    </a:lnTo>
                    <a:lnTo>
                      <a:pt x="23" y="112"/>
                    </a:lnTo>
                    <a:lnTo>
                      <a:pt x="23" y="115"/>
                    </a:lnTo>
                    <a:lnTo>
                      <a:pt x="22" y="115"/>
                    </a:lnTo>
                    <a:lnTo>
                      <a:pt x="22" y="116"/>
                    </a:lnTo>
                    <a:lnTo>
                      <a:pt x="23" y="117"/>
                    </a:lnTo>
                    <a:lnTo>
                      <a:pt x="24" y="121"/>
                    </a:lnTo>
                    <a:lnTo>
                      <a:pt x="23" y="121"/>
                    </a:lnTo>
                    <a:lnTo>
                      <a:pt x="21" y="121"/>
                    </a:lnTo>
                    <a:lnTo>
                      <a:pt x="21" y="124"/>
                    </a:lnTo>
                    <a:lnTo>
                      <a:pt x="19" y="127"/>
                    </a:lnTo>
                    <a:lnTo>
                      <a:pt x="21" y="130"/>
                    </a:lnTo>
                    <a:lnTo>
                      <a:pt x="21" y="134"/>
                    </a:lnTo>
                    <a:lnTo>
                      <a:pt x="22" y="135"/>
                    </a:lnTo>
                    <a:lnTo>
                      <a:pt x="22" y="136"/>
                    </a:lnTo>
                    <a:lnTo>
                      <a:pt x="20" y="138"/>
                    </a:lnTo>
                    <a:lnTo>
                      <a:pt x="17" y="136"/>
                    </a:lnTo>
                    <a:lnTo>
                      <a:pt x="16" y="136"/>
                    </a:lnTo>
                    <a:lnTo>
                      <a:pt x="14" y="135"/>
                    </a:lnTo>
                    <a:lnTo>
                      <a:pt x="14" y="136"/>
                    </a:lnTo>
                    <a:lnTo>
                      <a:pt x="13" y="135"/>
                    </a:lnTo>
                    <a:lnTo>
                      <a:pt x="11" y="138"/>
                    </a:lnTo>
                    <a:lnTo>
                      <a:pt x="11" y="140"/>
                    </a:lnTo>
                    <a:lnTo>
                      <a:pt x="13" y="141"/>
                    </a:lnTo>
                    <a:lnTo>
                      <a:pt x="14" y="142"/>
                    </a:lnTo>
                    <a:lnTo>
                      <a:pt x="14" y="143"/>
                    </a:lnTo>
                    <a:lnTo>
                      <a:pt x="14" y="144"/>
                    </a:lnTo>
                    <a:lnTo>
                      <a:pt x="17" y="148"/>
                    </a:lnTo>
                    <a:lnTo>
                      <a:pt x="16" y="148"/>
                    </a:lnTo>
                    <a:lnTo>
                      <a:pt x="16" y="149"/>
                    </a:lnTo>
                    <a:lnTo>
                      <a:pt x="17" y="149"/>
                    </a:lnTo>
                    <a:lnTo>
                      <a:pt x="16" y="152"/>
                    </a:lnTo>
                    <a:lnTo>
                      <a:pt x="17" y="155"/>
                    </a:lnTo>
                    <a:lnTo>
                      <a:pt x="16" y="155"/>
                    </a:lnTo>
                    <a:lnTo>
                      <a:pt x="14" y="158"/>
                    </a:lnTo>
                    <a:lnTo>
                      <a:pt x="13" y="158"/>
                    </a:lnTo>
                    <a:lnTo>
                      <a:pt x="13" y="161"/>
                    </a:lnTo>
                    <a:lnTo>
                      <a:pt x="14" y="161"/>
                    </a:lnTo>
                    <a:lnTo>
                      <a:pt x="14" y="162"/>
                    </a:lnTo>
                    <a:lnTo>
                      <a:pt x="13" y="171"/>
                    </a:lnTo>
                    <a:lnTo>
                      <a:pt x="11" y="171"/>
                    </a:lnTo>
                    <a:lnTo>
                      <a:pt x="9" y="173"/>
                    </a:lnTo>
                    <a:lnTo>
                      <a:pt x="9" y="178"/>
                    </a:lnTo>
                    <a:lnTo>
                      <a:pt x="7" y="180"/>
                    </a:lnTo>
                    <a:lnTo>
                      <a:pt x="6" y="180"/>
                    </a:lnTo>
                    <a:lnTo>
                      <a:pt x="5" y="181"/>
                    </a:lnTo>
                    <a:lnTo>
                      <a:pt x="5" y="183"/>
                    </a:lnTo>
                    <a:lnTo>
                      <a:pt x="7" y="182"/>
                    </a:lnTo>
                    <a:lnTo>
                      <a:pt x="8" y="181"/>
                    </a:lnTo>
                    <a:lnTo>
                      <a:pt x="9" y="181"/>
                    </a:lnTo>
                    <a:lnTo>
                      <a:pt x="8" y="184"/>
                    </a:lnTo>
                    <a:lnTo>
                      <a:pt x="6" y="185"/>
                    </a:lnTo>
                    <a:lnTo>
                      <a:pt x="6" y="187"/>
                    </a:lnTo>
                    <a:lnTo>
                      <a:pt x="5" y="187"/>
                    </a:lnTo>
                    <a:lnTo>
                      <a:pt x="5" y="191"/>
                    </a:lnTo>
                    <a:lnTo>
                      <a:pt x="4" y="192"/>
                    </a:lnTo>
                    <a:lnTo>
                      <a:pt x="4" y="193"/>
                    </a:lnTo>
                    <a:lnTo>
                      <a:pt x="4" y="195"/>
                    </a:lnTo>
                    <a:lnTo>
                      <a:pt x="3" y="196"/>
                    </a:lnTo>
                    <a:lnTo>
                      <a:pt x="1" y="195"/>
                    </a:lnTo>
                    <a:lnTo>
                      <a:pt x="1" y="197"/>
                    </a:lnTo>
                    <a:lnTo>
                      <a:pt x="2" y="198"/>
                    </a:lnTo>
                    <a:lnTo>
                      <a:pt x="1" y="198"/>
                    </a:lnTo>
                    <a:lnTo>
                      <a:pt x="0" y="200"/>
                    </a:lnTo>
                    <a:lnTo>
                      <a:pt x="1" y="201"/>
                    </a:lnTo>
                    <a:lnTo>
                      <a:pt x="1" y="202"/>
                    </a:lnTo>
                    <a:lnTo>
                      <a:pt x="0" y="204"/>
                    </a:lnTo>
                    <a:lnTo>
                      <a:pt x="0" y="205"/>
                    </a:lnTo>
                    <a:lnTo>
                      <a:pt x="1" y="205"/>
                    </a:lnTo>
                    <a:lnTo>
                      <a:pt x="4" y="208"/>
                    </a:lnTo>
                    <a:lnTo>
                      <a:pt x="7" y="208"/>
                    </a:lnTo>
                    <a:lnTo>
                      <a:pt x="8" y="211"/>
                    </a:lnTo>
                    <a:lnTo>
                      <a:pt x="8" y="215"/>
                    </a:lnTo>
                    <a:lnTo>
                      <a:pt x="10" y="215"/>
                    </a:lnTo>
                    <a:lnTo>
                      <a:pt x="9" y="217"/>
                    </a:lnTo>
                    <a:lnTo>
                      <a:pt x="8" y="216"/>
                    </a:lnTo>
                    <a:lnTo>
                      <a:pt x="7" y="217"/>
                    </a:lnTo>
                    <a:lnTo>
                      <a:pt x="5" y="219"/>
                    </a:lnTo>
                    <a:lnTo>
                      <a:pt x="4" y="219"/>
                    </a:lnTo>
                    <a:lnTo>
                      <a:pt x="4" y="221"/>
                    </a:lnTo>
                    <a:lnTo>
                      <a:pt x="3" y="221"/>
                    </a:lnTo>
                    <a:lnTo>
                      <a:pt x="3" y="223"/>
                    </a:lnTo>
                    <a:lnTo>
                      <a:pt x="1" y="223"/>
                    </a:lnTo>
                    <a:lnTo>
                      <a:pt x="1" y="225"/>
                    </a:lnTo>
                    <a:lnTo>
                      <a:pt x="2" y="226"/>
                    </a:lnTo>
                    <a:lnTo>
                      <a:pt x="4" y="230"/>
                    </a:lnTo>
                    <a:lnTo>
                      <a:pt x="7" y="231"/>
                    </a:lnTo>
                    <a:lnTo>
                      <a:pt x="7" y="232"/>
                    </a:lnTo>
                    <a:lnTo>
                      <a:pt x="5" y="236"/>
                    </a:lnTo>
                    <a:lnTo>
                      <a:pt x="8" y="237"/>
                    </a:lnTo>
                    <a:lnTo>
                      <a:pt x="11" y="238"/>
                    </a:lnTo>
                    <a:lnTo>
                      <a:pt x="11" y="239"/>
                    </a:lnTo>
                    <a:lnTo>
                      <a:pt x="12" y="240"/>
                    </a:lnTo>
                    <a:lnTo>
                      <a:pt x="11" y="242"/>
                    </a:lnTo>
                    <a:lnTo>
                      <a:pt x="13" y="245"/>
                    </a:lnTo>
                    <a:lnTo>
                      <a:pt x="13" y="246"/>
                    </a:lnTo>
                    <a:lnTo>
                      <a:pt x="14" y="245"/>
                    </a:lnTo>
                    <a:lnTo>
                      <a:pt x="17" y="248"/>
                    </a:lnTo>
                    <a:lnTo>
                      <a:pt x="18" y="251"/>
                    </a:lnTo>
                    <a:lnTo>
                      <a:pt x="18" y="253"/>
                    </a:lnTo>
                    <a:lnTo>
                      <a:pt x="19" y="253"/>
                    </a:lnTo>
                    <a:lnTo>
                      <a:pt x="22" y="255"/>
                    </a:lnTo>
                    <a:lnTo>
                      <a:pt x="25" y="250"/>
                    </a:lnTo>
                    <a:lnTo>
                      <a:pt x="27" y="249"/>
                    </a:lnTo>
                    <a:lnTo>
                      <a:pt x="29" y="248"/>
                    </a:lnTo>
                    <a:lnTo>
                      <a:pt x="30" y="248"/>
                    </a:lnTo>
                    <a:lnTo>
                      <a:pt x="31" y="247"/>
                    </a:lnTo>
                    <a:lnTo>
                      <a:pt x="33" y="246"/>
                    </a:lnTo>
                    <a:lnTo>
                      <a:pt x="34" y="247"/>
                    </a:lnTo>
                    <a:lnTo>
                      <a:pt x="35" y="247"/>
                    </a:lnTo>
                    <a:lnTo>
                      <a:pt x="34" y="249"/>
                    </a:lnTo>
                    <a:lnTo>
                      <a:pt x="36" y="249"/>
                    </a:lnTo>
                    <a:lnTo>
                      <a:pt x="37" y="253"/>
                    </a:lnTo>
                    <a:lnTo>
                      <a:pt x="38" y="255"/>
                    </a:lnTo>
                    <a:lnTo>
                      <a:pt x="41" y="258"/>
                    </a:lnTo>
                    <a:lnTo>
                      <a:pt x="41" y="259"/>
                    </a:lnTo>
                    <a:lnTo>
                      <a:pt x="42" y="259"/>
                    </a:lnTo>
                    <a:lnTo>
                      <a:pt x="43" y="258"/>
                    </a:lnTo>
                    <a:lnTo>
                      <a:pt x="44" y="259"/>
                    </a:lnTo>
                    <a:lnTo>
                      <a:pt x="47" y="260"/>
                    </a:lnTo>
                    <a:lnTo>
                      <a:pt x="52" y="262"/>
                    </a:lnTo>
                    <a:lnTo>
                      <a:pt x="52" y="265"/>
                    </a:lnTo>
                    <a:lnTo>
                      <a:pt x="50" y="266"/>
                    </a:lnTo>
                    <a:lnTo>
                      <a:pt x="51" y="269"/>
                    </a:lnTo>
                    <a:lnTo>
                      <a:pt x="50" y="271"/>
                    </a:lnTo>
                    <a:lnTo>
                      <a:pt x="45" y="270"/>
                    </a:lnTo>
                    <a:lnTo>
                      <a:pt x="44" y="269"/>
                    </a:lnTo>
                    <a:lnTo>
                      <a:pt x="45" y="272"/>
                    </a:lnTo>
                    <a:lnTo>
                      <a:pt x="47" y="272"/>
                    </a:lnTo>
                    <a:lnTo>
                      <a:pt x="49" y="275"/>
                    </a:lnTo>
                    <a:lnTo>
                      <a:pt x="52" y="272"/>
                    </a:lnTo>
                    <a:lnTo>
                      <a:pt x="55" y="272"/>
                    </a:lnTo>
                    <a:lnTo>
                      <a:pt x="57" y="273"/>
                    </a:lnTo>
                    <a:lnTo>
                      <a:pt x="57" y="275"/>
                    </a:lnTo>
                    <a:lnTo>
                      <a:pt x="58" y="275"/>
                    </a:lnTo>
                    <a:lnTo>
                      <a:pt x="59" y="278"/>
                    </a:lnTo>
                    <a:lnTo>
                      <a:pt x="60" y="279"/>
                    </a:lnTo>
                    <a:lnTo>
                      <a:pt x="59" y="280"/>
                    </a:lnTo>
                    <a:lnTo>
                      <a:pt x="60" y="284"/>
                    </a:lnTo>
                    <a:lnTo>
                      <a:pt x="59" y="285"/>
                    </a:lnTo>
                    <a:lnTo>
                      <a:pt x="62" y="287"/>
                    </a:lnTo>
                    <a:lnTo>
                      <a:pt x="65" y="288"/>
                    </a:lnTo>
                    <a:lnTo>
                      <a:pt x="66" y="289"/>
                    </a:lnTo>
                    <a:lnTo>
                      <a:pt x="69" y="287"/>
                    </a:lnTo>
                    <a:lnTo>
                      <a:pt x="74" y="283"/>
                    </a:lnTo>
                    <a:lnTo>
                      <a:pt x="74" y="281"/>
                    </a:lnTo>
                    <a:lnTo>
                      <a:pt x="76" y="281"/>
                    </a:lnTo>
                    <a:lnTo>
                      <a:pt x="77" y="287"/>
                    </a:lnTo>
                    <a:lnTo>
                      <a:pt x="78" y="285"/>
                    </a:lnTo>
                    <a:lnTo>
                      <a:pt x="81" y="285"/>
                    </a:lnTo>
                    <a:lnTo>
                      <a:pt x="84" y="288"/>
                    </a:lnTo>
                    <a:lnTo>
                      <a:pt x="85" y="288"/>
                    </a:lnTo>
                    <a:lnTo>
                      <a:pt x="87" y="289"/>
                    </a:lnTo>
                    <a:lnTo>
                      <a:pt x="91" y="293"/>
                    </a:lnTo>
                    <a:lnTo>
                      <a:pt x="90" y="294"/>
                    </a:lnTo>
                    <a:lnTo>
                      <a:pt x="89" y="297"/>
                    </a:lnTo>
                    <a:lnTo>
                      <a:pt x="91" y="296"/>
                    </a:lnTo>
                    <a:lnTo>
                      <a:pt x="91" y="295"/>
                    </a:lnTo>
                    <a:lnTo>
                      <a:pt x="93" y="294"/>
                    </a:lnTo>
                    <a:lnTo>
                      <a:pt x="94" y="294"/>
                    </a:lnTo>
                    <a:lnTo>
                      <a:pt x="95" y="296"/>
                    </a:lnTo>
                    <a:lnTo>
                      <a:pt x="97" y="295"/>
                    </a:lnTo>
                    <a:lnTo>
                      <a:pt x="99" y="293"/>
                    </a:lnTo>
                    <a:lnTo>
                      <a:pt x="101" y="293"/>
                    </a:lnTo>
                    <a:lnTo>
                      <a:pt x="104" y="296"/>
                    </a:lnTo>
                    <a:lnTo>
                      <a:pt x="107" y="295"/>
                    </a:lnTo>
                    <a:lnTo>
                      <a:pt x="107" y="293"/>
                    </a:lnTo>
                    <a:lnTo>
                      <a:pt x="109" y="293"/>
                    </a:lnTo>
                    <a:lnTo>
                      <a:pt x="109" y="294"/>
                    </a:lnTo>
                    <a:lnTo>
                      <a:pt x="110" y="294"/>
                    </a:lnTo>
                    <a:lnTo>
                      <a:pt x="112" y="294"/>
                    </a:lnTo>
                    <a:lnTo>
                      <a:pt x="114" y="295"/>
                    </a:lnTo>
                    <a:lnTo>
                      <a:pt x="115" y="296"/>
                    </a:lnTo>
                    <a:lnTo>
                      <a:pt x="115" y="300"/>
                    </a:lnTo>
                    <a:lnTo>
                      <a:pt x="115" y="303"/>
                    </a:lnTo>
                    <a:lnTo>
                      <a:pt x="115" y="306"/>
                    </a:lnTo>
                    <a:lnTo>
                      <a:pt x="116" y="307"/>
                    </a:lnTo>
                    <a:lnTo>
                      <a:pt x="114" y="310"/>
                    </a:lnTo>
                    <a:lnTo>
                      <a:pt x="114" y="311"/>
                    </a:lnTo>
                    <a:lnTo>
                      <a:pt x="112" y="313"/>
                    </a:lnTo>
                    <a:lnTo>
                      <a:pt x="112" y="316"/>
                    </a:lnTo>
                    <a:lnTo>
                      <a:pt x="110" y="319"/>
                    </a:lnTo>
                    <a:lnTo>
                      <a:pt x="112" y="319"/>
                    </a:lnTo>
                    <a:lnTo>
                      <a:pt x="113" y="319"/>
                    </a:lnTo>
                    <a:lnTo>
                      <a:pt x="113" y="321"/>
                    </a:lnTo>
                    <a:lnTo>
                      <a:pt x="114" y="324"/>
                    </a:lnTo>
                    <a:lnTo>
                      <a:pt x="114" y="326"/>
                    </a:lnTo>
                    <a:lnTo>
                      <a:pt x="115" y="326"/>
                    </a:lnTo>
                    <a:lnTo>
                      <a:pt x="115" y="324"/>
                    </a:lnTo>
                    <a:lnTo>
                      <a:pt x="116" y="324"/>
                    </a:lnTo>
                    <a:lnTo>
                      <a:pt x="117" y="324"/>
                    </a:lnTo>
                    <a:lnTo>
                      <a:pt x="116" y="326"/>
                    </a:lnTo>
                    <a:lnTo>
                      <a:pt x="118" y="328"/>
                    </a:lnTo>
                    <a:lnTo>
                      <a:pt x="119" y="327"/>
                    </a:lnTo>
                    <a:lnTo>
                      <a:pt x="120" y="329"/>
                    </a:lnTo>
                    <a:lnTo>
                      <a:pt x="121" y="332"/>
                    </a:lnTo>
                    <a:lnTo>
                      <a:pt x="120" y="334"/>
                    </a:lnTo>
                    <a:lnTo>
                      <a:pt x="123" y="336"/>
                    </a:lnTo>
                    <a:lnTo>
                      <a:pt x="124" y="336"/>
                    </a:lnTo>
                    <a:lnTo>
                      <a:pt x="125" y="336"/>
                    </a:lnTo>
                    <a:lnTo>
                      <a:pt x="127" y="337"/>
                    </a:lnTo>
                    <a:lnTo>
                      <a:pt x="128" y="340"/>
                    </a:lnTo>
                    <a:lnTo>
                      <a:pt x="131" y="341"/>
                    </a:lnTo>
                    <a:lnTo>
                      <a:pt x="131" y="344"/>
                    </a:lnTo>
                    <a:lnTo>
                      <a:pt x="131" y="345"/>
                    </a:lnTo>
                    <a:lnTo>
                      <a:pt x="133" y="343"/>
                    </a:lnTo>
                    <a:lnTo>
                      <a:pt x="134" y="340"/>
                    </a:lnTo>
                    <a:lnTo>
                      <a:pt x="135" y="339"/>
                    </a:lnTo>
                    <a:lnTo>
                      <a:pt x="136" y="338"/>
                    </a:lnTo>
                    <a:lnTo>
                      <a:pt x="138" y="338"/>
                    </a:lnTo>
                    <a:lnTo>
                      <a:pt x="139" y="340"/>
                    </a:lnTo>
                    <a:lnTo>
                      <a:pt x="141" y="344"/>
                    </a:lnTo>
                    <a:lnTo>
                      <a:pt x="142" y="344"/>
                    </a:lnTo>
                    <a:lnTo>
                      <a:pt x="142" y="346"/>
                    </a:lnTo>
                    <a:lnTo>
                      <a:pt x="143" y="345"/>
                    </a:lnTo>
                    <a:lnTo>
                      <a:pt x="144" y="346"/>
                    </a:lnTo>
                    <a:lnTo>
                      <a:pt x="144" y="344"/>
                    </a:lnTo>
                    <a:lnTo>
                      <a:pt x="149" y="346"/>
                    </a:lnTo>
                    <a:lnTo>
                      <a:pt x="151" y="346"/>
                    </a:lnTo>
                    <a:lnTo>
                      <a:pt x="153" y="347"/>
                    </a:lnTo>
                    <a:lnTo>
                      <a:pt x="156" y="343"/>
                    </a:lnTo>
                    <a:lnTo>
                      <a:pt x="157" y="342"/>
                    </a:lnTo>
                    <a:lnTo>
                      <a:pt x="160" y="343"/>
                    </a:lnTo>
                    <a:lnTo>
                      <a:pt x="161" y="345"/>
                    </a:lnTo>
                    <a:lnTo>
                      <a:pt x="161" y="346"/>
                    </a:lnTo>
                    <a:lnTo>
                      <a:pt x="163" y="346"/>
                    </a:lnTo>
                    <a:lnTo>
                      <a:pt x="164" y="345"/>
                    </a:lnTo>
                    <a:lnTo>
                      <a:pt x="163" y="343"/>
                    </a:lnTo>
                    <a:lnTo>
                      <a:pt x="164" y="341"/>
                    </a:lnTo>
                    <a:lnTo>
                      <a:pt x="165" y="341"/>
                    </a:lnTo>
                    <a:lnTo>
                      <a:pt x="166" y="341"/>
                    </a:lnTo>
                    <a:lnTo>
                      <a:pt x="169" y="343"/>
                    </a:lnTo>
                    <a:lnTo>
                      <a:pt x="168" y="346"/>
                    </a:lnTo>
                    <a:lnTo>
                      <a:pt x="169" y="343"/>
                    </a:lnTo>
                    <a:lnTo>
                      <a:pt x="172" y="345"/>
                    </a:lnTo>
                    <a:lnTo>
                      <a:pt x="172" y="349"/>
                    </a:lnTo>
                    <a:lnTo>
                      <a:pt x="172" y="351"/>
                    </a:lnTo>
                    <a:lnTo>
                      <a:pt x="169" y="351"/>
                    </a:lnTo>
                    <a:lnTo>
                      <a:pt x="168" y="351"/>
                    </a:lnTo>
                    <a:lnTo>
                      <a:pt x="169" y="353"/>
                    </a:lnTo>
                    <a:lnTo>
                      <a:pt x="172" y="357"/>
                    </a:lnTo>
                    <a:lnTo>
                      <a:pt x="173" y="357"/>
                    </a:lnTo>
                    <a:lnTo>
                      <a:pt x="172" y="356"/>
                    </a:lnTo>
                    <a:lnTo>
                      <a:pt x="174" y="355"/>
                    </a:lnTo>
                    <a:lnTo>
                      <a:pt x="177" y="357"/>
                    </a:lnTo>
                    <a:lnTo>
                      <a:pt x="177" y="358"/>
                    </a:lnTo>
                    <a:lnTo>
                      <a:pt x="175" y="358"/>
                    </a:lnTo>
                    <a:lnTo>
                      <a:pt x="174" y="359"/>
                    </a:lnTo>
                    <a:lnTo>
                      <a:pt x="179" y="366"/>
                    </a:lnTo>
                    <a:lnTo>
                      <a:pt x="176" y="366"/>
                    </a:lnTo>
                    <a:lnTo>
                      <a:pt x="177" y="369"/>
                    </a:lnTo>
                    <a:lnTo>
                      <a:pt x="177" y="371"/>
                    </a:lnTo>
                    <a:lnTo>
                      <a:pt x="176" y="372"/>
                    </a:lnTo>
                    <a:lnTo>
                      <a:pt x="174" y="372"/>
                    </a:lnTo>
                    <a:lnTo>
                      <a:pt x="173" y="371"/>
                    </a:lnTo>
                    <a:lnTo>
                      <a:pt x="172" y="372"/>
                    </a:lnTo>
                    <a:lnTo>
                      <a:pt x="172" y="371"/>
                    </a:lnTo>
                    <a:lnTo>
                      <a:pt x="169" y="371"/>
                    </a:lnTo>
                    <a:lnTo>
                      <a:pt x="165" y="369"/>
                    </a:lnTo>
                    <a:lnTo>
                      <a:pt x="164" y="371"/>
                    </a:lnTo>
                    <a:lnTo>
                      <a:pt x="166" y="374"/>
                    </a:lnTo>
                    <a:lnTo>
                      <a:pt x="165" y="377"/>
                    </a:lnTo>
                    <a:lnTo>
                      <a:pt x="164" y="376"/>
                    </a:lnTo>
                    <a:lnTo>
                      <a:pt x="161" y="376"/>
                    </a:lnTo>
                    <a:lnTo>
                      <a:pt x="161" y="377"/>
                    </a:lnTo>
                    <a:lnTo>
                      <a:pt x="162" y="377"/>
                    </a:lnTo>
                    <a:lnTo>
                      <a:pt x="161" y="380"/>
                    </a:lnTo>
                    <a:lnTo>
                      <a:pt x="163" y="381"/>
                    </a:lnTo>
                    <a:lnTo>
                      <a:pt x="162" y="384"/>
                    </a:lnTo>
                    <a:lnTo>
                      <a:pt x="159" y="385"/>
                    </a:lnTo>
                    <a:lnTo>
                      <a:pt x="156" y="385"/>
                    </a:lnTo>
                    <a:lnTo>
                      <a:pt x="156" y="387"/>
                    </a:lnTo>
                    <a:lnTo>
                      <a:pt x="156" y="388"/>
                    </a:lnTo>
                    <a:lnTo>
                      <a:pt x="157" y="389"/>
                    </a:lnTo>
                    <a:lnTo>
                      <a:pt x="156" y="391"/>
                    </a:lnTo>
                    <a:lnTo>
                      <a:pt x="156" y="392"/>
                    </a:lnTo>
                    <a:lnTo>
                      <a:pt x="155" y="393"/>
                    </a:lnTo>
                    <a:lnTo>
                      <a:pt x="155" y="394"/>
                    </a:lnTo>
                    <a:lnTo>
                      <a:pt x="152" y="393"/>
                    </a:lnTo>
                    <a:lnTo>
                      <a:pt x="152" y="397"/>
                    </a:lnTo>
                    <a:lnTo>
                      <a:pt x="152" y="396"/>
                    </a:lnTo>
                    <a:lnTo>
                      <a:pt x="151" y="395"/>
                    </a:lnTo>
                    <a:lnTo>
                      <a:pt x="150" y="395"/>
                    </a:lnTo>
                    <a:lnTo>
                      <a:pt x="150" y="397"/>
                    </a:lnTo>
                    <a:lnTo>
                      <a:pt x="148" y="399"/>
                    </a:lnTo>
                    <a:lnTo>
                      <a:pt x="146" y="399"/>
                    </a:lnTo>
                    <a:lnTo>
                      <a:pt x="144" y="400"/>
                    </a:lnTo>
                    <a:lnTo>
                      <a:pt x="144" y="402"/>
                    </a:lnTo>
                    <a:lnTo>
                      <a:pt x="142" y="404"/>
                    </a:lnTo>
                    <a:lnTo>
                      <a:pt x="144" y="407"/>
                    </a:lnTo>
                    <a:lnTo>
                      <a:pt x="145" y="406"/>
                    </a:lnTo>
                    <a:lnTo>
                      <a:pt x="147" y="406"/>
                    </a:lnTo>
                    <a:lnTo>
                      <a:pt x="149" y="404"/>
                    </a:lnTo>
                    <a:lnTo>
                      <a:pt x="151" y="405"/>
                    </a:lnTo>
                    <a:lnTo>
                      <a:pt x="152" y="406"/>
                    </a:lnTo>
                    <a:lnTo>
                      <a:pt x="153" y="408"/>
                    </a:lnTo>
                    <a:lnTo>
                      <a:pt x="152" y="409"/>
                    </a:lnTo>
                    <a:lnTo>
                      <a:pt x="152" y="411"/>
                    </a:lnTo>
                    <a:lnTo>
                      <a:pt x="151" y="413"/>
                    </a:lnTo>
                    <a:lnTo>
                      <a:pt x="152" y="415"/>
                    </a:lnTo>
                    <a:lnTo>
                      <a:pt x="153" y="416"/>
                    </a:lnTo>
                    <a:lnTo>
                      <a:pt x="158" y="417"/>
                    </a:lnTo>
                    <a:lnTo>
                      <a:pt x="159" y="417"/>
                    </a:lnTo>
                    <a:lnTo>
                      <a:pt x="163" y="419"/>
                    </a:lnTo>
                    <a:lnTo>
                      <a:pt x="167" y="422"/>
                    </a:lnTo>
                    <a:lnTo>
                      <a:pt x="166" y="423"/>
                    </a:lnTo>
                    <a:lnTo>
                      <a:pt x="166" y="424"/>
                    </a:lnTo>
                    <a:lnTo>
                      <a:pt x="165" y="425"/>
                    </a:lnTo>
                    <a:lnTo>
                      <a:pt x="164" y="427"/>
                    </a:lnTo>
                    <a:lnTo>
                      <a:pt x="167" y="430"/>
                    </a:lnTo>
                    <a:lnTo>
                      <a:pt x="170" y="428"/>
                    </a:lnTo>
                    <a:lnTo>
                      <a:pt x="169" y="428"/>
                    </a:lnTo>
                    <a:lnTo>
                      <a:pt x="169" y="427"/>
                    </a:lnTo>
                    <a:lnTo>
                      <a:pt x="167" y="427"/>
                    </a:lnTo>
                    <a:lnTo>
                      <a:pt x="166" y="427"/>
                    </a:lnTo>
                    <a:lnTo>
                      <a:pt x="169" y="427"/>
                    </a:lnTo>
                    <a:lnTo>
                      <a:pt x="173" y="430"/>
                    </a:lnTo>
                    <a:lnTo>
                      <a:pt x="172" y="427"/>
                    </a:lnTo>
                    <a:lnTo>
                      <a:pt x="175" y="426"/>
                    </a:lnTo>
                    <a:lnTo>
                      <a:pt x="176" y="427"/>
                    </a:lnTo>
                    <a:lnTo>
                      <a:pt x="177" y="429"/>
                    </a:lnTo>
                    <a:lnTo>
                      <a:pt x="178" y="430"/>
                    </a:lnTo>
                    <a:lnTo>
                      <a:pt x="177" y="432"/>
                    </a:lnTo>
                    <a:lnTo>
                      <a:pt x="177" y="434"/>
                    </a:lnTo>
                    <a:lnTo>
                      <a:pt x="179" y="435"/>
                    </a:lnTo>
                    <a:lnTo>
                      <a:pt x="180" y="435"/>
                    </a:lnTo>
                    <a:lnTo>
                      <a:pt x="182" y="434"/>
                    </a:lnTo>
                    <a:lnTo>
                      <a:pt x="182" y="437"/>
                    </a:lnTo>
                    <a:lnTo>
                      <a:pt x="183" y="438"/>
                    </a:lnTo>
                    <a:lnTo>
                      <a:pt x="185" y="435"/>
                    </a:lnTo>
                    <a:lnTo>
                      <a:pt x="185" y="434"/>
                    </a:lnTo>
                    <a:lnTo>
                      <a:pt x="185" y="433"/>
                    </a:lnTo>
                    <a:lnTo>
                      <a:pt x="187" y="433"/>
                    </a:lnTo>
                    <a:lnTo>
                      <a:pt x="187" y="431"/>
                    </a:lnTo>
                    <a:lnTo>
                      <a:pt x="189" y="430"/>
                    </a:lnTo>
                    <a:lnTo>
                      <a:pt x="190" y="430"/>
                    </a:lnTo>
                    <a:lnTo>
                      <a:pt x="188" y="426"/>
                    </a:lnTo>
                    <a:lnTo>
                      <a:pt x="190" y="425"/>
                    </a:lnTo>
                    <a:lnTo>
                      <a:pt x="191" y="425"/>
                    </a:lnTo>
                    <a:lnTo>
                      <a:pt x="192" y="427"/>
                    </a:lnTo>
                    <a:lnTo>
                      <a:pt x="194" y="427"/>
                    </a:lnTo>
                    <a:lnTo>
                      <a:pt x="194" y="428"/>
                    </a:lnTo>
                    <a:lnTo>
                      <a:pt x="195" y="427"/>
                    </a:lnTo>
                    <a:lnTo>
                      <a:pt x="198" y="425"/>
                    </a:lnTo>
                    <a:lnTo>
                      <a:pt x="201" y="425"/>
                    </a:lnTo>
                    <a:lnTo>
                      <a:pt x="201" y="427"/>
                    </a:lnTo>
                    <a:lnTo>
                      <a:pt x="204" y="429"/>
                    </a:lnTo>
                    <a:lnTo>
                      <a:pt x="204" y="432"/>
                    </a:lnTo>
                    <a:lnTo>
                      <a:pt x="206" y="434"/>
                    </a:lnTo>
                    <a:lnTo>
                      <a:pt x="207" y="435"/>
                    </a:lnTo>
                    <a:lnTo>
                      <a:pt x="208" y="434"/>
                    </a:lnTo>
                    <a:lnTo>
                      <a:pt x="209" y="434"/>
                    </a:lnTo>
                    <a:lnTo>
                      <a:pt x="209" y="432"/>
                    </a:lnTo>
                    <a:lnTo>
                      <a:pt x="211" y="430"/>
                    </a:lnTo>
                    <a:lnTo>
                      <a:pt x="210" y="430"/>
                    </a:lnTo>
                    <a:lnTo>
                      <a:pt x="210" y="429"/>
                    </a:lnTo>
                    <a:lnTo>
                      <a:pt x="209" y="428"/>
                    </a:lnTo>
                    <a:lnTo>
                      <a:pt x="211" y="429"/>
                    </a:lnTo>
                    <a:lnTo>
                      <a:pt x="213" y="426"/>
                    </a:lnTo>
                    <a:lnTo>
                      <a:pt x="215" y="428"/>
                    </a:lnTo>
                    <a:lnTo>
                      <a:pt x="216" y="427"/>
                    </a:lnTo>
                    <a:lnTo>
                      <a:pt x="216" y="426"/>
                    </a:lnTo>
                    <a:lnTo>
                      <a:pt x="216" y="422"/>
                    </a:lnTo>
                    <a:lnTo>
                      <a:pt x="216" y="421"/>
                    </a:lnTo>
                    <a:lnTo>
                      <a:pt x="218" y="422"/>
                    </a:lnTo>
                    <a:lnTo>
                      <a:pt x="223" y="423"/>
                    </a:lnTo>
                    <a:lnTo>
                      <a:pt x="226" y="421"/>
                    </a:lnTo>
                    <a:lnTo>
                      <a:pt x="227" y="418"/>
                    </a:lnTo>
                    <a:lnTo>
                      <a:pt x="229" y="418"/>
                    </a:lnTo>
                    <a:lnTo>
                      <a:pt x="229" y="417"/>
                    </a:lnTo>
                    <a:lnTo>
                      <a:pt x="230" y="417"/>
                    </a:lnTo>
                    <a:lnTo>
                      <a:pt x="230" y="416"/>
                    </a:lnTo>
                    <a:lnTo>
                      <a:pt x="228" y="415"/>
                    </a:lnTo>
                    <a:lnTo>
                      <a:pt x="229" y="413"/>
                    </a:lnTo>
                    <a:lnTo>
                      <a:pt x="230" y="413"/>
                    </a:lnTo>
                    <a:lnTo>
                      <a:pt x="233" y="411"/>
                    </a:lnTo>
                    <a:lnTo>
                      <a:pt x="234" y="410"/>
                    </a:lnTo>
                    <a:lnTo>
                      <a:pt x="237" y="411"/>
                    </a:lnTo>
                    <a:lnTo>
                      <a:pt x="239" y="409"/>
                    </a:lnTo>
                    <a:lnTo>
                      <a:pt x="242" y="411"/>
                    </a:lnTo>
                    <a:lnTo>
                      <a:pt x="243" y="409"/>
                    </a:lnTo>
                    <a:lnTo>
                      <a:pt x="246" y="411"/>
                    </a:lnTo>
                    <a:lnTo>
                      <a:pt x="247" y="411"/>
                    </a:lnTo>
                    <a:lnTo>
                      <a:pt x="247" y="413"/>
                    </a:lnTo>
                    <a:lnTo>
                      <a:pt x="250" y="413"/>
                    </a:lnTo>
                    <a:lnTo>
                      <a:pt x="248" y="411"/>
                    </a:lnTo>
                    <a:lnTo>
                      <a:pt x="250" y="410"/>
                    </a:lnTo>
                    <a:lnTo>
                      <a:pt x="251" y="410"/>
                    </a:lnTo>
                    <a:lnTo>
                      <a:pt x="252" y="410"/>
                    </a:lnTo>
                    <a:lnTo>
                      <a:pt x="251" y="408"/>
                    </a:lnTo>
                    <a:lnTo>
                      <a:pt x="252" y="408"/>
                    </a:lnTo>
                    <a:lnTo>
                      <a:pt x="252" y="407"/>
                    </a:lnTo>
                    <a:lnTo>
                      <a:pt x="251" y="407"/>
                    </a:lnTo>
                    <a:lnTo>
                      <a:pt x="253" y="404"/>
                    </a:lnTo>
                    <a:lnTo>
                      <a:pt x="253" y="402"/>
                    </a:lnTo>
                    <a:lnTo>
                      <a:pt x="254" y="401"/>
                    </a:lnTo>
                    <a:lnTo>
                      <a:pt x="253" y="398"/>
                    </a:lnTo>
                    <a:lnTo>
                      <a:pt x="255" y="399"/>
                    </a:lnTo>
                    <a:lnTo>
                      <a:pt x="256" y="399"/>
                    </a:lnTo>
                    <a:lnTo>
                      <a:pt x="260" y="402"/>
                    </a:lnTo>
                    <a:lnTo>
                      <a:pt x="260" y="403"/>
                    </a:lnTo>
                    <a:lnTo>
                      <a:pt x="258" y="403"/>
                    </a:lnTo>
                    <a:lnTo>
                      <a:pt x="258" y="404"/>
                    </a:lnTo>
                    <a:lnTo>
                      <a:pt x="260" y="404"/>
                    </a:lnTo>
                    <a:lnTo>
                      <a:pt x="261" y="404"/>
                    </a:lnTo>
                    <a:lnTo>
                      <a:pt x="261" y="405"/>
                    </a:lnTo>
                    <a:lnTo>
                      <a:pt x="264" y="402"/>
                    </a:lnTo>
                    <a:lnTo>
                      <a:pt x="268" y="400"/>
                    </a:lnTo>
                    <a:lnTo>
                      <a:pt x="266" y="400"/>
                    </a:lnTo>
                    <a:lnTo>
                      <a:pt x="267" y="394"/>
                    </a:lnTo>
                    <a:lnTo>
                      <a:pt x="271" y="398"/>
                    </a:lnTo>
                    <a:lnTo>
                      <a:pt x="273" y="395"/>
                    </a:lnTo>
                    <a:lnTo>
                      <a:pt x="276" y="393"/>
                    </a:lnTo>
                    <a:lnTo>
                      <a:pt x="277" y="394"/>
                    </a:lnTo>
                    <a:lnTo>
                      <a:pt x="277" y="396"/>
                    </a:lnTo>
                    <a:lnTo>
                      <a:pt x="277" y="398"/>
                    </a:lnTo>
                    <a:lnTo>
                      <a:pt x="278" y="398"/>
                    </a:lnTo>
                    <a:lnTo>
                      <a:pt x="278" y="400"/>
                    </a:lnTo>
                    <a:lnTo>
                      <a:pt x="277" y="400"/>
                    </a:lnTo>
                    <a:lnTo>
                      <a:pt x="278" y="401"/>
                    </a:lnTo>
                    <a:lnTo>
                      <a:pt x="277" y="401"/>
                    </a:lnTo>
                    <a:lnTo>
                      <a:pt x="277" y="402"/>
                    </a:lnTo>
                    <a:lnTo>
                      <a:pt x="278" y="402"/>
                    </a:lnTo>
                    <a:lnTo>
                      <a:pt x="279" y="404"/>
                    </a:lnTo>
                    <a:lnTo>
                      <a:pt x="280" y="403"/>
                    </a:lnTo>
                    <a:lnTo>
                      <a:pt x="280" y="401"/>
                    </a:lnTo>
                    <a:lnTo>
                      <a:pt x="280" y="402"/>
                    </a:lnTo>
                    <a:lnTo>
                      <a:pt x="281" y="404"/>
                    </a:lnTo>
                    <a:lnTo>
                      <a:pt x="280" y="404"/>
                    </a:lnTo>
                    <a:lnTo>
                      <a:pt x="280" y="405"/>
                    </a:lnTo>
                    <a:lnTo>
                      <a:pt x="283" y="407"/>
                    </a:lnTo>
                    <a:lnTo>
                      <a:pt x="285" y="408"/>
                    </a:lnTo>
                    <a:lnTo>
                      <a:pt x="288" y="409"/>
                    </a:lnTo>
                    <a:lnTo>
                      <a:pt x="289" y="408"/>
                    </a:lnTo>
                    <a:lnTo>
                      <a:pt x="291" y="408"/>
                    </a:lnTo>
                    <a:lnTo>
                      <a:pt x="293" y="406"/>
                    </a:lnTo>
                    <a:lnTo>
                      <a:pt x="294" y="406"/>
                    </a:lnTo>
                    <a:lnTo>
                      <a:pt x="295" y="403"/>
                    </a:lnTo>
                    <a:lnTo>
                      <a:pt x="294" y="401"/>
                    </a:lnTo>
                    <a:lnTo>
                      <a:pt x="294" y="400"/>
                    </a:lnTo>
                    <a:lnTo>
                      <a:pt x="296" y="400"/>
                    </a:lnTo>
                    <a:lnTo>
                      <a:pt x="296" y="401"/>
                    </a:lnTo>
                    <a:lnTo>
                      <a:pt x="296" y="403"/>
                    </a:lnTo>
                    <a:lnTo>
                      <a:pt x="298" y="403"/>
                    </a:lnTo>
                    <a:lnTo>
                      <a:pt x="298" y="404"/>
                    </a:lnTo>
                    <a:lnTo>
                      <a:pt x="300" y="404"/>
                    </a:lnTo>
                    <a:lnTo>
                      <a:pt x="301" y="404"/>
                    </a:lnTo>
                    <a:lnTo>
                      <a:pt x="303" y="406"/>
                    </a:lnTo>
                    <a:lnTo>
                      <a:pt x="304" y="407"/>
                    </a:lnTo>
                    <a:lnTo>
                      <a:pt x="305" y="406"/>
                    </a:lnTo>
                    <a:lnTo>
                      <a:pt x="307" y="406"/>
                    </a:lnTo>
                    <a:lnTo>
                      <a:pt x="308" y="409"/>
                    </a:lnTo>
                    <a:lnTo>
                      <a:pt x="309" y="410"/>
                    </a:lnTo>
                    <a:lnTo>
                      <a:pt x="309" y="407"/>
                    </a:lnTo>
                    <a:lnTo>
                      <a:pt x="309" y="406"/>
                    </a:lnTo>
                    <a:lnTo>
                      <a:pt x="311" y="406"/>
                    </a:lnTo>
                    <a:lnTo>
                      <a:pt x="313" y="407"/>
                    </a:lnTo>
                    <a:lnTo>
                      <a:pt x="313" y="406"/>
                    </a:lnTo>
                    <a:lnTo>
                      <a:pt x="314" y="406"/>
                    </a:lnTo>
                    <a:lnTo>
                      <a:pt x="318" y="408"/>
                    </a:lnTo>
                    <a:lnTo>
                      <a:pt x="318" y="407"/>
                    </a:lnTo>
                    <a:lnTo>
                      <a:pt x="320" y="407"/>
                    </a:lnTo>
                    <a:lnTo>
                      <a:pt x="318" y="406"/>
                    </a:lnTo>
                    <a:lnTo>
                      <a:pt x="320" y="406"/>
                    </a:lnTo>
                    <a:lnTo>
                      <a:pt x="320" y="404"/>
                    </a:lnTo>
                    <a:lnTo>
                      <a:pt x="321" y="404"/>
                    </a:lnTo>
                    <a:lnTo>
                      <a:pt x="322" y="406"/>
                    </a:lnTo>
                    <a:lnTo>
                      <a:pt x="326" y="404"/>
                    </a:lnTo>
                    <a:lnTo>
                      <a:pt x="326" y="403"/>
                    </a:lnTo>
                    <a:lnTo>
                      <a:pt x="325" y="402"/>
                    </a:lnTo>
                    <a:lnTo>
                      <a:pt x="325" y="400"/>
                    </a:lnTo>
                    <a:lnTo>
                      <a:pt x="321" y="398"/>
                    </a:lnTo>
                    <a:lnTo>
                      <a:pt x="324" y="396"/>
                    </a:lnTo>
                    <a:lnTo>
                      <a:pt x="323" y="395"/>
                    </a:lnTo>
                    <a:lnTo>
                      <a:pt x="324" y="396"/>
                    </a:lnTo>
                    <a:lnTo>
                      <a:pt x="329" y="394"/>
                    </a:lnTo>
                    <a:lnTo>
                      <a:pt x="330" y="394"/>
                    </a:lnTo>
                    <a:lnTo>
                      <a:pt x="332" y="393"/>
                    </a:lnTo>
                    <a:lnTo>
                      <a:pt x="333" y="393"/>
                    </a:lnTo>
                    <a:lnTo>
                      <a:pt x="336" y="394"/>
                    </a:lnTo>
                    <a:lnTo>
                      <a:pt x="337" y="393"/>
                    </a:lnTo>
                    <a:lnTo>
                      <a:pt x="339" y="394"/>
                    </a:lnTo>
                    <a:lnTo>
                      <a:pt x="342" y="393"/>
                    </a:lnTo>
                    <a:lnTo>
                      <a:pt x="345" y="395"/>
                    </a:lnTo>
                    <a:lnTo>
                      <a:pt x="346" y="393"/>
                    </a:lnTo>
                    <a:lnTo>
                      <a:pt x="346" y="392"/>
                    </a:lnTo>
                    <a:lnTo>
                      <a:pt x="348" y="390"/>
                    </a:lnTo>
                    <a:lnTo>
                      <a:pt x="350" y="390"/>
                    </a:lnTo>
                    <a:lnTo>
                      <a:pt x="350" y="388"/>
                    </a:lnTo>
                    <a:lnTo>
                      <a:pt x="348" y="384"/>
                    </a:lnTo>
                    <a:lnTo>
                      <a:pt x="349" y="383"/>
                    </a:lnTo>
                    <a:lnTo>
                      <a:pt x="351" y="383"/>
                    </a:lnTo>
                    <a:lnTo>
                      <a:pt x="353" y="383"/>
                    </a:lnTo>
                    <a:lnTo>
                      <a:pt x="355" y="383"/>
                    </a:lnTo>
                    <a:lnTo>
                      <a:pt x="356" y="383"/>
                    </a:lnTo>
                    <a:lnTo>
                      <a:pt x="357" y="381"/>
                    </a:lnTo>
                    <a:lnTo>
                      <a:pt x="359" y="381"/>
                    </a:lnTo>
                    <a:lnTo>
                      <a:pt x="359" y="380"/>
                    </a:lnTo>
                    <a:lnTo>
                      <a:pt x="361" y="378"/>
                    </a:lnTo>
                    <a:lnTo>
                      <a:pt x="362" y="376"/>
                    </a:lnTo>
                    <a:lnTo>
                      <a:pt x="362" y="377"/>
                    </a:lnTo>
                    <a:lnTo>
                      <a:pt x="362" y="376"/>
                    </a:lnTo>
                    <a:lnTo>
                      <a:pt x="364" y="370"/>
                    </a:lnTo>
                    <a:lnTo>
                      <a:pt x="363" y="370"/>
                    </a:lnTo>
                    <a:lnTo>
                      <a:pt x="363" y="367"/>
                    </a:lnTo>
                    <a:lnTo>
                      <a:pt x="360" y="367"/>
                    </a:lnTo>
                    <a:lnTo>
                      <a:pt x="362" y="364"/>
                    </a:lnTo>
                    <a:lnTo>
                      <a:pt x="362" y="362"/>
                    </a:lnTo>
                    <a:lnTo>
                      <a:pt x="361" y="361"/>
                    </a:lnTo>
                    <a:lnTo>
                      <a:pt x="361" y="363"/>
                    </a:lnTo>
                    <a:lnTo>
                      <a:pt x="358" y="365"/>
                    </a:lnTo>
                    <a:lnTo>
                      <a:pt x="356" y="364"/>
                    </a:lnTo>
                    <a:lnTo>
                      <a:pt x="355" y="366"/>
                    </a:lnTo>
                    <a:lnTo>
                      <a:pt x="354" y="366"/>
                    </a:lnTo>
                    <a:lnTo>
                      <a:pt x="356" y="364"/>
                    </a:lnTo>
                    <a:lnTo>
                      <a:pt x="356" y="362"/>
                    </a:lnTo>
                    <a:lnTo>
                      <a:pt x="357" y="363"/>
                    </a:lnTo>
                    <a:lnTo>
                      <a:pt x="358" y="361"/>
                    </a:lnTo>
                    <a:lnTo>
                      <a:pt x="356" y="358"/>
                    </a:lnTo>
                    <a:lnTo>
                      <a:pt x="356" y="357"/>
                    </a:lnTo>
                    <a:lnTo>
                      <a:pt x="356" y="354"/>
                    </a:lnTo>
                    <a:lnTo>
                      <a:pt x="354" y="355"/>
                    </a:lnTo>
                    <a:lnTo>
                      <a:pt x="355" y="353"/>
                    </a:lnTo>
                    <a:lnTo>
                      <a:pt x="353" y="353"/>
                    </a:lnTo>
                    <a:lnTo>
                      <a:pt x="354" y="351"/>
                    </a:lnTo>
                    <a:lnTo>
                      <a:pt x="356" y="347"/>
                    </a:lnTo>
                    <a:lnTo>
                      <a:pt x="359" y="347"/>
                    </a:lnTo>
                    <a:lnTo>
                      <a:pt x="362" y="349"/>
                    </a:lnTo>
                    <a:lnTo>
                      <a:pt x="364" y="347"/>
                    </a:lnTo>
                    <a:lnTo>
                      <a:pt x="364" y="346"/>
                    </a:lnTo>
                    <a:lnTo>
                      <a:pt x="366" y="348"/>
                    </a:lnTo>
                    <a:lnTo>
                      <a:pt x="368" y="345"/>
                    </a:lnTo>
                    <a:lnTo>
                      <a:pt x="366" y="344"/>
                    </a:lnTo>
                    <a:lnTo>
                      <a:pt x="366" y="340"/>
                    </a:lnTo>
                    <a:lnTo>
                      <a:pt x="367" y="338"/>
                    </a:lnTo>
                    <a:lnTo>
                      <a:pt x="367" y="339"/>
                    </a:lnTo>
                    <a:lnTo>
                      <a:pt x="368" y="337"/>
                    </a:lnTo>
                    <a:lnTo>
                      <a:pt x="366" y="334"/>
                    </a:lnTo>
                    <a:lnTo>
                      <a:pt x="365" y="332"/>
                    </a:lnTo>
                    <a:lnTo>
                      <a:pt x="363" y="332"/>
                    </a:lnTo>
                    <a:lnTo>
                      <a:pt x="361" y="331"/>
                    </a:lnTo>
                    <a:lnTo>
                      <a:pt x="359" y="331"/>
                    </a:lnTo>
                    <a:lnTo>
                      <a:pt x="358" y="330"/>
                    </a:lnTo>
                    <a:lnTo>
                      <a:pt x="359" y="326"/>
                    </a:lnTo>
                    <a:lnTo>
                      <a:pt x="359" y="324"/>
                    </a:lnTo>
                    <a:lnTo>
                      <a:pt x="360" y="322"/>
                    </a:lnTo>
                    <a:lnTo>
                      <a:pt x="362" y="317"/>
                    </a:lnTo>
                    <a:lnTo>
                      <a:pt x="364" y="315"/>
                    </a:lnTo>
                    <a:lnTo>
                      <a:pt x="364" y="313"/>
                    </a:lnTo>
                    <a:lnTo>
                      <a:pt x="366" y="311"/>
                    </a:lnTo>
                    <a:lnTo>
                      <a:pt x="369" y="311"/>
                    </a:lnTo>
                    <a:lnTo>
                      <a:pt x="369" y="313"/>
                    </a:lnTo>
                    <a:lnTo>
                      <a:pt x="370" y="313"/>
                    </a:lnTo>
                    <a:lnTo>
                      <a:pt x="371" y="312"/>
                    </a:lnTo>
                    <a:lnTo>
                      <a:pt x="373" y="311"/>
                    </a:lnTo>
                    <a:lnTo>
                      <a:pt x="374" y="311"/>
                    </a:lnTo>
                    <a:lnTo>
                      <a:pt x="375" y="311"/>
                    </a:lnTo>
                    <a:lnTo>
                      <a:pt x="375" y="307"/>
                    </a:lnTo>
                    <a:lnTo>
                      <a:pt x="372" y="306"/>
                    </a:lnTo>
                    <a:lnTo>
                      <a:pt x="373" y="303"/>
                    </a:lnTo>
                    <a:lnTo>
                      <a:pt x="372" y="303"/>
                    </a:lnTo>
                    <a:lnTo>
                      <a:pt x="372" y="302"/>
                    </a:lnTo>
                    <a:lnTo>
                      <a:pt x="368" y="302"/>
                    </a:lnTo>
                    <a:lnTo>
                      <a:pt x="367" y="300"/>
                    </a:lnTo>
                    <a:lnTo>
                      <a:pt x="367" y="297"/>
                    </a:lnTo>
                    <a:lnTo>
                      <a:pt x="369" y="294"/>
                    </a:lnTo>
                    <a:lnTo>
                      <a:pt x="369" y="293"/>
                    </a:lnTo>
                    <a:lnTo>
                      <a:pt x="370" y="294"/>
                    </a:lnTo>
                    <a:lnTo>
                      <a:pt x="373" y="293"/>
                    </a:lnTo>
                    <a:lnTo>
                      <a:pt x="373" y="292"/>
                    </a:lnTo>
                    <a:lnTo>
                      <a:pt x="375" y="293"/>
                    </a:lnTo>
                    <a:lnTo>
                      <a:pt x="375" y="292"/>
                    </a:lnTo>
                    <a:lnTo>
                      <a:pt x="374" y="290"/>
                    </a:lnTo>
                    <a:lnTo>
                      <a:pt x="375" y="289"/>
                    </a:lnTo>
                    <a:lnTo>
                      <a:pt x="377" y="289"/>
                    </a:lnTo>
                    <a:lnTo>
                      <a:pt x="378" y="288"/>
                    </a:lnTo>
                    <a:lnTo>
                      <a:pt x="378" y="286"/>
                    </a:lnTo>
                    <a:lnTo>
                      <a:pt x="379" y="285"/>
                    </a:lnTo>
                    <a:lnTo>
                      <a:pt x="378" y="283"/>
                    </a:lnTo>
                    <a:lnTo>
                      <a:pt x="378" y="282"/>
                    </a:lnTo>
                    <a:lnTo>
                      <a:pt x="378" y="281"/>
                    </a:lnTo>
                    <a:lnTo>
                      <a:pt x="378" y="279"/>
                    </a:lnTo>
                    <a:lnTo>
                      <a:pt x="379" y="279"/>
                    </a:lnTo>
                    <a:lnTo>
                      <a:pt x="382" y="279"/>
                    </a:lnTo>
                    <a:lnTo>
                      <a:pt x="384" y="278"/>
                    </a:lnTo>
                    <a:lnTo>
                      <a:pt x="386" y="279"/>
                    </a:lnTo>
                    <a:lnTo>
                      <a:pt x="390" y="276"/>
                    </a:lnTo>
                    <a:lnTo>
                      <a:pt x="392" y="274"/>
                    </a:lnTo>
                    <a:lnTo>
                      <a:pt x="392" y="272"/>
                    </a:lnTo>
                    <a:lnTo>
                      <a:pt x="395" y="272"/>
                    </a:lnTo>
                    <a:lnTo>
                      <a:pt x="395" y="274"/>
                    </a:lnTo>
                    <a:lnTo>
                      <a:pt x="396" y="275"/>
                    </a:lnTo>
                    <a:lnTo>
                      <a:pt x="396" y="274"/>
                    </a:lnTo>
                    <a:lnTo>
                      <a:pt x="398" y="272"/>
                    </a:lnTo>
                    <a:lnTo>
                      <a:pt x="400" y="272"/>
                    </a:lnTo>
                    <a:lnTo>
                      <a:pt x="403" y="270"/>
                    </a:lnTo>
                    <a:lnTo>
                      <a:pt x="403" y="268"/>
                    </a:lnTo>
                    <a:lnTo>
                      <a:pt x="406" y="268"/>
                    </a:lnTo>
                    <a:lnTo>
                      <a:pt x="406" y="266"/>
                    </a:lnTo>
                    <a:lnTo>
                      <a:pt x="405" y="266"/>
                    </a:lnTo>
                    <a:lnTo>
                      <a:pt x="406" y="266"/>
                    </a:lnTo>
                    <a:lnTo>
                      <a:pt x="405" y="264"/>
                    </a:lnTo>
                    <a:lnTo>
                      <a:pt x="403" y="260"/>
                    </a:lnTo>
                    <a:lnTo>
                      <a:pt x="406" y="258"/>
                    </a:lnTo>
                    <a:lnTo>
                      <a:pt x="405" y="258"/>
                    </a:lnTo>
                    <a:lnTo>
                      <a:pt x="404" y="253"/>
                    </a:lnTo>
                    <a:lnTo>
                      <a:pt x="405" y="253"/>
                    </a:lnTo>
                    <a:lnTo>
                      <a:pt x="405" y="251"/>
                    </a:lnTo>
                    <a:lnTo>
                      <a:pt x="406" y="248"/>
                    </a:lnTo>
                    <a:lnTo>
                      <a:pt x="406" y="246"/>
                    </a:lnTo>
                    <a:lnTo>
                      <a:pt x="407" y="244"/>
                    </a:lnTo>
                    <a:lnTo>
                      <a:pt x="408" y="243"/>
                    </a:lnTo>
                    <a:lnTo>
                      <a:pt x="408" y="240"/>
                    </a:lnTo>
                    <a:lnTo>
                      <a:pt x="406" y="242"/>
                    </a:lnTo>
                    <a:lnTo>
                      <a:pt x="405" y="241"/>
                    </a:lnTo>
                    <a:lnTo>
                      <a:pt x="404" y="239"/>
                    </a:lnTo>
                    <a:lnTo>
                      <a:pt x="406" y="238"/>
                    </a:lnTo>
                    <a:lnTo>
                      <a:pt x="405" y="236"/>
                    </a:lnTo>
                    <a:lnTo>
                      <a:pt x="405" y="235"/>
                    </a:lnTo>
                    <a:lnTo>
                      <a:pt x="406" y="234"/>
                    </a:lnTo>
                    <a:lnTo>
                      <a:pt x="404" y="229"/>
                    </a:lnTo>
                    <a:lnTo>
                      <a:pt x="405" y="226"/>
                    </a:lnTo>
                    <a:lnTo>
                      <a:pt x="406" y="225"/>
                    </a:lnTo>
                    <a:lnTo>
                      <a:pt x="408" y="223"/>
                    </a:lnTo>
                    <a:lnTo>
                      <a:pt x="410" y="221"/>
                    </a:lnTo>
                    <a:lnTo>
                      <a:pt x="408" y="217"/>
                    </a:lnTo>
                    <a:lnTo>
                      <a:pt x="412" y="215"/>
                    </a:lnTo>
                    <a:lnTo>
                      <a:pt x="413" y="213"/>
                    </a:lnTo>
                    <a:lnTo>
                      <a:pt x="410" y="212"/>
                    </a:lnTo>
                    <a:lnTo>
                      <a:pt x="410" y="211"/>
                    </a:lnTo>
                    <a:lnTo>
                      <a:pt x="410" y="209"/>
                    </a:lnTo>
                    <a:lnTo>
                      <a:pt x="411" y="208"/>
                    </a:lnTo>
                    <a:lnTo>
                      <a:pt x="410" y="208"/>
                    </a:lnTo>
                    <a:lnTo>
                      <a:pt x="409" y="209"/>
                    </a:lnTo>
                    <a:lnTo>
                      <a:pt x="408" y="208"/>
                    </a:lnTo>
                    <a:lnTo>
                      <a:pt x="406" y="206"/>
                    </a:lnTo>
                    <a:lnTo>
                      <a:pt x="405" y="204"/>
                    </a:lnTo>
                    <a:lnTo>
                      <a:pt x="406" y="203"/>
                    </a:lnTo>
                    <a:lnTo>
                      <a:pt x="406" y="202"/>
                    </a:lnTo>
                    <a:lnTo>
                      <a:pt x="404" y="200"/>
                    </a:lnTo>
                    <a:lnTo>
                      <a:pt x="405" y="200"/>
                    </a:lnTo>
                    <a:lnTo>
                      <a:pt x="407" y="200"/>
                    </a:lnTo>
                    <a:lnTo>
                      <a:pt x="408" y="201"/>
                    </a:lnTo>
                    <a:lnTo>
                      <a:pt x="409" y="205"/>
                    </a:lnTo>
                    <a:lnTo>
                      <a:pt x="412" y="204"/>
                    </a:lnTo>
                    <a:lnTo>
                      <a:pt x="413" y="203"/>
                    </a:lnTo>
                    <a:lnTo>
                      <a:pt x="413" y="202"/>
                    </a:lnTo>
                    <a:lnTo>
                      <a:pt x="416" y="200"/>
                    </a:lnTo>
                    <a:lnTo>
                      <a:pt x="418" y="197"/>
                    </a:lnTo>
                    <a:lnTo>
                      <a:pt x="419" y="197"/>
                    </a:lnTo>
                    <a:lnTo>
                      <a:pt x="422" y="191"/>
                    </a:lnTo>
                    <a:lnTo>
                      <a:pt x="422" y="187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25" name="Group 71">
              <a:extLst>
                <a:ext uri="{FF2B5EF4-FFF2-40B4-BE49-F238E27FC236}">
                  <a16:creationId xmlns:a16="http://schemas.microsoft.com/office/drawing/2014/main" id="{C54DE807-EA82-6818-BFBC-C914E78059B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49" y="3515"/>
              <a:ext cx="370" cy="313"/>
              <a:chOff x="1749" y="3515"/>
              <a:chExt cx="370" cy="313"/>
            </a:xfrm>
          </p:grpSpPr>
          <p:sp>
            <p:nvSpPr>
              <p:cNvPr id="180" name="Freeform 69">
                <a:extLst>
                  <a:ext uri="{FF2B5EF4-FFF2-40B4-BE49-F238E27FC236}">
                    <a16:creationId xmlns:a16="http://schemas.microsoft.com/office/drawing/2014/main" id="{F4BC80E5-F058-F6AB-334B-ED53A46ED2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9" y="3515"/>
                <a:ext cx="370" cy="313"/>
              </a:xfrm>
              <a:custGeom>
                <a:avLst/>
                <a:gdLst>
                  <a:gd name="T0" fmla="*/ 360 w 370"/>
                  <a:gd name="T1" fmla="*/ 67 h 313"/>
                  <a:gd name="T2" fmla="*/ 345 w 370"/>
                  <a:gd name="T3" fmla="*/ 47 h 313"/>
                  <a:gd name="T4" fmla="*/ 321 w 370"/>
                  <a:gd name="T5" fmla="*/ 29 h 313"/>
                  <a:gd name="T6" fmla="*/ 291 w 370"/>
                  <a:gd name="T7" fmla="*/ 15 h 313"/>
                  <a:gd name="T8" fmla="*/ 261 w 370"/>
                  <a:gd name="T9" fmla="*/ 18 h 313"/>
                  <a:gd name="T10" fmla="*/ 248 w 370"/>
                  <a:gd name="T11" fmla="*/ 0 h 313"/>
                  <a:gd name="T12" fmla="*/ 224 w 370"/>
                  <a:gd name="T13" fmla="*/ 10 h 313"/>
                  <a:gd name="T14" fmla="*/ 217 w 370"/>
                  <a:gd name="T15" fmla="*/ 11 h 313"/>
                  <a:gd name="T16" fmla="*/ 202 w 370"/>
                  <a:gd name="T17" fmla="*/ 21 h 313"/>
                  <a:gd name="T18" fmla="*/ 198 w 370"/>
                  <a:gd name="T19" fmla="*/ 39 h 313"/>
                  <a:gd name="T20" fmla="*/ 187 w 370"/>
                  <a:gd name="T21" fmla="*/ 43 h 313"/>
                  <a:gd name="T22" fmla="*/ 178 w 370"/>
                  <a:gd name="T23" fmla="*/ 34 h 313"/>
                  <a:gd name="T24" fmla="*/ 168 w 370"/>
                  <a:gd name="T25" fmla="*/ 38 h 313"/>
                  <a:gd name="T26" fmla="*/ 156 w 370"/>
                  <a:gd name="T27" fmla="*/ 36 h 313"/>
                  <a:gd name="T28" fmla="*/ 157 w 370"/>
                  <a:gd name="T29" fmla="*/ 53 h 313"/>
                  <a:gd name="T30" fmla="*/ 147 w 370"/>
                  <a:gd name="T31" fmla="*/ 56 h 313"/>
                  <a:gd name="T32" fmla="*/ 132 w 370"/>
                  <a:gd name="T33" fmla="*/ 51 h 313"/>
                  <a:gd name="T34" fmla="*/ 124 w 370"/>
                  <a:gd name="T35" fmla="*/ 54 h 313"/>
                  <a:gd name="T36" fmla="*/ 110 w 370"/>
                  <a:gd name="T37" fmla="*/ 73 h 313"/>
                  <a:gd name="T38" fmla="*/ 100 w 370"/>
                  <a:gd name="T39" fmla="*/ 62 h 313"/>
                  <a:gd name="T40" fmla="*/ 85 w 370"/>
                  <a:gd name="T41" fmla="*/ 58 h 313"/>
                  <a:gd name="T42" fmla="*/ 83 w 370"/>
                  <a:gd name="T43" fmla="*/ 45 h 313"/>
                  <a:gd name="T44" fmla="*/ 74 w 370"/>
                  <a:gd name="T45" fmla="*/ 53 h 313"/>
                  <a:gd name="T46" fmla="*/ 77 w 370"/>
                  <a:gd name="T47" fmla="*/ 73 h 313"/>
                  <a:gd name="T48" fmla="*/ 66 w 370"/>
                  <a:gd name="T49" fmla="*/ 79 h 313"/>
                  <a:gd name="T50" fmla="*/ 59 w 370"/>
                  <a:gd name="T51" fmla="*/ 93 h 313"/>
                  <a:gd name="T52" fmla="*/ 45 w 370"/>
                  <a:gd name="T53" fmla="*/ 95 h 313"/>
                  <a:gd name="T54" fmla="*/ 30 w 370"/>
                  <a:gd name="T55" fmla="*/ 93 h 313"/>
                  <a:gd name="T56" fmla="*/ 25 w 370"/>
                  <a:gd name="T57" fmla="*/ 104 h 313"/>
                  <a:gd name="T58" fmla="*/ 15 w 370"/>
                  <a:gd name="T59" fmla="*/ 111 h 313"/>
                  <a:gd name="T60" fmla="*/ 16 w 370"/>
                  <a:gd name="T61" fmla="*/ 138 h 313"/>
                  <a:gd name="T62" fmla="*/ 16 w 370"/>
                  <a:gd name="T63" fmla="*/ 148 h 313"/>
                  <a:gd name="T64" fmla="*/ 27 w 370"/>
                  <a:gd name="T65" fmla="*/ 154 h 313"/>
                  <a:gd name="T66" fmla="*/ 18 w 370"/>
                  <a:gd name="T67" fmla="*/ 168 h 313"/>
                  <a:gd name="T68" fmla="*/ 6 w 370"/>
                  <a:gd name="T69" fmla="*/ 181 h 313"/>
                  <a:gd name="T70" fmla="*/ 11 w 370"/>
                  <a:gd name="T71" fmla="*/ 192 h 313"/>
                  <a:gd name="T72" fmla="*/ 31 w 370"/>
                  <a:gd name="T73" fmla="*/ 197 h 313"/>
                  <a:gd name="T74" fmla="*/ 28 w 370"/>
                  <a:gd name="T75" fmla="*/ 216 h 313"/>
                  <a:gd name="T76" fmla="*/ 42 w 370"/>
                  <a:gd name="T77" fmla="*/ 227 h 313"/>
                  <a:gd name="T78" fmla="*/ 55 w 370"/>
                  <a:gd name="T79" fmla="*/ 229 h 313"/>
                  <a:gd name="T80" fmla="*/ 64 w 370"/>
                  <a:gd name="T81" fmla="*/ 240 h 313"/>
                  <a:gd name="T82" fmla="*/ 68 w 370"/>
                  <a:gd name="T83" fmla="*/ 247 h 313"/>
                  <a:gd name="T84" fmla="*/ 89 w 370"/>
                  <a:gd name="T85" fmla="*/ 259 h 313"/>
                  <a:gd name="T86" fmla="*/ 104 w 370"/>
                  <a:gd name="T87" fmla="*/ 262 h 313"/>
                  <a:gd name="T88" fmla="*/ 124 w 370"/>
                  <a:gd name="T89" fmla="*/ 285 h 313"/>
                  <a:gd name="T90" fmla="*/ 136 w 370"/>
                  <a:gd name="T91" fmla="*/ 305 h 313"/>
                  <a:gd name="T92" fmla="*/ 159 w 370"/>
                  <a:gd name="T93" fmla="*/ 306 h 313"/>
                  <a:gd name="T94" fmla="*/ 178 w 370"/>
                  <a:gd name="T95" fmla="*/ 283 h 313"/>
                  <a:gd name="T96" fmla="*/ 212 w 370"/>
                  <a:gd name="T97" fmla="*/ 271 h 313"/>
                  <a:gd name="T98" fmla="*/ 221 w 370"/>
                  <a:gd name="T99" fmla="*/ 244 h 313"/>
                  <a:gd name="T100" fmla="*/ 250 w 370"/>
                  <a:gd name="T101" fmla="*/ 245 h 313"/>
                  <a:gd name="T102" fmla="*/ 274 w 370"/>
                  <a:gd name="T103" fmla="*/ 219 h 313"/>
                  <a:gd name="T104" fmla="*/ 278 w 370"/>
                  <a:gd name="T105" fmla="*/ 191 h 313"/>
                  <a:gd name="T106" fmla="*/ 290 w 370"/>
                  <a:gd name="T107" fmla="*/ 157 h 313"/>
                  <a:gd name="T108" fmla="*/ 303 w 370"/>
                  <a:gd name="T109" fmla="*/ 128 h 313"/>
                  <a:gd name="T110" fmla="*/ 320 w 370"/>
                  <a:gd name="T111" fmla="*/ 123 h 313"/>
                  <a:gd name="T112" fmla="*/ 345 w 370"/>
                  <a:gd name="T113" fmla="*/ 114 h 313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70"/>
                  <a:gd name="T172" fmla="*/ 0 h 313"/>
                  <a:gd name="T173" fmla="*/ 370 w 370"/>
                  <a:gd name="T174" fmla="*/ 313 h 313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70" h="313">
                    <a:moveTo>
                      <a:pt x="370" y="93"/>
                    </a:moveTo>
                    <a:lnTo>
                      <a:pt x="368" y="84"/>
                    </a:lnTo>
                    <a:lnTo>
                      <a:pt x="368" y="82"/>
                    </a:lnTo>
                    <a:lnTo>
                      <a:pt x="368" y="80"/>
                    </a:lnTo>
                    <a:lnTo>
                      <a:pt x="366" y="78"/>
                    </a:lnTo>
                    <a:lnTo>
                      <a:pt x="364" y="78"/>
                    </a:lnTo>
                    <a:lnTo>
                      <a:pt x="362" y="76"/>
                    </a:lnTo>
                    <a:lnTo>
                      <a:pt x="360" y="75"/>
                    </a:lnTo>
                    <a:lnTo>
                      <a:pt x="357" y="75"/>
                    </a:lnTo>
                    <a:lnTo>
                      <a:pt x="360" y="67"/>
                    </a:lnTo>
                    <a:lnTo>
                      <a:pt x="358" y="61"/>
                    </a:lnTo>
                    <a:lnTo>
                      <a:pt x="357" y="61"/>
                    </a:lnTo>
                    <a:lnTo>
                      <a:pt x="356" y="60"/>
                    </a:lnTo>
                    <a:lnTo>
                      <a:pt x="357" y="60"/>
                    </a:lnTo>
                    <a:lnTo>
                      <a:pt x="356" y="59"/>
                    </a:lnTo>
                    <a:lnTo>
                      <a:pt x="354" y="55"/>
                    </a:lnTo>
                    <a:lnTo>
                      <a:pt x="352" y="55"/>
                    </a:lnTo>
                    <a:lnTo>
                      <a:pt x="349" y="52"/>
                    </a:lnTo>
                    <a:lnTo>
                      <a:pt x="347" y="51"/>
                    </a:lnTo>
                    <a:lnTo>
                      <a:pt x="345" y="47"/>
                    </a:lnTo>
                    <a:lnTo>
                      <a:pt x="343" y="44"/>
                    </a:lnTo>
                    <a:lnTo>
                      <a:pt x="343" y="35"/>
                    </a:lnTo>
                    <a:lnTo>
                      <a:pt x="342" y="33"/>
                    </a:lnTo>
                    <a:lnTo>
                      <a:pt x="340" y="32"/>
                    </a:lnTo>
                    <a:lnTo>
                      <a:pt x="335" y="31"/>
                    </a:lnTo>
                    <a:lnTo>
                      <a:pt x="334" y="31"/>
                    </a:lnTo>
                    <a:lnTo>
                      <a:pt x="331" y="34"/>
                    </a:lnTo>
                    <a:lnTo>
                      <a:pt x="329" y="35"/>
                    </a:lnTo>
                    <a:lnTo>
                      <a:pt x="322" y="32"/>
                    </a:lnTo>
                    <a:lnTo>
                      <a:pt x="321" y="29"/>
                    </a:lnTo>
                    <a:lnTo>
                      <a:pt x="319" y="29"/>
                    </a:lnTo>
                    <a:lnTo>
                      <a:pt x="315" y="31"/>
                    </a:lnTo>
                    <a:lnTo>
                      <a:pt x="312" y="29"/>
                    </a:lnTo>
                    <a:lnTo>
                      <a:pt x="309" y="23"/>
                    </a:lnTo>
                    <a:lnTo>
                      <a:pt x="307" y="18"/>
                    </a:lnTo>
                    <a:lnTo>
                      <a:pt x="306" y="17"/>
                    </a:lnTo>
                    <a:lnTo>
                      <a:pt x="304" y="18"/>
                    </a:lnTo>
                    <a:lnTo>
                      <a:pt x="298" y="19"/>
                    </a:lnTo>
                    <a:lnTo>
                      <a:pt x="296" y="14"/>
                    </a:lnTo>
                    <a:lnTo>
                      <a:pt x="291" y="15"/>
                    </a:lnTo>
                    <a:lnTo>
                      <a:pt x="289" y="14"/>
                    </a:lnTo>
                    <a:lnTo>
                      <a:pt x="288" y="15"/>
                    </a:lnTo>
                    <a:lnTo>
                      <a:pt x="285" y="14"/>
                    </a:lnTo>
                    <a:lnTo>
                      <a:pt x="283" y="15"/>
                    </a:lnTo>
                    <a:lnTo>
                      <a:pt x="282" y="15"/>
                    </a:lnTo>
                    <a:lnTo>
                      <a:pt x="279" y="14"/>
                    </a:lnTo>
                    <a:lnTo>
                      <a:pt x="276" y="15"/>
                    </a:lnTo>
                    <a:lnTo>
                      <a:pt x="270" y="16"/>
                    </a:lnTo>
                    <a:lnTo>
                      <a:pt x="264" y="18"/>
                    </a:lnTo>
                    <a:lnTo>
                      <a:pt x="261" y="18"/>
                    </a:lnTo>
                    <a:lnTo>
                      <a:pt x="261" y="19"/>
                    </a:lnTo>
                    <a:lnTo>
                      <a:pt x="258" y="17"/>
                    </a:lnTo>
                    <a:lnTo>
                      <a:pt x="259" y="14"/>
                    </a:lnTo>
                    <a:lnTo>
                      <a:pt x="259" y="9"/>
                    </a:lnTo>
                    <a:lnTo>
                      <a:pt x="257" y="6"/>
                    </a:lnTo>
                    <a:lnTo>
                      <a:pt x="255" y="2"/>
                    </a:lnTo>
                    <a:lnTo>
                      <a:pt x="253" y="2"/>
                    </a:lnTo>
                    <a:lnTo>
                      <a:pt x="253" y="3"/>
                    </a:lnTo>
                    <a:lnTo>
                      <a:pt x="250" y="0"/>
                    </a:lnTo>
                    <a:lnTo>
                      <a:pt x="248" y="0"/>
                    </a:lnTo>
                    <a:lnTo>
                      <a:pt x="239" y="0"/>
                    </a:lnTo>
                    <a:lnTo>
                      <a:pt x="237" y="6"/>
                    </a:lnTo>
                    <a:lnTo>
                      <a:pt x="233" y="10"/>
                    </a:lnTo>
                    <a:lnTo>
                      <a:pt x="233" y="11"/>
                    </a:lnTo>
                    <a:lnTo>
                      <a:pt x="233" y="13"/>
                    </a:lnTo>
                    <a:lnTo>
                      <a:pt x="230" y="13"/>
                    </a:lnTo>
                    <a:lnTo>
                      <a:pt x="228" y="10"/>
                    </a:lnTo>
                    <a:lnTo>
                      <a:pt x="226" y="11"/>
                    </a:lnTo>
                    <a:lnTo>
                      <a:pt x="225" y="10"/>
                    </a:lnTo>
                    <a:lnTo>
                      <a:pt x="224" y="10"/>
                    </a:lnTo>
                    <a:lnTo>
                      <a:pt x="224" y="8"/>
                    </a:lnTo>
                    <a:lnTo>
                      <a:pt x="220" y="8"/>
                    </a:lnTo>
                    <a:lnTo>
                      <a:pt x="220" y="6"/>
                    </a:lnTo>
                    <a:lnTo>
                      <a:pt x="219" y="5"/>
                    </a:lnTo>
                    <a:lnTo>
                      <a:pt x="217" y="5"/>
                    </a:lnTo>
                    <a:lnTo>
                      <a:pt x="218" y="6"/>
                    </a:lnTo>
                    <a:lnTo>
                      <a:pt x="218" y="8"/>
                    </a:lnTo>
                    <a:lnTo>
                      <a:pt x="217" y="10"/>
                    </a:lnTo>
                    <a:lnTo>
                      <a:pt x="217" y="11"/>
                    </a:lnTo>
                    <a:lnTo>
                      <a:pt x="217" y="14"/>
                    </a:lnTo>
                    <a:lnTo>
                      <a:pt x="211" y="15"/>
                    </a:lnTo>
                    <a:lnTo>
                      <a:pt x="210" y="14"/>
                    </a:lnTo>
                    <a:lnTo>
                      <a:pt x="209" y="16"/>
                    </a:lnTo>
                    <a:lnTo>
                      <a:pt x="209" y="17"/>
                    </a:lnTo>
                    <a:lnTo>
                      <a:pt x="208" y="19"/>
                    </a:lnTo>
                    <a:lnTo>
                      <a:pt x="204" y="20"/>
                    </a:lnTo>
                    <a:lnTo>
                      <a:pt x="203" y="21"/>
                    </a:lnTo>
                    <a:lnTo>
                      <a:pt x="202" y="20"/>
                    </a:lnTo>
                    <a:lnTo>
                      <a:pt x="202" y="21"/>
                    </a:lnTo>
                    <a:lnTo>
                      <a:pt x="204" y="25"/>
                    </a:lnTo>
                    <a:lnTo>
                      <a:pt x="204" y="28"/>
                    </a:lnTo>
                    <a:lnTo>
                      <a:pt x="203" y="29"/>
                    </a:lnTo>
                    <a:lnTo>
                      <a:pt x="203" y="30"/>
                    </a:lnTo>
                    <a:lnTo>
                      <a:pt x="202" y="31"/>
                    </a:lnTo>
                    <a:lnTo>
                      <a:pt x="201" y="32"/>
                    </a:lnTo>
                    <a:lnTo>
                      <a:pt x="198" y="33"/>
                    </a:lnTo>
                    <a:lnTo>
                      <a:pt x="198" y="34"/>
                    </a:lnTo>
                    <a:lnTo>
                      <a:pt x="199" y="36"/>
                    </a:lnTo>
                    <a:lnTo>
                      <a:pt x="198" y="39"/>
                    </a:lnTo>
                    <a:lnTo>
                      <a:pt x="198" y="40"/>
                    </a:lnTo>
                    <a:lnTo>
                      <a:pt x="198" y="42"/>
                    </a:lnTo>
                    <a:lnTo>
                      <a:pt x="197" y="42"/>
                    </a:lnTo>
                    <a:lnTo>
                      <a:pt x="197" y="43"/>
                    </a:lnTo>
                    <a:lnTo>
                      <a:pt x="196" y="43"/>
                    </a:lnTo>
                    <a:lnTo>
                      <a:pt x="195" y="43"/>
                    </a:lnTo>
                    <a:lnTo>
                      <a:pt x="194" y="43"/>
                    </a:lnTo>
                    <a:lnTo>
                      <a:pt x="194" y="42"/>
                    </a:lnTo>
                    <a:lnTo>
                      <a:pt x="192" y="42"/>
                    </a:lnTo>
                    <a:lnTo>
                      <a:pt x="187" y="43"/>
                    </a:lnTo>
                    <a:lnTo>
                      <a:pt x="186" y="44"/>
                    </a:lnTo>
                    <a:lnTo>
                      <a:pt x="185" y="44"/>
                    </a:lnTo>
                    <a:lnTo>
                      <a:pt x="183" y="41"/>
                    </a:lnTo>
                    <a:lnTo>
                      <a:pt x="181" y="41"/>
                    </a:lnTo>
                    <a:lnTo>
                      <a:pt x="181" y="40"/>
                    </a:lnTo>
                    <a:lnTo>
                      <a:pt x="179" y="39"/>
                    </a:lnTo>
                    <a:lnTo>
                      <a:pt x="179" y="38"/>
                    </a:lnTo>
                    <a:lnTo>
                      <a:pt x="180" y="36"/>
                    </a:lnTo>
                    <a:lnTo>
                      <a:pt x="179" y="36"/>
                    </a:lnTo>
                    <a:lnTo>
                      <a:pt x="178" y="34"/>
                    </a:lnTo>
                    <a:lnTo>
                      <a:pt x="176" y="32"/>
                    </a:lnTo>
                    <a:lnTo>
                      <a:pt x="175" y="29"/>
                    </a:lnTo>
                    <a:lnTo>
                      <a:pt x="173" y="31"/>
                    </a:lnTo>
                    <a:lnTo>
                      <a:pt x="171" y="29"/>
                    </a:lnTo>
                    <a:lnTo>
                      <a:pt x="170" y="29"/>
                    </a:lnTo>
                    <a:lnTo>
                      <a:pt x="170" y="31"/>
                    </a:lnTo>
                    <a:lnTo>
                      <a:pt x="168" y="32"/>
                    </a:lnTo>
                    <a:lnTo>
                      <a:pt x="168" y="34"/>
                    </a:lnTo>
                    <a:lnTo>
                      <a:pt x="168" y="38"/>
                    </a:lnTo>
                    <a:lnTo>
                      <a:pt x="167" y="39"/>
                    </a:lnTo>
                    <a:lnTo>
                      <a:pt x="165" y="39"/>
                    </a:lnTo>
                    <a:lnTo>
                      <a:pt x="163" y="33"/>
                    </a:lnTo>
                    <a:lnTo>
                      <a:pt x="159" y="34"/>
                    </a:lnTo>
                    <a:lnTo>
                      <a:pt x="158" y="34"/>
                    </a:lnTo>
                    <a:lnTo>
                      <a:pt x="157" y="35"/>
                    </a:lnTo>
                    <a:lnTo>
                      <a:pt x="156" y="33"/>
                    </a:lnTo>
                    <a:lnTo>
                      <a:pt x="155" y="34"/>
                    </a:lnTo>
                    <a:lnTo>
                      <a:pt x="156" y="36"/>
                    </a:lnTo>
                    <a:lnTo>
                      <a:pt x="155" y="37"/>
                    </a:lnTo>
                    <a:lnTo>
                      <a:pt x="158" y="40"/>
                    </a:lnTo>
                    <a:lnTo>
                      <a:pt x="158" y="43"/>
                    </a:lnTo>
                    <a:lnTo>
                      <a:pt x="159" y="45"/>
                    </a:lnTo>
                    <a:lnTo>
                      <a:pt x="162" y="47"/>
                    </a:lnTo>
                    <a:lnTo>
                      <a:pt x="160" y="47"/>
                    </a:lnTo>
                    <a:lnTo>
                      <a:pt x="162" y="50"/>
                    </a:lnTo>
                    <a:lnTo>
                      <a:pt x="158" y="53"/>
                    </a:lnTo>
                    <a:lnTo>
                      <a:pt x="157" y="53"/>
                    </a:lnTo>
                    <a:lnTo>
                      <a:pt x="156" y="56"/>
                    </a:lnTo>
                    <a:lnTo>
                      <a:pt x="153" y="57"/>
                    </a:lnTo>
                    <a:lnTo>
                      <a:pt x="151" y="57"/>
                    </a:lnTo>
                    <a:lnTo>
                      <a:pt x="150" y="57"/>
                    </a:lnTo>
                    <a:lnTo>
                      <a:pt x="150" y="56"/>
                    </a:lnTo>
                    <a:lnTo>
                      <a:pt x="150" y="57"/>
                    </a:lnTo>
                    <a:lnTo>
                      <a:pt x="148" y="57"/>
                    </a:lnTo>
                    <a:lnTo>
                      <a:pt x="147" y="57"/>
                    </a:lnTo>
                    <a:lnTo>
                      <a:pt x="147" y="56"/>
                    </a:lnTo>
                    <a:lnTo>
                      <a:pt x="145" y="57"/>
                    </a:lnTo>
                    <a:lnTo>
                      <a:pt x="145" y="56"/>
                    </a:lnTo>
                    <a:lnTo>
                      <a:pt x="145" y="54"/>
                    </a:lnTo>
                    <a:lnTo>
                      <a:pt x="143" y="52"/>
                    </a:lnTo>
                    <a:lnTo>
                      <a:pt x="142" y="51"/>
                    </a:lnTo>
                    <a:lnTo>
                      <a:pt x="141" y="52"/>
                    </a:lnTo>
                    <a:lnTo>
                      <a:pt x="139" y="52"/>
                    </a:lnTo>
                    <a:lnTo>
                      <a:pt x="139" y="51"/>
                    </a:lnTo>
                    <a:lnTo>
                      <a:pt x="133" y="53"/>
                    </a:lnTo>
                    <a:lnTo>
                      <a:pt x="132" y="51"/>
                    </a:lnTo>
                    <a:lnTo>
                      <a:pt x="130" y="53"/>
                    </a:lnTo>
                    <a:lnTo>
                      <a:pt x="129" y="53"/>
                    </a:lnTo>
                    <a:lnTo>
                      <a:pt x="127" y="56"/>
                    </a:lnTo>
                    <a:lnTo>
                      <a:pt x="126" y="55"/>
                    </a:lnTo>
                    <a:lnTo>
                      <a:pt x="126" y="54"/>
                    </a:lnTo>
                    <a:lnTo>
                      <a:pt x="126" y="52"/>
                    </a:lnTo>
                    <a:lnTo>
                      <a:pt x="124" y="53"/>
                    </a:lnTo>
                    <a:lnTo>
                      <a:pt x="121" y="52"/>
                    </a:lnTo>
                    <a:lnTo>
                      <a:pt x="124" y="54"/>
                    </a:lnTo>
                    <a:lnTo>
                      <a:pt x="122" y="56"/>
                    </a:lnTo>
                    <a:lnTo>
                      <a:pt x="123" y="56"/>
                    </a:lnTo>
                    <a:lnTo>
                      <a:pt x="124" y="57"/>
                    </a:lnTo>
                    <a:lnTo>
                      <a:pt x="123" y="62"/>
                    </a:lnTo>
                    <a:lnTo>
                      <a:pt x="122" y="63"/>
                    </a:lnTo>
                    <a:lnTo>
                      <a:pt x="121" y="63"/>
                    </a:lnTo>
                    <a:lnTo>
                      <a:pt x="120" y="63"/>
                    </a:lnTo>
                    <a:lnTo>
                      <a:pt x="117" y="67"/>
                    </a:lnTo>
                    <a:lnTo>
                      <a:pt x="110" y="73"/>
                    </a:lnTo>
                    <a:lnTo>
                      <a:pt x="110" y="68"/>
                    </a:lnTo>
                    <a:lnTo>
                      <a:pt x="109" y="66"/>
                    </a:lnTo>
                    <a:lnTo>
                      <a:pt x="107" y="63"/>
                    </a:lnTo>
                    <a:lnTo>
                      <a:pt x="104" y="62"/>
                    </a:lnTo>
                    <a:lnTo>
                      <a:pt x="105" y="61"/>
                    </a:lnTo>
                    <a:lnTo>
                      <a:pt x="102" y="61"/>
                    </a:lnTo>
                    <a:lnTo>
                      <a:pt x="101" y="60"/>
                    </a:lnTo>
                    <a:lnTo>
                      <a:pt x="101" y="61"/>
                    </a:lnTo>
                    <a:lnTo>
                      <a:pt x="99" y="60"/>
                    </a:lnTo>
                    <a:lnTo>
                      <a:pt x="100" y="62"/>
                    </a:lnTo>
                    <a:lnTo>
                      <a:pt x="99" y="63"/>
                    </a:lnTo>
                    <a:lnTo>
                      <a:pt x="99" y="61"/>
                    </a:lnTo>
                    <a:lnTo>
                      <a:pt x="95" y="61"/>
                    </a:lnTo>
                    <a:lnTo>
                      <a:pt x="96" y="59"/>
                    </a:lnTo>
                    <a:lnTo>
                      <a:pt x="94" y="57"/>
                    </a:lnTo>
                    <a:lnTo>
                      <a:pt x="93" y="57"/>
                    </a:lnTo>
                    <a:lnTo>
                      <a:pt x="89" y="55"/>
                    </a:lnTo>
                    <a:lnTo>
                      <a:pt x="89" y="59"/>
                    </a:lnTo>
                    <a:lnTo>
                      <a:pt x="88" y="58"/>
                    </a:lnTo>
                    <a:lnTo>
                      <a:pt x="85" y="58"/>
                    </a:lnTo>
                    <a:lnTo>
                      <a:pt x="85" y="57"/>
                    </a:lnTo>
                    <a:lnTo>
                      <a:pt x="85" y="54"/>
                    </a:lnTo>
                    <a:lnTo>
                      <a:pt x="86" y="50"/>
                    </a:lnTo>
                    <a:lnTo>
                      <a:pt x="88" y="47"/>
                    </a:lnTo>
                    <a:lnTo>
                      <a:pt x="87" y="47"/>
                    </a:lnTo>
                    <a:lnTo>
                      <a:pt x="85" y="43"/>
                    </a:lnTo>
                    <a:lnTo>
                      <a:pt x="85" y="44"/>
                    </a:lnTo>
                    <a:lnTo>
                      <a:pt x="83" y="44"/>
                    </a:lnTo>
                    <a:lnTo>
                      <a:pt x="83" y="45"/>
                    </a:lnTo>
                    <a:lnTo>
                      <a:pt x="80" y="45"/>
                    </a:lnTo>
                    <a:lnTo>
                      <a:pt x="80" y="48"/>
                    </a:lnTo>
                    <a:lnTo>
                      <a:pt x="78" y="49"/>
                    </a:lnTo>
                    <a:lnTo>
                      <a:pt x="79" y="49"/>
                    </a:lnTo>
                    <a:lnTo>
                      <a:pt x="78" y="50"/>
                    </a:lnTo>
                    <a:lnTo>
                      <a:pt x="77" y="50"/>
                    </a:lnTo>
                    <a:lnTo>
                      <a:pt x="76" y="51"/>
                    </a:lnTo>
                    <a:lnTo>
                      <a:pt x="76" y="53"/>
                    </a:lnTo>
                    <a:lnTo>
                      <a:pt x="74" y="53"/>
                    </a:lnTo>
                    <a:lnTo>
                      <a:pt x="74" y="56"/>
                    </a:lnTo>
                    <a:lnTo>
                      <a:pt x="73" y="56"/>
                    </a:lnTo>
                    <a:lnTo>
                      <a:pt x="73" y="57"/>
                    </a:lnTo>
                    <a:lnTo>
                      <a:pt x="73" y="60"/>
                    </a:lnTo>
                    <a:lnTo>
                      <a:pt x="74" y="63"/>
                    </a:lnTo>
                    <a:lnTo>
                      <a:pt x="75" y="65"/>
                    </a:lnTo>
                    <a:lnTo>
                      <a:pt x="74" y="67"/>
                    </a:lnTo>
                    <a:lnTo>
                      <a:pt x="77" y="68"/>
                    </a:lnTo>
                    <a:lnTo>
                      <a:pt x="77" y="69"/>
                    </a:lnTo>
                    <a:lnTo>
                      <a:pt x="77" y="73"/>
                    </a:lnTo>
                    <a:lnTo>
                      <a:pt x="77" y="76"/>
                    </a:lnTo>
                    <a:lnTo>
                      <a:pt x="75" y="76"/>
                    </a:lnTo>
                    <a:lnTo>
                      <a:pt x="74" y="76"/>
                    </a:lnTo>
                    <a:lnTo>
                      <a:pt x="73" y="76"/>
                    </a:lnTo>
                    <a:lnTo>
                      <a:pt x="71" y="79"/>
                    </a:lnTo>
                    <a:lnTo>
                      <a:pt x="69" y="78"/>
                    </a:lnTo>
                    <a:lnTo>
                      <a:pt x="69" y="80"/>
                    </a:lnTo>
                    <a:lnTo>
                      <a:pt x="67" y="80"/>
                    </a:lnTo>
                    <a:lnTo>
                      <a:pt x="66" y="79"/>
                    </a:lnTo>
                    <a:lnTo>
                      <a:pt x="65" y="86"/>
                    </a:lnTo>
                    <a:lnTo>
                      <a:pt x="64" y="86"/>
                    </a:lnTo>
                    <a:lnTo>
                      <a:pt x="63" y="87"/>
                    </a:lnTo>
                    <a:lnTo>
                      <a:pt x="62" y="87"/>
                    </a:lnTo>
                    <a:lnTo>
                      <a:pt x="63" y="88"/>
                    </a:lnTo>
                    <a:lnTo>
                      <a:pt x="61" y="88"/>
                    </a:lnTo>
                    <a:lnTo>
                      <a:pt x="61" y="90"/>
                    </a:lnTo>
                    <a:lnTo>
                      <a:pt x="59" y="91"/>
                    </a:lnTo>
                    <a:lnTo>
                      <a:pt x="58" y="92"/>
                    </a:lnTo>
                    <a:lnTo>
                      <a:pt x="59" y="93"/>
                    </a:lnTo>
                    <a:lnTo>
                      <a:pt x="58" y="93"/>
                    </a:lnTo>
                    <a:lnTo>
                      <a:pt x="55" y="95"/>
                    </a:lnTo>
                    <a:lnTo>
                      <a:pt x="53" y="95"/>
                    </a:lnTo>
                    <a:lnTo>
                      <a:pt x="53" y="96"/>
                    </a:lnTo>
                    <a:lnTo>
                      <a:pt x="50" y="93"/>
                    </a:lnTo>
                    <a:lnTo>
                      <a:pt x="49" y="93"/>
                    </a:lnTo>
                    <a:lnTo>
                      <a:pt x="49" y="91"/>
                    </a:lnTo>
                    <a:lnTo>
                      <a:pt x="48" y="93"/>
                    </a:lnTo>
                    <a:lnTo>
                      <a:pt x="46" y="94"/>
                    </a:lnTo>
                    <a:lnTo>
                      <a:pt x="45" y="95"/>
                    </a:lnTo>
                    <a:lnTo>
                      <a:pt x="42" y="93"/>
                    </a:lnTo>
                    <a:lnTo>
                      <a:pt x="41" y="93"/>
                    </a:lnTo>
                    <a:lnTo>
                      <a:pt x="39" y="94"/>
                    </a:lnTo>
                    <a:lnTo>
                      <a:pt x="37" y="94"/>
                    </a:lnTo>
                    <a:lnTo>
                      <a:pt x="37" y="96"/>
                    </a:lnTo>
                    <a:lnTo>
                      <a:pt x="36" y="97"/>
                    </a:lnTo>
                    <a:lnTo>
                      <a:pt x="33" y="95"/>
                    </a:lnTo>
                    <a:lnTo>
                      <a:pt x="33" y="92"/>
                    </a:lnTo>
                    <a:lnTo>
                      <a:pt x="32" y="92"/>
                    </a:lnTo>
                    <a:lnTo>
                      <a:pt x="30" y="93"/>
                    </a:lnTo>
                    <a:lnTo>
                      <a:pt x="32" y="95"/>
                    </a:lnTo>
                    <a:lnTo>
                      <a:pt x="30" y="96"/>
                    </a:lnTo>
                    <a:lnTo>
                      <a:pt x="29" y="96"/>
                    </a:lnTo>
                    <a:lnTo>
                      <a:pt x="27" y="97"/>
                    </a:lnTo>
                    <a:lnTo>
                      <a:pt x="27" y="100"/>
                    </a:lnTo>
                    <a:lnTo>
                      <a:pt x="27" y="103"/>
                    </a:lnTo>
                    <a:lnTo>
                      <a:pt x="25" y="105"/>
                    </a:lnTo>
                    <a:lnTo>
                      <a:pt x="25" y="104"/>
                    </a:lnTo>
                    <a:lnTo>
                      <a:pt x="25" y="105"/>
                    </a:lnTo>
                    <a:lnTo>
                      <a:pt x="24" y="104"/>
                    </a:lnTo>
                    <a:lnTo>
                      <a:pt x="23" y="103"/>
                    </a:lnTo>
                    <a:lnTo>
                      <a:pt x="22" y="102"/>
                    </a:lnTo>
                    <a:lnTo>
                      <a:pt x="21" y="101"/>
                    </a:lnTo>
                    <a:lnTo>
                      <a:pt x="19" y="104"/>
                    </a:lnTo>
                    <a:lnTo>
                      <a:pt x="18" y="108"/>
                    </a:lnTo>
                    <a:lnTo>
                      <a:pt x="16" y="109"/>
                    </a:lnTo>
                    <a:lnTo>
                      <a:pt x="15" y="111"/>
                    </a:lnTo>
                    <a:lnTo>
                      <a:pt x="12" y="112"/>
                    </a:lnTo>
                    <a:lnTo>
                      <a:pt x="12" y="115"/>
                    </a:lnTo>
                    <a:lnTo>
                      <a:pt x="14" y="116"/>
                    </a:lnTo>
                    <a:lnTo>
                      <a:pt x="14" y="118"/>
                    </a:lnTo>
                    <a:lnTo>
                      <a:pt x="16" y="120"/>
                    </a:lnTo>
                    <a:lnTo>
                      <a:pt x="16" y="124"/>
                    </a:lnTo>
                    <a:lnTo>
                      <a:pt x="12" y="128"/>
                    </a:lnTo>
                    <a:lnTo>
                      <a:pt x="14" y="131"/>
                    </a:lnTo>
                    <a:lnTo>
                      <a:pt x="16" y="134"/>
                    </a:lnTo>
                    <a:lnTo>
                      <a:pt x="16" y="138"/>
                    </a:lnTo>
                    <a:lnTo>
                      <a:pt x="17" y="139"/>
                    </a:lnTo>
                    <a:lnTo>
                      <a:pt x="18" y="140"/>
                    </a:lnTo>
                    <a:lnTo>
                      <a:pt x="19" y="140"/>
                    </a:lnTo>
                    <a:lnTo>
                      <a:pt x="19" y="142"/>
                    </a:lnTo>
                    <a:lnTo>
                      <a:pt x="17" y="144"/>
                    </a:lnTo>
                    <a:lnTo>
                      <a:pt x="16" y="143"/>
                    </a:lnTo>
                    <a:lnTo>
                      <a:pt x="16" y="146"/>
                    </a:lnTo>
                    <a:lnTo>
                      <a:pt x="14" y="148"/>
                    </a:lnTo>
                    <a:lnTo>
                      <a:pt x="16" y="150"/>
                    </a:lnTo>
                    <a:lnTo>
                      <a:pt x="16" y="148"/>
                    </a:lnTo>
                    <a:lnTo>
                      <a:pt x="20" y="148"/>
                    </a:lnTo>
                    <a:lnTo>
                      <a:pt x="22" y="148"/>
                    </a:lnTo>
                    <a:lnTo>
                      <a:pt x="23" y="150"/>
                    </a:lnTo>
                    <a:lnTo>
                      <a:pt x="25" y="149"/>
                    </a:lnTo>
                    <a:lnTo>
                      <a:pt x="27" y="145"/>
                    </a:lnTo>
                    <a:lnTo>
                      <a:pt x="28" y="145"/>
                    </a:lnTo>
                    <a:lnTo>
                      <a:pt x="29" y="148"/>
                    </a:lnTo>
                    <a:lnTo>
                      <a:pt x="27" y="152"/>
                    </a:lnTo>
                    <a:lnTo>
                      <a:pt x="27" y="154"/>
                    </a:lnTo>
                    <a:lnTo>
                      <a:pt x="27" y="155"/>
                    </a:lnTo>
                    <a:lnTo>
                      <a:pt x="27" y="156"/>
                    </a:lnTo>
                    <a:lnTo>
                      <a:pt x="25" y="157"/>
                    </a:lnTo>
                    <a:lnTo>
                      <a:pt x="23" y="166"/>
                    </a:lnTo>
                    <a:lnTo>
                      <a:pt x="21" y="165"/>
                    </a:lnTo>
                    <a:lnTo>
                      <a:pt x="20" y="166"/>
                    </a:lnTo>
                    <a:lnTo>
                      <a:pt x="19" y="165"/>
                    </a:lnTo>
                    <a:lnTo>
                      <a:pt x="19" y="167"/>
                    </a:lnTo>
                    <a:lnTo>
                      <a:pt x="18" y="168"/>
                    </a:lnTo>
                    <a:lnTo>
                      <a:pt x="17" y="168"/>
                    </a:lnTo>
                    <a:lnTo>
                      <a:pt x="16" y="167"/>
                    </a:lnTo>
                    <a:lnTo>
                      <a:pt x="14" y="167"/>
                    </a:lnTo>
                    <a:lnTo>
                      <a:pt x="12" y="167"/>
                    </a:lnTo>
                    <a:lnTo>
                      <a:pt x="11" y="171"/>
                    </a:lnTo>
                    <a:lnTo>
                      <a:pt x="9" y="177"/>
                    </a:lnTo>
                    <a:lnTo>
                      <a:pt x="9" y="180"/>
                    </a:lnTo>
                    <a:lnTo>
                      <a:pt x="7" y="181"/>
                    </a:lnTo>
                    <a:lnTo>
                      <a:pt x="6" y="181"/>
                    </a:lnTo>
                    <a:lnTo>
                      <a:pt x="1" y="180"/>
                    </a:lnTo>
                    <a:lnTo>
                      <a:pt x="1" y="187"/>
                    </a:lnTo>
                    <a:lnTo>
                      <a:pt x="2" y="186"/>
                    </a:lnTo>
                    <a:lnTo>
                      <a:pt x="3" y="188"/>
                    </a:lnTo>
                    <a:lnTo>
                      <a:pt x="2" y="191"/>
                    </a:lnTo>
                    <a:lnTo>
                      <a:pt x="0" y="192"/>
                    </a:lnTo>
                    <a:lnTo>
                      <a:pt x="6" y="194"/>
                    </a:lnTo>
                    <a:lnTo>
                      <a:pt x="8" y="193"/>
                    </a:lnTo>
                    <a:lnTo>
                      <a:pt x="9" y="195"/>
                    </a:lnTo>
                    <a:lnTo>
                      <a:pt x="11" y="192"/>
                    </a:lnTo>
                    <a:lnTo>
                      <a:pt x="12" y="192"/>
                    </a:lnTo>
                    <a:lnTo>
                      <a:pt x="13" y="191"/>
                    </a:lnTo>
                    <a:lnTo>
                      <a:pt x="14" y="192"/>
                    </a:lnTo>
                    <a:lnTo>
                      <a:pt x="16" y="191"/>
                    </a:lnTo>
                    <a:lnTo>
                      <a:pt x="20" y="191"/>
                    </a:lnTo>
                    <a:lnTo>
                      <a:pt x="25" y="188"/>
                    </a:lnTo>
                    <a:lnTo>
                      <a:pt x="28" y="189"/>
                    </a:lnTo>
                    <a:lnTo>
                      <a:pt x="29" y="189"/>
                    </a:lnTo>
                    <a:lnTo>
                      <a:pt x="29" y="196"/>
                    </a:lnTo>
                    <a:lnTo>
                      <a:pt x="31" y="197"/>
                    </a:lnTo>
                    <a:lnTo>
                      <a:pt x="32" y="198"/>
                    </a:lnTo>
                    <a:lnTo>
                      <a:pt x="32" y="200"/>
                    </a:lnTo>
                    <a:lnTo>
                      <a:pt x="32" y="202"/>
                    </a:lnTo>
                    <a:lnTo>
                      <a:pt x="32" y="206"/>
                    </a:lnTo>
                    <a:lnTo>
                      <a:pt x="31" y="208"/>
                    </a:lnTo>
                    <a:lnTo>
                      <a:pt x="29" y="210"/>
                    </a:lnTo>
                    <a:lnTo>
                      <a:pt x="29" y="211"/>
                    </a:lnTo>
                    <a:lnTo>
                      <a:pt x="28" y="214"/>
                    </a:lnTo>
                    <a:lnTo>
                      <a:pt x="27" y="215"/>
                    </a:lnTo>
                    <a:lnTo>
                      <a:pt x="28" y="216"/>
                    </a:lnTo>
                    <a:lnTo>
                      <a:pt x="29" y="215"/>
                    </a:lnTo>
                    <a:lnTo>
                      <a:pt x="30" y="213"/>
                    </a:lnTo>
                    <a:lnTo>
                      <a:pt x="37" y="214"/>
                    </a:lnTo>
                    <a:lnTo>
                      <a:pt x="37" y="218"/>
                    </a:lnTo>
                    <a:lnTo>
                      <a:pt x="39" y="217"/>
                    </a:lnTo>
                    <a:lnTo>
                      <a:pt x="41" y="218"/>
                    </a:lnTo>
                    <a:lnTo>
                      <a:pt x="42" y="220"/>
                    </a:lnTo>
                    <a:lnTo>
                      <a:pt x="43" y="221"/>
                    </a:lnTo>
                    <a:lnTo>
                      <a:pt x="42" y="227"/>
                    </a:lnTo>
                    <a:lnTo>
                      <a:pt x="44" y="227"/>
                    </a:lnTo>
                    <a:lnTo>
                      <a:pt x="45" y="225"/>
                    </a:lnTo>
                    <a:lnTo>
                      <a:pt x="47" y="227"/>
                    </a:lnTo>
                    <a:lnTo>
                      <a:pt x="47" y="226"/>
                    </a:lnTo>
                    <a:lnTo>
                      <a:pt x="49" y="227"/>
                    </a:lnTo>
                    <a:lnTo>
                      <a:pt x="50" y="226"/>
                    </a:lnTo>
                    <a:lnTo>
                      <a:pt x="52" y="227"/>
                    </a:lnTo>
                    <a:lnTo>
                      <a:pt x="52" y="229"/>
                    </a:lnTo>
                    <a:lnTo>
                      <a:pt x="55" y="229"/>
                    </a:lnTo>
                    <a:lnTo>
                      <a:pt x="56" y="229"/>
                    </a:lnTo>
                    <a:lnTo>
                      <a:pt x="59" y="228"/>
                    </a:lnTo>
                    <a:lnTo>
                      <a:pt x="61" y="230"/>
                    </a:lnTo>
                    <a:lnTo>
                      <a:pt x="60" y="231"/>
                    </a:lnTo>
                    <a:lnTo>
                      <a:pt x="63" y="233"/>
                    </a:lnTo>
                    <a:lnTo>
                      <a:pt x="63" y="232"/>
                    </a:lnTo>
                    <a:lnTo>
                      <a:pt x="65" y="234"/>
                    </a:lnTo>
                    <a:lnTo>
                      <a:pt x="64" y="237"/>
                    </a:lnTo>
                    <a:lnTo>
                      <a:pt x="65" y="238"/>
                    </a:lnTo>
                    <a:lnTo>
                      <a:pt x="64" y="240"/>
                    </a:lnTo>
                    <a:lnTo>
                      <a:pt x="64" y="241"/>
                    </a:lnTo>
                    <a:lnTo>
                      <a:pt x="62" y="243"/>
                    </a:lnTo>
                    <a:lnTo>
                      <a:pt x="63" y="244"/>
                    </a:lnTo>
                    <a:lnTo>
                      <a:pt x="62" y="245"/>
                    </a:lnTo>
                    <a:lnTo>
                      <a:pt x="62" y="246"/>
                    </a:lnTo>
                    <a:lnTo>
                      <a:pt x="63" y="246"/>
                    </a:lnTo>
                    <a:lnTo>
                      <a:pt x="65" y="248"/>
                    </a:lnTo>
                    <a:lnTo>
                      <a:pt x="66" y="247"/>
                    </a:lnTo>
                    <a:lnTo>
                      <a:pt x="67" y="248"/>
                    </a:lnTo>
                    <a:lnTo>
                      <a:pt x="68" y="247"/>
                    </a:lnTo>
                    <a:lnTo>
                      <a:pt x="68" y="249"/>
                    </a:lnTo>
                    <a:lnTo>
                      <a:pt x="69" y="246"/>
                    </a:lnTo>
                    <a:lnTo>
                      <a:pt x="74" y="246"/>
                    </a:lnTo>
                    <a:lnTo>
                      <a:pt x="74" y="250"/>
                    </a:lnTo>
                    <a:lnTo>
                      <a:pt x="76" y="252"/>
                    </a:lnTo>
                    <a:lnTo>
                      <a:pt x="80" y="257"/>
                    </a:lnTo>
                    <a:lnTo>
                      <a:pt x="83" y="261"/>
                    </a:lnTo>
                    <a:lnTo>
                      <a:pt x="88" y="258"/>
                    </a:lnTo>
                    <a:lnTo>
                      <a:pt x="89" y="259"/>
                    </a:lnTo>
                    <a:lnTo>
                      <a:pt x="90" y="257"/>
                    </a:lnTo>
                    <a:lnTo>
                      <a:pt x="91" y="258"/>
                    </a:lnTo>
                    <a:lnTo>
                      <a:pt x="93" y="257"/>
                    </a:lnTo>
                    <a:lnTo>
                      <a:pt x="94" y="257"/>
                    </a:lnTo>
                    <a:lnTo>
                      <a:pt x="96" y="260"/>
                    </a:lnTo>
                    <a:lnTo>
                      <a:pt x="102" y="259"/>
                    </a:lnTo>
                    <a:lnTo>
                      <a:pt x="102" y="255"/>
                    </a:lnTo>
                    <a:lnTo>
                      <a:pt x="104" y="261"/>
                    </a:lnTo>
                    <a:lnTo>
                      <a:pt x="104" y="262"/>
                    </a:lnTo>
                    <a:lnTo>
                      <a:pt x="108" y="261"/>
                    </a:lnTo>
                    <a:lnTo>
                      <a:pt x="113" y="265"/>
                    </a:lnTo>
                    <a:lnTo>
                      <a:pt x="116" y="268"/>
                    </a:lnTo>
                    <a:lnTo>
                      <a:pt x="115" y="269"/>
                    </a:lnTo>
                    <a:lnTo>
                      <a:pt x="115" y="271"/>
                    </a:lnTo>
                    <a:lnTo>
                      <a:pt x="111" y="278"/>
                    </a:lnTo>
                    <a:lnTo>
                      <a:pt x="114" y="280"/>
                    </a:lnTo>
                    <a:lnTo>
                      <a:pt x="116" y="278"/>
                    </a:lnTo>
                    <a:lnTo>
                      <a:pt x="118" y="278"/>
                    </a:lnTo>
                    <a:lnTo>
                      <a:pt x="124" y="285"/>
                    </a:lnTo>
                    <a:lnTo>
                      <a:pt x="128" y="285"/>
                    </a:lnTo>
                    <a:lnTo>
                      <a:pt x="132" y="294"/>
                    </a:lnTo>
                    <a:lnTo>
                      <a:pt x="134" y="299"/>
                    </a:lnTo>
                    <a:lnTo>
                      <a:pt x="133" y="300"/>
                    </a:lnTo>
                    <a:lnTo>
                      <a:pt x="134" y="302"/>
                    </a:lnTo>
                    <a:lnTo>
                      <a:pt x="137" y="301"/>
                    </a:lnTo>
                    <a:lnTo>
                      <a:pt x="136" y="302"/>
                    </a:lnTo>
                    <a:lnTo>
                      <a:pt x="137" y="303"/>
                    </a:lnTo>
                    <a:lnTo>
                      <a:pt x="136" y="303"/>
                    </a:lnTo>
                    <a:lnTo>
                      <a:pt x="136" y="305"/>
                    </a:lnTo>
                    <a:lnTo>
                      <a:pt x="138" y="313"/>
                    </a:lnTo>
                    <a:lnTo>
                      <a:pt x="141" y="312"/>
                    </a:lnTo>
                    <a:lnTo>
                      <a:pt x="143" y="313"/>
                    </a:lnTo>
                    <a:lnTo>
                      <a:pt x="146" y="312"/>
                    </a:lnTo>
                    <a:lnTo>
                      <a:pt x="147" y="312"/>
                    </a:lnTo>
                    <a:lnTo>
                      <a:pt x="149" y="310"/>
                    </a:lnTo>
                    <a:lnTo>
                      <a:pt x="150" y="310"/>
                    </a:lnTo>
                    <a:lnTo>
                      <a:pt x="155" y="312"/>
                    </a:lnTo>
                    <a:lnTo>
                      <a:pt x="158" y="309"/>
                    </a:lnTo>
                    <a:lnTo>
                      <a:pt x="159" y="306"/>
                    </a:lnTo>
                    <a:lnTo>
                      <a:pt x="163" y="303"/>
                    </a:lnTo>
                    <a:lnTo>
                      <a:pt x="165" y="301"/>
                    </a:lnTo>
                    <a:lnTo>
                      <a:pt x="166" y="300"/>
                    </a:lnTo>
                    <a:lnTo>
                      <a:pt x="168" y="299"/>
                    </a:lnTo>
                    <a:lnTo>
                      <a:pt x="168" y="297"/>
                    </a:lnTo>
                    <a:lnTo>
                      <a:pt x="170" y="293"/>
                    </a:lnTo>
                    <a:lnTo>
                      <a:pt x="175" y="289"/>
                    </a:lnTo>
                    <a:lnTo>
                      <a:pt x="176" y="289"/>
                    </a:lnTo>
                    <a:lnTo>
                      <a:pt x="178" y="288"/>
                    </a:lnTo>
                    <a:lnTo>
                      <a:pt x="178" y="283"/>
                    </a:lnTo>
                    <a:lnTo>
                      <a:pt x="187" y="284"/>
                    </a:lnTo>
                    <a:lnTo>
                      <a:pt x="188" y="284"/>
                    </a:lnTo>
                    <a:lnTo>
                      <a:pt x="189" y="283"/>
                    </a:lnTo>
                    <a:lnTo>
                      <a:pt x="195" y="284"/>
                    </a:lnTo>
                    <a:lnTo>
                      <a:pt x="198" y="284"/>
                    </a:lnTo>
                    <a:lnTo>
                      <a:pt x="203" y="287"/>
                    </a:lnTo>
                    <a:lnTo>
                      <a:pt x="208" y="285"/>
                    </a:lnTo>
                    <a:lnTo>
                      <a:pt x="208" y="281"/>
                    </a:lnTo>
                    <a:lnTo>
                      <a:pt x="211" y="274"/>
                    </a:lnTo>
                    <a:lnTo>
                      <a:pt x="212" y="271"/>
                    </a:lnTo>
                    <a:lnTo>
                      <a:pt x="213" y="270"/>
                    </a:lnTo>
                    <a:lnTo>
                      <a:pt x="212" y="266"/>
                    </a:lnTo>
                    <a:lnTo>
                      <a:pt x="213" y="263"/>
                    </a:lnTo>
                    <a:lnTo>
                      <a:pt x="215" y="259"/>
                    </a:lnTo>
                    <a:lnTo>
                      <a:pt x="217" y="257"/>
                    </a:lnTo>
                    <a:lnTo>
                      <a:pt x="218" y="253"/>
                    </a:lnTo>
                    <a:lnTo>
                      <a:pt x="217" y="249"/>
                    </a:lnTo>
                    <a:lnTo>
                      <a:pt x="218" y="247"/>
                    </a:lnTo>
                    <a:lnTo>
                      <a:pt x="220" y="246"/>
                    </a:lnTo>
                    <a:lnTo>
                      <a:pt x="221" y="244"/>
                    </a:lnTo>
                    <a:lnTo>
                      <a:pt x="224" y="242"/>
                    </a:lnTo>
                    <a:lnTo>
                      <a:pt x="228" y="242"/>
                    </a:lnTo>
                    <a:lnTo>
                      <a:pt x="229" y="242"/>
                    </a:lnTo>
                    <a:lnTo>
                      <a:pt x="236" y="244"/>
                    </a:lnTo>
                    <a:lnTo>
                      <a:pt x="237" y="242"/>
                    </a:lnTo>
                    <a:lnTo>
                      <a:pt x="239" y="241"/>
                    </a:lnTo>
                    <a:lnTo>
                      <a:pt x="241" y="241"/>
                    </a:lnTo>
                    <a:lnTo>
                      <a:pt x="244" y="244"/>
                    </a:lnTo>
                    <a:lnTo>
                      <a:pt x="248" y="245"/>
                    </a:lnTo>
                    <a:lnTo>
                      <a:pt x="250" y="245"/>
                    </a:lnTo>
                    <a:lnTo>
                      <a:pt x="251" y="242"/>
                    </a:lnTo>
                    <a:lnTo>
                      <a:pt x="254" y="242"/>
                    </a:lnTo>
                    <a:lnTo>
                      <a:pt x="261" y="239"/>
                    </a:lnTo>
                    <a:lnTo>
                      <a:pt x="263" y="237"/>
                    </a:lnTo>
                    <a:lnTo>
                      <a:pt x="266" y="234"/>
                    </a:lnTo>
                    <a:lnTo>
                      <a:pt x="266" y="232"/>
                    </a:lnTo>
                    <a:lnTo>
                      <a:pt x="270" y="229"/>
                    </a:lnTo>
                    <a:lnTo>
                      <a:pt x="269" y="228"/>
                    </a:lnTo>
                    <a:lnTo>
                      <a:pt x="270" y="226"/>
                    </a:lnTo>
                    <a:lnTo>
                      <a:pt x="274" y="219"/>
                    </a:lnTo>
                    <a:lnTo>
                      <a:pt x="277" y="215"/>
                    </a:lnTo>
                    <a:lnTo>
                      <a:pt x="277" y="204"/>
                    </a:lnTo>
                    <a:lnTo>
                      <a:pt x="278" y="202"/>
                    </a:lnTo>
                    <a:lnTo>
                      <a:pt x="279" y="202"/>
                    </a:lnTo>
                    <a:lnTo>
                      <a:pt x="280" y="202"/>
                    </a:lnTo>
                    <a:lnTo>
                      <a:pt x="279" y="199"/>
                    </a:lnTo>
                    <a:lnTo>
                      <a:pt x="277" y="197"/>
                    </a:lnTo>
                    <a:lnTo>
                      <a:pt x="277" y="194"/>
                    </a:lnTo>
                    <a:lnTo>
                      <a:pt x="278" y="191"/>
                    </a:lnTo>
                    <a:lnTo>
                      <a:pt x="280" y="190"/>
                    </a:lnTo>
                    <a:lnTo>
                      <a:pt x="280" y="187"/>
                    </a:lnTo>
                    <a:lnTo>
                      <a:pt x="280" y="186"/>
                    </a:lnTo>
                    <a:lnTo>
                      <a:pt x="286" y="183"/>
                    </a:lnTo>
                    <a:lnTo>
                      <a:pt x="284" y="179"/>
                    </a:lnTo>
                    <a:lnTo>
                      <a:pt x="285" y="169"/>
                    </a:lnTo>
                    <a:lnTo>
                      <a:pt x="288" y="167"/>
                    </a:lnTo>
                    <a:lnTo>
                      <a:pt x="289" y="163"/>
                    </a:lnTo>
                    <a:lnTo>
                      <a:pt x="290" y="163"/>
                    </a:lnTo>
                    <a:lnTo>
                      <a:pt x="290" y="157"/>
                    </a:lnTo>
                    <a:lnTo>
                      <a:pt x="292" y="157"/>
                    </a:lnTo>
                    <a:lnTo>
                      <a:pt x="292" y="155"/>
                    </a:lnTo>
                    <a:lnTo>
                      <a:pt x="293" y="151"/>
                    </a:lnTo>
                    <a:lnTo>
                      <a:pt x="290" y="151"/>
                    </a:lnTo>
                    <a:lnTo>
                      <a:pt x="291" y="147"/>
                    </a:lnTo>
                    <a:lnTo>
                      <a:pt x="291" y="142"/>
                    </a:lnTo>
                    <a:lnTo>
                      <a:pt x="296" y="140"/>
                    </a:lnTo>
                    <a:lnTo>
                      <a:pt x="296" y="137"/>
                    </a:lnTo>
                    <a:lnTo>
                      <a:pt x="302" y="133"/>
                    </a:lnTo>
                    <a:lnTo>
                      <a:pt x="303" y="128"/>
                    </a:lnTo>
                    <a:lnTo>
                      <a:pt x="303" y="125"/>
                    </a:lnTo>
                    <a:lnTo>
                      <a:pt x="305" y="124"/>
                    </a:lnTo>
                    <a:lnTo>
                      <a:pt x="306" y="124"/>
                    </a:lnTo>
                    <a:lnTo>
                      <a:pt x="308" y="123"/>
                    </a:lnTo>
                    <a:lnTo>
                      <a:pt x="310" y="124"/>
                    </a:lnTo>
                    <a:lnTo>
                      <a:pt x="311" y="122"/>
                    </a:lnTo>
                    <a:lnTo>
                      <a:pt x="312" y="123"/>
                    </a:lnTo>
                    <a:lnTo>
                      <a:pt x="313" y="121"/>
                    </a:lnTo>
                    <a:lnTo>
                      <a:pt x="320" y="123"/>
                    </a:lnTo>
                    <a:lnTo>
                      <a:pt x="322" y="122"/>
                    </a:lnTo>
                    <a:lnTo>
                      <a:pt x="326" y="121"/>
                    </a:lnTo>
                    <a:lnTo>
                      <a:pt x="327" y="120"/>
                    </a:lnTo>
                    <a:lnTo>
                      <a:pt x="330" y="120"/>
                    </a:lnTo>
                    <a:lnTo>
                      <a:pt x="335" y="120"/>
                    </a:lnTo>
                    <a:lnTo>
                      <a:pt x="336" y="119"/>
                    </a:lnTo>
                    <a:lnTo>
                      <a:pt x="336" y="118"/>
                    </a:lnTo>
                    <a:lnTo>
                      <a:pt x="341" y="116"/>
                    </a:lnTo>
                    <a:lnTo>
                      <a:pt x="344" y="114"/>
                    </a:lnTo>
                    <a:lnTo>
                      <a:pt x="345" y="114"/>
                    </a:lnTo>
                    <a:lnTo>
                      <a:pt x="353" y="113"/>
                    </a:lnTo>
                    <a:lnTo>
                      <a:pt x="358" y="110"/>
                    </a:lnTo>
                    <a:lnTo>
                      <a:pt x="362" y="103"/>
                    </a:lnTo>
                    <a:lnTo>
                      <a:pt x="363" y="102"/>
                    </a:lnTo>
                    <a:lnTo>
                      <a:pt x="366" y="102"/>
                    </a:lnTo>
                    <a:lnTo>
                      <a:pt x="365" y="98"/>
                    </a:lnTo>
                    <a:lnTo>
                      <a:pt x="368" y="97"/>
                    </a:lnTo>
                    <a:lnTo>
                      <a:pt x="370" y="9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1" name="Freeform 70">
                <a:extLst>
                  <a:ext uri="{FF2B5EF4-FFF2-40B4-BE49-F238E27FC236}">
                    <a16:creationId xmlns:a16="http://schemas.microsoft.com/office/drawing/2014/main" id="{6F6A3E67-C062-AC93-8361-A5AEEA39E3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9" y="3515"/>
                <a:ext cx="370" cy="313"/>
              </a:xfrm>
              <a:custGeom>
                <a:avLst/>
                <a:gdLst>
                  <a:gd name="T0" fmla="*/ 360 w 370"/>
                  <a:gd name="T1" fmla="*/ 67 h 313"/>
                  <a:gd name="T2" fmla="*/ 345 w 370"/>
                  <a:gd name="T3" fmla="*/ 47 h 313"/>
                  <a:gd name="T4" fmla="*/ 321 w 370"/>
                  <a:gd name="T5" fmla="*/ 29 h 313"/>
                  <a:gd name="T6" fmla="*/ 291 w 370"/>
                  <a:gd name="T7" fmla="*/ 15 h 313"/>
                  <a:gd name="T8" fmla="*/ 261 w 370"/>
                  <a:gd name="T9" fmla="*/ 18 h 313"/>
                  <a:gd name="T10" fmla="*/ 248 w 370"/>
                  <a:gd name="T11" fmla="*/ 0 h 313"/>
                  <a:gd name="T12" fmla="*/ 224 w 370"/>
                  <a:gd name="T13" fmla="*/ 10 h 313"/>
                  <a:gd name="T14" fmla="*/ 217 w 370"/>
                  <a:gd name="T15" fmla="*/ 11 h 313"/>
                  <a:gd name="T16" fmla="*/ 202 w 370"/>
                  <a:gd name="T17" fmla="*/ 21 h 313"/>
                  <a:gd name="T18" fmla="*/ 198 w 370"/>
                  <a:gd name="T19" fmla="*/ 39 h 313"/>
                  <a:gd name="T20" fmla="*/ 187 w 370"/>
                  <a:gd name="T21" fmla="*/ 43 h 313"/>
                  <a:gd name="T22" fmla="*/ 178 w 370"/>
                  <a:gd name="T23" fmla="*/ 34 h 313"/>
                  <a:gd name="T24" fmla="*/ 168 w 370"/>
                  <a:gd name="T25" fmla="*/ 38 h 313"/>
                  <a:gd name="T26" fmla="*/ 156 w 370"/>
                  <a:gd name="T27" fmla="*/ 36 h 313"/>
                  <a:gd name="T28" fmla="*/ 157 w 370"/>
                  <a:gd name="T29" fmla="*/ 53 h 313"/>
                  <a:gd name="T30" fmla="*/ 147 w 370"/>
                  <a:gd name="T31" fmla="*/ 56 h 313"/>
                  <a:gd name="T32" fmla="*/ 132 w 370"/>
                  <a:gd name="T33" fmla="*/ 51 h 313"/>
                  <a:gd name="T34" fmla="*/ 124 w 370"/>
                  <a:gd name="T35" fmla="*/ 54 h 313"/>
                  <a:gd name="T36" fmla="*/ 110 w 370"/>
                  <a:gd name="T37" fmla="*/ 73 h 313"/>
                  <a:gd name="T38" fmla="*/ 100 w 370"/>
                  <a:gd name="T39" fmla="*/ 62 h 313"/>
                  <a:gd name="T40" fmla="*/ 85 w 370"/>
                  <a:gd name="T41" fmla="*/ 58 h 313"/>
                  <a:gd name="T42" fmla="*/ 83 w 370"/>
                  <a:gd name="T43" fmla="*/ 45 h 313"/>
                  <a:gd name="T44" fmla="*/ 74 w 370"/>
                  <a:gd name="T45" fmla="*/ 53 h 313"/>
                  <a:gd name="T46" fmla="*/ 77 w 370"/>
                  <a:gd name="T47" fmla="*/ 73 h 313"/>
                  <a:gd name="T48" fmla="*/ 66 w 370"/>
                  <a:gd name="T49" fmla="*/ 79 h 313"/>
                  <a:gd name="T50" fmla="*/ 59 w 370"/>
                  <a:gd name="T51" fmla="*/ 93 h 313"/>
                  <a:gd name="T52" fmla="*/ 45 w 370"/>
                  <a:gd name="T53" fmla="*/ 95 h 313"/>
                  <a:gd name="T54" fmla="*/ 30 w 370"/>
                  <a:gd name="T55" fmla="*/ 93 h 313"/>
                  <a:gd name="T56" fmla="*/ 25 w 370"/>
                  <a:gd name="T57" fmla="*/ 104 h 313"/>
                  <a:gd name="T58" fmla="*/ 15 w 370"/>
                  <a:gd name="T59" fmla="*/ 111 h 313"/>
                  <a:gd name="T60" fmla="*/ 16 w 370"/>
                  <a:gd name="T61" fmla="*/ 138 h 313"/>
                  <a:gd name="T62" fmla="*/ 16 w 370"/>
                  <a:gd name="T63" fmla="*/ 148 h 313"/>
                  <a:gd name="T64" fmla="*/ 27 w 370"/>
                  <a:gd name="T65" fmla="*/ 154 h 313"/>
                  <a:gd name="T66" fmla="*/ 18 w 370"/>
                  <a:gd name="T67" fmla="*/ 168 h 313"/>
                  <a:gd name="T68" fmla="*/ 6 w 370"/>
                  <a:gd name="T69" fmla="*/ 181 h 313"/>
                  <a:gd name="T70" fmla="*/ 11 w 370"/>
                  <a:gd name="T71" fmla="*/ 192 h 313"/>
                  <a:gd name="T72" fmla="*/ 31 w 370"/>
                  <a:gd name="T73" fmla="*/ 197 h 313"/>
                  <a:gd name="T74" fmla="*/ 28 w 370"/>
                  <a:gd name="T75" fmla="*/ 216 h 313"/>
                  <a:gd name="T76" fmla="*/ 42 w 370"/>
                  <a:gd name="T77" fmla="*/ 227 h 313"/>
                  <a:gd name="T78" fmla="*/ 55 w 370"/>
                  <a:gd name="T79" fmla="*/ 229 h 313"/>
                  <a:gd name="T80" fmla="*/ 64 w 370"/>
                  <a:gd name="T81" fmla="*/ 240 h 313"/>
                  <a:gd name="T82" fmla="*/ 68 w 370"/>
                  <a:gd name="T83" fmla="*/ 247 h 313"/>
                  <a:gd name="T84" fmla="*/ 89 w 370"/>
                  <a:gd name="T85" fmla="*/ 259 h 313"/>
                  <a:gd name="T86" fmla="*/ 104 w 370"/>
                  <a:gd name="T87" fmla="*/ 262 h 313"/>
                  <a:gd name="T88" fmla="*/ 124 w 370"/>
                  <a:gd name="T89" fmla="*/ 285 h 313"/>
                  <a:gd name="T90" fmla="*/ 136 w 370"/>
                  <a:gd name="T91" fmla="*/ 305 h 313"/>
                  <a:gd name="T92" fmla="*/ 159 w 370"/>
                  <a:gd name="T93" fmla="*/ 306 h 313"/>
                  <a:gd name="T94" fmla="*/ 178 w 370"/>
                  <a:gd name="T95" fmla="*/ 283 h 313"/>
                  <a:gd name="T96" fmla="*/ 212 w 370"/>
                  <a:gd name="T97" fmla="*/ 271 h 313"/>
                  <a:gd name="T98" fmla="*/ 221 w 370"/>
                  <a:gd name="T99" fmla="*/ 244 h 313"/>
                  <a:gd name="T100" fmla="*/ 250 w 370"/>
                  <a:gd name="T101" fmla="*/ 245 h 313"/>
                  <a:gd name="T102" fmla="*/ 274 w 370"/>
                  <a:gd name="T103" fmla="*/ 219 h 313"/>
                  <a:gd name="T104" fmla="*/ 278 w 370"/>
                  <a:gd name="T105" fmla="*/ 191 h 313"/>
                  <a:gd name="T106" fmla="*/ 290 w 370"/>
                  <a:gd name="T107" fmla="*/ 157 h 313"/>
                  <a:gd name="T108" fmla="*/ 303 w 370"/>
                  <a:gd name="T109" fmla="*/ 128 h 313"/>
                  <a:gd name="T110" fmla="*/ 320 w 370"/>
                  <a:gd name="T111" fmla="*/ 123 h 313"/>
                  <a:gd name="T112" fmla="*/ 345 w 370"/>
                  <a:gd name="T113" fmla="*/ 114 h 313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70"/>
                  <a:gd name="T172" fmla="*/ 0 h 313"/>
                  <a:gd name="T173" fmla="*/ 370 w 370"/>
                  <a:gd name="T174" fmla="*/ 313 h 313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70" h="313">
                    <a:moveTo>
                      <a:pt x="370" y="93"/>
                    </a:moveTo>
                    <a:lnTo>
                      <a:pt x="368" y="84"/>
                    </a:lnTo>
                    <a:lnTo>
                      <a:pt x="368" y="82"/>
                    </a:lnTo>
                    <a:lnTo>
                      <a:pt x="368" y="80"/>
                    </a:lnTo>
                    <a:lnTo>
                      <a:pt x="366" y="78"/>
                    </a:lnTo>
                    <a:lnTo>
                      <a:pt x="364" y="78"/>
                    </a:lnTo>
                    <a:lnTo>
                      <a:pt x="362" y="76"/>
                    </a:lnTo>
                    <a:lnTo>
                      <a:pt x="360" y="75"/>
                    </a:lnTo>
                    <a:lnTo>
                      <a:pt x="357" y="75"/>
                    </a:lnTo>
                    <a:lnTo>
                      <a:pt x="360" y="67"/>
                    </a:lnTo>
                    <a:lnTo>
                      <a:pt x="358" y="61"/>
                    </a:lnTo>
                    <a:lnTo>
                      <a:pt x="357" y="61"/>
                    </a:lnTo>
                    <a:lnTo>
                      <a:pt x="356" y="60"/>
                    </a:lnTo>
                    <a:lnTo>
                      <a:pt x="357" y="60"/>
                    </a:lnTo>
                    <a:lnTo>
                      <a:pt x="356" y="59"/>
                    </a:lnTo>
                    <a:lnTo>
                      <a:pt x="354" y="55"/>
                    </a:lnTo>
                    <a:lnTo>
                      <a:pt x="352" y="55"/>
                    </a:lnTo>
                    <a:lnTo>
                      <a:pt x="349" y="52"/>
                    </a:lnTo>
                    <a:lnTo>
                      <a:pt x="347" y="51"/>
                    </a:lnTo>
                    <a:lnTo>
                      <a:pt x="345" y="47"/>
                    </a:lnTo>
                    <a:lnTo>
                      <a:pt x="343" y="44"/>
                    </a:lnTo>
                    <a:lnTo>
                      <a:pt x="343" y="35"/>
                    </a:lnTo>
                    <a:lnTo>
                      <a:pt x="342" y="33"/>
                    </a:lnTo>
                    <a:lnTo>
                      <a:pt x="340" y="32"/>
                    </a:lnTo>
                    <a:lnTo>
                      <a:pt x="335" y="31"/>
                    </a:lnTo>
                    <a:lnTo>
                      <a:pt x="334" y="31"/>
                    </a:lnTo>
                    <a:lnTo>
                      <a:pt x="331" y="34"/>
                    </a:lnTo>
                    <a:lnTo>
                      <a:pt x="329" y="35"/>
                    </a:lnTo>
                    <a:lnTo>
                      <a:pt x="322" y="32"/>
                    </a:lnTo>
                    <a:lnTo>
                      <a:pt x="321" y="29"/>
                    </a:lnTo>
                    <a:lnTo>
                      <a:pt x="319" y="29"/>
                    </a:lnTo>
                    <a:lnTo>
                      <a:pt x="315" y="31"/>
                    </a:lnTo>
                    <a:lnTo>
                      <a:pt x="312" y="29"/>
                    </a:lnTo>
                    <a:lnTo>
                      <a:pt x="309" y="23"/>
                    </a:lnTo>
                    <a:lnTo>
                      <a:pt x="307" y="18"/>
                    </a:lnTo>
                    <a:lnTo>
                      <a:pt x="306" y="17"/>
                    </a:lnTo>
                    <a:lnTo>
                      <a:pt x="304" y="18"/>
                    </a:lnTo>
                    <a:lnTo>
                      <a:pt x="298" y="19"/>
                    </a:lnTo>
                    <a:lnTo>
                      <a:pt x="296" y="14"/>
                    </a:lnTo>
                    <a:lnTo>
                      <a:pt x="291" y="15"/>
                    </a:lnTo>
                    <a:lnTo>
                      <a:pt x="289" y="14"/>
                    </a:lnTo>
                    <a:lnTo>
                      <a:pt x="288" y="15"/>
                    </a:lnTo>
                    <a:lnTo>
                      <a:pt x="285" y="14"/>
                    </a:lnTo>
                    <a:lnTo>
                      <a:pt x="283" y="15"/>
                    </a:lnTo>
                    <a:lnTo>
                      <a:pt x="282" y="15"/>
                    </a:lnTo>
                    <a:lnTo>
                      <a:pt x="279" y="14"/>
                    </a:lnTo>
                    <a:lnTo>
                      <a:pt x="276" y="15"/>
                    </a:lnTo>
                    <a:lnTo>
                      <a:pt x="270" y="16"/>
                    </a:lnTo>
                    <a:lnTo>
                      <a:pt x="264" y="18"/>
                    </a:lnTo>
                    <a:lnTo>
                      <a:pt x="261" y="18"/>
                    </a:lnTo>
                    <a:lnTo>
                      <a:pt x="261" y="19"/>
                    </a:lnTo>
                    <a:lnTo>
                      <a:pt x="258" y="17"/>
                    </a:lnTo>
                    <a:lnTo>
                      <a:pt x="259" y="14"/>
                    </a:lnTo>
                    <a:lnTo>
                      <a:pt x="259" y="9"/>
                    </a:lnTo>
                    <a:lnTo>
                      <a:pt x="257" y="6"/>
                    </a:lnTo>
                    <a:lnTo>
                      <a:pt x="255" y="2"/>
                    </a:lnTo>
                    <a:lnTo>
                      <a:pt x="253" y="2"/>
                    </a:lnTo>
                    <a:lnTo>
                      <a:pt x="253" y="3"/>
                    </a:lnTo>
                    <a:lnTo>
                      <a:pt x="250" y="0"/>
                    </a:lnTo>
                    <a:lnTo>
                      <a:pt x="248" y="0"/>
                    </a:lnTo>
                    <a:lnTo>
                      <a:pt x="239" y="0"/>
                    </a:lnTo>
                    <a:lnTo>
                      <a:pt x="237" y="6"/>
                    </a:lnTo>
                    <a:lnTo>
                      <a:pt x="233" y="10"/>
                    </a:lnTo>
                    <a:lnTo>
                      <a:pt x="233" y="11"/>
                    </a:lnTo>
                    <a:lnTo>
                      <a:pt x="233" y="13"/>
                    </a:lnTo>
                    <a:lnTo>
                      <a:pt x="230" y="13"/>
                    </a:lnTo>
                    <a:lnTo>
                      <a:pt x="228" y="10"/>
                    </a:lnTo>
                    <a:lnTo>
                      <a:pt x="226" y="11"/>
                    </a:lnTo>
                    <a:lnTo>
                      <a:pt x="225" y="10"/>
                    </a:lnTo>
                    <a:lnTo>
                      <a:pt x="224" y="10"/>
                    </a:lnTo>
                    <a:lnTo>
                      <a:pt x="224" y="8"/>
                    </a:lnTo>
                    <a:lnTo>
                      <a:pt x="220" y="8"/>
                    </a:lnTo>
                    <a:lnTo>
                      <a:pt x="220" y="6"/>
                    </a:lnTo>
                    <a:lnTo>
                      <a:pt x="219" y="5"/>
                    </a:lnTo>
                    <a:lnTo>
                      <a:pt x="217" y="5"/>
                    </a:lnTo>
                    <a:lnTo>
                      <a:pt x="218" y="6"/>
                    </a:lnTo>
                    <a:lnTo>
                      <a:pt x="218" y="8"/>
                    </a:lnTo>
                    <a:lnTo>
                      <a:pt x="217" y="10"/>
                    </a:lnTo>
                    <a:lnTo>
                      <a:pt x="217" y="11"/>
                    </a:lnTo>
                    <a:lnTo>
                      <a:pt x="217" y="14"/>
                    </a:lnTo>
                    <a:lnTo>
                      <a:pt x="211" y="15"/>
                    </a:lnTo>
                    <a:lnTo>
                      <a:pt x="210" y="14"/>
                    </a:lnTo>
                    <a:lnTo>
                      <a:pt x="209" y="16"/>
                    </a:lnTo>
                    <a:lnTo>
                      <a:pt x="209" y="17"/>
                    </a:lnTo>
                    <a:lnTo>
                      <a:pt x="208" y="19"/>
                    </a:lnTo>
                    <a:lnTo>
                      <a:pt x="204" y="20"/>
                    </a:lnTo>
                    <a:lnTo>
                      <a:pt x="203" y="21"/>
                    </a:lnTo>
                    <a:lnTo>
                      <a:pt x="202" y="20"/>
                    </a:lnTo>
                    <a:lnTo>
                      <a:pt x="202" y="21"/>
                    </a:lnTo>
                    <a:lnTo>
                      <a:pt x="204" y="25"/>
                    </a:lnTo>
                    <a:lnTo>
                      <a:pt x="204" y="28"/>
                    </a:lnTo>
                    <a:lnTo>
                      <a:pt x="203" y="29"/>
                    </a:lnTo>
                    <a:lnTo>
                      <a:pt x="203" y="30"/>
                    </a:lnTo>
                    <a:lnTo>
                      <a:pt x="202" y="31"/>
                    </a:lnTo>
                    <a:lnTo>
                      <a:pt x="201" y="32"/>
                    </a:lnTo>
                    <a:lnTo>
                      <a:pt x="198" y="33"/>
                    </a:lnTo>
                    <a:lnTo>
                      <a:pt x="198" y="34"/>
                    </a:lnTo>
                    <a:lnTo>
                      <a:pt x="199" y="36"/>
                    </a:lnTo>
                    <a:lnTo>
                      <a:pt x="198" y="39"/>
                    </a:lnTo>
                    <a:lnTo>
                      <a:pt x="198" y="40"/>
                    </a:lnTo>
                    <a:lnTo>
                      <a:pt x="198" y="42"/>
                    </a:lnTo>
                    <a:lnTo>
                      <a:pt x="197" y="42"/>
                    </a:lnTo>
                    <a:lnTo>
                      <a:pt x="197" y="43"/>
                    </a:lnTo>
                    <a:lnTo>
                      <a:pt x="196" y="43"/>
                    </a:lnTo>
                    <a:lnTo>
                      <a:pt x="195" y="43"/>
                    </a:lnTo>
                    <a:lnTo>
                      <a:pt x="194" y="43"/>
                    </a:lnTo>
                    <a:lnTo>
                      <a:pt x="194" y="42"/>
                    </a:lnTo>
                    <a:lnTo>
                      <a:pt x="192" y="42"/>
                    </a:lnTo>
                    <a:lnTo>
                      <a:pt x="187" y="43"/>
                    </a:lnTo>
                    <a:lnTo>
                      <a:pt x="186" y="44"/>
                    </a:lnTo>
                    <a:lnTo>
                      <a:pt x="185" y="44"/>
                    </a:lnTo>
                    <a:lnTo>
                      <a:pt x="183" y="41"/>
                    </a:lnTo>
                    <a:lnTo>
                      <a:pt x="181" y="41"/>
                    </a:lnTo>
                    <a:lnTo>
                      <a:pt x="181" y="40"/>
                    </a:lnTo>
                    <a:lnTo>
                      <a:pt x="179" y="39"/>
                    </a:lnTo>
                    <a:lnTo>
                      <a:pt x="179" y="38"/>
                    </a:lnTo>
                    <a:lnTo>
                      <a:pt x="180" y="36"/>
                    </a:lnTo>
                    <a:lnTo>
                      <a:pt x="179" y="36"/>
                    </a:lnTo>
                    <a:lnTo>
                      <a:pt x="178" y="34"/>
                    </a:lnTo>
                    <a:lnTo>
                      <a:pt x="176" y="32"/>
                    </a:lnTo>
                    <a:lnTo>
                      <a:pt x="175" y="29"/>
                    </a:lnTo>
                    <a:lnTo>
                      <a:pt x="173" y="31"/>
                    </a:lnTo>
                    <a:lnTo>
                      <a:pt x="171" y="29"/>
                    </a:lnTo>
                    <a:lnTo>
                      <a:pt x="170" y="29"/>
                    </a:lnTo>
                    <a:lnTo>
                      <a:pt x="170" y="31"/>
                    </a:lnTo>
                    <a:lnTo>
                      <a:pt x="168" y="32"/>
                    </a:lnTo>
                    <a:lnTo>
                      <a:pt x="168" y="34"/>
                    </a:lnTo>
                    <a:lnTo>
                      <a:pt x="168" y="38"/>
                    </a:lnTo>
                    <a:lnTo>
                      <a:pt x="167" y="39"/>
                    </a:lnTo>
                    <a:lnTo>
                      <a:pt x="165" y="39"/>
                    </a:lnTo>
                    <a:lnTo>
                      <a:pt x="163" y="33"/>
                    </a:lnTo>
                    <a:lnTo>
                      <a:pt x="159" y="34"/>
                    </a:lnTo>
                    <a:lnTo>
                      <a:pt x="158" y="34"/>
                    </a:lnTo>
                    <a:lnTo>
                      <a:pt x="157" y="35"/>
                    </a:lnTo>
                    <a:lnTo>
                      <a:pt x="156" y="33"/>
                    </a:lnTo>
                    <a:lnTo>
                      <a:pt x="155" y="34"/>
                    </a:lnTo>
                    <a:lnTo>
                      <a:pt x="156" y="36"/>
                    </a:lnTo>
                    <a:lnTo>
                      <a:pt x="155" y="37"/>
                    </a:lnTo>
                    <a:lnTo>
                      <a:pt x="158" y="40"/>
                    </a:lnTo>
                    <a:lnTo>
                      <a:pt x="158" y="43"/>
                    </a:lnTo>
                    <a:lnTo>
                      <a:pt x="159" y="45"/>
                    </a:lnTo>
                    <a:lnTo>
                      <a:pt x="162" y="47"/>
                    </a:lnTo>
                    <a:lnTo>
                      <a:pt x="160" y="47"/>
                    </a:lnTo>
                    <a:lnTo>
                      <a:pt x="162" y="50"/>
                    </a:lnTo>
                    <a:lnTo>
                      <a:pt x="158" y="53"/>
                    </a:lnTo>
                    <a:lnTo>
                      <a:pt x="157" y="53"/>
                    </a:lnTo>
                    <a:lnTo>
                      <a:pt x="156" y="56"/>
                    </a:lnTo>
                    <a:lnTo>
                      <a:pt x="153" y="57"/>
                    </a:lnTo>
                    <a:lnTo>
                      <a:pt x="151" y="57"/>
                    </a:lnTo>
                    <a:lnTo>
                      <a:pt x="150" y="57"/>
                    </a:lnTo>
                    <a:lnTo>
                      <a:pt x="150" y="56"/>
                    </a:lnTo>
                    <a:lnTo>
                      <a:pt x="150" y="57"/>
                    </a:lnTo>
                    <a:lnTo>
                      <a:pt x="148" y="57"/>
                    </a:lnTo>
                    <a:lnTo>
                      <a:pt x="147" y="57"/>
                    </a:lnTo>
                    <a:lnTo>
                      <a:pt x="147" y="56"/>
                    </a:lnTo>
                    <a:lnTo>
                      <a:pt x="145" y="57"/>
                    </a:lnTo>
                    <a:lnTo>
                      <a:pt x="145" y="56"/>
                    </a:lnTo>
                    <a:lnTo>
                      <a:pt x="145" y="54"/>
                    </a:lnTo>
                    <a:lnTo>
                      <a:pt x="143" y="52"/>
                    </a:lnTo>
                    <a:lnTo>
                      <a:pt x="142" y="51"/>
                    </a:lnTo>
                    <a:lnTo>
                      <a:pt x="141" y="52"/>
                    </a:lnTo>
                    <a:lnTo>
                      <a:pt x="139" y="52"/>
                    </a:lnTo>
                    <a:lnTo>
                      <a:pt x="139" y="51"/>
                    </a:lnTo>
                    <a:lnTo>
                      <a:pt x="133" y="53"/>
                    </a:lnTo>
                    <a:lnTo>
                      <a:pt x="132" y="51"/>
                    </a:lnTo>
                    <a:lnTo>
                      <a:pt x="130" y="53"/>
                    </a:lnTo>
                    <a:lnTo>
                      <a:pt x="129" y="53"/>
                    </a:lnTo>
                    <a:lnTo>
                      <a:pt x="127" y="56"/>
                    </a:lnTo>
                    <a:lnTo>
                      <a:pt x="126" y="55"/>
                    </a:lnTo>
                    <a:lnTo>
                      <a:pt x="126" y="54"/>
                    </a:lnTo>
                    <a:lnTo>
                      <a:pt x="126" y="52"/>
                    </a:lnTo>
                    <a:lnTo>
                      <a:pt x="124" y="53"/>
                    </a:lnTo>
                    <a:lnTo>
                      <a:pt x="121" y="52"/>
                    </a:lnTo>
                    <a:lnTo>
                      <a:pt x="124" y="54"/>
                    </a:lnTo>
                    <a:lnTo>
                      <a:pt x="122" y="56"/>
                    </a:lnTo>
                    <a:lnTo>
                      <a:pt x="123" y="56"/>
                    </a:lnTo>
                    <a:lnTo>
                      <a:pt x="124" y="57"/>
                    </a:lnTo>
                    <a:lnTo>
                      <a:pt x="123" y="62"/>
                    </a:lnTo>
                    <a:lnTo>
                      <a:pt x="122" y="63"/>
                    </a:lnTo>
                    <a:lnTo>
                      <a:pt x="121" y="63"/>
                    </a:lnTo>
                    <a:lnTo>
                      <a:pt x="120" y="63"/>
                    </a:lnTo>
                    <a:lnTo>
                      <a:pt x="117" y="67"/>
                    </a:lnTo>
                    <a:lnTo>
                      <a:pt x="110" y="73"/>
                    </a:lnTo>
                    <a:lnTo>
                      <a:pt x="110" y="68"/>
                    </a:lnTo>
                    <a:lnTo>
                      <a:pt x="109" y="66"/>
                    </a:lnTo>
                    <a:lnTo>
                      <a:pt x="107" y="63"/>
                    </a:lnTo>
                    <a:lnTo>
                      <a:pt x="104" y="62"/>
                    </a:lnTo>
                    <a:lnTo>
                      <a:pt x="105" y="61"/>
                    </a:lnTo>
                    <a:lnTo>
                      <a:pt x="102" y="61"/>
                    </a:lnTo>
                    <a:lnTo>
                      <a:pt x="101" y="60"/>
                    </a:lnTo>
                    <a:lnTo>
                      <a:pt x="101" y="61"/>
                    </a:lnTo>
                    <a:lnTo>
                      <a:pt x="99" y="60"/>
                    </a:lnTo>
                    <a:lnTo>
                      <a:pt x="100" y="62"/>
                    </a:lnTo>
                    <a:lnTo>
                      <a:pt x="99" y="63"/>
                    </a:lnTo>
                    <a:lnTo>
                      <a:pt x="99" y="61"/>
                    </a:lnTo>
                    <a:lnTo>
                      <a:pt x="95" y="61"/>
                    </a:lnTo>
                    <a:lnTo>
                      <a:pt x="96" y="59"/>
                    </a:lnTo>
                    <a:lnTo>
                      <a:pt x="94" y="57"/>
                    </a:lnTo>
                    <a:lnTo>
                      <a:pt x="93" y="57"/>
                    </a:lnTo>
                    <a:lnTo>
                      <a:pt x="89" y="55"/>
                    </a:lnTo>
                    <a:lnTo>
                      <a:pt x="89" y="59"/>
                    </a:lnTo>
                    <a:lnTo>
                      <a:pt x="88" y="58"/>
                    </a:lnTo>
                    <a:lnTo>
                      <a:pt x="85" y="58"/>
                    </a:lnTo>
                    <a:lnTo>
                      <a:pt x="85" y="57"/>
                    </a:lnTo>
                    <a:lnTo>
                      <a:pt x="85" y="54"/>
                    </a:lnTo>
                    <a:lnTo>
                      <a:pt x="86" y="50"/>
                    </a:lnTo>
                    <a:lnTo>
                      <a:pt x="88" y="47"/>
                    </a:lnTo>
                    <a:lnTo>
                      <a:pt x="87" y="47"/>
                    </a:lnTo>
                    <a:lnTo>
                      <a:pt x="85" y="43"/>
                    </a:lnTo>
                    <a:lnTo>
                      <a:pt x="85" y="44"/>
                    </a:lnTo>
                    <a:lnTo>
                      <a:pt x="83" y="44"/>
                    </a:lnTo>
                    <a:lnTo>
                      <a:pt x="83" y="45"/>
                    </a:lnTo>
                    <a:lnTo>
                      <a:pt x="80" y="45"/>
                    </a:lnTo>
                    <a:lnTo>
                      <a:pt x="80" y="48"/>
                    </a:lnTo>
                    <a:lnTo>
                      <a:pt x="78" y="49"/>
                    </a:lnTo>
                    <a:lnTo>
                      <a:pt x="79" y="49"/>
                    </a:lnTo>
                    <a:lnTo>
                      <a:pt x="78" y="50"/>
                    </a:lnTo>
                    <a:lnTo>
                      <a:pt x="77" y="50"/>
                    </a:lnTo>
                    <a:lnTo>
                      <a:pt x="76" y="51"/>
                    </a:lnTo>
                    <a:lnTo>
                      <a:pt x="76" y="53"/>
                    </a:lnTo>
                    <a:lnTo>
                      <a:pt x="74" y="53"/>
                    </a:lnTo>
                    <a:lnTo>
                      <a:pt x="74" y="56"/>
                    </a:lnTo>
                    <a:lnTo>
                      <a:pt x="73" y="56"/>
                    </a:lnTo>
                    <a:lnTo>
                      <a:pt x="73" y="57"/>
                    </a:lnTo>
                    <a:lnTo>
                      <a:pt x="73" y="60"/>
                    </a:lnTo>
                    <a:lnTo>
                      <a:pt x="74" y="63"/>
                    </a:lnTo>
                    <a:lnTo>
                      <a:pt x="75" y="65"/>
                    </a:lnTo>
                    <a:lnTo>
                      <a:pt x="74" y="67"/>
                    </a:lnTo>
                    <a:lnTo>
                      <a:pt x="77" y="68"/>
                    </a:lnTo>
                    <a:lnTo>
                      <a:pt x="77" y="69"/>
                    </a:lnTo>
                    <a:lnTo>
                      <a:pt x="77" y="73"/>
                    </a:lnTo>
                    <a:lnTo>
                      <a:pt x="77" y="76"/>
                    </a:lnTo>
                    <a:lnTo>
                      <a:pt x="75" y="76"/>
                    </a:lnTo>
                    <a:lnTo>
                      <a:pt x="74" y="76"/>
                    </a:lnTo>
                    <a:lnTo>
                      <a:pt x="73" y="76"/>
                    </a:lnTo>
                    <a:lnTo>
                      <a:pt x="71" y="79"/>
                    </a:lnTo>
                    <a:lnTo>
                      <a:pt x="69" y="78"/>
                    </a:lnTo>
                    <a:lnTo>
                      <a:pt x="69" y="80"/>
                    </a:lnTo>
                    <a:lnTo>
                      <a:pt x="67" y="80"/>
                    </a:lnTo>
                    <a:lnTo>
                      <a:pt x="66" y="79"/>
                    </a:lnTo>
                    <a:lnTo>
                      <a:pt x="65" y="86"/>
                    </a:lnTo>
                    <a:lnTo>
                      <a:pt x="64" y="86"/>
                    </a:lnTo>
                    <a:lnTo>
                      <a:pt x="63" y="87"/>
                    </a:lnTo>
                    <a:lnTo>
                      <a:pt x="62" y="87"/>
                    </a:lnTo>
                    <a:lnTo>
                      <a:pt x="63" y="88"/>
                    </a:lnTo>
                    <a:lnTo>
                      <a:pt x="61" y="88"/>
                    </a:lnTo>
                    <a:lnTo>
                      <a:pt x="61" y="90"/>
                    </a:lnTo>
                    <a:lnTo>
                      <a:pt x="59" y="91"/>
                    </a:lnTo>
                    <a:lnTo>
                      <a:pt x="58" y="92"/>
                    </a:lnTo>
                    <a:lnTo>
                      <a:pt x="59" y="93"/>
                    </a:lnTo>
                    <a:lnTo>
                      <a:pt x="58" y="93"/>
                    </a:lnTo>
                    <a:lnTo>
                      <a:pt x="55" y="95"/>
                    </a:lnTo>
                    <a:lnTo>
                      <a:pt x="53" y="95"/>
                    </a:lnTo>
                    <a:lnTo>
                      <a:pt x="53" y="96"/>
                    </a:lnTo>
                    <a:lnTo>
                      <a:pt x="50" y="93"/>
                    </a:lnTo>
                    <a:lnTo>
                      <a:pt x="49" y="93"/>
                    </a:lnTo>
                    <a:lnTo>
                      <a:pt x="49" y="91"/>
                    </a:lnTo>
                    <a:lnTo>
                      <a:pt x="48" y="93"/>
                    </a:lnTo>
                    <a:lnTo>
                      <a:pt x="46" y="94"/>
                    </a:lnTo>
                    <a:lnTo>
                      <a:pt x="45" y="95"/>
                    </a:lnTo>
                    <a:lnTo>
                      <a:pt x="42" y="93"/>
                    </a:lnTo>
                    <a:lnTo>
                      <a:pt x="41" y="93"/>
                    </a:lnTo>
                    <a:lnTo>
                      <a:pt x="39" y="94"/>
                    </a:lnTo>
                    <a:lnTo>
                      <a:pt x="37" y="94"/>
                    </a:lnTo>
                    <a:lnTo>
                      <a:pt x="37" y="96"/>
                    </a:lnTo>
                    <a:lnTo>
                      <a:pt x="36" y="97"/>
                    </a:lnTo>
                    <a:lnTo>
                      <a:pt x="33" y="95"/>
                    </a:lnTo>
                    <a:lnTo>
                      <a:pt x="33" y="92"/>
                    </a:lnTo>
                    <a:lnTo>
                      <a:pt x="32" y="92"/>
                    </a:lnTo>
                    <a:lnTo>
                      <a:pt x="30" y="93"/>
                    </a:lnTo>
                    <a:lnTo>
                      <a:pt x="32" y="95"/>
                    </a:lnTo>
                    <a:lnTo>
                      <a:pt x="30" y="96"/>
                    </a:lnTo>
                    <a:lnTo>
                      <a:pt x="29" y="96"/>
                    </a:lnTo>
                    <a:lnTo>
                      <a:pt x="27" y="97"/>
                    </a:lnTo>
                    <a:lnTo>
                      <a:pt x="27" y="100"/>
                    </a:lnTo>
                    <a:lnTo>
                      <a:pt x="27" y="103"/>
                    </a:lnTo>
                    <a:lnTo>
                      <a:pt x="25" y="105"/>
                    </a:lnTo>
                    <a:lnTo>
                      <a:pt x="25" y="104"/>
                    </a:lnTo>
                    <a:lnTo>
                      <a:pt x="25" y="105"/>
                    </a:lnTo>
                    <a:lnTo>
                      <a:pt x="24" y="104"/>
                    </a:lnTo>
                    <a:lnTo>
                      <a:pt x="23" y="103"/>
                    </a:lnTo>
                    <a:lnTo>
                      <a:pt x="22" y="102"/>
                    </a:lnTo>
                    <a:lnTo>
                      <a:pt x="21" y="101"/>
                    </a:lnTo>
                    <a:lnTo>
                      <a:pt x="19" y="104"/>
                    </a:lnTo>
                    <a:lnTo>
                      <a:pt x="18" y="108"/>
                    </a:lnTo>
                    <a:lnTo>
                      <a:pt x="16" y="109"/>
                    </a:lnTo>
                    <a:lnTo>
                      <a:pt x="15" y="111"/>
                    </a:lnTo>
                    <a:lnTo>
                      <a:pt x="12" y="112"/>
                    </a:lnTo>
                    <a:lnTo>
                      <a:pt x="12" y="115"/>
                    </a:lnTo>
                    <a:lnTo>
                      <a:pt x="14" y="116"/>
                    </a:lnTo>
                    <a:lnTo>
                      <a:pt x="14" y="118"/>
                    </a:lnTo>
                    <a:lnTo>
                      <a:pt x="16" y="120"/>
                    </a:lnTo>
                    <a:lnTo>
                      <a:pt x="16" y="124"/>
                    </a:lnTo>
                    <a:lnTo>
                      <a:pt x="12" y="128"/>
                    </a:lnTo>
                    <a:lnTo>
                      <a:pt x="14" y="131"/>
                    </a:lnTo>
                    <a:lnTo>
                      <a:pt x="16" y="134"/>
                    </a:lnTo>
                    <a:lnTo>
                      <a:pt x="16" y="138"/>
                    </a:lnTo>
                    <a:lnTo>
                      <a:pt x="17" y="139"/>
                    </a:lnTo>
                    <a:lnTo>
                      <a:pt x="18" y="140"/>
                    </a:lnTo>
                    <a:lnTo>
                      <a:pt x="19" y="140"/>
                    </a:lnTo>
                    <a:lnTo>
                      <a:pt x="19" y="142"/>
                    </a:lnTo>
                    <a:lnTo>
                      <a:pt x="17" y="144"/>
                    </a:lnTo>
                    <a:lnTo>
                      <a:pt x="16" y="143"/>
                    </a:lnTo>
                    <a:lnTo>
                      <a:pt x="16" y="146"/>
                    </a:lnTo>
                    <a:lnTo>
                      <a:pt x="14" y="148"/>
                    </a:lnTo>
                    <a:lnTo>
                      <a:pt x="16" y="150"/>
                    </a:lnTo>
                    <a:lnTo>
                      <a:pt x="16" y="148"/>
                    </a:lnTo>
                    <a:lnTo>
                      <a:pt x="20" y="148"/>
                    </a:lnTo>
                    <a:lnTo>
                      <a:pt x="22" y="148"/>
                    </a:lnTo>
                    <a:lnTo>
                      <a:pt x="23" y="150"/>
                    </a:lnTo>
                    <a:lnTo>
                      <a:pt x="25" y="149"/>
                    </a:lnTo>
                    <a:lnTo>
                      <a:pt x="27" y="145"/>
                    </a:lnTo>
                    <a:lnTo>
                      <a:pt x="28" y="145"/>
                    </a:lnTo>
                    <a:lnTo>
                      <a:pt x="29" y="148"/>
                    </a:lnTo>
                    <a:lnTo>
                      <a:pt x="27" y="152"/>
                    </a:lnTo>
                    <a:lnTo>
                      <a:pt x="27" y="154"/>
                    </a:lnTo>
                    <a:lnTo>
                      <a:pt x="27" y="155"/>
                    </a:lnTo>
                    <a:lnTo>
                      <a:pt x="27" y="156"/>
                    </a:lnTo>
                    <a:lnTo>
                      <a:pt x="25" y="157"/>
                    </a:lnTo>
                    <a:lnTo>
                      <a:pt x="23" y="166"/>
                    </a:lnTo>
                    <a:lnTo>
                      <a:pt x="21" y="165"/>
                    </a:lnTo>
                    <a:lnTo>
                      <a:pt x="20" y="166"/>
                    </a:lnTo>
                    <a:lnTo>
                      <a:pt x="19" y="165"/>
                    </a:lnTo>
                    <a:lnTo>
                      <a:pt x="19" y="167"/>
                    </a:lnTo>
                    <a:lnTo>
                      <a:pt x="18" y="168"/>
                    </a:lnTo>
                    <a:lnTo>
                      <a:pt x="17" y="168"/>
                    </a:lnTo>
                    <a:lnTo>
                      <a:pt x="16" y="167"/>
                    </a:lnTo>
                    <a:lnTo>
                      <a:pt x="14" y="167"/>
                    </a:lnTo>
                    <a:lnTo>
                      <a:pt x="12" y="167"/>
                    </a:lnTo>
                    <a:lnTo>
                      <a:pt x="11" y="171"/>
                    </a:lnTo>
                    <a:lnTo>
                      <a:pt x="9" y="177"/>
                    </a:lnTo>
                    <a:lnTo>
                      <a:pt x="9" y="180"/>
                    </a:lnTo>
                    <a:lnTo>
                      <a:pt x="7" y="181"/>
                    </a:lnTo>
                    <a:lnTo>
                      <a:pt x="6" y="181"/>
                    </a:lnTo>
                    <a:lnTo>
                      <a:pt x="1" y="180"/>
                    </a:lnTo>
                    <a:lnTo>
                      <a:pt x="1" y="187"/>
                    </a:lnTo>
                    <a:lnTo>
                      <a:pt x="2" y="186"/>
                    </a:lnTo>
                    <a:lnTo>
                      <a:pt x="3" y="188"/>
                    </a:lnTo>
                    <a:lnTo>
                      <a:pt x="2" y="191"/>
                    </a:lnTo>
                    <a:lnTo>
                      <a:pt x="0" y="192"/>
                    </a:lnTo>
                    <a:lnTo>
                      <a:pt x="6" y="194"/>
                    </a:lnTo>
                    <a:lnTo>
                      <a:pt x="8" y="193"/>
                    </a:lnTo>
                    <a:lnTo>
                      <a:pt x="9" y="195"/>
                    </a:lnTo>
                    <a:lnTo>
                      <a:pt x="11" y="192"/>
                    </a:lnTo>
                    <a:lnTo>
                      <a:pt x="12" y="192"/>
                    </a:lnTo>
                    <a:lnTo>
                      <a:pt x="13" y="191"/>
                    </a:lnTo>
                    <a:lnTo>
                      <a:pt x="14" y="192"/>
                    </a:lnTo>
                    <a:lnTo>
                      <a:pt x="16" y="191"/>
                    </a:lnTo>
                    <a:lnTo>
                      <a:pt x="20" y="191"/>
                    </a:lnTo>
                    <a:lnTo>
                      <a:pt x="25" y="188"/>
                    </a:lnTo>
                    <a:lnTo>
                      <a:pt x="28" y="189"/>
                    </a:lnTo>
                    <a:lnTo>
                      <a:pt x="29" y="189"/>
                    </a:lnTo>
                    <a:lnTo>
                      <a:pt x="29" y="196"/>
                    </a:lnTo>
                    <a:lnTo>
                      <a:pt x="31" y="197"/>
                    </a:lnTo>
                    <a:lnTo>
                      <a:pt x="32" y="198"/>
                    </a:lnTo>
                    <a:lnTo>
                      <a:pt x="32" y="200"/>
                    </a:lnTo>
                    <a:lnTo>
                      <a:pt x="32" y="202"/>
                    </a:lnTo>
                    <a:lnTo>
                      <a:pt x="32" y="206"/>
                    </a:lnTo>
                    <a:lnTo>
                      <a:pt x="31" y="208"/>
                    </a:lnTo>
                    <a:lnTo>
                      <a:pt x="29" y="210"/>
                    </a:lnTo>
                    <a:lnTo>
                      <a:pt x="29" y="211"/>
                    </a:lnTo>
                    <a:lnTo>
                      <a:pt x="28" y="214"/>
                    </a:lnTo>
                    <a:lnTo>
                      <a:pt x="27" y="215"/>
                    </a:lnTo>
                    <a:lnTo>
                      <a:pt x="28" y="216"/>
                    </a:lnTo>
                    <a:lnTo>
                      <a:pt x="29" y="215"/>
                    </a:lnTo>
                    <a:lnTo>
                      <a:pt x="30" y="213"/>
                    </a:lnTo>
                    <a:lnTo>
                      <a:pt x="37" y="214"/>
                    </a:lnTo>
                    <a:lnTo>
                      <a:pt x="37" y="218"/>
                    </a:lnTo>
                    <a:lnTo>
                      <a:pt x="39" y="217"/>
                    </a:lnTo>
                    <a:lnTo>
                      <a:pt x="41" y="218"/>
                    </a:lnTo>
                    <a:lnTo>
                      <a:pt x="42" y="220"/>
                    </a:lnTo>
                    <a:lnTo>
                      <a:pt x="43" y="221"/>
                    </a:lnTo>
                    <a:lnTo>
                      <a:pt x="42" y="227"/>
                    </a:lnTo>
                    <a:lnTo>
                      <a:pt x="44" y="227"/>
                    </a:lnTo>
                    <a:lnTo>
                      <a:pt x="45" y="225"/>
                    </a:lnTo>
                    <a:lnTo>
                      <a:pt x="47" y="227"/>
                    </a:lnTo>
                    <a:lnTo>
                      <a:pt x="47" y="226"/>
                    </a:lnTo>
                    <a:lnTo>
                      <a:pt x="49" y="227"/>
                    </a:lnTo>
                    <a:lnTo>
                      <a:pt x="50" y="226"/>
                    </a:lnTo>
                    <a:lnTo>
                      <a:pt x="52" y="227"/>
                    </a:lnTo>
                    <a:lnTo>
                      <a:pt x="52" y="229"/>
                    </a:lnTo>
                    <a:lnTo>
                      <a:pt x="55" y="229"/>
                    </a:lnTo>
                    <a:lnTo>
                      <a:pt x="56" y="229"/>
                    </a:lnTo>
                    <a:lnTo>
                      <a:pt x="59" y="228"/>
                    </a:lnTo>
                    <a:lnTo>
                      <a:pt x="61" y="230"/>
                    </a:lnTo>
                    <a:lnTo>
                      <a:pt x="60" y="231"/>
                    </a:lnTo>
                    <a:lnTo>
                      <a:pt x="63" y="233"/>
                    </a:lnTo>
                    <a:lnTo>
                      <a:pt x="63" y="232"/>
                    </a:lnTo>
                    <a:lnTo>
                      <a:pt x="65" y="234"/>
                    </a:lnTo>
                    <a:lnTo>
                      <a:pt x="64" y="237"/>
                    </a:lnTo>
                    <a:lnTo>
                      <a:pt x="65" y="238"/>
                    </a:lnTo>
                    <a:lnTo>
                      <a:pt x="64" y="240"/>
                    </a:lnTo>
                    <a:lnTo>
                      <a:pt x="64" y="241"/>
                    </a:lnTo>
                    <a:lnTo>
                      <a:pt x="62" y="243"/>
                    </a:lnTo>
                    <a:lnTo>
                      <a:pt x="63" y="244"/>
                    </a:lnTo>
                    <a:lnTo>
                      <a:pt x="62" y="245"/>
                    </a:lnTo>
                    <a:lnTo>
                      <a:pt x="62" y="246"/>
                    </a:lnTo>
                    <a:lnTo>
                      <a:pt x="63" y="246"/>
                    </a:lnTo>
                    <a:lnTo>
                      <a:pt x="65" y="248"/>
                    </a:lnTo>
                    <a:lnTo>
                      <a:pt x="66" y="247"/>
                    </a:lnTo>
                    <a:lnTo>
                      <a:pt x="67" y="248"/>
                    </a:lnTo>
                    <a:lnTo>
                      <a:pt x="68" y="247"/>
                    </a:lnTo>
                    <a:lnTo>
                      <a:pt x="68" y="249"/>
                    </a:lnTo>
                    <a:lnTo>
                      <a:pt x="69" y="246"/>
                    </a:lnTo>
                    <a:lnTo>
                      <a:pt x="74" y="246"/>
                    </a:lnTo>
                    <a:lnTo>
                      <a:pt x="74" y="250"/>
                    </a:lnTo>
                    <a:lnTo>
                      <a:pt x="76" y="252"/>
                    </a:lnTo>
                    <a:lnTo>
                      <a:pt x="80" y="257"/>
                    </a:lnTo>
                    <a:lnTo>
                      <a:pt x="83" y="261"/>
                    </a:lnTo>
                    <a:lnTo>
                      <a:pt x="88" y="258"/>
                    </a:lnTo>
                    <a:lnTo>
                      <a:pt x="89" y="259"/>
                    </a:lnTo>
                    <a:lnTo>
                      <a:pt x="90" y="257"/>
                    </a:lnTo>
                    <a:lnTo>
                      <a:pt x="91" y="258"/>
                    </a:lnTo>
                    <a:lnTo>
                      <a:pt x="93" y="257"/>
                    </a:lnTo>
                    <a:lnTo>
                      <a:pt x="94" y="257"/>
                    </a:lnTo>
                    <a:lnTo>
                      <a:pt x="96" y="260"/>
                    </a:lnTo>
                    <a:lnTo>
                      <a:pt x="102" y="259"/>
                    </a:lnTo>
                    <a:lnTo>
                      <a:pt x="102" y="255"/>
                    </a:lnTo>
                    <a:lnTo>
                      <a:pt x="104" y="261"/>
                    </a:lnTo>
                    <a:lnTo>
                      <a:pt x="104" y="262"/>
                    </a:lnTo>
                    <a:lnTo>
                      <a:pt x="108" y="261"/>
                    </a:lnTo>
                    <a:lnTo>
                      <a:pt x="113" y="265"/>
                    </a:lnTo>
                    <a:lnTo>
                      <a:pt x="116" y="268"/>
                    </a:lnTo>
                    <a:lnTo>
                      <a:pt x="115" y="269"/>
                    </a:lnTo>
                    <a:lnTo>
                      <a:pt x="115" y="271"/>
                    </a:lnTo>
                    <a:lnTo>
                      <a:pt x="111" y="278"/>
                    </a:lnTo>
                    <a:lnTo>
                      <a:pt x="114" y="280"/>
                    </a:lnTo>
                    <a:lnTo>
                      <a:pt x="116" y="278"/>
                    </a:lnTo>
                    <a:lnTo>
                      <a:pt x="118" y="278"/>
                    </a:lnTo>
                    <a:lnTo>
                      <a:pt x="124" y="285"/>
                    </a:lnTo>
                    <a:lnTo>
                      <a:pt x="128" y="285"/>
                    </a:lnTo>
                    <a:lnTo>
                      <a:pt x="132" y="294"/>
                    </a:lnTo>
                    <a:lnTo>
                      <a:pt x="134" y="299"/>
                    </a:lnTo>
                    <a:lnTo>
                      <a:pt x="133" y="300"/>
                    </a:lnTo>
                    <a:lnTo>
                      <a:pt x="134" y="302"/>
                    </a:lnTo>
                    <a:lnTo>
                      <a:pt x="137" y="301"/>
                    </a:lnTo>
                    <a:lnTo>
                      <a:pt x="136" y="302"/>
                    </a:lnTo>
                    <a:lnTo>
                      <a:pt x="137" y="303"/>
                    </a:lnTo>
                    <a:lnTo>
                      <a:pt x="136" y="303"/>
                    </a:lnTo>
                    <a:lnTo>
                      <a:pt x="136" y="305"/>
                    </a:lnTo>
                    <a:lnTo>
                      <a:pt x="138" y="313"/>
                    </a:lnTo>
                    <a:lnTo>
                      <a:pt x="141" y="312"/>
                    </a:lnTo>
                    <a:lnTo>
                      <a:pt x="143" y="313"/>
                    </a:lnTo>
                    <a:lnTo>
                      <a:pt x="146" y="312"/>
                    </a:lnTo>
                    <a:lnTo>
                      <a:pt x="147" y="312"/>
                    </a:lnTo>
                    <a:lnTo>
                      <a:pt x="149" y="310"/>
                    </a:lnTo>
                    <a:lnTo>
                      <a:pt x="150" y="310"/>
                    </a:lnTo>
                    <a:lnTo>
                      <a:pt x="155" y="312"/>
                    </a:lnTo>
                    <a:lnTo>
                      <a:pt x="158" y="309"/>
                    </a:lnTo>
                    <a:lnTo>
                      <a:pt x="159" y="306"/>
                    </a:lnTo>
                    <a:lnTo>
                      <a:pt x="163" y="303"/>
                    </a:lnTo>
                    <a:lnTo>
                      <a:pt x="165" y="301"/>
                    </a:lnTo>
                    <a:lnTo>
                      <a:pt x="166" y="300"/>
                    </a:lnTo>
                    <a:lnTo>
                      <a:pt x="168" y="299"/>
                    </a:lnTo>
                    <a:lnTo>
                      <a:pt x="168" y="297"/>
                    </a:lnTo>
                    <a:lnTo>
                      <a:pt x="170" y="293"/>
                    </a:lnTo>
                    <a:lnTo>
                      <a:pt x="175" y="289"/>
                    </a:lnTo>
                    <a:lnTo>
                      <a:pt x="176" y="289"/>
                    </a:lnTo>
                    <a:lnTo>
                      <a:pt x="178" y="288"/>
                    </a:lnTo>
                    <a:lnTo>
                      <a:pt x="178" y="283"/>
                    </a:lnTo>
                    <a:lnTo>
                      <a:pt x="187" y="284"/>
                    </a:lnTo>
                    <a:lnTo>
                      <a:pt x="188" y="284"/>
                    </a:lnTo>
                    <a:lnTo>
                      <a:pt x="189" y="283"/>
                    </a:lnTo>
                    <a:lnTo>
                      <a:pt x="195" y="284"/>
                    </a:lnTo>
                    <a:lnTo>
                      <a:pt x="198" y="284"/>
                    </a:lnTo>
                    <a:lnTo>
                      <a:pt x="203" y="287"/>
                    </a:lnTo>
                    <a:lnTo>
                      <a:pt x="208" y="285"/>
                    </a:lnTo>
                    <a:lnTo>
                      <a:pt x="208" y="281"/>
                    </a:lnTo>
                    <a:lnTo>
                      <a:pt x="211" y="274"/>
                    </a:lnTo>
                    <a:lnTo>
                      <a:pt x="212" y="271"/>
                    </a:lnTo>
                    <a:lnTo>
                      <a:pt x="213" y="270"/>
                    </a:lnTo>
                    <a:lnTo>
                      <a:pt x="212" y="266"/>
                    </a:lnTo>
                    <a:lnTo>
                      <a:pt x="213" y="263"/>
                    </a:lnTo>
                    <a:lnTo>
                      <a:pt x="215" y="259"/>
                    </a:lnTo>
                    <a:lnTo>
                      <a:pt x="217" y="257"/>
                    </a:lnTo>
                    <a:lnTo>
                      <a:pt x="218" y="253"/>
                    </a:lnTo>
                    <a:lnTo>
                      <a:pt x="217" y="249"/>
                    </a:lnTo>
                    <a:lnTo>
                      <a:pt x="218" y="247"/>
                    </a:lnTo>
                    <a:lnTo>
                      <a:pt x="220" y="246"/>
                    </a:lnTo>
                    <a:lnTo>
                      <a:pt x="221" y="244"/>
                    </a:lnTo>
                    <a:lnTo>
                      <a:pt x="224" y="242"/>
                    </a:lnTo>
                    <a:lnTo>
                      <a:pt x="228" y="242"/>
                    </a:lnTo>
                    <a:lnTo>
                      <a:pt x="229" y="242"/>
                    </a:lnTo>
                    <a:lnTo>
                      <a:pt x="236" y="244"/>
                    </a:lnTo>
                    <a:lnTo>
                      <a:pt x="237" y="242"/>
                    </a:lnTo>
                    <a:lnTo>
                      <a:pt x="239" y="241"/>
                    </a:lnTo>
                    <a:lnTo>
                      <a:pt x="241" y="241"/>
                    </a:lnTo>
                    <a:lnTo>
                      <a:pt x="244" y="244"/>
                    </a:lnTo>
                    <a:lnTo>
                      <a:pt x="248" y="245"/>
                    </a:lnTo>
                    <a:lnTo>
                      <a:pt x="250" y="245"/>
                    </a:lnTo>
                    <a:lnTo>
                      <a:pt x="251" y="242"/>
                    </a:lnTo>
                    <a:lnTo>
                      <a:pt x="254" y="242"/>
                    </a:lnTo>
                    <a:lnTo>
                      <a:pt x="261" y="239"/>
                    </a:lnTo>
                    <a:lnTo>
                      <a:pt x="263" y="237"/>
                    </a:lnTo>
                    <a:lnTo>
                      <a:pt x="266" y="234"/>
                    </a:lnTo>
                    <a:lnTo>
                      <a:pt x="266" y="232"/>
                    </a:lnTo>
                    <a:lnTo>
                      <a:pt x="270" y="229"/>
                    </a:lnTo>
                    <a:lnTo>
                      <a:pt x="269" y="228"/>
                    </a:lnTo>
                    <a:lnTo>
                      <a:pt x="270" y="226"/>
                    </a:lnTo>
                    <a:lnTo>
                      <a:pt x="274" y="219"/>
                    </a:lnTo>
                    <a:lnTo>
                      <a:pt x="277" y="215"/>
                    </a:lnTo>
                    <a:lnTo>
                      <a:pt x="277" y="204"/>
                    </a:lnTo>
                    <a:lnTo>
                      <a:pt x="278" y="202"/>
                    </a:lnTo>
                    <a:lnTo>
                      <a:pt x="279" y="202"/>
                    </a:lnTo>
                    <a:lnTo>
                      <a:pt x="280" y="202"/>
                    </a:lnTo>
                    <a:lnTo>
                      <a:pt x="279" y="199"/>
                    </a:lnTo>
                    <a:lnTo>
                      <a:pt x="277" y="197"/>
                    </a:lnTo>
                    <a:lnTo>
                      <a:pt x="277" y="194"/>
                    </a:lnTo>
                    <a:lnTo>
                      <a:pt x="278" y="191"/>
                    </a:lnTo>
                    <a:lnTo>
                      <a:pt x="280" y="190"/>
                    </a:lnTo>
                    <a:lnTo>
                      <a:pt x="280" y="187"/>
                    </a:lnTo>
                    <a:lnTo>
                      <a:pt x="280" y="186"/>
                    </a:lnTo>
                    <a:lnTo>
                      <a:pt x="286" y="183"/>
                    </a:lnTo>
                    <a:lnTo>
                      <a:pt x="284" y="179"/>
                    </a:lnTo>
                    <a:lnTo>
                      <a:pt x="285" y="169"/>
                    </a:lnTo>
                    <a:lnTo>
                      <a:pt x="288" y="167"/>
                    </a:lnTo>
                    <a:lnTo>
                      <a:pt x="289" y="163"/>
                    </a:lnTo>
                    <a:lnTo>
                      <a:pt x="290" y="163"/>
                    </a:lnTo>
                    <a:lnTo>
                      <a:pt x="290" y="157"/>
                    </a:lnTo>
                    <a:lnTo>
                      <a:pt x="292" y="157"/>
                    </a:lnTo>
                    <a:lnTo>
                      <a:pt x="292" y="155"/>
                    </a:lnTo>
                    <a:lnTo>
                      <a:pt x="293" y="151"/>
                    </a:lnTo>
                    <a:lnTo>
                      <a:pt x="290" y="151"/>
                    </a:lnTo>
                    <a:lnTo>
                      <a:pt x="291" y="147"/>
                    </a:lnTo>
                    <a:lnTo>
                      <a:pt x="291" y="142"/>
                    </a:lnTo>
                    <a:lnTo>
                      <a:pt x="296" y="140"/>
                    </a:lnTo>
                    <a:lnTo>
                      <a:pt x="296" y="137"/>
                    </a:lnTo>
                    <a:lnTo>
                      <a:pt x="302" y="133"/>
                    </a:lnTo>
                    <a:lnTo>
                      <a:pt x="303" y="128"/>
                    </a:lnTo>
                    <a:lnTo>
                      <a:pt x="303" y="125"/>
                    </a:lnTo>
                    <a:lnTo>
                      <a:pt x="305" y="124"/>
                    </a:lnTo>
                    <a:lnTo>
                      <a:pt x="306" y="124"/>
                    </a:lnTo>
                    <a:lnTo>
                      <a:pt x="308" y="123"/>
                    </a:lnTo>
                    <a:lnTo>
                      <a:pt x="310" y="124"/>
                    </a:lnTo>
                    <a:lnTo>
                      <a:pt x="311" y="122"/>
                    </a:lnTo>
                    <a:lnTo>
                      <a:pt x="312" y="123"/>
                    </a:lnTo>
                    <a:lnTo>
                      <a:pt x="313" y="121"/>
                    </a:lnTo>
                    <a:lnTo>
                      <a:pt x="320" y="123"/>
                    </a:lnTo>
                    <a:lnTo>
                      <a:pt x="322" y="122"/>
                    </a:lnTo>
                    <a:lnTo>
                      <a:pt x="326" y="121"/>
                    </a:lnTo>
                    <a:lnTo>
                      <a:pt x="327" y="120"/>
                    </a:lnTo>
                    <a:lnTo>
                      <a:pt x="330" y="120"/>
                    </a:lnTo>
                    <a:lnTo>
                      <a:pt x="335" y="120"/>
                    </a:lnTo>
                    <a:lnTo>
                      <a:pt x="336" y="119"/>
                    </a:lnTo>
                    <a:lnTo>
                      <a:pt x="336" y="118"/>
                    </a:lnTo>
                    <a:lnTo>
                      <a:pt x="341" y="116"/>
                    </a:lnTo>
                    <a:lnTo>
                      <a:pt x="344" y="114"/>
                    </a:lnTo>
                    <a:lnTo>
                      <a:pt x="345" y="114"/>
                    </a:lnTo>
                    <a:lnTo>
                      <a:pt x="353" y="113"/>
                    </a:lnTo>
                    <a:lnTo>
                      <a:pt x="358" y="110"/>
                    </a:lnTo>
                    <a:lnTo>
                      <a:pt x="362" y="103"/>
                    </a:lnTo>
                    <a:lnTo>
                      <a:pt x="363" y="102"/>
                    </a:lnTo>
                    <a:lnTo>
                      <a:pt x="366" y="102"/>
                    </a:lnTo>
                    <a:lnTo>
                      <a:pt x="365" y="98"/>
                    </a:lnTo>
                    <a:lnTo>
                      <a:pt x="368" y="97"/>
                    </a:lnTo>
                    <a:lnTo>
                      <a:pt x="370" y="93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26" name="Group 74">
              <a:extLst>
                <a:ext uri="{FF2B5EF4-FFF2-40B4-BE49-F238E27FC236}">
                  <a16:creationId xmlns:a16="http://schemas.microsoft.com/office/drawing/2014/main" id="{49C71015-AB17-686E-E78F-75C9F15AD9E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63" y="3367"/>
              <a:ext cx="572" cy="484"/>
              <a:chOff x="763" y="3367"/>
              <a:chExt cx="572" cy="484"/>
            </a:xfrm>
          </p:grpSpPr>
          <p:sp>
            <p:nvSpPr>
              <p:cNvPr id="178" name="Freeform 72">
                <a:extLst>
                  <a:ext uri="{FF2B5EF4-FFF2-40B4-BE49-F238E27FC236}">
                    <a16:creationId xmlns:a16="http://schemas.microsoft.com/office/drawing/2014/main" id="{65555421-31D2-6088-112F-F23094F072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3" y="3367"/>
                <a:ext cx="572" cy="484"/>
              </a:xfrm>
              <a:custGeom>
                <a:avLst/>
                <a:gdLst>
                  <a:gd name="T0" fmla="*/ 557 w 572"/>
                  <a:gd name="T1" fmla="*/ 259 h 484"/>
                  <a:gd name="T2" fmla="*/ 527 w 572"/>
                  <a:gd name="T3" fmla="*/ 257 h 484"/>
                  <a:gd name="T4" fmla="*/ 507 w 572"/>
                  <a:gd name="T5" fmla="*/ 242 h 484"/>
                  <a:gd name="T6" fmla="*/ 497 w 572"/>
                  <a:gd name="T7" fmla="*/ 214 h 484"/>
                  <a:gd name="T8" fmla="*/ 467 w 572"/>
                  <a:gd name="T9" fmla="*/ 200 h 484"/>
                  <a:gd name="T10" fmla="*/ 443 w 572"/>
                  <a:gd name="T11" fmla="*/ 189 h 484"/>
                  <a:gd name="T12" fmla="*/ 418 w 572"/>
                  <a:gd name="T13" fmla="*/ 168 h 484"/>
                  <a:gd name="T14" fmla="*/ 395 w 572"/>
                  <a:gd name="T15" fmla="*/ 140 h 484"/>
                  <a:gd name="T16" fmla="*/ 394 w 572"/>
                  <a:gd name="T17" fmla="*/ 113 h 484"/>
                  <a:gd name="T18" fmla="*/ 407 w 572"/>
                  <a:gd name="T19" fmla="*/ 79 h 484"/>
                  <a:gd name="T20" fmla="*/ 410 w 572"/>
                  <a:gd name="T21" fmla="*/ 54 h 484"/>
                  <a:gd name="T22" fmla="*/ 401 w 572"/>
                  <a:gd name="T23" fmla="*/ 32 h 484"/>
                  <a:gd name="T24" fmla="*/ 391 w 572"/>
                  <a:gd name="T25" fmla="*/ 24 h 484"/>
                  <a:gd name="T26" fmla="*/ 365 w 572"/>
                  <a:gd name="T27" fmla="*/ 14 h 484"/>
                  <a:gd name="T28" fmla="*/ 360 w 572"/>
                  <a:gd name="T29" fmla="*/ 29 h 484"/>
                  <a:gd name="T30" fmla="*/ 344 w 572"/>
                  <a:gd name="T31" fmla="*/ 39 h 484"/>
                  <a:gd name="T32" fmla="*/ 315 w 572"/>
                  <a:gd name="T33" fmla="*/ 39 h 484"/>
                  <a:gd name="T34" fmla="*/ 308 w 572"/>
                  <a:gd name="T35" fmla="*/ 34 h 484"/>
                  <a:gd name="T36" fmla="*/ 288 w 572"/>
                  <a:gd name="T37" fmla="*/ 31 h 484"/>
                  <a:gd name="T38" fmla="*/ 271 w 572"/>
                  <a:gd name="T39" fmla="*/ 22 h 484"/>
                  <a:gd name="T40" fmla="*/ 262 w 572"/>
                  <a:gd name="T41" fmla="*/ 26 h 484"/>
                  <a:gd name="T42" fmla="*/ 250 w 572"/>
                  <a:gd name="T43" fmla="*/ 21 h 484"/>
                  <a:gd name="T44" fmla="*/ 225 w 572"/>
                  <a:gd name="T45" fmla="*/ 6 h 484"/>
                  <a:gd name="T46" fmla="*/ 205 w 572"/>
                  <a:gd name="T47" fmla="*/ 17 h 484"/>
                  <a:gd name="T48" fmla="*/ 179 w 572"/>
                  <a:gd name="T49" fmla="*/ 16 h 484"/>
                  <a:gd name="T50" fmla="*/ 163 w 572"/>
                  <a:gd name="T51" fmla="*/ 6 h 484"/>
                  <a:gd name="T52" fmla="*/ 154 w 572"/>
                  <a:gd name="T53" fmla="*/ 16 h 484"/>
                  <a:gd name="T54" fmla="*/ 131 w 572"/>
                  <a:gd name="T55" fmla="*/ 15 h 484"/>
                  <a:gd name="T56" fmla="*/ 113 w 572"/>
                  <a:gd name="T57" fmla="*/ 10 h 484"/>
                  <a:gd name="T58" fmla="*/ 90 w 572"/>
                  <a:gd name="T59" fmla="*/ 17 h 484"/>
                  <a:gd name="T60" fmla="*/ 91 w 572"/>
                  <a:gd name="T61" fmla="*/ 32 h 484"/>
                  <a:gd name="T62" fmla="*/ 92 w 572"/>
                  <a:gd name="T63" fmla="*/ 49 h 484"/>
                  <a:gd name="T64" fmla="*/ 89 w 572"/>
                  <a:gd name="T65" fmla="*/ 74 h 484"/>
                  <a:gd name="T66" fmla="*/ 84 w 572"/>
                  <a:gd name="T67" fmla="*/ 98 h 484"/>
                  <a:gd name="T68" fmla="*/ 62 w 572"/>
                  <a:gd name="T69" fmla="*/ 116 h 484"/>
                  <a:gd name="T70" fmla="*/ 58 w 572"/>
                  <a:gd name="T71" fmla="*/ 138 h 484"/>
                  <a:gd name="T72" fmla="*/ 52 w 572"/>
                  <a:gd name="T73" fmla="*/ 168 h 484"/>
                  <a:gd name="T74" fmla="*/ 34 w 572"/>
                  <a:gd name="T75" fmla="*/ 177 h 484"/>
                  <a:gd name="T76" fmla="*/ 20 w 572"/>
                  <a:gd name="T77" fmla="*/ 196 h 484"/>
                  <a:gd name="T78" fmla="*/ 0 w 572"/>
                  <a:gd name="T79" fmla="*/ 245 h 484"/>
                  <a:gd name="T80" fmla="*/ 24 w 572"/>
                  <a:gd name="T81" fmla="*/ 282 h 484"/>
                  <a:gd name="T82" fmla="*/ 57 w 572"/>
                  <a:gd name="T83" fmla="*/ 328 h 484"/>
                  <a:gd name="T84" fmla="*/ 97 w 572"/>
                  <a:gd name="T85" fmla="*/ 386 h 484"/>
                  <a:gd name="T86" fmla="*/ 125 w 572"/>
                  <a:gd name="T87" fmla="*/ 414 h 484"/>
                  <a:gd name="T88" fmla="*/ 119 w 572"/>
                  <a:gd name="T89" fmla="*/ 447 h 484"/>
                  <a:gd name="T90" fmla="*/ 155 w 572"/>
                  <a:gd name="T91" fmla="*/ 457 h 484"/>
                  <a:gd name="T92" fmla="*/ 208 w 572"/>
                  <a:gd name="T93" fmla="*/ 477 h 484"/>
                  <a:gd name="T94" fmla="*/ 229 w 572"/>
                  <a:gd name="T95" fmla="*/ 444 h 484"/>
                  <a:gd name="T96" fmla="*/ 260 w 572"/>
                  <a:gd name="T97" fmla="*/ 468 h 484"/>
                  <a:gd name="T98" fmla="*/ 299 w 572"/>
                  <a:gd name="T99" fmla="*/ 482 h 484"/>
                  <a:gd name="T100" fmla="*/ 332 w 572"/>
                  <a:gd name="T101" fmla="*/ 418 h 484"/>
                  <a:gd name="T102" fmla="*/ 356 w 572"/>
                  <a:gd name="T103" fmla="*/ 399 h 484"/>
                  <a:gd name="T104" fmla="*/ 379 w 572"/>
                  <a:gd name="T105" fmla="*/ 397 h 484"/>
                  <a:gd name="T106" fmla="*/ 395 w 572"/>
                  <a:gd name="T107" fmla="*/ 340 h 484"/>
                  <a:gd name="T108" fmla="*/ 403 w 572"/>
                  <a:gd name="T109" fmla="*/ 295 h 484"/>
                  <a:gd name="T110" fmla="*/ 444 w 572"/>
                  <a:gd name="T111" fmla="*/ 311 h 484"/>
                  <a:gd name="T112" fmla="*/ 462 w 572"/>
                  <a:gd name="T113" fmla="*/ 329 h 484"/>
                  <a:gd name="T114" fmla="*/ 497 w 572"/>
                  <a:gd name="T115" fmla="*/ 322 h 484"/>
                  <a:gd name="T116" fmla="*/ 550 w 572"/>
                  <a:gd name="T117" fmla="*/ 358 h 484"/>
                  <a:gd name="T118" fmla="*/ 560 w 572"/>
                  <a:gd name="T119" fmla="*/ 348 h 484"/>
                  <a:gd name="T120" fmla="*/ 535 w 572"/>
                  <a:gd name="T121" fmla="*/ 322 h 484"/>
                  <a:gd name="T122" fmla="*/ 556 w 572"/>
                  <a:gd name="T123" fmla="*/ 299 h 484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72"/>
                  <a:gd name="T187" fmla="*/ 0 h 484"/>
                  <a:gd name="T188" fmla="*/ 572 w 572"/>
                  <a:gd name="T189" fmla="*/ 484 h 484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72" h="484">
                    <a:moveTo>
                      <a:pt x="572" y="284"/>
                    </a:moveTo>
                    <a:lnTo>
                      <a:pt x="567" y="277"/>
                    </a:lnTo>
                    <a:lnTo>
                      <a:pt x="568" y="276"/>
                    </a:lnTo>
                    <a:lnTo>
                      <a:pt x="570" y="276"/>
                    </a:lnTo>
                    <a:lnTo>
                      <a:pt x="570" y="274"/>
                    </a:lnTo>
                    <a:lnTo>
                      <a:pt x="567" y="273"/>
                    </a:lnTo>
                    <a:lnTo>
                      <a:pt x="565" y="274"/>
                    </a:lnTo>
                    <a:lnTo>
                      <a:pt x="566" y="274"/>
                    </a:lnTo>
                    <a:lnTo>
                      <a:pt x="565" y="275"/>
                    </a:lnTo>
                    <a:lnTo>
                      <a:pt x="562" y="271"/>
                    </a:lnTo>
                    <a:lnTo>
                      <a:pt x="561" y="269"/>
                    </a:lnTo>
                    <a:lnTo>
                      <a:pt x="562" y="268"/>
                    </a:lnTo>
                    <a:lnTo>
                      <a:pt x="565" y="268"/>
                    </a:lnTo>
                    <a:lnTo>
                      <a:pt x="565" y="269"/>
                    </a:lnTo>
                    <a:lnTo>
                      <a:pt x="565" y="267"/>
                    </a:lnTo>
                    <a:lnTo>
                      <a:pt x="565" y="263"/>
                    </a:lnTo>
                    <a:lnTo>
                      <a:pt x="562" y="261"/>
                    </a:lnTo>
                    <a:lnTo>
                      <a:pt x="561" y="264"/>
                    </a:lnTo>
                    <a:lnTo>
                      <a:pt x="562" y="261"/>
                    </a:lnTo>
                    <a:lnTo>
                      <a:pt x="559" y="259"/>
                    </a:lnTo>
                    <a:lnTo>
                      <a:pt x="558" y="259"/>
                    </a:lnTo>
                    <a:lnTo>
                      <a:pt x="557" y="259"/>
                    </a:lnTo>
                    <a:lnTo>
                      <a:pt x="556" y="261"/>
                    </a:lnTo>
                    <a:lnTo>
                      <a:pt x="557" y="263"/>
                    </a:lnTo>
                    <a:lnTo>
                      <a:pt x="556" y="264"/>
                    </a:lnTo>
                    <a:lnTo>
                      <a:pt x="554" y="264"/>
                    </a:lnTo>
                    <a:lnTo>
                      <a:pt x="554" y="263"/>
                    </a:lnTo>
                    <a:lnTo>
                      <a:pt x="553" y="261"/>
                    </a:lnTo>
                    <a:lnTo>
                      <a:pt x="550" y="260"/>
                    </a:lnTo>
                    <a:lnTo>
                      <a:pt x="549" y="261"/>
                    </a:lnTo>
                    <a:lnTo>
                      <a:pt x="546" y="265"/>
                    </a:lnTo>
                    <a:lnTo>
                      <a:pt x="544" y="264"/>
                    </a:lnTo>
                    <a:lnTo>
                      <a:pt x="542" y="264"/>
                    </a:lnTo>
                    <a:lnTo>
                      <a:pt x="537" y="262"/>
                    </a:lnTo>
                    <a:lnTo>
                      <a:pt x="537" y="264"/>
                    </a:lnTo>
                    <a:lnTo>
                      <a:pt x="536" y="263"/>
                    </a:lnTo>
                    <a:lnTo>
                      <a:pt x="535" y="264"/>
                    </a:lnTo>
                    <a:lnTo>
                      <a:pt x="535" y="262"/>
                    </a:lnTo>
                    <a:lnTo>
                      <a:pt x="534" y="262"/>
                    </a:lnTo>
                    <a:lnTo>
                      <a:pt x="532" y="257"/>
                    </a:lnTo>
                    <a:lnTo>
                      <a:pt x="531" y="256"/>
                    </a:lnTo>
                    <a:lnTo>
                      <a:pt x="529" y="256"/>
                    </a:lnTo>
                    <a:lnTo>
                      <a:pt x="528" y="257"/>
                    </a:lnTo>
                    <a:lnTo>
                      <a:pt x="527" y="257"/>
                    </a:lnTo>
                    <a:lnTo>
                      <a:pt x="526" y="261"/>
                    </a:lnTo>
                    <a:lnTo>
                      <a:pt x="524" y="263"/>
                    </a:lnTo>
                    <a:lnTo>
                      <a:pt x="524" y="262"/>
                    </a:lnTo>
                    <a:lnTo>
                      <a:pt x="524" y="259"/>
                    </a:lnTo>
                    <a:lnTo>
                      <a:pt x="521" y="257"/>
                    </a:lnTo>
                    <a:lnTo>
                      <a:pt x="520" y="255"/>
                    </a:lnTo>
                    <a:lnTo>
                      <a:pt x="518" y="254"/>
                    </a:lnTo>
                    <a:lnTo>
                      <a:pt x="517" y="254"/>
                    </a:lnTo>
                    <a:lnTo>
                      <a:pt x="516" y="254"/>
                    </a:lnTo>
                    <a:lnTo>
                      <a:pt x="513" y="251"/>
                    </a:lnTo>
                    <a:lnTo>
                      <a:pt x="514" y="250"/>
                    </a:lnTo>
                    <a:lnTo>
                      <a:pt x="513" y="247"/>
                    </a:lnTo>
                    <a:lnTo>
                      <a:pt x="512" y="245"/>
                    </a:lnTo>
                    <a:lnTo>
                      <a:pt x="511" y="246"/>
                    </a:lnTo>
                    <a:lnTo>
                      <a:pt x="509" y="244"/>
                    </a:lnTo>
                    <a:lnTo>
                      <a:pt x="510" y="242"/>
                    </a:lnTo>
                    <a:lnTo>
                      <a:pt x="509" y="242"/>
                    </a:lnTo>
                    <a:lnTo>
                      <a:pt x="508" y="242"/>
                    </a:lnTo>
                    <a:lnTo>
                      <a:pt x="508" y="244"/>
                    </a:lnTo>
                    <a:lnTo>
                      <a:pt x="507" y="244"/>
                    </a:lnTo>
                    <a:lnTo>
                      <a:pt x="507" y="242"/>
                    </a:lnTo>
                    <a:lnTo>
                      <a:pt x="506" y="239"/>
                    </a:lnTo>
                    <a:lnTo>
                      <a:pt x="506" y="237"/>
                    </a:lnTo>
                    <a:lnTo>
                      <a:pt x="504" y="237"/>
                    </a:lnTo>
                    <a:lnTo>
                      <a:pt x="503" y="237"/>
                    </a:lnTo>
                    <a:lnTo>
                      <a:pt x="505" y="234"/>
                    </a:lnTo>
                    <a:lnTo>
                      <a:pt x="505" y="231"/>
                    </a:lnTo>
                    <a:lnTo>
                      <a:pt x="507" y="229"/>
                    </a:lnTo>
                    <a:lnTo>
                      <a:pt x="507" y="227"/>
                    </a:lnTo>
                    <a:lnTo>
                      <a:pt x="509" y="225"/>
                    </a:lnTo>
                    <a:lnTo>
                      <a:pt x="508" y="224"/>
                    </a:lnTo>
                    <a:lnTo>
                      <a:pt x="508" y="223"/>
                    </a:lnTo>
                    <a:lnTo>
                      <a:pt x="508" y="221"/>
                    </a:lnTo>
                    <a:lnTo>
                      <a:pt x="508" y="217"/>
                    </a:lnTo>
                    <a:lnTo>
                      <a:pt x="508" y="214"/>
                    </a:lnTo>
                    <a:lnTo>
                      <a:pt x="507" y="213"/>
                    </a:lnTo>
                    <a:lnTo>
                      <a:pt x="504" y="212"/>
                    </a:lnTo>
                    <a:lnTo>
                      <a:pt x="503" y="212"/>
                    </a:lnTo>
                    <a:lnTo>
                      <a:pt x="502" y="212"/>
                    </a:lnTo>
                    <a:lnTo>
                      <a:pt x="501" y="211"/>
                    </a:lnTo>
                    <a:lnTo>
                      <a:pt x="499" y="211"/>
                    </a:lnTo>
                    <a:lnTo>
                      <a:pt x="499" y="213"/>
                    </a:lnTo>
                    <a:lnTo>
                      <a:pt x="497" y="214"/>
                    </a:lnTo>
                    <a:lnTo>
                      <a:pt x="494" y="211"/>
                    </a:lnTo>
                    <a:lnTo>
                      <a:pt x="491" y="211"/>
                    </a:lnTo>
                    <a:lnTo>
                      <a:pt x="490" y="213"/>
                    </a:lnTo>
                    <a:lnTo>
                      <a:pt x="488" y="214"/>
                    </a:lnTo>
                    <a:lnTo>
                      <a:pt x="487" y="212"/>
                    </a:lnTo>
                    <a:lnTo>
                      <a:pt x="486" y="212"/>
                    </a:lnTo>
                    <a:lnTo>
                      <a:pt x="484" y="213"/>
                    </a:lnTo>
                    <a:lnTo>
                      <a:pt x="484" y="214"/>
                    </a:lnTo>
                    <a:lnTo>
                      <a:pt x="482" y="215"/>
                    </a:lnTo>
                    <a:lnTo>
                      <a:pt x="483" y="212"/>
                    </a:lnTo>
                    <a:lnTo>
                      <a:pt x="484" y="210"/>
                    </a:lnTo>
                    <a:lnTo>
                      <a:pt x="480" y="206"/>
                    </a:lnTo>
                    <a:lnTo>
                      <a:pt x="480" y="207"/>
                    </a:lnTo>
                    <a:lnTo>
                      <a:pt x="478" y="206"/>
                    </a:lnTo>
                    <a:lnTo>
                      <a:pt x="477" y="206"/>
                    </a:lnTo>
                    <a:lnTo>
                      <a:pt x="474" y="203"/>
                    </a:lnTo>
                    <a:lnTo>
                      <a:pt x="471" y="203"/>
                    </a:lnTo>
                    <a:lnTo>
                      <a:pt x="470" y="204"/>
                    </a:lnTo>
                    <a:lnTo>
                      <a:pt x="469" y="199"/>
                    </a:lnTo>
                    <a:lnTo>
                      <a:pt x="467" y="199"/>
                    </a:lnTo>
                    <a:lnTo>
                      <a:pt x="467" y="200"/>
                    </a:lnTo>
                    <a:lnTo>
                      <a:pt x="462" y="205"/>
                    </a:lnTo>
                    <a:lnTo>
                      <a:pt x="459" y="206"/>
                    </a:lnTo>
                    <a:lnTo>
                      <a:pt x="458" y="206"/>
                    </a:lnTo>
                    <a:lnTo>
                      <a:pt x="455" y="204"/>
                    </a:lnTo>
                    <a:lnTo>
                      <a:pt x="452" y="203"/>
                    </a:lnTo>
                    <a:lnTo>
                      <a:pt x="453" y="202"/>
                    </a:lnTo>
                    <a:lnTo>
                      <a:pt x="452" y="198"/>
                    </a:lnTo>
                    <a:lnTo>
                      <a:pt x="453" y="197"/>
                    </a:lnTo>
                    <a:lnTo>
                      <a:pt x="452" y="196"/>
                    </a:lnTo>
                    <a:lnTo>
                      <a:pt x="451" y="193"/>
                    </a:lnTo>
                    <a:lnTo>
                      <a:pt x="450" y="193"/>
                    </a:lnTo>
                    <a:lnTo>
                      <a:pt x="449" y="191"/>
                    </a:lnTo>
                    <a:lnTo>
                      <a:pt x="448" y="190"/>
                    </a:lnTo>
                    <a:lnTo>
                      <a:pt x="444" y="190"/>
                    </a:lnTo>
                    <a:lnTo>
                      <a:pt x="442" y="193"/>
                    </a:lnTo>
                    <a:lnTo>
                      <a:pt x="440" y="190"/>
                    </a:lnTo>
                    <a:lnTo>
                      <a:pt x="438" y="190"/>
                    </a:lnTo>
                    <a:lnTo>
                      <a:pt x="436" y="187"/>
                    </a:lnTo>
                    <a:lnTo>
                      <a:pt x="437" y="187"/>
                    </a:lnTo>
                    <a:lnTo>
                      <a:pt x="438" y="187"/>
                    </a:lnTo>
                    <a:lnTo>
                      <a:pt x="443" y="189"/>
                    </a:lnTo>
                    <a:lnTo>
                      <a:pt x="444" y="187"/>
                    </a:lnTo>
                    <a:lnTo>
                      <a:pt x="442" y="184"/>
                    </a:lnTo>
                    <a:lnTo>
                      <a:pt x="444" y="183"/>
                    </a:lnTo>
                    <a:lnTo>
                      <a:pt x="445" y="180"/>
                    </a:lnTo>
                    <a:lnTo>
                      <a:pt x="439" y="177"/>
                    </a:lnTo>
                    <a:lnTo>
                      <a:pt x="436" y="176"/>
                    </a:lnTo>
                    <a:lnTo>
                      <a:pt x="435" y="177"/>
                    </a:lnTo>
                    <a:lnTo>
                      <a:pt x="433" y="176"/>
                    </a:lnTo>
                    <a:lnTo>
                      <a:pt x="434" y="176"/>
                    </a:lnTo>
                    <a:lnTo>
                      <a:pt x="431" y="173"/>
                    </a:lnTo>
                    <a:lnTo>
                      <a:pt x="430" y="171"/>
                    </a:lnTo>
                    <a:lnTo>
                      <a:pt x="429" y="167"/>
                    </a:lnTo>
                    <a:lnTo>
                      <a:pt x="427" y="167"/>
                    </a:lnTo>
                    <a:lnTo>
                      <a:pt x="428" y="165"/>
                    </a:lnTo>
                    <a:lnTo>
                      <a:pt x="427" y="165"/>
                    </a:lnTo>
                    <a:lnTo>
                      <a:pt x="426" y="164"/>
                    </a:lnTo>
                    <a:lnTo>
                      <a:pt x="424" y="165"/>
                    </a:lnTo>
                    <a:lnTo>
                      <a:pt x="423" y="166"/>
                    </a:lnTo>
                    <a:lnTo>
                      <a:pt x="422" y="166"/>
                    </a:lnTo>
                    <a:lnTo>
                      <a:pt x="420" y="167"/>
                    </a:lnTo>
                    <a:lnTo>
                      <a:pt x="418" y="168"/>
                    </a:lnTo>
                    <a:lnTo>
                      <a:pt x="415" y="172"/>
                    </a:lnTo>
                    <a:lnTo>
                      <a:pt x="412" y="171"/>
                    </a:lnTo>
                    <a:lnTo>
                      <a:pt x="412" y="170"/>
                    </a:lnTo>
                    <a:lnTo>
                      <a:pt x="411" y="170"/>
                    </a:lnTo>
                    <a:lnTo>
                      <a:pt x="411" y="169"/>
                    </a:lnTo>
                    <a:lnTo>
                      <a:pt x="410" y="166"/>
                    </a:lnTo>
                    <a:lnTo>
                      <a:pt x="407" y="163"/>
                    </a:lnTo>
                    <a:lnTo>
                      <a:pt x="406" y="163"/>
                    </a:lnTo>
                    <a:lnTo>
                      <a:pt x="404" y="160"/>
                    </a:lnTo>
                    <a:lnTo>
                      <a:pt x="405" y="158"/>
                    </a:lnTo>
                    <a:lnTo>
                      <a:pt x="403" y="157"/>
                    </a:lnTo>
                    <a:lnTo>
                      <a:pt x="403" y="156"/>
                    </a:lnTo>
                    <a:lnTo>
                      <a:pt x="401" y="155"/>
                    </a:lnTo>
                    <a:lnTo>
                      <a:pt x="398" y="153"/>
                    </a:lnTo>
                    <a:lnTo>
                      <a:pt x="400" y="150"/>
                    </a:lnTo>
                    <a:lnTo>
                      <a:pt x="400" y="149"/>
                    </a:lnTo>
                    <a:lnTo>
                      <a:pt x="397" y="148"/>
                    </a:lnTo>
                    <a:lnTo>
                      <a:pt x="395" y="144"/>
                    </a:lnTo>
                    <a:lnTo>
                      <a:pt x="394" y="142"/>
                    </a:lnTo>
                    <a:lnTo>
                      <a:pt x="394" y="141"/>
                    </a:lnTo>
                    <a:lnTo>
                      <a:pt x="395" y="140"/>
                    </a:lnTo>
                    <a:lnTo>
                      <a:pt x="395" y="139"/>
                    </a:lnTo>
                    <a:lnTo>
                      <a:pt x="397" y="139"/>
                    </a:lnTo>
                    <a:lnTo>
                      <a:pt x="397" y="136"/>
                    </a:lnTo>
                    <a:lnTo>
                      <a:pt x="398" y="137"/>
                    </a:lnTo>
                    <a:lnTo>
                      <a:pt x="400" y="135"/>
                    </a:lnTo>
                    <a:lnTo>
                      <a:pt x="401" y="134"/>
                    </a:lnTo>
                    <a:lnTo>
                      <a:pt x="402" y="135"/>
                    </a:lnTo>
                    <a:lnTo>
                      <a:pt x="403" y="132"/>
                    </a:lnTo>
                    <a:lnTo>
                      <a:pt x="401" y="133"/>
                    </a:lnTo>
                    <a:lnTo>
                      <a:pt x="401" y="129"/>
                    </a:lnTo>
                    <a:lnTo>
                      <a:pt x="400" y="126"/>
                    </a:lnTo>
                    <a:lnTo>
                      <a:pt x="397" y="125"/>
                    </a:lnTo>
                    <a:lnTo>
                      <a:pt x="393" y="123"/>
                    </a:lnTo>
                    <a:lnTo>
                      <a:pt x="392" y="122"/>
                    </a:lnTo>
                    <a:lnTo>
                      <a:pt x="393" y="120"/>
                    </a:lnTo>
                    <a:lnTo>
                      <a:pt x="393" y="119"/>
                    </a:lnTo>
                    <a:lnTo>
                      <a:pt x="393" y="118"/>
                    </a:lnTo>
                    <a:lnTo>
                      <a:pt x="393" y="116"/>
                    </a:lnTo>
                    <a:lnTo>
                      <a:pt x="395" y="116"/>
                    </a:lnTo>
                    <a:lnTo>
                      <a:pt x="393" y="115"/>
                    </a:lnTo>
                    <a:lnTo>
                      <a:pt x="394" y="113"/>
                    </a:lnTo>
                    <a:lnTo>
                      <a:pt x="395" y="113"/>
                    </a:lnTo>
                    <a:lnTo>
                      <a:pt x="397" y="113"/>
                    </a:lnTo>
                    <a:lnTo>
                      <a:pt x="397" y="111"/>
                    </a:lnTo>
                    <a:lnTo>
                      <a:pt x="397" y="109"/>
                    </a:lnTo>
                    <a:lnTo>
                      <a:pt x="398" y="108"/>
                    </a:lnTo>
                    <a:lnTo>
                      <a:pt x="398" y="105"/>
                    </a:lnTo>
                    <a:lnTo>
                      <a:pt x="399" y="105"/>
                    </a:lnTo>
                    <a:lnTo>
                      <a:pt x="399" y="102"/>
                    </a:lnTo>
                    <a:lnTo>
                      <a:pt x="401" y="102"/>
                    </a:lnTo>
                    <a:lnTo>
                      <a:pt x="402" y="99"/>
                    </a:lnTo>
                    <a:lnTo>
                      <a:pt x="401" y="99"/>
                    </a:lnTo>
                    <a:lnTo>
                      <a:pt x="400" y="100"/>
                    </a:lnTo>
                    <a:lnTo>
                      <a:pt x="398" y="100"/>
                    </a:lnTo>
                    <a:lnTo>
                      <a:pt x="398" y="99"/>
                    </a:lnTo>
                    <a:lnTo>
                      <a:pt x="398" y="98"/>
                    </a:lnTo>
                    <a:lnTo>
                      <a:pt x="400" y="98"/>
                    </a:lnTo>
                    <a:lnTo>
                      <a:pt x="402" y="95"/>
                    </a:lnTo>
                    <a:lnTo>
                      <a:pt x="402" y="91"/>
                    </a:lnTo>
                    <a:lnTo>
                      <a:pt x="403" y="89"/>
                    </a:lnTo>
                    <a:lnTo>
                      <a:pt x="406" y="89"/>
                    </a:lnTo>
                    <a:lnTo>
                      <a:pt x="407" y="80"/>
                    </a:lnTo>
                    <a:lnTo>
                      <a:pt x="407" y="79"/>
                    </a:lnTo>
                    <a:lnTo>
                      <a:pt x="406" y="78"/>
                    </a:lnTo>
                    <a:lnTo>
                      <a:pt x="406" y="76"/>
                    </a:lnTo>
                    <a:lnTo>
                      <a:pt x="407" y="75"/>
                    </a:lnTo>
                    <a:lnTo>
                      <a:pt x="409" y="73"/>
                    </a:lnTo>
                    <a:lnTo>
                      <a:pt x="410" y="72"/>
                    </a:lnTo>
                    <a:lnTo>
                      <a:pt x="409" y="70"/>
                    </a:lnTo>
                    <a:lnTo>
                      <a:pt x="410" y="67"/>
                    </a:lnTo>
                    <a:lnTo>
                      <a:pt x="409" y="66"/>
                    </a:lnTo>
                    <a:lnTo>
                      <a:pt x="409" y="65"/>
                    </a:lnTo>
                    <a:lnTo>
                      <a:pt x="410" y="65"/>
                    </a:lnTo>
                    <a:lnTo>
                      <a:pt x="407" y="62"/>
                    </a:lnTo>
                    <a:lnTo>
                      <a:pt x="407" y="61"/>
                    </a:lnTo>
                    <a:lnTo>
                      <a:pt x="407" y="59"/>
                    </a:lnTo>
                    <a:lnTo>
                      <a:pt x="406" y="59"/>
                    </a:lnTo>
                    <a:lnTo>
                      <a:pt x="403" y="57"/>
                    </a:lnTo>
                    <a:lnTo>
                      <a:pt x="404" y="55"/>
                    </a:lnTo>
                    <a:lnTo>
                      <a:pt x="406" y="53"/>
                    </a:lnTo>
                    <a:lnTo>
                      <a:pt x="407" y="54"/>
                    </a:lnTo>
                    <a:lnTo>
                      <a:pt x="407" y="53"/>
                    </a:lnTo>
                    <a:lnTo>
                      <a:pt x="409" y="54"/>
                    </a:lnTo>
                    <a:lnTo>
                      <a:pt x="410" y="54"/>
                    </a:lnTo>
                    <a:lnTo>
                      <a:pt x="413" y="55"/>
                    </a:lnTo>
                    <a:lnTo>
                      <a:pt x="415" y="54"/>
                    </a:lnTo>
                    <a:lnTo>
                      <a:pt x="415" y="53"/>
                    </a:lnTo>
                    <a:lnTo>
                      <a:pt x="414" y="51"/>
                    </a:lnTo>
                    <a:lnTo>
                      <a:pt x="414" y="48"/>
                    </a:lnTo>
                    <a:lnTo>
                      <a:pt x="412" y="45"/>
                    </a:lnTo>
                    <a:lnTo>
                      <a:pt x="412" y="44"/>
                    </a:lnTo>
                    <a:lnTo>
                      <a:pt x="414" y="42"/>
                    </a:lnTo>
                    <a:lnTo>
                      <a:pt x="412" y="42"/>
                    </a:lnTo>
                    <a:lnTo>
                      <a:pt x="411" y="44"/>
                    </a:lnTo>
                    <a:lnTo>
                      <a:pt x="410" y="44"/>
                    </a:lnTo>
                    <a:lnTo>
                      <a:pt x="409" y="42"/>
                    </a:lnTo>
                    <a:lnTo>
                      <a:pt x="407" y="44"/>
                    </a:lnTo>
                    <a:lnTo>
                      <a:pt x="406" y="44"/>
                    </a:lnTo>
                    <a:lnTo>
                      <a:pt x="405" y="41"/>
                    </a:lnTo>
                    <a:lnTo>
                      <a:pt x="402" y="38"/>
                    </a:lnTo>
                    <a:lnTo>
                      <a:pt x="404" y="37"/>
                    </a:lnTo>
                    <a:lnTo>
                      <a:pt x="402" y="36"/>
                    </a:lnTo>
                    <a:lnTo>
                      <a:pt x="402" y="34"/>
                    </a:lnTo>
                    <a:lnTo>
                      <a:pt x="402" y="33"/>
                    </a:lnTo>
                    <a:lnTo>
                      <a:pt x="401" y="32"/>
                    </a:lnTo>
                    <a:lnTo>
                      <a:pt x="401" y="28"/>
                    </a:lnTo>
                    <a:lnTo>
                      <a:pt x="399" y="29"/>
                    </a:lnTo>
                    <a:lnTo>
                      <a:pt x="400" y="28"/>
                    </a:lnTo>
                    <a:lnTo>
                      <a:pt x="400" y="27"/>
                    </a:lnTo>
                    <a:lnTo>
                      <a:pt x="399" y="27"/>
                    </a:lnTo>
                    <a:lnTo>
                      <a:pt x="400" y="26"/>
                    </a:lnTo>
                    <a:lnTo>
                      <a:pt x="400" y="24"/>
                    </a:lnTo>
                    <a:lnTo>
                      <a:pt x="398" y="23"/>
                    </a:lnTo>
                    <a:lnTo>
                      <a:pt x="399" y="23"/>
                    </a:lnTo>
                    <a:lnTo>
                      <a:pt x="401" y="23"/>
                    </a:lnTo>
                    <a:lnTo>
                      <a:pt x="398" y="21"/>
                    </a:lnTo>
                    <a:lnTo>
                      <a:pt x="398" y="20"/>
                    </a:lnTo>
                    <a:lnTo>
                      <a:pt x="397" y="22"/>
                    </a:lnTo>
                    <a:lnTo>
                      <a:pt x="396" y="22"/>
                    </a:lnTo>
                    <a:lnTo>
                      <a:pt x="395" y="21"/>
                    </a:lnTo>
                    <a:lnTo>
                      <a:pt x="394" y="21"/>
                    </a:lnTo>
                    <a:lnTo>
                      <a:pt x="392" y="25"/>
                    </a:lnTo>
                    <a:lnTo>
                      <a:pt x="393" y="26"/>
                    </a:lnTo>
                    <a:lnTo>
                      <a:pt x="392" y="27"/>
                    </a:lnTo>
                    <a:lnTo>
                      <a:pt x="391" y="26"/>
                    </a:lnTo>
                    <a:lnTo>
                      <a:pt x="391" y="24"/>
                    </a:lnTo>
                    <a:lnTo>
                      <a:pt x="390" y="22"/>
                    </a:lnTo>
                    <a:lnTo>
                      <a:pt x="389" y="22"/>
                    </a:lnTo>
                    <a:lnTo>
                      <a:pt x="387" y="21"/>
                    </a:lnTo>
                    <a:lnTo>
                      <a:pt x="385" y="17"/>
                    </a:lnTo>
                    <a:lnTo>
                      <a:pt x="384" y="13"/>
                    </a:lnTo>
                    <a:lnTo>
                      <a:pt x="382" y="13"/>
                    </a:lnTo>
                    <a:lnTo>
                      <a:pt x="376" y="10"/>
                    </a:lnTo>
                    <a:lnTo>
                      <a:pt x="375" y="8"/>
                    </a:lnTo>
                    <a:lnTo>
                      <a:pt x="372" y="3"/>
                    </a:lnTo>
                    <a:lnTo>
                      <a:pt x="373" y="2"/>
                    </a:lnTo>
                    <a:lnTo>
                      <a:pt x="372" y="2"/>
                    </a:lnTo>
                    <a:lnTo>
                      <a:pt x="371" y="4"/>
                    </a:lnTo>
                    <a:lnTo>
                      <a:pt x="371" y="7"/>
                    </a:lnTo>
                    <a:lnTo>
                      <a:pt x="368" y="7"/>
                    </a:lnTo>
                    <a:lnTo>
                      <a:pt x="368" y="8"/>
                    </a:lnTo>
                    <a:lnTo>
                      <a:pt x="366" y="8"/>
                    </a:lnTo>
                    <a:lnTo>
                      <a:pt x="366" y="9"/>
                    </a:lnTo>
                    <a:lnTo>
                      <a:pt x="366" y="8"/>
                    </a:lnTo>
                    <a:lnTo>
                      <a:pt x="365" y="10"/>
                    </a:lnTo>
                    <a:lnTo>
                      <a:pt x="366" y="10"/>
                    </a:lnTo>
                    <a:lnTo>
                      <a:pt x="365" y="14"/>
                    </a:lnTo>
                    <a:lnTo>
                      <a:pt x="361" y="11"/>
                    </a:lnTo>
                    <a:lnTo>
                      <a:pt x="361" y="13"/>
                    </a:lnTo>
                    <a:lnTo>
                      <a:pt x="361" y="14"/>
                    </a:lnTo>
                    <a:lnTo>
                      <a:pt x="360" y="14"/>
                    </a:lnTo>
                    <a:lnTo>
                      <a:pt x="361" y="15"/>
                    </a:lnTo>
                    <a:lnTo>
                      <a:pt x="360" y="15"/>
                    </a:lnTo>
                    <a:lnTo>
                      <a:pt x="361" y="16"/>
                    </a:lnTo>
                    <a:lnTo>
                      <a:pt x="360" y="18"/>
                    </a:lnTo>
                    <a:lnTo>
                      <a:pt x="361" y="19"/>
                    </a:lnTo>
                    <a:lnTo>
                      <a:pt x="360" y="19"/>
                    </a:lnTo>
                    <a:lnTo>
                      <a:pt x="359" y="20"/>
                    </a:lnTo>
                    <a:lnTo>
                      <a:pt x="358" y="20"/>
                    </a:lnTo>
                    <a:lnTo>
                      <a:pt x="358" y="23"/>
                    </a:lnTo>
                    <a:lnTo>
                      <a:pt x="357" y="23"/>
                    </a:lnTo>
                    <a:lnTo>
                      <a:pt x="357" y="24"/>
                    </a:lnTo>
                    <a:lnTo>
                      <a:pt x="357" y="25"/>
                    </a:lnTo>
                    <a:lnTo>
                      <a:pt x="359" y="26"/>
                    </a:lnTo>
                    <a:lnTo>
                      <a:pt x="358" y="28"/>
                    </a:lnTo>
                    <a:lnTo>
                      <a:pt x="358" y="30"/>
                    </a:lnTo>
                    <a:lnTo>
                      <a:pt x="360" y="29"/>
                    </a:lnTo>
                    <a:lnTo>
                      <a:pt x="360" y="31"/>
                    </a:lnTo>
                    <a:lnTo>
                      <a:pt x="359" y="31"/>
                    </a:lnTo>
                    <a:lnTo>
                      <a:pt x="361" y="32"/>
                    </a:lnTo>
                    <a:lnTo>
                      <a:pt x="361" y="33"/>
                    </a:lnTo>
                    <a:lnTo>
                      <a:pt x="359" y="34"/>
                    </a:lnTo>
                    <a:lnTo>
                      <a:pt x="361" y="34"/>
                    </a:lnTo>
                    <a:lnTo>
                      <a:pt x="360" y="34"/>
                    </a:lnTo>
                    <a:lnTo>
                      <a:pt x="358" y="35"/>
                    </a:lnTo>
                    <a:lnTo>
                      <a:pt x="357" y="34"/>
                    </a:lnTo>
                    <a:lnTo>
                      <a:pt x="357" y="35"/>
                    </a:lnTo>
                    <a:lnTo>
                      <a:pt x="357" y="36"/>
                    </a:lnTo>
                    <a:lnTo>
                      <a:pt x="353" y="36"/>
                    </a:lnTo>
                    <a:lnTo>
                      <a:pt x="353" y="37"/>
                    </a:lnTo>
                    <a:lnTo>
                      <a:pt x="352" y="37"/>
                    </a:lnTo>
                    <a:lnTo>
                      <a:pt x="352" y="36"/>
                    </a:lnTo>
                    <a:lnTo>
                      <a:pt x="349" y="36"/>
                    </a:lnTo>
                    <a:lnTo>
                      <a:pt x="348" y="35"/>
                    </a:lnTo>
                    <a:lnTo>
                      <a:pt x="348" y="36"/>
                    </a:lnTo>
                    <a:lnTo>
                      <a:pt x="348" y="37"/>
                    </a:lnTo>
                    <a:lnTo>
                      <a:pt x="346" y="37"/>
                    </a:lnTo>
                    <a:lnTo>
                      <a:pt x="345" y="37"/>
                    </a:lnTo>
                    <a:lnTo>
                      <a:pt x="344" y="39"/>
                    </a:lnTo>
                    <a:lnTo>
                      <a:pt x="341" y="42"/>
                    </a:lnTo>
                    <a:lnTo>
                      <a:pt x="340" y="41"/>
                    </a:lnTo>
                    <a:lnTo>
                      <a:pt x="340" y="42"/>
                    </a:lnTo>
                    <a:lnTo>
                      <a:pt x="338" y="42"/>
                    </a:lnTo>
                    <a:lnTo>
                      <a:pt x="336" y="43"/>
                    </a:lnTo>
                    <a:lnTo>
                      <a:pt x="336" y="44"/>
                    </a:lnTo>
                    <a:lnTo>
                      <a:pt x="335" y="44"/>
                    </a:lnTo>
                    <a:lnTo>
                      <a:pt x="336" y="48"/>
                    </a:lnTo>
                    <a:lnTo>
                      <a:pt x="335" y="49"/>
                    </a:lnTo>
                    <a:lnTo>
                      <a:pt x="335" y="51"/>
                    </a:lnTo>
                    <a:lnTo>
                      <a:pt x="334" y="52"/>
                    </a:lnTo>
                    <a:lnTo>
                      <a:pt x="332" y="51"/>
                    </a:lnTo>
                    <a:lnTo>
                      <a:pt x="331" y="50"/>
                    </a:lnTo>
                    <a:lnTo>
                      <a:pt x="332" y="49"/>
                    </a:lnTo>
                    <a:lnTo>
                      <a:pt x="331" y="45"/>
                    </a:lnTo>
                    <a:lnTo>
                      <a:pt x="329" y="44"/>
                    </a:lnTo>
                    <a:lnTo>
                      <a:pt x="324" y="41"/>
                    </a:lnTo>
                    <a:lnTo>
                      <a:pt x="319" y="42"/>
                    </a:lnTo>
                    <a:lnTo>
                      <a:pt x="317" y="42"/>
                    </a:lnTo>
                    <a:lnTo>
                      <a:pt x="317" y="40"/>
                    </a:lnTo>
                    <a:lnTo>
                      <a:pt x="315" y="40"/>
                    </a:lnTo>
                    <a:lnTo>
                      <a:pt x="315" y="39"/>
                    </a:lnTo>
                    <a:lnTo>
                      <a:pt x="316" y="38"/>
                    </a:lnTo>
                    <a:lnTo>
                      <a:pt x="317" y="38"/>
                    </a:lnTo>
                    <a:lnTo>
                      <a:pt x="318" y="36"/>
                    </a:lnTo>
                    <a:lnTo>
                      <a:pt x="319" y="35"/>
                    </a:lnTo>
                    <a:lnTo>
                      <a:pt x="320" y="32"/>
                    </a:lnTo>
                    <a:lnTo>
                      <a:pt x="320" y="31"/>
                    </a:lnTo>
                    <a:lnTo>
                      <a:pt x="319" y="31"/>
                    </a:lnTo>
                    <a:lnTo>
                      <a:pt x="318" y="33"/>
                    </a:lnTo>
                    <a:lnTo>
                      <a:pt x="317" y="34"/>
                    </a:lnTo>
                    <a:lnTo>
                      <a:pt x="315" y="33"/>
                    </a:lnTo>
                    <a:lnTo>
                      <a:pt x="315" y="34"/>
                    </a:lnTo>
                    <a:lnTo>
                      <a:pt x="314" y="34"/>
                    </a:lnTo>
                    <a:lnTo>
                      <a:pt x="314" y="32"/>
                    </a:lnTo>
                    <a:lnTo>
                      <a:pt x="312" y="36"/>
                    </a:lnTo>
                    <a:lnTo>
                      <a:pt x="310" y="35"/>
                    </a:lnTo>
                    <a:lnTo>
                      <a:pt x="311" y="34"/>
                    </a:lnTo>
                    <a:lnTo>
                      <a:pt x="310" y="34"/>
                    </a:lnTo>
                    <a:lnTo>
                      <a:pt x="309" y="35"/>
                    </a:lnTo>
                    <a:lnTo>
                      <a:pt x="309" y="34"/>
                    </a:lnTo>
                    <a:lnTo>
                      <a:pt x="308" y="34"/>
                    </a:lnTo>
                    <a:lnTo>
                      <a:pt x="306" y="33"/>
                    </a:lnTo>
                    <a:lnTo>
                      <a:pt x="305" y="32"/>
                    </a:lnTo>
                    <a:lnTo>
                      <a:pt x="304" y="32"/>
                    </a:lnTo>
                    <a:lnTo>
                      <a:pt x="303" y="34"/>
                    </a:lnTo>
                    <a:lnTo>
                      <a:pt x="302" y="32"/>
                    </a:lnTo>
                    <a:lnTo>
                      <a:pt x="301" y="32"/>
                    </a:lnTo>
                    <a:lnTo>
                      <a:pt x="301" y="31"/>
                    </a:lnTo>
                    <a:lnTo>
                      <a:pt x="300" y="32"/>
                    </a:lnTo>
                    <a:lnTo>
                      <a:pt x="300" y="31"/>
                    </a:lnTo>
                    <a:lnTo>
                      <a:pt x="298" y="31"/>
                    </a:lnTo>
                    <a:lnTo>
                      <a:pt x="300" y="28"/>
                    </a:lnTo>
                    <a:lnTo>
                      <a:pt x="299" y="27"/>
                    </a:lnTo>
                    <a:lnTo>
                      <a:pt x="297" y="27"/>
                    </a:lnTo>
                    <a:lnTo>
                      <a:pt x="296" y="28"/>
                    </a:lnTo>
                    <a:lnTo>
                      <a:pt x="294" y="28"/>
                    </a:lnTo>
                    <a:lnTo>
                      <a:pt x="291" y="25"/>
                    </a:lnTo>
                    <a:lnTo>
                      <a:pt x="289" y="25"/>
                    </a:lnTo>
                    <a:lnTo>
                      <a:pt x="289" y="26"/>
                    </a:lnTo>
                    <a:lnTo>
                      <a:pt x="288" y="28"/>
                    </a:lnTo>
                    <a:lnTo>
                      <a:pt x="286" y="29"/>
                    </a:lnTo>
                    <a:lnTo>
                      <a:pt x="286" y="31"/>
                    </a:lnTo>
                    <a:lnTo>
                      <a:pt x="288" y="31"/>
                    </a:lnTo>
                    <a:lnTo>
                      <a:pt x="287" y="31"/>
                    </a:lnTo>
                    <a:lnTo>
                      <a:pt x="286" y="31"/>
                    </a:lnTo>
                    <a:lnTo>
                      <a:pt x="285" y="29"/>
                    </a:lnTo>
                    <a:lnTo>
                      <a:pt x="284" y="31"/>
                    </a:lnTo>
                    <a:lnTo>
                      <a:pt x="283" y="29"/>
                    </a:lnTo>
                    <a:lnTo>
                      <a:pt x="283" y="28"/>
                    </a:lnTo>
                    <a:lnTo>
                      <a:pt x="282" y="26"/>
                    </a:lnTo>
                    <a:lnTo>
                      <a:pt x="280" y="26"/>
                    </a:lnTo>
                    <a:lnTo>
                      <a:pt x="280" y="23"/>
                    </a:lnTo>
                    <a:lnTo>
                      <a:pt x="278" y="23"/>
                    </a:lnTo>
                    <a:lnTo>
                      <a:pt x="277" y="24"/>
                    </a:lnTo>
                    <a:lnTo>
                      <a:pt x="276" y="24"/>
                    </a:lnTo>
                    <a:lnTo>
                      <a:pt x="273" y="18"/>
                    </a:lnTo>
                    <a:lnTo>
                      <a:pt x="272" y="18"/>
                    </a:lnTo>
                    <a:lnTo>
                      <a:pt x="271" y="16"/>
                    </a:lnTo>
                    <a:lnTo>
                      <a:pt x="271" y="19"/>
                    </a:lnTo>
                    <a:lnTo>
                      <a:pt x="270" y="17"/>
                    </a:lnTo>
                    <a:lnTo>
                      <a:pt x="269" y="18"/>
                    </a:lnTo>
                    <a:lnTo>
                      <a:pt x="270" y="18"/>
                    </a:lnTo>
                    <a:lnTo>
                      <a:pt x="271" y="22"/>
                    </a:lnTo>
                    <a:lnTo>
                      <a:pt x="270" y="23"/>
                    </a:lnTo>
                    <a:lnTo>
                      <a:pt x="271" y="23"/>
                    </a:lnTo>
                    <a:lnTo>
                      <a:pt x="270" y="25"/>
                    </a:lnTo>
                    <a:lnTo>
                      <a:pt x="270" y="26"/>
                    </a:lnTo>
                    <a:lnTo>
                      <a:pt x="272" y="26"/>
                    </a:lnTo>
                    <a:lnTo>
                      <a:pt x="271" y="27"/>
                    </a:lnTo>
                    <a:lnTo>
                      <a:pt x="270" y="26"/>
                    </a:lnTo>
                    <a:lnTo>
                      <a:pt x="270" y="27"/>
                    </a:lnTo>
                    <a:lnTo>
                      <a:pt x="269" y="24"/>
                    </a:lnTo>
                    <a:lnTo>
                      <a:pt x="268" y="24"/>
                    </a:lnTo>
                    <a:lnTo>
                      <a:pt x="267" y="23"/>
                    </a:lnTo>
                    <a:lnTo>
                      <a:pt x="265" y="23"/>
                    </a:lnTo>
                    <a:lnTo>
                      <a:pt x="264" y="24"/>
                    </a:lnTo>
                    <a:lnTo>
                      <a:pt x="263" y="23"/>
                    </a:lnTo>
                    <a:lnTo>
                      <a:pt x="263" y="24"/>
                    </a:lnTo>
                    <a:lnTo>
                      <a:pt x="262" y="24"/>
                    </a:lnTo>
                    <a:lnTo>
                      <a:pt x="263" y="25"/>
                    </a:lnTo>
                    <a:lnTo>
                      <a:pt x="262" y="25"/>
                    </a:lnTo>
                    <a:lnTo>
                      <a:pt x="262" y="26"/>
                    </a:lnTo>
                    <a:lnTo>
                      <a:pt x="262" y="25"/>
                    </a:lnTo>
                    <a:lnTo>
                      <a:pt x="262" y="26"/>
                    </a:lnTo>
                    <a:lnTo>
                      <a:pt x="261" y="27"/>
                    </a:lnTo>
                    <a:lnTo>
                      <a:pt x="260" y="25"/>
                    </a:lnTo>
                    <a:lnTo>
                      <a:pt x="260" y="26"/>
                    </a:lnTo>
                    <a:lnTo>
                      <a:pt x="259" y="28"/>
                    </a:lnTo>
                    <a:lnTo>
                      <a:pt x="258" y="28"/>
                    </a:lnTo>
                    <a:lnTo>
                      <a:pt x="259" y="27"/>
                    </a:lnTo>
                    <a:lnTo>
                      <a:pt x="257" y="27"/>
                    </a:lnTo>
                    <a:lnTo>
                      <a:pt x="256" y="28"/>
                    </a:lnTo>
                    <a:lnTo>
                      <a:pt x="255" y="30"/>
                    </a:lnTo>
                    <a:lnTo>
                      <a:pt x="255" y="28"/>
                    </a:lnTo>
                    <a:lnTo>
                      <a:pt x="254" y="28"/>
                    </a:lnTo>
                    <a:lnTo>
                      <a:pt x="254" y="27"/>
                    </a:lnTo>
                    <a:lnTo>
                      <a:pt x="252" y="26"/>
                    </a:lnTo>
                    <a:lnTo>
                      <a:pt x="249" y="28"/>
                    </a:lnTo>
                    <a:lnTo>
                      <a:pt x="248" y="27"/>
                    </a:lnTo>
                    <a:lnTo>
                      <a:pt x="247" y="27"/>
                    </a:lnTo>
                    <a:lnTo>
                      <a:pt x="249" y="27"/>
                    </a:lnTo>
                    <a:lnTo>
                      <a:pt x="249" y="26"/>
                    </a:lnTo>
                    <a:lnTo>
                      <a:pt x="249" y="24"/>
                    </a:lnTo>
                    <a:lnTo>
                      <a:pt x="250" y="23"/>
                    </a:lnTo>
                    <a:lnTo>
                      <a:pt x="250" y="21"/>
                    </a:lnTo>
                    <a:lnTo>
                      <a:pt x="249" y="21"/>
                    </a:lnTo>
                    <a:lnTo>
                      <a:pt x="248" y="21"/>
                    </a:lnTo>
                    <a:lnTo>
                      <a:pt x="247" y="20"/>
                    </a:lnTo>
                    <a:lnTo>
                      <a:pt x="247" y="18"/>
                    </a:lnTo>
                    <a:lnTo>
                      <a:pt x="246" y="19"/>
                    </a:lnTo>
                    <a:lnTo>
                      <a:pt x="243" y="16"/>
                    </a:lnTo>
                    <a:lnTo>
                      <a:pt x="241" y="18"/>
                    </a:lnTo>
                    <a:lnTo>
                      <a:pt x="240" y="16"/>
                    </a:lnTo>
                    <a:lnTo>
                      <a:pt x="240" y="17"/>
                    </a:lnTo>
                    <a:lnTo>
                      <a:pt x="240" y="16"/>
                    </a:lnTo>
                    <a:lnTo>
                      <a:pt x="239" y="15"/>
                    </a:lnTo>
                    <a:lnTo>
                      <a:pt x="240" y="12"/>
                    </a:lnTo>
                    <a:lnTo>
                      <a:pt x="240" y="11"/>
                    </a:lnTo>
                    <a:lnTo>
                      <a:pt x="239" y="10"/>
                    </a:lnTo>
                    <a:lnTo>
                      <a:pt x="236" y="9"/>
                    </a:lnTo>
                    <a:lnTo>
                      <a:pt x="236" y="8"/>
                    </a:lnTo>
                    <a:lnTo>
                      <a:pt x="234" y="8"/>
                    </a:lnTo>
                    <a:lnTo>
                      <a:pt x="234" y="6"/>
                    </a:lnTo>
                    <a:lnTo>
                      <a:pt x="231" y="8"/>
                    </a:lnTo>
                    <a:lnTo>
                      <a:pt x="230" y="8"/>
                    </a:lnTo>
                    <a:lnTo>
                      <a:pt x="226" y="8"/>
                    </a:lnTo>
                    <a:lnTo>
                      <a:pt x="225" y="6"/>
                    </a:lnTo>
                    <a:lnTo>
                      <a:pt x="224" y="8"/>
                    </a:lnTo>
                    <a:lnTo>
                      <a:pt x="223" y="8"/>
                    </a:lnTo>
                    <a:lnTo>
                      <a:pt x="222" y="8"/>
                    </a:lnTo>
                    <a:lnTo>
                      <a:pt x="222" y="10"/>
                    </a:lnTo>
                    <a:lnTo>
                      <a:pt x="222" y="13"/>
                    </a:lnTo>
                    <a:lnTo>
                      <a:pt x="220" y="14"/>
                    </a:lnTo>
                    <a:lnTo>
                      <a:pt x="220" y="15"/>
                    </a:lnTo>
                    <a:lnTo>
                      <a:pt x="218" y="16"/>
                    </a:lnTo>
                    <a:lnTo>
                      <a:pt x="217" y="16"/>
                    </a:lnTo>
                    <a:lnTo>
                      <a:pt x="217" y="17"/>
                    </a:lnTo>
                    <a:lnTo>
                      <a:pt x="218" y="17"/>
                    </a:lnTo>
                    <a:lnTo>
                      <a:pt x="216" y="19"/>
                    </a:lnTo>
                    <a:lnTo>
                      <a:pt x="216" y="21"/>
                    </a:lnTo>
                    <a:lnTo>
                      <a:pt x="214" y="20"/>
                    </a:lnTo>
                    <a:lnTo>
                      <a:pt x="214" y="19"/>
                    </a:lnTo>
                    <a:lnTo>
                      <a:pt x="215" y="18"/>
                    </a:lnTo>
                    <a:lnTo>
                      <a:pt x="215" y="17"/>
                    </a:lnTo>
                    <a:lnTo>
                      <a:pt x="212" y="18"/>
                    </a:lnTo>
                    <a:lnTo>
                      <a:pt x="209" y="18"/>
                    </a:lnTo>
                    <a:lnTo>
                      <a:pt x="208" y="19"/>
                    </a:lnTo>
                    <a:lnTo>
                      <a:pt x="206" y="18"/>
                    </a:lnTo>
                    <a:lnTo>
                      <a:pt x="205" y="17"/>
                    </a:lnTo>
                    <a:lnTo>
                      <a:pt x="202" y="17"/>
                    </a:lnTo>
                    <a:lnTo>
                      <a:pt x="201" y="17"/>
                    </a:lnTo>
                    <a:lnTo>
                      <a:pt x="200" y="19"/>
                    </a:lnTo>
                    <a:lnTo>
                      <a:pt x="198" y="16"/>
                    </a:lnTo>
                    <a:lnTo>
                      <a:pt x="196" y="16"/>
                    </a:lnTo>
                    <a:lnTo>
                      <a:pt x="193" y="15"/>
                    </a:lnTo>
                    <a:lnTo>
                      <a:pt x="193" y="19"/>
                    </a:lnTo>
                    <a:lnTo>
                      <a:pt x="191" y="17"/>
                    </a:lnTo>
                    <a:lnTo>
                      <a:pt x="189" y="18"/>
                    </a:lnTo>
                    <a:lnTo>
                      <a:pt x="188" y="17"/>
                    </a:lnTo>
                    <a:lnTo>
                      <a:pt x="188" y="16"/>
                    </a:lnTo>
                    <a:lnTo>
                      <a:pt x="189" y="15"/>
                    </a:lnTo>
                    <a:lnTo>
                      <a:pt x="188" y="14"/>
                    </a:lnTo>
                    <a:lnTo>
                      <a:pt x="187" y="14"/>
                    </a:lnTo>
                    <a:lnTo>
                      <a:pt x="187" y="16"/>
                    </a:lnTo>
                    <a:lnTo>
                      <a:pt x="186" y="17"/>
                    </a:lnTo>
                    <a:lnTo>
                      <a:pt x="184" y="17"/>
                    </a:lnTo>
                    <a:lnTo>
                      <a:pt x="183" y="17"/>
                    </a:lnTo>
                    <a:lnTo>
                      <a:pt x="183" y="16"/>
                    </a:lnTo>
                    <a:lnTo>
                      <a:pt x="180" y="16"/>
                    </a:lnTo>
                    <a:lnTo>
                      <a:pt x="180" y="15"/>
                    </a:lnTo>
                    <a:lnTo>
                      <a:pt x="179" y="16"/>
                    </a:lnTo>
                    <a:lnTo>
                      <a:pt x="178" y="15"/>
                    </a:lnTo>
                    <a:lnTo>
                      <a:pt x="177" y="12"/>
                    </a:lnTo>
                    <a:lnTo>
                      <a:pt x="178" y="10"/>
                    </a:lnTo>
                    <a:lnTo>
                      <a:pt x="178" y="7"/>
                    </a:lnTo>
                    <a:lnTo>
                      <a:pt x="178" y="6"/>
                    </a:lnTo>
                    <a:lnTo>
                      <a:pt x="179" y="5"/>
                    </a:lnTo>
                    <a:lnTo>
                      <a:pt x="179" y="4"/>
                    </a:lnTo>
                    <a:lnTo>
                      <a:pt x="181" y="4"/>
                    </a:lnTo>
                    <a:lnTo>
                      <a:pt x="179" y="3"/>
                    </a:lnTo>
                    <a:lnTo>
                      <a:pt x="177" y="0"/>
                    </a:lnTo>
                    <a:lnTo>
                      <a:pt x="177" y="1"/>
                    </a:lnTo>
                    <a:lnTo>
                      <a:pt x="173" y="1"/>
                    </a:lnTo>
                    <a:lnTo>
                      <a:pt x="172" y="0"/>
                    </a:lnTo>
                    <a:lnTo>
                      <a:pt x="170" y="3"/>
                    </a:lnTo>
                    <a:lnTo>
                      <a:pt x="170" y="2"/>
                    </a:lnTo>
                    <a:lnTo>
                      <a:pt x="167" y="4"/>
                    </a:lnTo>
                    <a:lnTo>
                      <a:pt x="166" y="4"/>
                    </a:lnTo>
                    <a:lnTo>
                      <a:pt x="164" y="3"/>
                    </a:lnTo>
                    <a:lnTo>
                      <a:pt x="163" y="6"/>
                    </a:lnTo>
                    <a:lnTo>
                      <a:pt x="164" y="8"/>
                    </a:lnTo>
                    <a:lnTo>
                      <a:pt x="163" y="10"/>
                    </a:lnTo>
                    <a:lnTo>
                      <a:pt x="163" y="8"/>
                    </a:lnTo>
                    <a:lnTo>
                      <a:pt x="162" y="11"/>
                    </a:lnTo>
                    <a:lnTo>
                      <a:pt x="162" y="13"/>
                    </a:lnTo>
                    <a:lnTo>
                      <a:pt x="161" y="13"/>
                    </a:lnTo>
                    <a:lnTo>
                      <a:pt x="161" y="14"/>
                    </a:lnTo>
                    <a:lnTo>
                      <a:pt x="160" y="12"/>
                    </a:lnTo>
                    <a:lnTo>
                      <a:pt x="159" y="12"/>
                    </a:lnTo>
                    <a:lnTo>
                      <a:pt x="159" y="14"/>
                    </a:lnTo>
                    <a:lnTo>
                      <a:pt x="160" y="16"/>
                    </a:lnTo>
                    <a:lnTo>
                      <a:pt x="159" y="16"/>
                    </a:lnTo>
                    <a:lnTo>
                      <a:pt x="159" y="17"/>
                    </a:lnTo>
                    <a:lnTo>
                      <a:pt x="158" y="17"/>
                    </a:lnTo>
                    <a:lnTo>
                      <a:pt x="158" y="15"/>
                    </a:lnTo>
                    <a:lnTo>
                      <a:pt x="156" y="15"/>
                    </a:lnTo>
                    <a:lnTo>
                      <a:pt x="156" y="13"/>
                    </a:lnTo>
                    <a:lnTo>
                      <a:pt x="154" y="15"/>
                    </a:lnTo>
                    <a:lnTo>
                      <a:pt x="154" y="16"/>
                    </a:lnTo>
                    <a:lnTo>
                      <a:pt x="153" y="17"/>
                    </a:lnTo>
                    <a:lnTo>
                      <a:pt x="153" y="19"/>
                    </a:lnTo>
                    <a:lnTo>
                      <a:pt x="153" y="20"/>
                    </a:lnTo>
                    <a:lnTo>
                      <a:pt x="149" y="19"/>
                    </a:lnTo>
                    <a:lnTo>
                      <a:pt x="146" y="18"/>
                    </a:lnTo>
                    <a:lnTo>
                      <a:pt x="146" y="16"/>
                    </a:lnTo>
                    <a:lnTo>
                      <a:pt x="145" y="15"/>
                    </a:lnTo>
                    <a:lnTo>
                      <a:pt x="141" y="18"/>
                    </a:lnTo>
                    <a:lnTo>
                      <a:pt x="141" y="21"/>
                    </a:lnTo>
                    <a:lnTo>
                      <a:pt x="139" y="23"/>
                    </a:lnTo>
                    <a:lnTo>
                      <a:pt x="139" y="21"/>
                    </a:lnTo>
                    <a:lnTo>
                      <a:pt x="135" y="22"/>
                    </a:lnTo>
                    <a:lnTo>
                      <a:pt x="134" y="21"/>
                    </a:lnTo>
                    <a:lnTo>
                      <a:pt x="133" y="21"/>
                    </a:lnTo>
                    <a:lnTo>
                      <a:pt x="133" y="19"/>
                    </a:lnTo>
                    <a:lnTo>
                      <a:pt x="131" y="17"/>
                    </a:lnTo>
                    <a:lnTo>
                      <a:pt x="131" y="19"/>
                    </a:lnTo>
                    <a:lnTo>
                      <a:pt x="128" y="19"/>
                    </a:lnTo>
                    <a:lnTo>
                      <a:pt x="130" y="17"/>
                    </a:lnTo>
                    <a:lnTo>
                      <a:pt x="130" y="16"/>
                    </a:lnTo>
                    <a:lnTo>
                      <a:pt x="131" y="15"/>
                    </a:lnTo>
                    <a:lnTo>
                      <a:pt x="128" y="15"/>
                    </a:lnTo>
                    <a:lnTo>
                      <a:pt x="128" y="16"/>
                    </a:lnTo>
                    <a:lnTo>
                      <a:pt x="126" y="15"/>
                    </a:lnTo>
                    <a:lnTo>
                      <a:pt x="126" y="13"/>
                    </a:lnTo>
                    <a:lnTo>
                      <a:pt x="126" y="10"/>
                    </a:lnTo>
                    <a:lnTo>
                      <a:pt x="123" y="8"/>
                    </a:lnTo>
                    <a:lnTo>
                      <a:pt x="121" y="9"/>
                    </a:lnTo>
                    <a:lnTo>
                      <a:pt x="121" y="10"/>
                    </a:lnTo>
                    <a:lnTo>
                      <a:pt x="122" y="10"/>
                    </a:lnTo>
                    <a:lnTo>
                      <a:pt x="120" y="11"/>
                    </a:lnTo>
                    <a:lnTo>
                      <a:pt x="118" y="14"/>
                    </a:lnTo>
                    <a:lnTo>
                      <a:pt x="117" y="14"/>
                    </a:lnTo>
                    <a:lnTo>
                      <a:pt x="115" y="15"/>
                    </a:lnTo>
                    <a:lnTo>
                      <a:pt x="115" y="14"/>
                    </a:lnTo>
                    <a:lnTo>
                      <a:pt x="115" y="13"/>
                    </a:lnTo>
                    <a:lnTo>
                      <a:pt x="114" y="14"/>
                    </a:lnTo>
                    <a:lnTo>
                      <a:pt x="113" y="14"/>
                    </a:lnTo>
                    <a:lnTo>
                      <a:pt x="113" y="10"/>
                    </a:lnTo>
                    <a:lnTo>
                      <a:pt x="112" y="10"/>
                    </a:lnTo>
                    <a:lnTo>
                      <a:pt x="112" y="6"/>
                    </a:lnTo>
                    <a:lnTo>
                      <a:pt x="110" y="6"/>
                    </a:lnTo>
                    <a:lnTo>
                      <a:pt x="111" y="7"/>
                    </a:lnTo>
                    <a:lnTo>
                      <a:pt x="109" y="7"/>
                    </a:lnTo>
                    <a:lnTo>
                      <a:pt x="109" y="10"/>
                    </a:lnTo>
                    <a:lnTo>
                      <a:pt x="107" y="10"/>
                    </a:lnTo>
                    <a:lnTo>
                      <a:pt x="107" y="11"/>
                    </a:lnTo>
                    <a:lnTo>
                      <a:pt x="104" y="9"/>
                    </a:lnTo>
                    <a:lnTo>
                      <a:pt x="102" y="8"/>
                    </a:lnTo>
                    <a:lnTo>
                      <a:pt x="100" y="12"/>
                    </a:lnTo>
                    <a:lnTo>
                      <a:pt x="99" y="12"/>
                    </a:lnTo>
                    <a:lnTo>
                      <a:pt x="95" y="11"/>
                    </a:lnTo>
                    <a:lnTo>
                      <a:pt x="95" y="10"/>
                    </a:lnTo>
                    <a:lnTo>
                      <a:pt x="93" y="10"/>
                    </a:lnTo>
                    <a:lnTo>
                      <a:pt x="93" y="11"/>
                    </a:lnTo>
                    <a:lnTo>
                      <a:pt x="91" y="12"/>
                    </a:lnTo>
                    <a:lnTo>
                      <a:pt x="90" y="14"/>
                    </a:lnTo>
                    <a:lnTo>
                      <a:pt x="92" y="15"/>
                    </a:lnTo>
                    <a:lnTo>
                      <a:pt x="92" y="16"/>
                    </a:lnTo>
                    <a:lnTo>
                      <a:pt x="92" y="17"/>
                    </a:lnTo>
                    <a:lnTo>
                      <a:pt x="90" y="17"/>
                    </a:lnTo>
                    <a:lnTo>
                      <a:pt x="90" y="18"/>
                    </a:lnTo>
                    <a:lnTo>
                      <a:pt x="88" y="18"/>
                    </a:lnTo>
                    <a:lnTo>
                      <a:pt x="89" y="19"/>
                    </a:lnTo>
                    <a:lnTo>
                      <a:pt x="88" y="20"/>
                    </a:lnTo>
                    <a:lnTo>
                      <a:pt x="88" y="23"/>
                    </a:lnTo>
                    <a:lnTo>
                      <a:pt x="90" y="23"/>
                    </a:lnTo>
                    <a:lnTo>
                      <a:pt x="91" y="23"/>
                    </a:lnTo>
                    <a:lnTo>
                      <a:pt x="91" y="24"/>
                    </a:lnTo>
                    <a:lnTo>
                      <a:pt x="91" y="23"/>
                    </a:lnTo>
                    <a:lnTo>
                      <a:pt x="93" y="24"/>
                    </a:lnTo>
                    <a:lnTo>
                      <a:pt x="93" y="25"/>
                    </a:lnTo>
                    <a:lnTo>
                      <a:pt x="91" y="24"/>
                    </a:lnTo>
                    <a:lnTo>
                      <a:pt x="92" y="25"/>
                    </a:lnTo>
                    <a:lnTo>
                      <a:pt x="91" y="27"/>
                    </a:lnTo>
                    <a:lnTo>
                      <a:pt x="92" y="25"/>
                    </a:lnTo>
                    <a:lnTo>
                      <a:pt x="92" y="27"/>
                    </a:lnTo>
                    <a:lnTo>
                      <a:pt x="91" y="28"/>
                    </a:lnTo>
                    <a:lnTo>
                      <a:pt x="92" y="28"/>
                    </a:lnTo>
                    <a:lnTo>
                      <a:pt x="92" y="29"/>
                    </a:lnTo>
                    <a:lnTo>
                      <a:pt x="92" y="32"/>
                    </a:lnTo>
                    <a:lnTo>
                      <a:pt x="91" y="32"/>
                    </a:lnTo>
                    <a:lnTo>
                      <a:pt x="90" y="34"/>
                    </a:lnTo>
                    <a:lnTo>
                      <a:pt x="92" y="35"/>
                    </a:lnTo>
                    <a:lnTo>
                      <a:pt x="91" y="36"/>
                    </a:lnTo>
                    <a:lnTo>
                      <a:pt x="91" y="37"/>
                    </a:lnTo>
                    <a:lnTo>
                      <a:pt x="90" y="38"/>
                    </a:lnTo>
                    <a:lnTo>
                      <a:pt x="91" y="39"/>
                    </a:lnTo>
                    <a:lnTo>
                      <a:pt x="92" y="41"/>
                    </a:lnTo>
                    <a:lnTo>
                      <a:pt x="92" y="42"/>
                    </a:lnTo>
                    <a:lnTo>
                      <a:pt x="93" y="43"/>
                    </a:lnTo>
                    <a:lnTo>
                      <a:pt x="93" y="44"/>
                    </a:lnTo>
                    <a:lnTo>
                      <a:pt x="94" y="44"/>
                    </a:lnTo>
                    <a:lnTo>
                      <a:pt x="94" y="45"/>
                    </a:lnTo>
                    <a:lnTo>
                      <a:pt x="93" y="45"/>
                    </a:lnTo>
                    <a:lnTo>
                      <a:pt x="93" y="46"/>
                    </a:lnTo>
                    <a:lnTo>
                      <a:pt x="97" y="47"/>
                    </a:lnTo>
                    <a:lnTo>
                      <a:pt x="97" y="48"/>
                    </a:lnTo>
                    <a:lnTo>
                      <a:pt x="95" y="48"/>
                    </a:lnTo>
                    <a:lnTo>
                      <a:pt x="93" y="47"/>
                    </a:lnTo>
                    <a:lnTo>
                      <a:pt x="92" y="49"/>
                    </a:lnTo>
                    <a:lnTo>
                      <a:pt x="90" y="52"/>
                    </a:lnTo>
                    <a:lnTo>
                      <a:pt x="88" y="52"/>
                    </a:lnTo>
                    <a:lnTo>
                      <a:pt x="89" y="53"/>
                    </a:lnTo>
                    <a:lnTo>
                      <a:pt x="88" y="55"/>
                    </a:lnTo>
                    <a:lnTo>
                      <a:pt x="88" y="57"/>
                    </a:lnTo>
                    <a:lnTo>
                      <a:pt x="88" y="58"/>
                    </a:lnTo>
                    <a:lnTo>
                      <a:pt x="87" y="61"/>
                    </a:lnTo>
                    <a:lnTo>
                      <a:pt x="86" y="61"/>
                    </a:lnTo>
                    <a:lnTo>
                      <a:pt x="86" y="62"/>
                    </a:lnTo>
                    <a:lnTo>
                      <a:pt x="87" y="62"/>
                    </a:lnTo>
                    <a:lnTo>
                      <a:pt x="86" y="62"/>
                    </a:lnTo>
                    <a:lnTo>
                      <a:pt x="87" y="62"/>
                    </a:lnTo>
                    <a:lnTo>
                      <a:pt x="86" y="63"/>
                    </a:lnTo>
                    <a:lnTo>
                      <a:pt x="87" y="66"/>
                    </a:lnTo>
                    <a:lnTo>
                      <a:pt x="87" y="68"/>
                    </a:lnTo>
                    <a:lnTo>
                      <a:pt x="88" y="70"/>
                    </a:lnTo>
                    <a:lnTo>
                      <a:pt x="89" y="72"/>
                    </a:lnTo>
                    <a:lnTo>
                      <a:pt x="88" y="72"/>
                    </a:lnTo>
                    <a:lnTo>
                      <a:pt x="89" y="73"/>
                    </a:lnTo>
                    <a:lnTo>
                      <a:pt x="88" y="73"/>
                    </a:lnTo>
                    <a:lnTo>
                      <a:pt x="88" y="74"/>
                    </a:lnTo>
                    <a:lnTo>
                      <a:pt x="89" y="74"/>
                    </a:lnTo>
                    <a:lnTo>
                      <a:pt x="90" y="75"/>
                    </a:lnTo>
                    <a:lnTo>
                      <a:pt x="92" y="75"/>
                    </a:lnTo>
                    <a:lnTo>
                      <a:pt x="91" y="76"/>
                    </a:lnTo>
                    <a:lnTo>
                      <a:pt x="92" y="77"/>
                    </a:lnTo>
                    <a:lnTo>
                      <a:pt x="92" y="79"/>
                    </a:lnTo>
                    <a:lnTo>
                      <a:pt x="92" y="81"/>
                    </a:lnTo>
                    <a:lnTo>
                      <a:pt x="91" y="80"/>
                    </a:lnTo>
                    <a:lnTo>
                      <a:pt x="91" y="82"/>
                    </a:lnTo>
                    <a:lnTo>
                      <a:pt x="90" y="82"/>
                    </a:lnTo>
                    <a:lnTo>
                      <a:pt x="88" y="83"/>
                    </a:lnTo>
                    <a:lnTo>
                      <a:pt x="89" y="84"/>
                    </a:lnTo>
                    <a:lnTo>
                      <a:pt x="90" y="82"/>
                    </a:lnTo>
                    <a:lnTo>
                      <a:pt x="90" y="85"/>
                    </a:lnTo>
                    <a:lnTo>
                      <a:pt x="91" y="86"/>
                    </a:lnTo>
                    <a:lnTo>
                      <a:pt x="88" y="86"/>
                    </a:lnTo>
                    <a:lnTo>
                      <a:pt x="86" y="89"/>
                    </a:lnTo>
                    <a:lnTo>
                      <a:pt x="85" y="92"/>
                    </a:lnTo>
                    <a:lnTo>
                      <a:pt x="85" y="93"/>
                    </a:lnTo>
                    <a:lnTo>
                      <a:pt x="84" y="93"/>
                    </a:lnTo>
                    <a:lnTo>
                      <a:pt x="85" y="96"/>
                    </a:lnTo>
                    <a:lnTo>
                      <a:pt x="84" y="98"/>
                    </a:lnTo>
                    <a:lnTo>
                      <a:pt x="80" y="97"/>
                    </a:lnTo>
                    <a:lnTo>
                      <a:pt x="79" y="98"/>
                    </a:lnTo>
                    <a:lnTo>
                      <a:pt x="78" y="100"/>
                    </a:lnTo>
                    <a:lnTo>
                      <a:pt x="77" y="100"/>
                    </a:lnTo>
                    <a:lnTo>
                      <a:pt x="75" y="100"/>
                    </a:lnTo>
                    <a:lnTo>
                      <a:pt x="74" y="105"/>
                    </a:lnTo>
                    <a:lnTo>
                      <a:pt x="71" y="102"/>
                    </a:lnTo>
                    <a:lnTo>
                      <a:pt x="71" y="107"/>
                    </a:lnTo>
                    <a:lnTo>
                      <a:pt x="70" y="108"/>
                    </a:lnTo>
                    <a:lnTo>
                      <a:pt x="69" y="108"/>
                    </a:lnTo>
                    <a:lnTo>
                      <a:pt x="71" y="111"/>
                    </a:lnTo>
                    <a:lnTo>
                      <a:pt x="72" y="111"/>
                    </a:lnTo>
                    <a:lnTo>
                      <a:pt x="73" y="112"/>
                    </a:lnTo>
                    <a:lnTo>
                      <a:pt x="72" y="114"/>
                    </a:lnTo>
                    <a:lnTo>
                      <a:pt x="71" y="115"/>
                    </a:lnTo>
                    <a:lnTo>
                      <a:pt x="71" y="118"/>
                    </a:lnTo>
                    <a:lnTo>
                      <a:pt x="69" y="118"/>
                    </a:lnTo>
                    <a:lnTo>
                      <a:pt x="68" y="118"/>
                    </a:lnTo>
                    <a:lnTo>
                      <a:pt x="67" y="116"/>
                    </a:lnTo>
                    <a:lnTo>
                      <a:pt x="65" y="116"/>
                    </a:lnTo>
                    <a:lnTo>
                      <a:pt x="63" y="116"/>
                    </a:lnTo>
                    <a:lnTo>
                      <a:pt x="62" y="116"/>
                    </a:lnTo>
                    <a:lnTo>
                      <a:pt x="63" y="118"/>
                    </a:lnTo>
                    <a:lnTo>
                      <a:pt x="63" y="122"/>
                    </a:lnTo>
                    <a:lnTo>
                      <a:pt x="63" y="126"/>
                    </a:lnTo>
                    <a:lnTo>
                      <a:pt x="64" y="126"/>
                    </a:lnTo>
                    <a:lnTo>
                      <a:pt x="65" y="126"/>
                    </a:lnTo>
                    <a:lnTo>
                      <a:pt x="69" y="127"/>
                    </a:lnTo>
                    <a:lnTo>
                      <a:pt x="70" y="126"/>
                    </a:lnTo>
                    <a:lnTo>
                      <a:pt x="71" y="128"/>
                    </a:lnTo>
                    <a:lnTo>
                      <a:pt x="69" y="128"/>
                    </a:lnTo>
                    <a:lnTo>
                      <a:pt x="66" y="130"/>
                    </a:lnTo>
                    <a:lnTo>
                      <a:pt x="66" y="131"/>
                    </a:lnTo>
                    <a:lnTo>
                      <a:pt x="68" y="134"/>
                    </a:lnTo>
                    <a:lnTo>
                      <a:pt x="67" y="134"/>
                    </a:lnTo>
                    <a:lnTo>
                      <a:pt x="64" y="133"/>
                    </a:lnTo>
                    <a:lnTo>
                      <a:pt x="64" y="132"/>
                    </a:lnTo>
                    <a:lnTo>
                      <a:pt x="63" y="131"/>
                    </a:lnTo>
                    <a:lnTo>
                      <a:pt x="62" y="133"/>
                    </a:lnTo>
                    <a:lnTo>
                      <a:pt x="63" y="134"/>
                    </a:lnTo>
                    <a:lnTo>
                      <a:pt x="63" y="136"/>
                    </a:lnTo>
                    <a:lnTo>
                      <a:pt x="60" y="135"/>
                    </a:lnTo>
                    <a:lnTo>
                      <a:pt x="58" y="137"/>
                    </a:lnTo>
                    <a:lnTo>
                      <a:pt x="58" y="138"/>
                    </a:lnTo>
                    <a:lnTo>
                      <a:pt x="58" y="139"/>
                    </a:lnTo>
                    <a:lnTo>
                      <a:pt x="57" y="139"/>
                    </a:lnTo>
                    <a:lnTo>
                      <a:pt x="56" y="139"/>
                    </a:lnTo>
                    <a:lnTo>
                      <a:pt x="56" y="141"/>
                    </a:lnTo>
                    <a:lnTo>
                      <a:pt x="58" y="141"/>
                    </a:lnTo>
                    <a:lnTo>
                      <a:pt x="57" y="141"/>
                    </a:lnTo>
                    <a:lnTo>
                      <a:pt x="57" y="143"/>
                    </a:lnTo>
                    <a:lnTo>
                      <a:pt x="58" y="142"/>
                    </a:lnTo>
                    <a:lnTo>
                      <a:pt x="58" y="146"/>
                    </a:lnTo>
                    <a:lnTo>
                      <a:pt x="61" y="148"/>
                    </a:lnTo>
                    <a:lnTo>
                      <a:pt x="61" y="149"/>
                    </a:lnTo>
                    <a:lnTo>
                      <a:pt x="62" y="149"/>
                    </a:lnTo>
                    <a:lnTo>
                      <a:pt x="62" y="153"/>
                    </a:lnTo>
                    <a:lnTo>
                      <a:pt x="63" y="156"/>
                    </a:lnTo>
                    <a:lnTo>
                      <a:pt x="61" y="157"/>
                    </a:lnTo>
                    <a:lnTo>
                      <a:pt x="59" y="156"/>
                    </a:lnTo>
                    <a:lnTo>
                      <a:pt x="58" y="156"/>
                    </a:lnTo>
                    <a:lnTo>
                      <a:pt x="55" y="159"/>
                    </a:lnTo>
                    <a:lnTo>
                      <a:pt x="54" y="167"/>
                    </a:lnTo>
                    <a:lnTo>
                      <a:pt x="52" y="168"/>
                    </a:lnTo>
                    <a:lnTo>
                      <a:pt x="53" y="169"/>
                    </a:lnTo>
                    <a:lnTo>
                      <a:pt x="55" y="169"/>
                    </a:lnTo>
                    <a:lnTo>
                      <a:pt x="53" y="170"/>
                    </a:lnTo>
                    <a:lnTo>
                      <a:pt x="53" y="172"/>
                    </a:lnTo>
                    <a:lnTo>
                      <a:pt x="53" y="170"/>
                    </a:lnTo>
                    <a:lnTo>
                      <a:pt x="52" y="170"/>
                    </a:lnTo>
                    <a:lnTo>
                      <a:pt x="51" y="169"/>
                    </a:lnTo>
                    <a:lnTo>
                      <a:pt x="50" y="170"/>
                    </a:lnTo>
                    <a:lnTo>
                      <a:pt x="49" y="169"/>
                    </a:lnTo>
                    <a:lnTo>
                      <a:pt x="47" y="170"/>
                    </a:lnTo>
                    <a:lnTo>
                      <a:pt x="44" y="170"/>
                    </a:lnTo>
                    <a:lnTo>
                      <a:pt x="44" y="172"/>
                    </a:lnTo>
                    <a:lnTo>
                      <a:pt x="43" y="172"/>
                    </a:lnTo>
                    <a:lnTo>
                      <a:pt x="43" y="174"/>
                    </a:lnTo>
                    <a:lnTo>
                      <a:pt x="41" y="174"/>
                    </a:lnTo>
                    <a:lnTo>
                      <a:pt x="40" y="174"/>
                    </a:lnTo>
                    <a:lnTo>
                      <a:pt x="39" y="176"/>
                    </a:lnTo>
                    <a:lnTo>
                      <a:pt x="35" y="179"/>
                    </a:lnTo>
                    <a:lnTo>
                      <a:pt x="34" y="177"/>
                    </a:lnTo>
                    <a:lnTo>
                      <a:pt x="33" y="176"/>
                    </a:lnTo>
                    <a:lnTo>
                      <a:pt x="32" y="176"/>
                    </a:lnTo>
                    <a:lnTo>
                      <a:pt x="28" y="174"/>
                    </a:lnTo>
                    <a:lnTo>
                      <a:pt x="30" y="174"/>
                    </a:lnTo>
                    <a:lnTo>
                      <a:pt x="30" y="173"/>
                    </a:lnTo>
                    <a:lnTo>
                      <a:pt x="25" y="172"/>
                    </a:lnTo>
                    <a:lnTo>
                      <a:pt x="24" y="172"/>
                    </a:lnTo>
                    <a:lnTo>
                      <a:pt x="24" y="173"/>
                    </a:lnTo>
                    <a:lnTo>
                      <a:pt x="27" y="174"/>
                    </a:lnTo>
                    <a:lnTo>
                      <a:pt x="27" y="176"/>
                    </a:lnTo>
                    <a:lnTo>
                      <a:pt x="25" y="177"/>
                    </a:lnTo>
                    <a:lnTo>
                      <a:pt x="24" y="180"/>
                    </a:lnTo>
                    <a:lnTo>
                      <a:pt x="24" y="182"/>
                    </a:lnTo>
                    <a:lnTo>
                      <a:pt x="23" y="183"/>
                    </a:lnTo>
                    <a:lnTo>
                      <a:pt x="24" y="184"/>
                    </a:lnTo>
                    <a:lnTo>
                      <a:pt x="24" y="190"/>
                    </a:lnTo>
                    <a:lnTo>
                      <a:pt x="24" y="191"/>
                    </a:lnTo>
                    <a:lnTo>
                      <a:pt x="19" y="191"/>
                    </a:lnTo>
                    <a:lnTo>
                      <a:pt x="19" y="192"/>
                    </a:lnTo>
                    <a:lnTo>
                      <a:pt x="20" y="196"/>
                    </a:lnTo>
                    <a:lnTo>
                      <a:pt x="22" y="199"/>
                    </a:lnTo>
                    <a:lnTo>
                      <a:pt x="23" y="200"/>
                    </a:lnTo>
                    <a:lnTo>
                      <a:pt x="22" y="203"/>
                    </a:lnTo>
                    <a:lnTo>
                      <a:pt x="24" y="208"/>
                    </a:lnTo>
                    <a:lnTo>
                      <a:pt x="24" y="211"/>
                    </a:lnTo>
                    <a:lnTo>
                      <a:pt x="24" y="212"/>
                    </a:lnTo>
                    <a:lnTo>
                      <a:pt x="22" y="216"/>
                    </a:lnTo>
                    <a:lnTo>
                      <a:pt x="17" y="220"/>
                    </a:lnTo>
                    <a:lnTo>
                      <a:pt x="15" y="218"/>
                    </a:lnTo>
                    <a:lnTo>
                      <a:pt x="14" y="217"/>
                    </a:lnTo>
                    <a:lnTo>
                      <a:pt x="14" y="216"/>
                    </a:lnTo>
                    <a:lnTo>
                      <a:pt x="13" y="216"/>
                    </a:lnTo>
                    <a:lnTo>
                      <a:pt x="13" y="217"/>
                    </a:lnTo>
                    <a:lnTo>
                      <a:pt x="9" y="222"/>
                    </a:lnTo>
                    <a:lnTo>
                      <a:pt x="7" y="227"/>
                    </a:lnTo>
                    <a:lnTo>
                      <a:pt x="4" y="231"/>
                    </a:lnTo>
                    <a:lnTo>
                      <a:pt x="4" y="232"/>
                    </a:lnTo>
                    <a:lnTo>
                      <a:pt x="4" y="234"/>
                    </a:lnTo>
                    <a:lnTo>
                      <a:pt x="4" y="237"/>
                    </a:lnTo>
                    <a:lnTo>
                      <a:pt x="1" y="240"/>
                    </a:lnTo>
                    <a:lnTo>
                      <a:pt x="1" y="242"/>
                    </a:lnTo>
                    <a:lnTo>
                      <a:pt x="0" y="245"/>
                    </a:lnTo>
                    <a:lnTo>
                      <a:pt x="1" y="248"/>
                    </a:lnTo>
                    <a:lnTo>
                      <a:pt x="4" y="249"/>
                    </a:lnTo>
                    <a:lnTo>
                      <a:pt x="3" y="251"/>
                    </a:lnTo>
                    <a:lnTo>
                      <a:pt x="3" y="254"/>
                    </a:lnTo>
                    <a:lnTo>
                      <a:pt x="5" y="255"/>
                    </a:lnTo>
                    <a:lnTo>
                      <a:pt x="6" y="254"/>
                    </a:lnTo>
                    <a:lnTo>
                      <a:pt x="9" y="256"/>
                    </a:lnTo>
                    <a:lnTo>
                      <a:pt x="10" y="255"/>
                    </a:lnTo>
                    <a:lnTo>
                      <a:pt x="11" y="254"/>
                    </a:lnTo>
                    <a:lnTo>
                      <a:pt x="14" y="259"/>
                    </a:lnTo>
                    <a:lnTo>
                      <a:pt x="12" y="262"/>
                    </a:lnTo>
                    <a:lnTo>
                      <a:pt x="14" y="265"/>
                    </a:lnTo>
                    <a:lnTo>
                      <a:pt x="17" y="271"/>
                    </a:lnTo>
                    <a:lnTo>
                      <a:pt x="17" y="268"/>
                    </a:lnTo>
                    <a:lnTo>
                      <a:pt x="19" y="268"/>
                    </a:lnTo>
                    <a:lnTo>
                      <a:pt x="20" y="266"/>
                    </a:lnTo>
                    <a:lnTo>
                      <a:pt x="23" y="267"/>
                    </a:lnTo>
                    <a:lnTo>
                      <a:pt x="24" y="267"/>
                    </a:lnTo>
                    <a:lnTo>
                      <a:pt x="21" y="269"/>
                    </a:lnTo>
                    <a:lnTo>
                      <a:pt x="20" y="271"/>
                    </a:lnTo>
                    <a:lnTo>
                      <a:pt x="24" y="277"/>
                    </a:lnTo>
                    <a:lnTo>
                      <a:pt x="24" y="282"/>
                    </a:lnTo>
                    <a:lnTo>
                      <a:pt x="25" y="283"/>
                    </a:lnTo>
                    <a:lnTo>
                      <a:pt x="27" y="293"/>
                    </a:lnTo>
                    <a:lnTo>
                      <a:pt x="28" y="294"/>
                    </a:lnTo>
                    <a:lnTo>
                      <a:pt x="30" y="295"/>
                    </a:lnTo>
                    <a:lnTo>
                      <a:pt x="30" y="297"/>
                    </a:lnTo>
                    <a:lnTo>
                      <a:pt x="30" y="300"/>
                    </a:lnTo>
                    <a:lnTo>
                      <a:pt x="32" y="301"/>
                    </a:lnTo>
                    <a:lnTo>
                      <a:pt x="34" y="301"/>
                    </a:lnTo>
                    <a:lnTo>
                      <a:pt x="35" y="302"/>
                    </a:lnTo>
                    <a:lnTo>
                      <a:pt x="38" y="301"/>
                    </a:lnTo>
                    <a:lnTo>
                      <a:pt x="43" y="303"/>
                    </a:lnTo>
                    <a:lnTo>
                      <a:pt x="45" y="302"/>
                    </a:lnTo>
                    <a:lnTo>
                      <a:pt x="47" y="300"/>
                    </a:lnTo>
                    <a:lnTo>
                      <a:pt x="49" y="301"/>
                    </a:lnTo>
                    <a:lnTo>
                      <a:pt x="49" y="305"/>
                    </a:lnTo>
                    <a:lnTo>
                      <a:pt x="52" y="311"/>
                    </a:lnTo>
                    <a:lnTo>
                      <a:pt x="50" y="313"/>
                    </a:lnTo>
                    <a:lnTo>
                      <a:pt x="53" y="324"/>
                    </a:lnTo>
                    <a:lnTo>
                      <a:pt x="53" y="325"/>
                    </a:lnTo>
                    <a:lnTo>
                      <a:pt x="55" y="328"/>
                    </a:lnTo>
                    <a:lnTo>
                      <a:pt x="57" y="328"/>
                    </a:lnTo>
                    <a:lnTo>
                      <a:pt x="61" y="329"/>
                    </a:lnTo>
                    <a:lnTo>
                      <a:pt x="59" y="332"/>
                    </a:lnTo>
                    <a:lnTo>
                      <a:pt x="61" y="335"/>
                    </a:lnTo>
                    <a:lnTo>
                      <a:pt x="61" y="337"/>
                    </a:lnTo>
                    <a:lnTo>
                      <a:pt x="64" y="345"/>
                    </a:lnTo>
                    <a:lnTo>
                      <a:pt x="62" y="351"/>
                    </a:lnTo>
                    <a:lnTo>
                      <a:pt x="61" y="353"/>
                    </a:lnTo>
                    <a:lnTo>
                      <a:pt x="63" y="356"/>
                    </a:lnTo>
                    <a:lnTo>
                      <a:pt x="68" y="359"/>
                    </a:lnTo>
                    <a:lnTo>
                      <a:pt x="71" y="358"/>
                    </a:lnTo>
                    <a:lnTo>
                      <a:pt x="72" y="360"/>
                    </a:lnTo>
                    <a:lnTo>
                      <a:pt x="74" y="359"/>
                    </a:lnTo>
                    <a:lnTo>
                      <a:pt x="79" y="362"/>
                    </a:lnTo>
                    <a:lnTo>
                      <a:pt x="82" y="366"/>
                    </a:lnTo>
                    <a:lnTo>
                      <a:pt x="85" y="368"/>
                    </a:lnTo>
                    <a:lnTo>
                      <a:pt x="88" y="375"/>
                    </a:lnTo>
                    <a:lnTo>
                      <a:pt x="90" y="377"/>
                    </a:lnTo>
                    <a:lnTo>
                      <a:pt x="90" y="379"/>
                    </a:lnTo>
                    <a:lnTo>
                      <a:pt x="92" y="379"/>
                    </a:lnTo>
                    <a:lnTo>
                      <a:pt x="92" y="381"/>
                    </a:lnTo>
                    <a:lnTo>
                      <a:pt x="95" y="386"/>
                    </a:lnTo>
                    <a:lnTo>
                      <a:pt x="97" y="386"/>
                    </a:lnTo>
                    <a:lnTo>
                      <a:pt x="98" y="388"/>
                    </a:lnTo>
                    <a:lnTo>
                      <a:pt x="99" y="391"/>
                    </a:lnTo>
                    <a:lnTo>
                      <a:pt x="103" y="392"/>
                    </a:lnTo>
                    <a:lnTo>
                      <a:pt x="105" y="394"/>
                    </a:lnTo>
                    <a:lnTo>
                      <a:pt x="107" y="394"/>
                    </a:lnTo>
                    <a:lnTo>
                      <a:pt x="112" y="396"/>
                    </a:lnTo>
                    <a:lnTo>
                      <a:pt x="113" y="397"/>
                    </a:lnTo>
                    <a:lnTo>
                      <a:pt x="113" y="400"/>
                    </a:lnTo>
                    <a:lnTo>
                      <a:pt x="112" y="402"/>
                    </a:lnTo>
                    <a:lnTo>
                      <a:pt x="115" y="402"/>
                    </a:lnTo>
                    <a:lnTo>
                      <a:pt x="114" y="403"/>
                    </a:lnTo>
                    <a:lnTo>
                      <a:pt x="116" y="405"/>
                    </a:lnTo>
                    <a:lnTo>
                      <a:pt x="117" y="407"/>
                    </a:lnTo>
                    <a:lnTo>
                      <a:pt x="116" y="407"/>
                    </a:lnTo>
                    <a:lnTo>
                      <a:pt x="115" y="408"/>
                    </a:lnTo>
                    <a:lnTo>
                      <a:pt x="118" y="410"/>
                    </a:lnTo>
                    <a:lnTo>
                      <a:pt x="118" y="412"/>
                    </a:lnTo>
                    <a:lnTo>
                      <a:pt x="119" y="412"/>
                    </a:lnTo>
                    <a:lnTo>
                      <a:pt x="121" y="412"/>
                    </a:lnTo>
                    <a:lnTo>
                      <a:pt x="123" y="414"/>
                    </a:lnTo>
                    <a:lnTo>
                      <a:pt x="125" y="414"/>
                    </a:lnTo>
                    <a:lnTo>
                      <a:pt x="124" y="418"/>
                    </a:lnTo>
                    <a:lnTo>
                      <a:pt x="123" y="421"/>
                    </a:lnTo>
                    <a:lnTo>
                      <a:pt x="121" y="423"/>
                    </a:lnTo>
                    <a:lnTo>
                      <a:pt x="118" y="422"/>
                    </a:lnTo>
                    <a:lnTo>
                      <a:pt x="113" y="422"/>
                    </a:lnTo>
                    <a:lnTo>
                      <a:pt x="113" y="426"/>
                    </a:lnTo>
                    <a:lnTo>
                      <a:pt x="111" y="426"/>
                    </a:lnTo>
                    <a:lnTo>
                      <a:pt x="110" y="427"/>
                    </a:lnTo>
                    <a:lnTo>
                      <a:pt x="109" y="427"/>
                    </a:lnTo>
                    <a:lnTo>
                      <a:pt x="112" y="431"/>
                    </a:lnTo>
                    <a:lnTo>
                      <a:pt x="112" y="432"/>
                    </a:lnTo>
                    <a:lnTo>
                      <a:pt x="114" y="434"/>
                    </a:lnTo>
                    <a:lnTo>
                      <a:pt x="113" y="435"/>
                    </a:lnTo>
                    <a:lnTo>
                      <a:pt x="117" y="435"/>
                    </a:lnTo>
                    <a:lnTo>
                      <a:pt x="118" y="435"/>
                    </a:lnTo>
                    <a:lnTo>
                      <a:pt x="118" y="439"/>
                    </a:lnTo>
                    <a:lnTo>
                      <a:pt x="116" y="439"/>
                    </a:lnTo>
                    <a:lnTo>
                      <a:pt x="117" y="440"/>
                    </a:lnTo>
                    <a:lnTo>
                      <a:pt x="116" y="442"/>
                    </a:lnTo>
                    <a:lnTo>
                      <a:pt x="118" y="443"/>
                    </a:lnTo>
                    <a:lnTo>
                      <a:pt x="118" y="444"/>
                    </a:lnTo>
                    <a:lnTo>
                      <a:pt x="119" y="447"/>
                    </a:lnTo>
                    <a:lnTo>
                      <a:pt x="121" y="445"/>
                    </a:lnTo>
                    <a:lnTo>
                      <a:pt x="123" y="446"/>
                    </a:lnTo>
                    <a:lnTo>
                      <a:pt x="122" y="448"/>
                    </a:lnTo>
                    <a:lnTo>
                      <a:pt x="122" y="451"/>
                    </a:lnTo>
                    <a:lnTo>
                      <a:pt x="123" y="451"/>
                    </a:lnTo>
                    <a:lnTo>
                      <a:pt x="124" y="449"/>
                    </a:lnTo>
                    <a:lnTo>
                      <a:pt x="130" y="450"/>
                    </a:lnTo>
                    <a:lnTo>
                      <a:pt x="131" y="451"/>
                    </a:lnTo>
                    <a:lnTo>
                      <a:pt x="129" y="454"/>
                    </a:lnTo>
                    <a:lnTo>
                      <a:pt x="132" y="456"/>
                    </a:lnTo>
                    <a:lnTo>
                      <a:pt x="136" y="456"/>
                    </a:lnTo>
                    <a:lnTo>
                      <a:pt x="140" y="453"/>
                    </a:lnTo>
                    <a:lnTo>
                      <a:pt x="143" y="455"/>
                    </a:lnTo>
                    <a:lnTo>
                      <a:pt x="145" y="454"/>
                    </a:lnTo>
                    <a:lnTo>
                      <a:pt x="148" y="456"/>
                    </a:lnTo>
                    <a:lnTo>
                      <a:pt x="148" y="458"/>
                    </a:lnTo>
                    <a:lnTo>
                      <a:pt x="152" y="457"/>
                    </a:lnTo>
                    <a:lnTo>
                      <a:pt x="153" y="457"/>
                    </a:lnTo>
                    <a:lnTo>
                      <a:pt x="154" y="457"/>
                    </a:lnTo>
                    <a:lnTo>
                      <a:pt x="155" y="457"/>
                    </a:lnTo>
                    <a:lnTo>
                      <a:pt x="158" y="458"/>
                    </a:lnTo>
                    <a:lnTo>
                      <a:pt x="162" y="461"/>
                    </a:lnTo>
                    <a:lnTo>
                      <a:pt x="166" y="463"/>
                    </a:lnTo>
                    <a:lnTo>
                      <a:pt x="169" y="465"/>
                    </a:lnTo>
                    <a:lnTo>
                      <a:pt x="169" y="467"/>
                    </a:lnTo>
                    <a:lnTo>
                      <a:pt x="174" y="465"/>
                    </a:lnTo>
                    <a:lnTo>
                      <a:pt x="178" y="467"/>
                    </a:lnTo>
                    <a:lnTo>
                      <a:pt x="180" y="471"/>
                    </a:lnTo>
                    <a:lnTo>
                      <a:pt x="188" y="477"/>
                    </a:lnTo>
                    <a:lnTo>
                      <a:pt x="190" y="477"/>
                    </a:lnTo>
                    <a:lnTo>
                      <a:pt x="191" y="477"/>
                    </a:lnTo>
                    <a:lnTo>
                      <a:pt x="191" y="481"/>
                    </a:lnTo>
                    <a:lnTo>
                      <a:pt x="193" y="482"/>
                    </a:lnTo>
                    <a:lnTo>
                      <a:pt x="196" y="482"/>
                    </a:lnTo>
                    <a:lnTo>
                      <a:pt x="197" y="479"/>
                    </a:lnTo>
                    <a:lnTo>
                      <a:pt x="200" y="478"/>
                    </a:lnTo>
                    <a:lnTo>
                      <a:pt x="200" y="476"/>
                    </a:lnTo>
                    <a:lnTo>
                      <a:pt x="202" y="473"/>
                    </a:lnTo>
                    <a:lnTo>
                      <a:pt x="204" y="473"/>
                    </a:lnTo>
                    <a:lnTo>
                      <a:pt x="205" y="476"/>
                    </a:lnTo>
                    <a:lnTo>
                      <a:pt x="206" y="477"/>
                    </a:lnTo>
                    <a:lnTo>
                      <a:pt x="208" y="477"/>
                    </a:lnTo>
                    <a:lnTo>
                      <a:pt x="210" y="476"/>
                    </a:lnTo>
                    <a:lnTo>
                      <a:pt x="211" y="473"/>
                    </a:lnTo>
                    <a:lnTo>
                      <a:pt x="211" y="471"/>
                    </a:lnTo>
                    <a:lnTo>
                      <a:pt x="210" y="470"/>
                    </a:lnTo>
                    <a:lnTo>
                      <a:pt x="210" y="466"/>
                    </a:lnTo>
                    <a:lnTo>
                      <a:pt x="211" y="465"/>
                    </a:lnTo>
                    <a:lnTo>
                      <a:pt x="213" y="467"/>
                    </a:lnTo>
                    <a:lnTo>
                      <a:pt x="215" y="467"/>
                    </a:lnTo>
                    <a:lnTo>
                      <a:pt x="216" y="467"/>
                    </a:lnTo>
                    <a:lnTo>
                      <a:pt x="218" y="467"/>
                    </a:lnTo>
                    <a:lnTo>
                      <a:pt x="221" y="470"/>
                    </a:lnTo>
                    <a:lnTo>
                      <a:pt x="223" y="470"/>
                    </a:lnTo>
                    <a:lnTo>
                      <a:pt x="224" y="466"/>
                    </a:lnTo>
                    <a:lnTo>
                      <a:pt x="226" y="465"/>
                    </a:lnTo>
                    <a:lnTo>
                      <a:pt x="227" y="462"/>
                    </a:lnTo>
                    <a:lnTo>
                      <a:pt x="229" y="459"/>
                    </a:lnTo>
                    <a:lnTo>
                      <a:pt x="229" y="456"/>
                    </a:lnTo>
                    <a:lnTo>
                      <a:pt x="231" y="454"/>
                    </a:lnTo>
                    <a:lnTo>
                      <a:pt x="232" y="454"/>
                    </a:lnTo>
                    <a:lnTo>
                      <a:pt x="231" y="450"/>
                    </a:lnTo>
                    <a:lnTo>
                      <a:pt x="229" y="447"/>
                    </a:lnTo>
                    <a:lnTo>
                      <a:pt x="229" y="444"/>
                    </a:lnTo>
                    <a:lnTo>
                      <a:pt x="232" y="444"/>
                    </a:lnTo>
                    <a:lnTo>
                      <a:pt x="233" y="445"/>
                    </a:lnTo>
                    <a:lnTo>
                      <a:pt x="236" y="444"/>
                    </a:lnTo>
                    <a:lnTo>
                      <a:pt x="237" y="446"/>
                    </a:lnTo>
                    <a:lnTo>
                      <a:pt x="238" y="447"/>
                    </a:lnTo>
                    <a:lnTo>
                      <a:pt x="237" y="447"/>
                    </a:lnTo>
                    <a:lnTo>
                      <a:pt x="237" y="448"/>
                    </a:lnTo>
                    <a:lnTo>
                      <a:pt x="239" y="450"/>
                    </a:lnTo>
                    <a:lnTo>
                      <a:pt x="242" y="452"/>
                    </a:lnTo>
                    <a:lnTo>
                      <a:pt x="242" y="455"/>
                    </a:lnTo>
                    <a:lnTo>
                      <a:pt x="242" y="456"/>
                    </a:lnTo>
                    <a:lnTo>
                      <a:pt x="243" y="457"/>
                    </a:lnTo>
                    <a:lnTo>
                      <a:pt x="244" y="460"/>
                    </a:lnTo>
                    <a:lnTo>
                      <a:pt x="246" y="459"/>
                    </a:lnTo>
                    <a:lnTo>
                      <a:pt x="249" y="459"/>
                    </a:lnTo>
                    <a:lnTo>
                      <a:pt x="250" y="461"/>
                    </a:lnTo>
                    <a:lnTo>
                      <a:pt x="256" y="463"/>
                    </a:lnTo>
                    <a:lnTo>
                      <a:pt x="257" y="464"/>
                    </a:lnTo>
                    <a:lnTo>
                      <a:pt x="257" y="467"/>
                    </a:lnTo>
                    <a:lnTo>
                      <a:pt x="259" y="469"/>
                    </a:lnTo>
                    <a:lnTo>
                      <a:pt x="260" y="468"/>
                    </a:lnTo>
                    <a:lnTo>
                      <a:pt x="260" y="466"/>
                    </a:lnTo>
                    <a:lnTo>
                      <a:pt x="262" y="466"/>
                    </a:lnTo>
                    <a:lnTo>
                      <a:pt x="263" y="465"/>
                    </a:lnTo>
                    <a:lnTo>
                      <a:pt x="264" y="465"/>
                    </a:lnTo>
                    <a:lnTo>
                      <a:pt x="266" y="463"/>
                    </a:lnTo>
                    <a:lnTo>
                      <a:pt x="268" y="463"/>
                    </a:lnTo>
                    <a:lnTo>
                      <a:pt x="271" y="460"/>
                    </a:lnTo>
                    <a:lnTo>
                      <a:pt x="272" y="459"/>
                    </a:lnTo>
                    <a:lnTo>
                      <a:pt x="275" y="459"/>
                    </a:lnTo>
                    <a:lnTo>
                      <a:pt x="276" y="463"/>
                    </a:lnTo>
                    <a:lnTo>
                      <a:pt x="276" y="470"/>
                    </a:lnTo>
                    <a:lnTo>
                      <a:pt x="278" y="471"/>
                    </a:lnTo>
                    <a:lnTo>
                      <a:pt x="279" y="471"/>
                    </a:lnTo>
                    <a:lnTo>
                      <a:pt x="283" y="470"/>
                    </a:lnTo>
                    <a:lnTo>
                      <a:pt x="285" y="475"/>
                    </a:lnTo>
                    <a:lnTo>
                      <a:pt x="286" y="483"/>
                    </a:lnTo>
                    <a:lnTo>
                      <a:pt x="292" y="483"/>
                    </a:lnTo>
                    <a:lnTo>
                      <a:pt x="294" y="482"/>
                    </a:lnTo>
                    <a:lnTo>
                      <a:pt x="294" y="483"/>
                    </a:lnTo>
                    <a:lnTo>
                      <a:pt x="295" y="482"/>
                    </a:lnTo>
                    <a:lnTo>
                      <a:pt x="297" y="484"/>
                    </a:lnTo>
                    <a:lnTo>
                      <a:pt x="299" y="482"/>
                    </a:lnTo>
                    <a:lnTo>
                      <a:pt x="299" y="480"/>
                    </a:lnTo>
                    <a:lnTo>
                      <a:pt x="301" y="479"/>
                    </a:lnTo>
                    <a:lnTo>
                      <a:pt x="301" y="478"/>
                    </a:lnTo>
                    <a:lnTo>
                      <a:pt x="304" y="476"/>
                    </a:lnTo>
                    <a:lnTo>
                      <a:pt x="303" y="468"/>
                    </a:lnTo>
                    <a:lnTo>
                      <a:pt x="306" y="458"/>
                    </a:lnTo>
                    <a:lnTo>
                      <a:pt x="306" y="453"/>
                    </a:lnTo>
                    <a:lnTo>
                      <a:pt x="304" y="453"/>
                    </a:lnTo>
                    <a:lnTo>
                      <a:pt x="308" y="441"/>
                    </a:lnTo>
                    <a:lnTo>
                      <a:pt x="309" y="440"/>
                    </a:lnTo>
                    <a:lnTo>
                      <a:pt x="310" y="436"/>
                    </a:lnTo>
                    <a:lnTo>
                      <a:pt x="313" y="431"/>
                    </a:lnTo>
                    <a:lnTo>
                      <a:pt x="314" y="430"/>
                    </a:lnTo>
                    <a:lnTo>
                      <a:pt x="319" y="430"/>
                    </a:lnTo>
                    <a:lnTo>
                      <a:pt x="320" y="427"/>
                    </a:lnTo>
                    <a:lnTo>
                      <a:pt x="324" y="427"/>
                    </a:lnTo>
                    <a:lnTo>
                      <a:pt x="328" y="424"/>
                    </a:lnTo>
                    <a:lnTo>
                      <a:pt x="328" y="422"/>
                    </a:lnTo>
                    <a:lnTo>
                      <a:pt x="330" y="421"/>
                    </a:lnTo>
                    <a:lnTo>
                      <a:pt x="330" y="419"/>
                    </a:lnTo>
                    <a:lnTo>
                      <a:pt x="332" y="418"/>
                    </a:lnTo>
                    <a:lnTo>
                      <a:pt x="333" y="418"/>
                    </a:lnTo>
                    <a:lnTo>
                      <a:pt x="335" y="418"/>
                    </a:lnTo>
                    <a:lnTo>
                      <a:pt x="333" y="411"/>
                    </a:lnTo>
                    <a:lnTo>
                      <a:pt x="337" y="405"/>
                    </a:lnTo>
                    <a:lnTo>
                      <a:pt x="337" y="403"/>
                    </a:lnTo>
                    <a:lnTo>
                      <a:pt x="336" y="400"/>
                    </a:lnTo>
                    <a:lnTo>
                      <a:pt x="337" y="399"/>
                    </a:lnTo>
                    <a:lnTo>
                      <a:pt x="337" y="397"/>
                    </a:lnTo>
                    <a:lnTo>
                      <a:pt x="340" y="396"/>
                    </a:lnTo>
                    <a:lnTo>
                      <a:pt x="341" y="396"/>
                    </a:lnTo>
                    <a:lnTo>
                      <a:pt x="343" y="397"/>
                    </a:lnTo>
                    <a:lnTo>
                      <a:pt x="346" y="397"/>
                    </a:lnTo>
                    <a:lnTo>
                      <a:pt x="347" y="396"/>
                    </a:lnTo>
                    <a:lnTo>
                      <a:pt x="348" y="398"/>
                    </a:lnTo>
                    <a:lnTo>
                      <a:pt x="348" y="397"/>
                    </a:lnTo>
                    <a:lnTo>
                      <a:pt x="349" y="399"/>
                    </a:lnTo>
                    <a:lnTo>
                      <a:pt x="350" y="400"/>
                    </a:lnTo>
                    <a:lnTo>
                      <a:pt x="351" y="399"/>
                    </a:lnTo>
                    <a:lnTo>
                      <a:pt x="352" y="400"/>
                    </a:lnTo>
                    <a:lnTo>
                      <a:pt x="354" y="398"/>
                    </a:lnTo>
                    <a:lnTo>
                      <a:pt x="356" y="399"/>
                    </a:lnTo>
                    <a:lnTo>
                      <a:pt x="358" y="401"/>
                    </a:lnTo>
                    <a:lnTo>
                      <a:pt x="358" y="403"/>
                    </a:lnTo>
                    <a:lnTo>
                      <a:pt x="361" y="403"/>
                    </a:lnTo>
                    <a:lnTo>
                      <a:pt x="363" y="405"/>
                    </a:lnTo>
                    <a:lnTo>
                      <a:pt x="365" y="406"/>
                    </a:lnTo>
                    <a:lnTo>
                      <a:pt x="366" y="405"/>
                    </a:lnTo>
                    <a:lnTo>
                      <a:pt x="369" y="407"/>
                    </a:lnTo>
                    <a:lnTo>
                      <a:pt x="371" y="408"/>
                    </a:lnTo>
                    <a:lnTo>
                      <a:pt x="372" y="410"/>
                    </a:lnTo>
                    <a:lnTo>
                      <a:pt x="374" y="410"/>
                    </a:lnTo>
                    <a:lnTo>
                      <a:pt x="375" y="410"/>
                    </a:lnTo>
                    <a:lnTo>
                      <a:pt x="377" y="412"/>
                    </a:lnTo>
                    <a:lnTo>
                      <a:pt x="379" y="410"/>
                    </a:lnTo>
                    <a:lnTo>
                      <a:pt x="380" y="410"/>
                    </a:lnTo>
                    <a:lnTo>
                      <a:pt x="382" y="409"/>
                    </a:lnTo>
                    <a:lnTo>
                      <a:pt x="384" y="405"/>
                    </a:lnTo>
                    <a:lnTo>
                      <a:pt x="384" y="403"/>
                    </a:lnTo>
                    <a:lnTo>
                      <a:pt x="379" y="398"/>
                    </a:lnTo>
                    <a:lnTo>
                      <a:pt x="379" y="397"/>
                    </a:lnTo>
                    <a:lnTo>
                      <a:pt x="379" y="396"/>
                    </a:lnTo>
                    <a:lnTo>
                      <a:pt x="378" y="395"/>
                    </a:lnTo>
                    <a:lnTo>
                      <a:pt x="381" y="392"/>
                    </a:lnTo>
                    <a:lnTo>
                      <a:pt x="381" y="387"/>
                    </a:lnTo>
                    <a:lnTo>
                      <a:pt x="384" y="382"/>
                    </a:lnTo>
                    <a:lnTo>
                      <a:pt x="384" y="376"/>
                    </a:lnTo>
                    <a:lnTo>
                      <a:pt x="386" y="375"/>
                    </a:lnTo>
                    <a:lnTo>
                      <a:pt x="386" y="374"/>
                    </a:lnTo>
                    <a:lnTo>
                      <a:pt x="389" y="374"/>
                    </a:lnTo>
                    <a:lnTo>
                      <a:pt x="389" y="372"/>
                    </a:lnTo>
                    <a:lnTo>
                      <a:pt x="388" y="369"/>
                    </a:lnTo>
                    <a:lnTo>
                      <a:pt x="387" y="369"/>
                    </a:lnTo>
                    <a:lnTo>
                      <a:pt x="387" y="365"/>
                    </a:lnTo>
                    <a:lnTo>
                      <a:pt x="388" y="359"/>
                    </a:lnTo>
                    <a:lnTo>
                      <a:pt x="391" y="359"/>
                    </a:lnTo>
                    <a:lnTo>
                      <a:pt x="392" y="351"/>
                    </a:lnTo>
                    <a:lnTo>
                      <a:pt x="393" y="352"/>
                    </a:lnTo>
                    <a:lnTo>
                      <a:pt x="393" y="350"/>
                    </a:lnTo>
                    <a:lnTo>
                      <a:pt x="394" y="348"/>
                    </a:lnTo>
                    <a:lnTo>
                      <a:pt x="395" y="346"/>
                    </a:lnTo>
                    <a:lnTo>
                      <a:pt x="395" y="340"/>
                    </a:lnTo>
                    <a:lnTo>
                      <a:pt x="393" y="339"/>
                    </a:lnTo>
                    <a:lnTo>
                      <a:pt x="393" y="336"/>
                    </a:lnTo>
                    <a:lnTo>
                      <a:pt x="392" y="335"/>
                    </a:lnTo>
                    <a:lnTo>
                      <a:pt x="392" y="333"/>
                    </a:lnTo>
                    <a:lnTo>
                      <a:pt x="394" y="332"/>
                    </a:lnTo>
                    <a:lnTo>
                      <a:pt x="395" y="331"/>
                    </a:lnTo>
                    <a:lnTo>
                      <a:pt x="395" y="328"/>
                    </a:lnTo>
                    <a:lnTo>
                      <a:pt x="393" y="327"/>
                    </a:lnTo>
                    <a:lnTo>
                      <a:pt x="393" y="321"/>
                    </a:lnTo>
                    <a:lnTo>
                      <a:pt x="393" y="318"/>
                    </a:lnTo>
                    <a:lnTo>
                      <a:pt x="394" y="314"/>
                    </a:lnTo>
                    <a:lnTo>
                      <a:pt x="395" y="310"/>
                    </a:lnTo>
                    <a:lnTo>
                      <a:pt x="395" y="311"/>
                    </a:lnTo>
                    <a:lnTo>
                      <a:pt x="397" y="307"/>
                    </a:lnTo>
                    <a:lnTo>
                      <a:pt x="400" y="306"/>
                    </a:lnTo>
                    <a:lnTo>
                      <a:pt x="401" y="305"/>
                    </a:lnTo>
                    <a:lnTo>
                      <a:pt x="401" y="304"/>
                    </a:lnTo>
                    <a:lnTo>
                      <a:pt x="402" y="299"/>
                    </a:lnTo>
                    <a:lnTo>
                      <a:pt x="401" y="299"/>
                    </a:lnTo>
                    <a:lnTo>
                      <a:pt x="400" y="297"/>
                    </a:lnTo>
                    <a:lnTo>
                      <a:pt x="402" y="294"/>
                    </a:lnTo>
                    <a:lnTo>
                      <a:pt x="403" y="295"/>
                    </a:lnTo>
                    <a:lnTo>
                      <a:pt x="406" y="295"/>
                    </a:lnTo>
                    <a:lnTo>
                      <a:pt x="407" y="293"/>
                    </a:lnTo>
                    <a:lnTo>
                      <a:pt x="409" y="292"/>
                    </a:lnTo>
                    <a:lnTo>
                      <a:pt x="410" y="295"/>
                    </a:lnTo>
                    <a:lnTo>
                      <a:pt x="414" y="297"/>
                    </a:lnTo>
                    <a:lnTo>
                      <a:pt x="418" y="296"/>
                    </a:lnTo>
                    <a:lnTo>
                      <a:pt x="420" y="297"/>
                    </a:lnTo>
                    <a:lnTo>
                      <a:pt x="421" y="301"/>
                    </a:lnTo>
                    <a:lnTo>
                      <a:pt x="420" y="302"/>
                    </a:lnTo>
                    <a:lnTo>
                      <a:pt x="420" y="303"/>
                    </a:lnTo>
                    <a:lnTo>
                      <a:pt x="420" y="305"/>
                    </a:lnTo>
                    <a:lnTo>
                      <a:pt x="426" y="306"/>
                    </a:lnTo>
                    <a:lnTo>
                      <a:pt x="430" y="308"/>
                    </a:lnTo>
                    <a:lnTo>
                      <a:pt x="431" y="306"/>
                    </a:lnTo>
                    <a:lnTo>
                      <a:pt x="433" y="306"/>
                    </a:lnTo>
                    <a:lnTo>
                      <a:pt x="435" y="307"/>
                    </a:lnTo>
                    <a:lnTo>
                      <a:pt x="436" y="306"/>
                    </a:lnTo>
                    <a:lnTo>
                      <a:pt x="437" y="307"/>
                    </a:lnTo>
                    <a:lnTo>
                      <a:pt x="439" y="306"/>
                    </a:lnTo>
                    <a:lnTo>
                      <a:pt x="439" y="308"/>
                    </a:lnTo>
                    <a:lnTo>
                      <a:pt x="444" y="311"/>
                    </a:lnTo>
                    <a:lnTo>
                      <a:pt x="444" y="314"/>
                    </a:lnTo>
                    <a:lnTo>
                      <a:pt x="443" y="314"/>
                    </a:lnTo>
                    <a:lnTo>
                      <a:pt x="442" y="315"/>
                    </a:lnTo>
                    <a:lnTo>
                      <a:pt x="442" y="316"/>
                    </a:lnTo>
                    <a:lnTo>
                      <a:pt x="445" y="318"/>
                    </a:lnTo>
                    <a:lnTo>
                      <a:pt x="445" y="319"/>
                    </a:lnTo>
                    <a:lnTo>
                      <a:pt x="444" y="320"/>
                    </a:lnTo>
                    <a:lnTo>
                      <a:pt x="446" y="322"/>
                    </a:lnTo>
                    <a:lnTo>
                      <a:pt x="446" y="325"/>
                    </a:lnTo>
                    <a:lnTo>
                      <a:pt x="446" y="326"/>
                    </a:lnTo>
                    <a:lnTo>
                      <a:pt x="444" y="327"/>
                    </a:lnTo>
                    <a:lnTo>
                      <a:pt x="441" y="332"/>
                    </a:lnTo>
                    <a:lnTo>
                      <a:pt x="443" y="335"/>
                    </a:lnTo>
                    <a:lnTo>
                      <a:pt x="444" y="334"/>
                    </a:lnTo>
                    <a:lnTo>
                      <a:pt x="445" y="335"/>
                    </a:lnTo>
                    <a:lnTo>
                      <a:pt x="448" y="333"/>
                    </a:lnTo>
                    <a:lnTo>
                      <a:pt x="450" y="335"/>
                    </a:lnTo>
                    <a:lnTo>
                      <a:pt x="454" y="331"/>
                    </a:lnTo>
                    <a:lnTo>
                      <a:pt x="456" y="331"/>
                    </a:lnTo>
                    <a:lnTo>
                      <a:pt x="458" y="329"/>
                    </a:lnTo>
                    <a:lnTo>
                      <a:pt x="459" y="329"/>
                    </a:lnTo>
                    <a:lnTo>
                      <a:pt x="462" y="329"/>
                    </a:lnTo>
                    <a:lnTo>
                      <a:pt x="466" y="330"/>
                    </a:lnTo>
                    <a:lnTo>
                      <a:pt x="467" y="330"/>
                    </a:lnTo>
                    <a:lnTo>
                      <a:pt x="471" y="333"/>
                    </a:lnTo>
                    <a:lnTo>
                      <a:pt x="472" y="331"/>
                    </a:lnTo>
                    <a:lnTo>
                      <a:pt x="474" y="331"/>
                    </a:lnTo>
                    <a:lnTo>
                      <a:pt x="473" y="328"/>
                    </a:lnTo>
                    <a:lnTo>
                      <a:pt x="474" y="328"/>
                    </a:lnTo>
                    <a:lnTo>
                      <a:pt x="475" y="328"/>
                    </a:lnTo>
                    <a:lnTo>
                      <a:pt x="478" y="322"/>
                    </a:lnTo>
                    <a:lnTo>
                      <a:pt x="479" y="322"/>
                    </a:lnTo>
                    <a:lnTo>
                      <a:pt x="477" y="318"/>
                    </a:lnTo>
                    <a:lnTo>
                      <a:pt x="478" y="315"/>
                    </a:lnTo>
                    <a:lnTo>
                      <a:pt x="481" y="316"/>
                    </a:lnTo>
                    <a:lnTo>
                      <a:pt x="482" y="318"/>
                    </a:lnTo>
                    <a:lnTo>
                      <a:pt x="481" y="320"/>
                    </a:lnTo>
                    <a:lnTo>
                      <a:pt x="485" y="324"/>
                    </a:lnTo>
                    <a:lnTo>
                      <a:pt x="487" y="323"/>
                    </a:lnTo>
                    <a:lnTo>
                      <a:pt x="489" y="325"/>
                    </a:lnTo>
                    <a:lnTo>
                      <a:pt x="491" y="324"/>
                    </a:lnTo>
                    <a:lnTo>
                      <a:pt x="492" y="322"/>
                    </a:lnTo>
                    <a:lnTo>
                      <a:pt x="494" y="323"/>
                    </a:lnTo>
                    <a:lnTo>
                      <a:pt x="497" y="322"/>
                    </a:lnTo>
                    <a:lnTo>
                      <a:pt x="501" y="324"/>
                    </a:lnTo>
                    <a:lnTo>
                      <a:pt x="507" y="329"/>
                    </a:lnTo>
                    <a:lnTo>
                      <a:pt x="508" y="333"/>
                    </a:lnTo>
                    <a:lnTo>
                      <a:pt x="511" y="334"/>
                    </a:lnTo>
                    <a:lnTo>
                      <a:pt x="513" y="338"/>
                    </a:lnTo>
                    <a:lnTo>
                      <a:pt x="516" y="341"/>
                    </a:lnTo>
                    <a:lnTo>
                      <a:pt x="519" y="342"/>
                    </a:lnTo>
                    <a:lnTo>
                      <a:pt x="521" y="342"/>
                    </a:lnTo>
                    <a:lnTo>
                      <a:pt x="523" y="342"/>
                    </a:lnTo>
                    <a:lnTo>
                      <a:pt x="524" y="345"/>
                    </a:lnTo>
                    <a:lnTo>
                      <a:pt x="528" y="342"/>
                    </a:lnTo>
                    <a:lnTo>
                      <a:pt x="529" y="345"/>
                    </a:lnTo>
                    <a:lnTo>
                      <a:pt x="531" y="346"/>
                    </a:lnTo>
                    <a:lnTo>
                      <a:pt x="532" y="346"/>
                    </a:lnTo>
                    <a:lnTo>
                      <a:pt x="537" y="350"/>
                    </a:lnTo>
                    <a:lnTo>
                      <a:pt x="537" y="357"/>
                    </a:lnTo>
                    <a:lnTo>
                      <a:pt x="539" y="361"/>
                    </a:lnTo>
                    <a:lnTo>
                      <a:pt x="545" y="365"/>
                    </a:lnTo>
                    <a:lnTo>
                      <a:pt x="548" y="361"/>
                    </a:lnTo>
                    <a:lnTo>
                      <a:pt x="549" y="361"/>
                    </a:lnTo>
                    <a:lnTo>
                      <a:pt x="549" y="358"/>
                    </a:lnTo>
                    <a:lnTo>
                      <a:pt x="550" y="358"/>
                    </a:lnTo>
                    <a:lnTo>
                      <a:pt x="552" y="359"/>
                    </a:lnTo>
                    <a:lnTo>
                      <a:pt x="553" y="358"/>
                    </a:lnTo>
                    <a:lnTo>
                      <a:pt x="555" y="357"/>
                    </a:lnTo>
                    <a:lnTo>
                      <a:pt x="552" y="356"/>
                    </a:lnTo>
                    <a:lnTo>
                      <a:pt x="554" y="354"/>
                    </a:lnTo>
                    <a:lnTo>
                      <a:pt x="555" y="355"/>
                    </a:lnTo>
                    <a:lnTo>
                      <a:pt x="555" y="353"/>
                    </a:lnTo>
                    <a:lnTo>
                      <a:pt x="555" y="352"/>
                    </a:lnTo>
                    <a:lnTo>
                      <a:pt x="554" y="352"/>
                    </a:lnTo>
                    <a:lnTo>
                      <a:pt x="554" y="351"/>
                    </a:lnTo>
                    <a:lnTo>
                      <a:pt x="553" y="352"/>
                    </a:lnTo>
                    <a:lnTo>
                      <a:pt x="552" y="350"/>
                    </a:lnTo>
                    <a:lnTo>
                      <a:pt x="553" y="348"/>
                    </a:lnTo>
                    <a:lnTo>
                      <a:pt x="555" y="348"/>
                    </a:lnTo>
                    <a:lnTo>
                      <a:pt x="555" y="350"/>
                    </a:lnTo>
                    <a:lnTo>
                      <a:pt x="557" y="351"/>
                    </a:lnTo>
                    <a:lnTo>
                      <a:pt x="558" y="351"/>
                    </a:lnTo>
                    <a:lnTo>
                      <a:pt x="559" y="350"/>
                    </a:lnTo>
                    <a:lnTo>
                      <a:pt x="560" y="348"/>
                    </a:lnTo>
                    <a:lnTo>
                      <a:pt x="557" y="345"/>
                    </a:lnTo>
                    <a:lnTo>
                      <a:pt x="558" y="343"/>
                    </a:lnTo>
                    <a:lnTo>
                      <a:pt x="559" y="342"/>
                    </a:lnTo>
                    <a:lnTo>
                      <a:pt x="559" y="341"/>
                    </a:lnTo>
                    <a:lnTo>
                      <a:pt x="560" y="340"/>
                    </a:lnTo>
                    <a:lnTo>
                      <a:pt x="556" y="337"/>
                    </a:lnTo>
                    <a:lnTo>
                      <a:pt x="552" y="335"/>
                    </a:lnTo>
                    <a:lnTo>
                      <a:pt x="550" y="335"/>
                    </a:lnTo>
                    <a:lnTo>
                      <a:pt x="546" y="334"/>
                    </a:lnTo>
                    <a:lnTo>
                      <a:pt x="545" y="333"/>
                    </a:lnTo>
                    <a:lnTo>
                      <a:pt x="544" y="331"/>
                    </a:lnTo>
                    <a:lnTo>
                      <a:pt x="545" y="329"/>
                    </a:lnTo>
                    <a:lnTo>
                      <a:pt x="545" y="327"/>
                    </a:lnTo>
                    <a:lnTo>
                      <a:pt x="546" y="326"/>
                    </a:lnTo>
                    <a:lnTo>
                      <a:pt x="545" y="324"/>
                    </a:lnTo>
                    <a:lnTo>
                      <a:pt x="544" y="323"/>
                    </a:lnTo>
                    <a:lnTo>
                      <a:pt x="542" y="322"/>
                    </a:lnTo>
                    <a:lnTo>
                      <a:pt x="540" y="324"/>
                    </a:lnTo>
                    <a:lnTo>
                      <a:pt x="538" y="324"/>
                    </a:lnTo>
                    <a:lnTo>
                      <a:pt x="537" y="325"/>
                    </a:lnTo>
                    <a:lnTo>
                      <a:pt x="535" y="322"/>
                    </a:lnTo>
                    <a:lnTo>
                      <a:pt x="537" y="320"/>
                    </a:lnTo>
                    <a:lnTo>
                      <a:pt x="537" y="318"/>
                    </a:lnTo>
                    <a:lnTo>
                      <a:pt x="539" y="317"/>
                    </a:lnTo>
                    <a:lnTo>
                      <a:pt x="541" y="317"/>
                    </a:lnTo>
                    <a:lnTo>
                      <a:pt x="542" y="315"/>
                    </a:lnTo>
                    <a:lnTo>
                      <a:pt x="543" y="313"/>
                    </a:lnTo>
                    <a:lnTo>
                      <a:pt x="545" y="314"/>
                    </a:lnTo>
                    <a:lnTo>
                      <a:pt x="545" y="311"/>
                    </a:lnTo>
                    <a:lnTo>
                      <a:pt x="547" y="312"/>
                    </a:lnTo>
                    <a:lnTo>
                      <a:pt x="548" y="311"/>
                    </a:lnTo>
                    <a:lnTo>
                      <a:pt x="549" y="310"/>
                    </a:lnTo>
                    <a:lnTo>
                      <a:pt x="548" y="309"/>
                    </a:lnTo>
                    <a:lnTo>
                      <a:pt x="550" y="307"/>
                    </a:lnTo>
                    <a:lnTo>
                      <a:pt x="548" y="306"/>
                    </a:lnTo>
                    <a:lnTo>
                      <a:pt x="549" y="306"/>
                    </a:lnTo>
                    <a:lnTo>
                      <a:pt x="548" y="305"/>
                    </a:lnTo>
                    <a:lnTo>
                      <a:pt x="549" y="303"/>
                    </a:lnTo>
                    <a:lnTo>
                      <a:pt x="552" y="303"/>
                    </a:lnTo>
                    <a:lnTo>
                      <a:pt x="555" y="302"/>
                    </a:lnTo>
                    <a:lnTo>
                      <a:pt x="556" y="299"/>
                    </a:lnTo>
                    <a:lnTo>
                      <a:pt x="554" y="298"/>
                    </a:lnTo>
                    <a:lnTo>
                      <a:pt x="555" y="295"/>
                    </a:lnTo>
                    <a:lnTo>
                      <a:pt x="554" y="295"/>
                    </a:lnTo>
                    <a:lnTo>
                      <a:pt x="554" y="294"/>
                    </a:lnTo>
                    <a:lnTo>
                      <a:pt x="557" y="294"/>
                    </a:lnTo>
                    <a:lnTo>
                      <a:pt x="558" y="295"/>
                    </a:lnTo>
                    <a:lnTo>
                      <a:pt x="559" y="291"/>
                    </a:lnTo>
                    <a:lnTo>
                      <a:pt x="557" y="289"/>
                    </a:lnTo>
                    <a:lnTo>
                      <a:pt x="558" y="287"/>
                    </a:lnTo>
                    <a:lnTo>
                      <a:pt x="562" y="289"/>
                    </a:lnTo>
                    <a:lnTo>
                      <a:pt x="565" y="289"/>
                    </a:lnTo>
                    <a:lnTo>
                      <a:pt x="565" y="290"/>
                    </a:lnTo>
                    <a:lnTo>
                      <a:pt x="566" y="289"/>
                    </a:lnTo>
                    <a:lnTo>
                      <a:pt x="567" y="290"/>
                    </a:lnTo>
                    <a:lnTo>
                      <a:pt x="569" y="290"/>
                    </a:lnTo>
                    <a:lnTo>
                      <a:pt x="570" y="289"/>
                    </a:lnTo>
                    <a:lnTo>
                      <a:pt x="570" y="287"/>
                    </a:lnTo>
                    <a:lnTo>
                      <a:pt x="569" y="284"/>
                    </a:lnTo>
                    <a:lnTo>
                      <a:pt x="572" y="28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9" name="Freeform 73">
                <a:extLst>
                  <a:ext uri="{FF2B5EF4-FFF2-40B4-BE49-F238E27FC236}">
                    <a16:creationId xmlns:a16="http://schemas.microsoft.com/office/drawing/2014/main" id="{872518A7-F472-0FE6-3735-8BAEB58CE5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3" y="3367"/>
                <a:ext cx="572" cy="484"/>
              </a:xfrm>
              <a:custGeom>
                <a:avLst/>
                <a:gdLst>
                  <a:gd name="T0" fmla="*/ 557 w 572"/>
                  <a:gd name="T1" fmla="*/ 259 h 484"/>
                  <a:gd name="T2" fmla="*/ 527 w 572"/>
                  <a:gd name="T3" fmla="*/ 257 h 484"/>
                  <a:gd name="T4" fmla="*/ 507 w 572"/>
                  <a:gd name="T5" fmla="*/ 242 h 484"/>
                  <a:gd name="T6" fmla="*/ 497 w 572"/>
                  <a:gd name="T7" fmla="*/ 214 h 484"/>
                  <a:gd name="T8" fmla="*/ 467 w 572"/>
                  <a:gd name="T9" fmla="*/ 200 h 484"/>
                  <a:gd name="T10" fmla="*/ 443 w 572"/>
                  <a:gd name="T11" fmla="*/ 189 h 484"/>
                  <a:gd name="T12" fmla="*/ 418 w 572"/>
                  <a:gd name="T13" fmla="*/ 168 h 484"/>
                  <a:gd name="T14" fmla="*/ 395 w 572"/>
                  <a:gd name="T15" fmla="*/ 140 h 484"/>
                  <a:gd name="T16" fmla="*/ 394 w 572"/>
                  <a:gd name="T17" fmla="*/ 113 h 484"/>
                  <a:gd name="T18" fmla="*/ 407 w 572"/>
                  <a:gd name="T19" fmla="*/ 79 h 484"/>
                  <a:gd name="T20" fmla="*/ 410 w 572"/>
                  <a:gd name="T21" fmla="*/ 54 h 484"/>
                  <a:gd name="T22" fmla="*/ 401 w 572"/>
                  <a:gd name="T23" fmla="*/ 32 h 484"/>
                  <a:gd name="T24" fmla="*/ 391 w 572"/>
                  <a:gd name="T25" fmla="*/ 24 h 484"/>
                  <a:gd name="T26" fmla="*/ 365 w 572"/>
                  <a:gd name="T27" fmla="*/ 14 h 484"/>
                  <a:gd name="T28" fmla="*/ 360 w 572"/>
                  <a:gd name="T29" fmla="*/ 29 h 484"/>
                  <a:gd name="T30" fmla="*/ 344 w 572"/>
                  <a:gd name="T31" fmla="*/ 39 h 484"/>
                  <a:gd name="T32" fmla="*/ 315 w 572"/>
                  <a:gd name="T33" fmla="*/ 39 h 484"/>
                  <a:gd name="T34" fmla="*/ 308 w 572"/>
                  <a:gd name="T35" fmla="*/ 34 h 484"/>
                  <a:gd name="T36" fmla="*/ 288 w 572"/>
                  <a:gd name="T37" fmla="*/ 31 h 484"/>
                  <a:gd name="T38" fmla="*/ 271 w 572"/>
                  <a:gd name="T39" fmla="*/ 22 h 484"/>
                  <a:gd name="T40" fmla="*/ 262 w 572"/>
                  <a:gd name="T41" fmla="*/ 26 h 484"/>
                  <a:gd name="T42" fmla="*/ 250 w 572"/>
                  <a:gd name="T43" fmla="*/ 21 h 484"/>
                  <a:gd name="T44" fmla="*/ 225 w 572"/>
                  <a:gd name="T45" fmla="*/ 6 h 484"/>
                  <a:gd name="T46" fmla="*/ 205 w 572"/>
                  <a:gd name="T47" fmla="*/ 17 h 484"/>
                  <a:gd name="T48" fmla="*/ 179 w 572"/>
                  <a:gd name="T49" fmla="*/ 16 h 484"/>
                  <a:gd name="T50" fmla="*/ 163 w 572"/>
                  <a:gd name="T51" fmla="*/ 6 h 484"/>
                  <a:gd name="T52" fmla="*/ 154 w 572"/>
                  <a:gd name="T53" fmla="*/ 16 h 484"/>
                  <a:gd name="T54" fmla="*/ 131 w 572"/>
                  <a:gd name="T55" fmla="*/ 15 h 484"/>
                  <a:gd name="T56" fmla="*/ 113 w 572"/>
                  <a:gd name="T57" fmla="*/ 10 h 484"/>
                  <a:gd name="T58" fmla="*/ 90 w 572"/>
                  <a:gd name="T59" fmla="*/ 17 h 484"/>
                  <a:gd name="T60" fmla="*/ 91 w 572"/>
                  <a:gd name="T61" fmla="*/ 32 h 484"/>
                  <a:gd name="T62" fmla="*/ 92 w 572"/>
                  <a:gd name="T63" fmla="*/ 49 h 484"/>
                  <a:gd name="T64" fmla="*/ 89 w 572"/>
                  <a:gd name="T65" fmla="*/ 74 h 484"/>
                  <a:gd name="T66" fmla="*/ 84 w 572"/>
                  <a:gd name="T67" fmla="*/ 98 h 484"/>
                  <a:gd name="T68" fmla="*/ 62 w 572"/>
                  <a:gd name="T69" fmla="*/ 116 h 484"/>
                  <a:gd name="T70" fmla="*/ 58 w 572"/>
                  <a:gd name="T71" fmla="*/ 138 h 484"/>
                  <a:gd name="T72" fmla="*/ 52 w 572"/>
                  <a:gd name="T73" fmla="*/ 168 h 484"/>
                  <a:gd name="T74" fmla="*/ 34 w 572"/>
                  <a:gd name="T75" fmla="*/ 177 h 484"/>
                  <a:gd name="T76" fmla="*/ 20 w 572"/>
                  <a:gd name="T77" fmla="*/ 196 h 484"/>
                  <a:gd name="T78" fmla="*/ 0 w 572"/>
                  <a:gd name="T79" fmla="*/ 245 h 484"/>
                  <a:gd name="T80" fmla="*/ 24 w 572"/>
                  <a:gd name="T81" fmla="*/ 282 h 484"/>
                  <a:gd name="T82" fmla="*/ 57 w 572"/>
                  <a:gd name="T83" fmla="*/ 328 h 484"/>
                  <a:gd name="T84" fmla="*/ 97 w 572"/>
                  <a:gd name="T85" fmla="*/ 386 h 484"/>
                  <a:gd name="T86" fmla="*/ 125 w 572"/>
                  <a:gd name="T87" fmla="*/ 414 h 484"/>
                  <a:gd name="T88" fmla="*/ 119 w 572"/>
                  <a:gd name="T89" fmla="*/ 447 h 484"/>
                  <a:gd name="T90" fmla="*/ 155 w 572"/>
                  <a:gd name="T91" fmla="*/ 457 h 484"/>
                  <a:gd name="T92" fmla="*/ 208 w 572"/>
                  <a:gd name="T93" fmla="*/ 477 h 484"/>
                  <a:gd name="T94" fmla="*/ 229 w 572"/>
                  <a:gd name="T95" fmla="*/ 444 h 484"/>
                  <a:gd name="T96" fmla="*/ 260 w 572"/>
                  <a:gd name="T97" fmla="*/ 468 h 484"/>
                  <a:gd name="T98" fmla="*/ 299 w 572"/>
                  <a:gd name="T99" fmla="*/ 482 h 484"/>
                  <a:gd name="T100" fmla="*/ 332 w 572"/>
                  <a:gd name="T101" fmla="*/ 418 h 484"/>
                  <a:gd name="T102" fmla="*/ 356 w 572"/>
                  <a:gd name="T103" fmla="*/ 399 h 484"/>
                  <a:gd name="T104" fmla="*/ 379 w 572"/>
                  <a:gd name="T105" fmla="*/ 397 h 484"/>
                  <a:gd name="T106" fmla="*/ 395 w 572"/>
                  <a:gd name="T107" fmla="*/ 340 h 484"/>
                  <a:gd name="T108" fmla="*/ 403 w 572"/>
                  <a:gd name="T109" fmla="*/ 295 h 484"/>
                  <a:gd name="T110" fmla="*/ 444 w 572"/>
                  <a:gd name="T111" fmla="*/ 311 h 484"/>
                  <a:gd name="T112" fmla="*/ 462 w 572"/>
                  <a:gd name="T113" fmla="*/ 329 h 484"/>
                  <a:gd name="T114" fmla="*/ 497 w 572"/>
                  <a:gd name="T115" fmla="*/ 322 h 484"/>
                  <a:gd name="T116" fmla="*/ 550 w 572"/>
                  <a:gd name="T117" fmla="*/ 358 h 484"/>
                  <a:gd name="T118" fmla="*/ 560 w 572"/>
                  <a:gd name="T119" fmla="*/ 348 h 484"/>
                  <a:gd name="T120" fmla="*/ 535 w 572"/>
                  <a:gd name="T121" fmla="*/ 322 h 484"/>
                  <a:gd name="T122" fmla="*/ 556 w 572"/>
                  <a:gd name="T123" fmla="*/ 299 h 484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72"/>
                  <a:gd name="T187" fmla="*/ 0 h 484"/>
                  <a:gd name="T188" fmla="*/ 572 w 572"/>
                  <a:gd name="T189" fmla="*/ 484 h 484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72" h="484">
                    <a:moveTo>
                      <a:pt x="572" y="284"/>
                    </a:moveTo>
                    <a:lnTo>
                      <a:pt x="567" y="277"/>
                    </a:lnTo>
                    <a:lnTo>
                      <a:pt x="568" y="276"/>
                    </a:lnTo>
                    <a:lnTo>
                      <a:pt x="570" y="276"/>
                    </a:lnTo>
                    <a:lnTo>
                      <a:pt x="570" y="274"/>
                    </a:lnTo>
                    <a:lnTo>
                      <a:pt x="567" y="273"/>
                    </a:lnTo>
                    <a:lnTo>
                      <a:pt x="565" y="274"/>
                    </a:lnTo>
                    <a:lnTo>
                      <a:pt x="566" y="274"/>
                    </a:lnTo>
                    <a:lnTo>
                      <a:pt x="565" y="275"/>
                    </a:lnTo>
                    <a:lnTo>
                      <a:pt x="562" y="271"/>
                    </a:lnTo>
                    <a:lnTo>
                      <a:pt x="561" y="269"/>
                    </a:lnTo>
                    <a:lnTo>
                      <a:pt x="562" y="268"/>
                    </a:lnTo>
                    <a:lnTo>
                      <a:pt x="565" y="268"/>
                    </a:lnTo>
                    <a:lnTo>
                      <a:pt x="565" y="269"/>
                    </a:lnTo>
                    <a:lnTo>
                      <a:pt x="565" y="267"/>
                    </a:lnTo>
                    <a:lnTo>
                      <a:pt x="565" y="263"/>
                    </a:lnTo>
                    <a:lnTo>
                      <a:pt x="562" y="261"/>
                    </a:lnTo>
                    <a:lnTo>
                      <a:pt x="561" y="264"/>
                    </a:lnTo>
                    <a:lnTo>
                      <a:pt x="562" y="261"/>
                    </a:lnTo>
                    <a:lnTo>
                      <a:pt x="559" y="259"/>
                    </a:lnTo>
                    <a:lnTo>
                      <a:pt x="558" y="259"/>
                    </a:lnTo>
                    <a:lnTo>
                      <a:pt x="557" y="259"/>
                    </a:lnTo>
                    <a:lnTo>
                      <a:pt x="556" y="261"/>
                    </a:lnTo>
                    <a:lnTo>
                      <a:pt x="557" y="263"/>
                    </a:lnTo>
                    <a:lnTo>
                      <a:pt x="556" y="264"/>
                    </a:lnTo>
                    <a:lnTo>
                      <a:pt x="554" y="264"/>
                    </a:lnTo>
                    <a:lnTo>
                      <a:pt x="554" y="263"/>
                    </a:lnTo>
                    <a:lnTo>
                      <a:pt x="553" y="261"/>
                    </a:lnTo>
                    <a:lnTo>
                      <a:pt x="550" y="260"/>
                    </a:lnTo>
                    <a:lnTo>
                      <a:pt x="549" y="261"/>
                    </a:lnTo>
                    <a:lnTo>
                      <a:pt x="546" y="265"/>
                    </a:lnTo>
                    <a:lnTo>
                      <a:pt x="544" y="264"/>
                    </a:lnTo>
                    <a:lnTo>
                      <a:pt x="542" y="264"/>
                    </a:lnTo>
                    <a:lnTo>
                      <a:pt x="537" y="262"/>
                    </a:lnTo>
                    <a:lnTo>
                      <a:pt x="537" y="264"/>
                    </a:lnTo>
                    <a:lnTo>
                      <a:pt x="536" y="263"/>
                    </a:lnTo>
                    <a:lnTo>
                      <a:pt x="535" y="264"/>
                    </a:lnTo>
                    <a:lnTo>
                      <a:pt x="535" y="262"/>
                    </a:lnTo>
                    <a:lnTo>
                      <a:pt x="534" y="262"/>
                    </a:lnTo>
                    <a:lnTo>
                      <a:pt x="532" y="257"/>
                    </a:lnTo>
                    <a:lnTo>
                      <a:pt x="531" y="256"/>
                    </a:lnTo>
                    <a:lnTo>
                      <a:pt x="529" y="256"/>
                    </a:lnTo>
                    <a:lnTo>
                      <a:pt x="528" y="257"/>
                    </a:lnTo>
                    <a:lnTo>
                      <a:pt x="527" y="257"/>
                    </a:lnTo>
                    <a:lnTo>
                      <a:pt x="526" y="261"/>
                    </a:lnTo>
                    <a:lnTo>
                      <a:pt x="524" y="263"/>
                    </a:lnTo>
                    <a:lnTo>
                      <a:pt x="524" y="262"/>
                    </a:lnTo>
                    <a:lnTo>
                      <a:pt x="524" y="259"/>
                    </a:lnTo>
                    <a:lnTo>
                      <a:pt x="521" y="257"/>
                    </a:lnTo>
                    <a:lnTo>
                      <a:pt x="520" y="255"/>
                    </a:lnTo>
                    <a:lnTo>
                      <a:pt x="518" y="254"/>
                    </a:lnTo>
                    <a:lnTo>
                      <a:pt x="517" y="254"/>
                    </a:lnTo>
                    <a:lnTo>
                      <a:pt x="516" y="254"/>
                    </a:lnTo>
                    <a:lnTo>
                      <a:pt x="513" y="251"/>
                    </a:lnTo>
                    <a:lnTo>
                      <a:pt x="514" y="250"/>
                    </a:lnTo>
                    <a:lnTo>
                      <a:pt x="513" y="247"/>
                    </a:lnTo>
                    <a:lnTo>
                      <a:pt x="512" y="245"/>
                    </a:lnTo>
                    <a:lnTo>
                      <a:pt x="511" y="246"/>
                    </a:lnTo>
                    <a:lnTo>
                      <a:pt x="509" y="244"/>
                    </a:lnTo>
                    <a:lnTo>
                      <a:pt x="510" y="242"/>
                    </a:lnTo>
                    <a:lnTo>
                      <a:pt x="509" y="242"/>
                    </a:lnTo>
                    <a:lnTo>
                      <a:pt x="508" y="242"/>
                    </a:lnTo>
                    <a:lnTo>
                      <a:pt x="508" y="244"/>
                    </a:lnTo>
                    <a:lnTo>
                      <a:pt x="507" y="244"/>
                    </a:lnTo>
                    <a:lnTo>
                      <a:pt x="507" y="242"/>
                    </a:lnTo>
                    <a:lnTo>
                      <a:pt x="506" y="239"/>
                    </a:lnTo>
                    <a:lnTo>
                      <a:pt x="506" y="237"/>
                    </a:lnTo>
                    <a:lnTo>
                      <a:pt x="504" y="237"/>
                    </a:lnTo>
                    <a:lnTo>
                      <a:pt x="503" y="237"/>
                    </a:lnTo>
                    <a:lnTo>
                      <a:pt x="505" y="234"/>
                    </a:lnTo>
                    <a:lnTo>
                      <a:pt x="505" y="231"/>
                    </a:lnTo>
                    <a:lnTo>
                      <a:pt x="507" y="229"/>
                    </a:lnTo>
                    <a:lnTo>
                      <a:pt x="507" y="227"/>
                    </a:lnTo>
                    <a:lnTo>
                      <a:pt x="509" y="225"/>
                    </a:lnTo>
                    <a:lnTo>
                      <a:pt x="508" y="224"/>
                    </a:lnTo>
                    <a:lnTo>
                      <a:pt x="508" y="223"/>
                    </a:lnTo>
                    <a:lnTo>
                      <a:pt x="508" y="221"/>
                    </a:lnTo>
                    <a:lnTo>
                      <a:pt x="508" y="217"/>
                    </a:lnTo>
                    <a:lnTo>
                      <a:pt x="508" y="214"/>
                    </a:lnTo>
                    <a:lnTo>
                      <a:pt x="507" y="213"/>
                    </a:lnTo>
                    <a:lnTo>
                      <a:pt x="504" y="212"/>
                    </a:lnTo>
                    <a:lnTo>
                      <a:pt x="503" y="212"/>
                    </a:lnTo>
                    <a:lnTo>
                      <a:pt x="502" y="212"/>
                    </a:lnTo>
                    <a:lnTo>
                      <a:pt x="501" y="211"/>
                    </a:lnTo>
                    <a:lnTo>
                      <a:pt x="499" y="211"/>
                    </a:lnTo>
                    <a:lnTo>
                      <a:pt x="499" y="213"/>
                    </a:lnTo>
                    <a:lnTo>
                      <a:pt x="497" y="214"/>
                    </a:lnTo>
                    <a:lnTo>
                      <a:pt x="494" y="211"/>
                    </a:lnTo>
                    <a:lnTo>
                      <a:pt x="491" y="211"/>
                    </a:lnTo>
                    <a:lnTo>
                      <a:pt x="490" y="213"/>
                    </a:lnTo>
                    <a:lnTo>
                      <a:pt x="488" y="214"/>
                    </a:lnTo>
                    <a:lnTo>
                      <a:pt x="487" y="212"/>
                    </a:lnTo>
                    <a:lnTo>
                      <a:pt x="486" y="212"/>
                    </a:lnTo>
                    <a:lnTo>
                      <a:pt x="484" y="213"/>
                    </a:lnTo>
                    <a:lnTo>
                      <a:pt x="484" y="214"/>
                    </a:lnTo>
                    <a:lnTo>
                      <a:pt x="482" y="215"/>
                    </a:lnTo>
                    <a:lnTo>
                      <a:pt x="483" y="212"/>
                    </a:lnTo>
                    <a:lnTo>
                      <a:pt x="484" y="210"/>
                    </a:lnTo>
                    <a:lnTo>
                      <a:pt x="480" y="206"/>
                    </a:lnTo>
                    <a:lnTo>
                      <a:pt x="480" y="207"/>
                    </a:lnTo>
                    <a:lnTo>
                      <a:pt x="478" y="206"/>
                    </a:lnTo>
                    <a:lnTo>
                      <a:pt x="477" y="206"/>
                    </a:lnTo>
                    <a:lnTo>
                      <a:pt x="474" y="203"/>
                    </a:lnTo>
                    <a:lnTo>
                      <a:pt x="471" y="203"/>
                    </a:lnTo>
                    <a:lnTo>
                      <a:pt x="470" y="204"/>
                    </a:lnTo>
                    <a:lnTo>
                      <a:pt x="469" y="199"/>
                    </a:lnTo>
                    <a:lnTo>
                      <a:pt x="467" y="199"/>
                    </a:lnTo>
                    <a:lnTo>
                      <a:pt x="467" y="200"/>
                    </a:lnTo>
                    <a:lnTo>
                      <a:pt x="462" y="205"/>
                    </a:lnTo>
                    <a:lnTo>
                      <a:pt x="459" y="206"/>
                    </a:lnTo>
                    <a:lnTo>
                      <a:pt x="458" y="206"/>
                    </a:lnTo>
                    <a:lnTo>
                      <a:pt x="455" y="204"/>
                    </a:lnTo>
                    <a:lnTo>
                      <a:pt x="452" y="203"/>
                    </a:lnTo>
                    <a:lnTo>
                      <a:pt x="453" y="202"/>
                    </a:lnTo>
                    <a:lnTo>
                      <a:pt x="452" y="198"/>
                    </a:lnTo>
                    <a:lnTo>
                      <a:pt x="453" y="197"/>
                    </a:lnTo>
                    <a:lnTo>
                      <a:pt x="452" y="196"/>
                    </a:lnTo>
                    <a:lnTo>
                      <a:pt x="451" y="193"/>
                    </a:lnTo>
                    <a:lnTo>
                      <a:pt x="450" y="193"/>
                    </a:lnTo>
                    <a:lnTo>
                      <a:pt x="449" y="191"/>
                    </a:lnTo>
                    <a:lnTo>
                      <a:pt x="448" y="190"/>
                    </a:lnTo>
                    <a:lnTo>
                      <a:pt x="444" y="190"/>
                    </a:lnTo>
                    <a:lnTo>
                      <a:pt x="442" y="193"/>
                    </a:lnTo>
                    <a:lnTo>
                      <a:pt x="440" y="190"/>
                    </a:lnTo>
                    <a:lnTo>
                      <a:pt x="438" y="190"/>
                    </a:lnTo>
                    <a:lnTo>
                      <a:pt x="436" y="187"/>
                    </a:lnTo>
                    <a:lnTo>
                      <a:pt x="437" y="187"/>
                    </a:lnTo>
                    <a:lnTo>
                      <a:pt x="438" y="187"/>
                    </a:lnTo>
                    <a:lnTo>
                      <a:pt x="443" y="189"/>
                    </a:lnTo>
                    <a:lnTo>
                      <a:pt x="444" y="187"/>
                    </a:lnTo>
                    <a:lnTo>
                      <a:pt x="442" y="184"/>
                    </a:lnTo>
                    <a:lnTo>
                      <a:pt x="444" y="183"/>
                    </a:lnTo>
                    <a:lnTo>
                      <a:pt x="445" y="180"/>
                    </a:lnTo>
                    <a:lnTo>
                      <a:pt x="439" y="177"/>
                    </a:lnTo>
                    <a:lnTo>
                      <a:pt x="436" y="176"/>
                    </a:lnTo>
                    <a:lnTo>
                      <a:pt x="435" y="177"/>
                    </a:lnTo>
                    <a:lnTo>
                      <a:pt x="433" y="176"/>
                    </a:lnTo>
                    <a:lnTo>
                      <a:pt x="434" y="176"/>
                    </a:lnTo>
                    <a:lnTo>
                      <a:pt x="431" y="173"/>
                    </a:lnTo>
                    <a:lnTo>
                      <a:pt x="430" y="171"/>
                    </a:lnTo>
                    <a:lnTo>
                      <a:pt x="429" y="167"/>
                    </a:lnTo>
                    <a:lnTo>
                      <a:pt x="427" y="167"/>
                    </a:lnTo>
                    <a:lnTo>
                      <a:pt x="428" y="165"/>
                    </a:lnTo>
                    <a:lnTo>
                      <a:pt x="427" y="165"/>
                    </a:lnTo>
                    <a:lnTo>
                      <a:pt x="426" y="164"/>
                    </a:lnTo>
                    <a:lnTo>
                      <a:pt x="424" y="165"/>
                    </a:lnTo>
                    <a:lnTo>
                      <a:pt x="423" y="166"/>
                    </a:lnTo>
                    <a:lnTo>
                      <a:pt x="422" y="166"/>
                    </a:lnTo>
                    <a:lnTo>
                      <a:pt x="420" y="167"/>
                    </a:lnTo>
                    <a:lnTo>
                      <a:pt x="418" y="168"/>
                    </a:lnTo>
                    <a:lnTo>
                      <a:pt x="415" y="172"/>
                    </a:lnTo>
                    <a:lnTo>
                      <a:pt x="412" y="171"/>
                    </a:lnTo>
                    <a:lnTo>
                      <a:pt x="412" y="170"/>
                    </a:lnTo>
                    <a:lnTo>
                      <a:pt x="411" y="170"/>
                    </a:lnTo>
                    <a:lnTo>
                      <a:pt x="411" y="169"/>
                    </a:lnTo>
                    <a:lnTo>
                      <a:pt x="410" y="166"/>
                    </a:lnTo>
                    <a:lnTo>
                      <a:pt x="407" y="163"/>
                    </a:lnTo>
                    <a:lnTo>
                      <a:pt x="406" y="163"/>
                    </a:lnTo>
                    <a:lnTo>
                      <a:pt x="404" y="160"/>
                    </a:lnTo>
                    <a:lnTo>
                      <a:pt x="405" y="158"/>
                    </a:lnTo>
                    <a:lnTo>
                      <a:pt x="403" y="157"/>
                    </a:lnTo>
                    <a:lnTo>
                      <a:pt x="403" y="156"/>
                    </a:lnTo>
                    <a:lnTo>
                      <a:pt x="401" y="155"/>
                    </a:lnTo>
                    <a:lnTo>
                      <a:pt x="398" y="153"/>
                    </a:lnTo>
                    <a:lnTo>
                      <a:pt x="400" y="150"/>
                    </a:lnTo>
                    <a:lnTo>
                      <a:pt x="400" y="149"/>
                    </a:lnTo>
                    <a:lnTo>
                      <a:pt x="397" y="148"/>
                    </a:lnTo>
                    <a:lnTo>
                      <a:pt x="395" y="144"/>
                    </a:lnTo>
                    <a:lnTo>
                      <a:pt x="394" y="142"/>
                    </a:lnTo>
                    <a:lnTo>
                      <a:pt x="394" y="141"/>
                    </a:lnTo>
                    <a:lnTo>
                      <a:pt x="395" y="140"/>
                    </a:lnTo>
                    <a:lnTo>
                      <a:pt x="395" y="139"/>
                    </a:lnTo>
                    <a:lnTo>
                      <a:pt x="397" y="139"/>
                    </a:lnTo>
                    <a:lnTo>
                      <a:pt x="397" y="136"/>
                    </a:lnTo>
                    <a:lnTo>
                      <a:pt x="398" y="137"/>
                    </a:lnTo>
                    <a:lnTo>
                      <a:pt x="400" y="135"/>
                    </a:lnTo>
                    <a:lnTo>
                      <a:pt x="401" y="134"/>
                    </a:lnTo>
                    <a:lnTo>
                      <a:pt x="402" y="135"/>
                    </a:lnTo>
                    <a:lnTo>
                      <a:pt x="403" y="132"/>
                    </a:lnTo>
                    <a:lnTo>
                      <a:pt x="401" y="133"/>
                    </a:lnTo>
                    <a:lnTo>
                      <a:pt x="401" y="129"/>
                    </a:lnTo>
                    <a:lnTo>
                      <a:pt x="400" y="126"/>
                    </a:lnTo>
                    <a:lnTo>
                      <a:pt x="397" y="125"/>
                    </a:lnTo>
                    <a:lnTo>
                      <a:pt x="393" y="123"/>
                    </a:lnTo>
                    <a:lnTo>
                      <a:pt x="392" y="122"/>
                    </a:lnTo>
                    <a:lnTo>
                      <a:pt x="393" y="120"/>
                    </a:lnTo>
                    <a:lnTo>
                      <a:pt x="393" y="119"/>
                    </a:lnTo>
                    <a:lnTo>
                      <a:pt x="393" y="118"/>
                    </a:lnTo>
                    <a:lnTo>
                      <a:pt x="393" y="116"/>
                    </a:lnTo>
                    <a:lnTo>
                      <a:pt x="395" y="116"/>
                    </a:lnTo>
                    <a:lnTo>
                      <a:pt x="393" y="115"/>
                    </a:lnTo>
                    <a:lnTo>
                      <a:pt x="394" y="113"/>
                    </a:lnTo>
                    <a:lnTo>
                      <a:pt x="395" y="113"/>
                    </a:lnTo>
                    <a:lnTo>
                      <a:pt x="397" y="113"/>
                    </a:lnTo>
                    <a:lnTo>
                      <a:pt x="397" y="111"/>
                    </a:lnTo>
                    <a:lnTo>
                      <a:pt x="397" y="109"/>
                    </a:lnTo>
                    <a:lnTo>
                      <a:pt x="398" y="108"/>
                    </a:lnTo>
                    <a:lnTo>
                      <a:pt x="398" y="105"/>
                    </a:lnTo>
                    <a:lnTo>
                      <a:pt x="399" y="105"/>
                    </a:lnTo>
                    <a:lnTo>
                      <a:pt x="399" y="102"/>
                    </a:lnTo>
                    <a:lnTo>
                      <a:pt x="401" y="102"/>
                    </a:lnTo>
                    <a:lnTo>
                      <a:pt x="402" y="99"/>
                    </a:lnTo>
                    <a:lnTo>
                      <a:pt x="401" y="99"/>
                    </a:lnTo>
                    <a:lnTo>
                      <a:pt x="400" y="100"/>
                    </a:lnTo>
                    <a:lnTo>
                      <a:pt x="398" y="100"/>
                    </a:lnTo>
                    <a:lnTo>
                      <a:pt x="398" y="99"/>
                    </a:lnTo>
                    <a:lnTo>
                      <a:pt x="398" y="98"/>
                    </a:lnTo>
                    <a:lnTo>
                      <a:pt x="400" y="98"/>
                    </a:lnTo>
                    <a:lnTo>
                      <a:pt x="402" y="95"/>
                    </a:lnTo>
                    <a:lnTo>
                      <a:pt x="402" y="91"/>
                    </a:lnTo>
                    <a:lnTo>
                      <a:pt x="403" y="89"/>
                    </a:lnTo>
                    <a:lnTo>
                      <a:pt x="406" y="89"/>
                    </a:lnTo>
                    <a:lnTo>
                      <a:pt x="407" y="80"/>
                    </a:lnTo>
                    <a:lnTo>
                      <a:pt x="407" y="79"/>
                    </a:lnTo>
                    <a:lnTo>
                      <a:pt x="406" y="78"/>
                    </a:lnTo>
                    <a:lnTo>
                      <a:pt x="406" y="76"/>
                    </a:lnTo>
                    <a:lnTo>
                      <a:pt x="407" y="75"/>
                    </a:lnTo>
                    <a:lnTo>
                      <a:pt x="409" y="73"/>
                    </a:lnTo>
                    <a:lnTo>
                      <a:pt x="410" y="72"/>
                    </a:lnTo>
                    <a:lnTo>
                      <a:pt x="409" y="70"/>
                    </a:lnTo>
                    <a:lnTo>
                      <a:pt x="410" y="67"/>
                    </a:lnTo>
                    <a:lnTo>
                      <a:pt x="409" y="66"/>
                    </a:lnTo>
                    <a:lnTo>
                      <a:pt x="409" y="65"/>
                    </a:lnTo>
                    <a:lnTo>
                      <a:pt x="410" y="65"/>
                    </a:lnTo>
                    <a:lnTo>
                      <a:pt x="407" y="62"/>
                    </a:lnTo>
                    <a:lnTo>
                      <a:pt x="407" y="61"/>
                    </a:lnTo>
                    <a:lnTo>
                      <a:pt x="407" y="59"/>
                    </a:lnTo>
                    <a:lnTo>
                      <a:pt x="406" y="59"/>
                    </a:lnTo>
                    <a:lnTo>
                      <a:pt x="403" y="57"/>
                    </a:lnTo>
                    <a:lnTo>
                      <a:pt x="404" y="55"/>
                    </a:lnTo>
                    <a:lnTo>
                      <a:pt x="406" y="53"/>
                    </a:lnTo>
                    <a:lnTo>
                      <a:pt x="407" y="54"/>
                    </a:lnTo>
                    <a:lnTo>
                      <a:pt x="407" y="53"/>
                    </a:lnTo>
                    <a:lnTo>
                      <a:pt x="409" y="54"/>
                    </a:lnTo>
                    <a:lnTo>
                      <a:pt x="410" y="54"/>
                    </a:lnTo>
                    <a:lnTo>
                      <a:pt x="413" y="55"/>
                    </a:lnTo>
                    <a:lnTo>
                      <a:pt x="415" y="54"/>
                    </a:lnTo>
                    <a:lnTo>
                      <a:pt x="415" y="53"/>
                    </a:lnTo>
                    <a:lnTo>
                      <a:pt x="414" y="51"/>
                    </a:lnTo>
                    <a:lnTo>
                      <a:pt x="414" y="48"/>
                    </a:lnTo>
                    <a:lnTo>
                      <a:pt x="412" y="45"/>
                    </a:lnTo>
                    <a:lnTo>
                      <a:pt x="412" y="44"/>
                    </a:lnTo>
                    <a:lnTo>
                      <a:pt x="414" y="42"/>
                    </a:lnTo>
                    <a:lnTo>
                      <a:pt x="412" y="42"/>
                    </a:lnTo>
                    <a:lnTo>
                      <a:pt x="411" y="44"/>
                    </a:lnTo>
                    <a:lnTo>
                      <a:pt x="410" y="44"/>
                    </a:lnTo>
                    <a:lnTo>
                      <a:pt x="409" y="42"/>
                    </a:lnTo>
                    <a:lnTo>
                      <a:pt x="407" y="44"/>
                    </a:lnTo>
                    <a:lnTo>
                      <a:pt x="406" y="44"/>
                    </a:lnTo>
                    <a:lnTo>
                      <a:pt x="405" y="41"/>
                    </a:lnTo>
                    <a:lnTo>
                      <a:pt x="402" y="38"/>
                    </a:lnTo>
                    <a:lnTo>
                      <a:pt x="404" y="37"/>
                    </a:lnTo>
                    <a:lnTo>
                      <a:pt x="402" y="36"/>
                    </a:lnTo>
                    <a:lnTo>
                      <a:pt x="402" y="34"/>
                    </a:lnTo>
                    <a:lnTo>
                      <a:pt x="402" y="33"/>
                    </a:lnTo>
                    <a:lnTo>
                      <a:pt x="401" y="32"/>
                    </a:lnTo>
                    <a:lnTo>
                      <a:pt x="401" y="28"/>
                    </a:lnTo>
                    <a:lnTo>
                      <a:pt x="399" y="29"/>
                    </a:lnTo>
                    <a:lnTo>
                      <a:pt x="400" y="28"/>
                    </a:lnTo>
                    <a:lnTo>
                      <a:pt x="400" y="27"/>
                    </a:lnTo>
                    <a:lnTo>
                      <a:pt x="399" y="27"/>
                    </a:lnTo>
                    <a:lnTo>
                      <a:pt x="400" y="26"/>
                    </a:lnTo>
                    <a:lnTo>
                      <a:pt x="400" y="24"/>
                    </a:lnTo>
                    <a:lnTo>
                      <a:pt x="398" y="23"/>
                    </a:lnTo>
                    <a:lnTo>
                      <a:pt x="399" y="23"/>
                    </a:lnTo>
                    <a:lnTo>
                      <a:pt x="401" y="23"/>
                    </a:lnTo>
                    <a:lnTo>
                      <a:pt x="398" y="21"/>
                    </a:lnTo>
                    <a:lnTo>
                      <a:pt x="398" y="20"/>
                    </a:lnTo>
                    <a:lnTo>
                      <a:pt x="397" y="22"/>
                    </a:lnTo>
                    <a:lnTo>
                      <a:pt x="396" y="22"/>
                    </a:lnTo>
                    <a:lnTo>
                      <a:pt x="395" y="21"/>
                    </a:lnTo>
                    <a:lnTo>
                      <a:pt x="394" y="21"/>
                    </a:lnTo>
                    <a:lnTo>
                      <a:pt x="392" y="25"/>
                    </a:lnTo>
                    <a:lnTo>
                      <a:pt x="393" y="26"/>
                    </a:lnTo>
                    <a:lnTo>
                      <a:pt x="392" y="27"/>
                    </a:lnTo>
                    <a:lnTo>
                      <a:pt x="391" y="26"/>
                    </a:lnTo>
                    <a:lnTo>
                      <a:pt x="391" y="24"/>
                    </a:lnTo>
                    <a:lnTo>
                      <a:pt x="390" y="22"/>
                    </a:lnTo>
                    <a:lnTo>
                      <a:pt x="389" y="22"/>
                    </a:lnTo>
                    <a:lnTo>
                      <a:pt x="387" y="21"/>
                    </a:lnTo>
                    <a:lnTo>
                      <a:pt x="385" y="17"/>
                    </a:lnTo>
                    <a:lnTo>
                      <a:pt x="384" y="13"/>
                    </a:lnTo>
                    <a:lnTo>
                      <a:pt x="382" y="13"/>
                    </a:lnTo>
                    <a:lnTo>
                      <a:pt x="376" y="10"/>
                    </a:lnTo>
                    <a:lnTo>
                      <a:pt x="375" y="8"/>
                    </a:lnTo>
                    <a:lnTo>
                      <a:pt x="372" y="3"/>
                    </a:lnTo>
                    <a:lnTo>
                      <a:pt x="373" y="2"/>
                    </a:lnTo>
                    <a:lnTo>
                      <a:pt x="372" y="2"/>
                    </a:lnTo>
                    <a:lnTo>
                      <a:pt x="371" y="4"/>
                    </a:lnTo>
                    <a:lnTo>
                      <a:pt x="371" y="7"/>
                    </a:lnTo>
                    <a:lnTo>
                      <a:pt x="368" y="7"/>
                    </a:lnTo>
                    <a:lnTo>
                      <a:pt x="368" y="8"/>
                    </a:lnTo>
                    <a:lnTo>
                      <a:pt x="366" y="8"/>
                    </a:lnTo>
                    <a:lnTo>
                      <a:pt x="366" y="9"/>
                    </a:lnTo>
                    <a:lnTo>
                      <a:pt x="366" y="8"/>
                    </a:lnTo>
                    <a:lnTo>
                      <a:pt x="365" y="10"/>
                    </a:lnTo>
                    <a:lnTo>
                      <a:pt x="366" y="10"/>
                    </a:lnTo>
                    <a:lnTo>
                      <a:pt x="365" y="14"/>
                    </a:lnTo>
                    <a:lnTo>
                      <a:pt x="361" y="11"/>
                    </a:lnTo>
                    <a:lnTo>
                      <a:pt x="361" y="13"/>
                    </a:lnTo>
                    <a:lnTo>
                      <a:pt x="361" y="14"/>
                    </a:lnTo>
                    <a:lnTo>
                      <a:pt x="360" y="14"/>
                    </a:lnTo>
                    <a:lnTo>
                      <a:pt x="361" y="15"/>
                    </a:lnTo>
                    <a:lnTo>
                      <a:pt x="360" y="15"/>
                    </a:lnTo>
                    <a:lnTo>
                      <a:pt x="361" y="16"/>
                    </a:lnTo>
                    <a:lnTo>
                      <a:pt x="360" y="18"/>
                    </a:lnTo>
                    <a:lnTo>
                      <a:pt x="361" y="19"/>
                    </a:lnTo>
                    <a:lnTo>
                      <a:pt x="360" y="19"/>
                    </a:lnTo>
                    <a:lnTo>
                      <a:pt x="359" y="20"/>
                    </a:lnTo>
                    <a:lnTo>
                      <a:pt x="358" y="20"/>
                    </a:lnTo>
                    <a:lnTo>
                      <a:pt x="358" y="23"/>
                    </a:lnTo>
                    <a:lnTo>
                      <a:pt x="357" y="23"/>
                    </a:lnTo>
                    <a:lnTo>
                      <a:pt x="357" y="24"/>
                    </a:lnTo>
                    <a:lnTo>
                      <a:pt x="357" y="25"/>
                    </a:lnTo>
                    <a:lnTo>
                      <a:pt x="359" y="26"/>
                    </a:lnTo>
                    <a:lnTo>
                      <a:pt x="358" y="28"/>
                    </a:lnTo>
                    <a:lnTo>
                      <a:pt x="358" y="30"/>
                    </a:lnTo>
                    <a:lnTo>
                      <a:pt x="360" y="29"/>
                    </a:lnTo>
                    <a:lnTo>
                      <a:pt x="360" y="31"/>
                    </a:lnTo>
                    <a:lnTo>
                      <a:pt x="359" y="31"/>
                    </a:lnTo>
                    <a:lnTo>
                      <a:pt x="361" y="32"/>
                    </a:lnTo>
                    <a:lnTo>
                      <a:pt x="361" y="33"/>
                    </a:lnTo>
                    <a:lnTo>
                      <a:pt x="359" y="34"/>
                    </a:lnTo>
                    <a:lnTo>
                      <a:pt x="361" y="34"/>
                    </a:lnTo>
                    <a:lnTo>
                      <a:pt x="360" y="34"/>
                    </a:lnTo>
                    <a:lnTo>
                      <a:pt x="358" y="35"/>
                    </a:lnTo>
                    <a:lnTo>
                      <a:pt x="357" y="34"/>
                    </a:lnTo>
                    <a:lnTo>
                      <a:pt x="357" y="35"/>
                    </a:lnTo>
                    <a:lnTo>
                      <a:pt x="357" y="36"/>
                    </a:lnTo>
                    <a:lnTo>
                      <a:pt x="353" y="36"/>
                    </a:lnTo>
                    <a:lnTo>
                      <a:pt x="353" y="37"/>
                    </a:lnTo>
                    <a:lnTo>
                      <a:pt x="352" y="37"/>
                    </a:lnTo>
                    <a:lnTo>
                      <a:pt x="352" y="36"/>
                    </a:lnTo>
                    <a:lnTo>
                      <a:pt x="349" y="36"/>
                    </a:lnTo>
                    <a:lnTo>
                      <a:pt x="348" y="35"/>
                    </a:lnTo>
                    <a:lnTo>
                      <a:pt x="348" y="36"/>
                    </a:lnTo>
                    <a:lnTo>
                      <a:pt x="348" y="37"/>
                    </a:lnTo>
                    <a:lnTo>
                      <a:pt x="346" y="37"/>
                    </a:lnTo>
                    <a:lnTo>
                      <a:pt x="345" y="37"/>
                    </a:lnTo>
                    <a:lnTo>
                      <a:pt x="344" y="39"/>
                    </a:lnTo>
                    <a:lnTo>
                      <a:pt x="341" y="42"/>
                    </a:lnTo>
                    <a:lnTo>
                      <a:pt x="340" y="41"/>
                    </a:lnTo>
                    <a:lnTo>
                      <a:pt x="340" y="42"/>
                    </a:lnTo>
                    <a:lnTo>
                      <a:pt x="338" y="42"/>
                    </a:lnTo>
                    <a:lnTo>
                      <a:pt x="336" y="43"/>
                    </a:lnTo>
                    <a:lnTo>
                      <a:pt x="336" y="44"/>
                    </a:lnTo>
                    <a:lnTo>
                      <a:pt x="335" y="44"/>
                    </a:lnTo>
                    <a:lnTo>
                      <a:pt x="336" y="48"/>
                    </a:lnTo>
                    <a:lnTo>
                      <a:pt x="335" y="49"/>
                    </a:lnTo>
                    <a:lnTo>
                      <a:pt x="335" y="51"/>
                    </a:lnTo>
                    <a:lnTo>
                      <a:pt x="334" y="52"/>
                    </a:lnTo>
                    <a:lnTo>
                      <a:pt x="332" y="51"/>
                    </a:lnTo>
                    <a:lnTo>
                      <a:pt x="331" y="50"/>
                    </a:lnTo>
                    <a:lnTo>
                      <a:pt x="332" y="49"/>
                    </a:lnTo>
                    <a:lnTo>
                      <a:pt x="331" y="45"/>
                    </a:lnTo>
                    <a:lnTo>
                      <a:pt x="329" y="44"/>
                    </a:lnTo>
                    <a:lnTo>
                      <a:pt x="324" y="41"/>
                    </a:lnTo>
                    <a:lnTo>
                      <a:pt x="319" y="42"/>
                    </a:lnTo>
                    <a:lnTo>
                      <a:pt x="317" y="42"/>
                    </a:lnTo>
                    <a:lnTo>
                      <a:pt x="317" y="40"/>
                    </a:lnTo>
                    <a:lnTo>
                      <a:pt x="315" y="40"/>
                    </a:lnTo>
                    <a:lnTo>
                      <a:pt x="315" y="39"/>
                    </a:lnTo>
                    <a:lnTo>
                      <a:pt x="316" y="38"/>
                    </a:lnTo>
                    <a:lnTo>
                      <a:pt x="317" y="38"/>
                    </a:lnTo>
                    <a:lnTo>
                      <a:pt x="318" y="36"/>
                    </a:lnTo>
                    <a:lnTo>
                      <a:pt x="319" y="35"/>
                    </a:lnTo>
                    <a:lnTo>
                      <a:pt x="320" y="32"/>
                    </a:lnTo>
                    <a:lnTo>
                      <a:pt x="320" y="31"/>
                    </a:lnTo>
                    <a:lnTo>
                      <a:pt x="319" y="31"/>
                    </a:lnTo>
                    <a:lnTo>
                      <a:pt x="318" y="33"/>
                    </a:lnTo>
                    <a:lnTo>
                      <a:pt x="317" y="34"/>
                    </a:lnTo>
                    <a:lnTo>
                      <a:pt x="315" y="33"/>
                    </a:lnTo>
                    <a:lnTo>
                      <a:pt x="315" y="34"/>
                    </a:lnTo>
                    <a:lnTo>
                      <a:pt x="314" y="34"/>
                    </a:lnTo>
                    <a:lnTo>
                      <a:pt x="314" y="32"/>
                    </a:lnTo>
                    <a:lnTo>
                      <a:pt x="312" y="36"/>
                    </a:lnTo>
                    <a:lnTo>
                      <a:pt x="310" y="35"/>
                    </a:lnTo>
                    <a:lnTo>
                      <a:pt x="311" y="34"/>
                    </a:lnTo>
                    <a:lnTo>
                      <a:pt x="310" y="34"/>
                    </a:lnTo>
                    <a:lnTo>
                      <a:pt x="309" y="35"/>
                    </a:lnTo>
                    <a:lnTo>
                      <a:pt x="309" y="34"/>
                    </a:lnTo>
                    <a:lnTo>
                      <a:pt x="308" y="34"/>
                    </a:lnTo>
                    <a:lnTo>
                      <a:pt x="306" y="33"/>
                    </a:lnTo>
                    <a:lnTo>
                      <a:pt x="305" y="32"/>
                    </a:lnTo>
                    <a:lnTo>
                      <a:pt x="304" y="32"/>
                    </a:lnTo>
                    <a:lnTo>
                      <a:pt x="303" y="34"/>
                    </a:lnTo>
                    <a:lnTo>
                      <a:pt x="302" y="32"/>
                    </a:lnTo>
                    <a:lnTo>
                      <a:pt x="301" y="32"/>
                    </a:lnTo>
                    <a:lnTo>
                      <a:pt x="301" y="31"/>
                    </a:lnTo>
                    <a:lnTo>
                      <a:pt x="300" y="32"/>
                    </a:lnTo>
                    <a:lnTo>
                      <a:pt x="300" y="31"/>
                    </a:lnTo>
                    <a:lnTo>
                      <a:pt x="298" y="31"/>
                    </a:lnTo>
                    <a:lnTo>
                      <a:pt x="300" y="28"/>
                    </a:lnTo>
                    <a:lnTo>
                      <a:pt x="299" y="27"/>
                    </a:lnTo>
                    <a:lnTo>
                      <a:pt x="297" y="27"/>
                    </a:lnTo>
                    <a:lnTo>
                      <a:pt x="296" y="28"/>
                    </a:lnTo>
                    <a:lnTo>
                      <a:pt x="294" y="28"/>
                    </a:lnTo>
                    <a:lnTo>
                      <a:pt x="291" y="25"/>
                    </a:lnTo>
                    <a:lnTo>
                      <a:pt x="289" y="25"/>
                    </a:lnTo>
                    <a:lnTo>
                      <a:pt x="289" y="26"/>
                    </a:lnTo>
                    <a:lnTo>
                      <a:pt x="288" y="28"/>
                    </a:lnTo>
                    <a:lnTo>
                      <a:pt x="286" y="29"/>
                    </a:lnTo>
                    <a:lnTo>
                      <a:pt x="286" y="31"/>
                    </a:lnTo>
                    <a:lnTo>
                      <a:pt x="288" y="31"/>
                    </a:lnTo>
                    <a:lnTo>
                      <a:pt x="287" y="31"/>
                    </a:lnTo>
                    <a:lnTo>
                      <a:pt x="286" y="31"/>
                    </a:lnTo>
                    <a:lnTo>
                      <a:pt x="285" y="29"/>
                    </a:lnTo>
                    <a:lnTo>
                      <a:pt x="284" y="31"/>
                    </a:lnTo>
                    <a:lnTo>
                      <a:pt x="283" y="29"/>
                    </a:lnTo>
                    <a:lnTo>
                      <a:pt x="283" y="28"/>
                    </a:lnTo>
                    <a:lnTo>
                      <a:pt x="282" y="26"/>
                    </a:lnTo>
                    <a:lnTo>
                      <a:pt x="280" y="26"/>
                    </a:lnTo>
                    <a:lnTo>
                      <a:pt x="280" y="23"/>
                    </a:lnTo>
                    <a:lnTo>
                      <a:pt x="278" y="23"/>
                    </a:lnTo>
                    <a:lnTo>
                      <a:pt x="277" y="24"/>
                    </a:lnTo>
                    <a:lnTo>
                      <a:pt x="276" y="24"/>
                    </a:lnTo>
                    <a:lnTo>
                      <a:pt x="273" y="18"/>
                    </a:lnTo>
                    <a:lnTo>
                      <a:pt x="272" y="18"/>
                    </a:lnTo>
                    <a:lnTo>
                      <a:pt x="271" y="16"/>
                    </a:lnTo>
                    <a:lnTo>
                      <a:pt x="271" y="19"/>
                    </a:lnTo>
                    <a:lnTo>
                      <a:pt x="270" y="17"/>
                    </a:lnTo>
                    <a:lnTo>
                      <a:pt x="269" y="18"/>
                    </a:lnTo>
                    <a:lnTo>
                      <a:pt x="270" y="18"/>
                    </a:lnTo>
                    <a:lnTo>
                      <a:pt x="271" y="22"/>
                    </a:lnTo>
                    <a:lnTo>
                      <a:pt x="270" y="23"/>
                    </a:lnTo>
                    <a:lnTo>
                      <a:pt x="271" y="23"/>
                    </a:lnTo>
                    <a:lnTo>
                      <a:pt x="270" y="25"/>
                    </a:lnTo>
                    <a:lnTo>
                      <a:pt x="270" y="26"/>
                    </a:lnTo>
                    <a:lnTo>
                      <a:pt x="272" y="26"/>
                    </a:lnTo>
                    <a:lnTo>
                      <a:pt x="271" y="27"/>
                    </a:lnTo>
                    <a:lnTo>
                      <a:pt x="270" y="26"/>
                    </a:lnTo>
                    <a:lnTo>
                      <a:pt x="270" y="27"/>
                    </a:lnTo>
                    <a:lnTo>
                      <a:pt x="269" y="24"/>
                    </a:lnTo>
                    <a:lnTo>
                      <a:pt x="268" y="24"/>
                    </a:lnTo>
                    <a:lnTo>
                      <a:pt x="267" y="23"/>
                    </a:lnTo>
                    <a:lnTo>
                      <a:pt x="265" y="23"/>
                    </a:lnTo>
                    <a:lnTo>
                      <a:pt x="264" y="24"/>
                    </a:lnTo>
                    <a:lnTo>
                      <a:pt x="263" y="23"/>
                    </a:lnTo>
                    <a:lnTo>
                      <a:pt x="263" y="24"/>
                    </a:lnTo>
                    <a:lnTo>
                      <a:pt x="262" y="24"/>
                    </a:lnTo>
                    <a:lnTo>
                      <a:pt x="263" y="25"/>
                    </a:lnTo>
                    <a:lnTo>
                      <a:pt x="262" y="25"/>
                    </a:lnTo>
                    <a:lnTo>
                      <a:pt x="262" y="26"/>
                    </a:lnTo>
                    <a:lnTo>
                      <a:pt x="262" y="25"/>
                    </a:lnTo>
                    <a:lnTo>
                      <a:pt x="262" y="26"/>
                    </a:lnTo>
                    <a:lnTo>
                      <a:pt x="261" y="27"/>
                    </a:lnTo>
                    <a:lnTo>
                      <a:pt x="260" y="25"/>
                    </a:lnTo>
                    <a:lnTo>
                      <a:pt x="260" y="26"/>
                    </a:lnTo>
                    <a:lnTo>
                      <a:pt x="259" y="28"/>
                    </a:lnTo>
                    <a:lnTo>
                      <a:pt x="258" y="28"/>
                    </a:lnTo>
                    <a:lnTo>
                      <a:pt x="259" y="27"/>
                    </a:lnTo>
                    <a:lnTo>
                      <a:pt x="257" y="27"/>
                    </a:lnTo>
                    <a:lnTo>
                      <a:pt x="256" y="28"/>
                    </a:lnTo>
                    <a:lnTo>
                      <a:pt x="255" y="30"/>
                    </a:lnTo>
                    <a:lnTo>
                      <a:pt x="255" y="28"/>
                    </a:lnTo>
                    <a:lnTo>
                      <a:pt x="254" y="28"/>
                    </a:lnTo>
                    <a:lnTo>
                      <a:pt x="254" y="27"/>
                    </a:lnTo>
                    <a:lnTo>
                      <a:pt x="252" y="26"/>
                    </a:lnTo>
                    <a:lnTo>
                      <a:pt x="249" y="28"/>
                    </a:lnTo>
                    <a:lnTo>
                      <a:pt x="248" y="27"/>
                    </a:lnTo>
                    <a:lnTo>
                      <a:pt x="247" y="27"/>
                    </a:lnTo>
                    <a:lnTo>
                      <a:pt x="249" y="27"/>
                    </a:lnTo>
                    <a:lnTo>
                      <a:pt x="249" y="26"/>
                    </a:lnTo>
                    <a:lnTo>
                      <a:pt x="249" y="24"/>
                    </a:lnTo>
                    <a:lnTo>
                      <a:pt x="250" y="23"/>
                    </a:lnTo>
                    <a:lnTo>
                      <a:pt x="250" y="21"/>
                    </a:lnTo>
                    <a:lnTo>
                      <a:pt x="249" y="21"/>
                    </a:lnTo>
                    <a:lnTo>
                      <a:pt x="248" y="21"/>
                    </a:lnTo>
                    <a:lnTo>
                      <a:pt x="247" y="20"/>
                    </a:lnTo>
                    <a:lnTo>
                      <a:pt x="247" y="18"/>
                    </a:lnTo>
                    <a:lnTo>
                      <a:pt x="246" y="19"/>
                    </a:lnTo>
                    <a:lnTo>
                      <a:pt x="243" y="16"/>
                    </a:lnTo>
                    <a:lnTo>
                      <a:pt x="241" y="18"/>
                    </a:lnTo>
                    <a:lnTo>
                      <a:pt x="240" y="16"/>
                    </a:lnTo>
                    <a:lnTo>
                      <a:pt x="240" y="17"/>
                    </a:lnTo>
                    <a:lnTo>
                      <a:pt x="240" y="16"/>
                    </a:lnTo>
                    <a:lnTo>
                      <a:pt x="239" y="15"/>
                    </a:lnTo>
                    <a:lnTo>
                      <a:pt x="240" y="12"/>
                    </a:lnTo>
                    <a:lnTo>
                      <a:pt x="240" y="11"/>
                    </a:lnTo>
                    <a:lnTo>
                      <a:pt x="239" y="10"/>
                    </a:lnTo>
                    <a:lnTo>
                      <a:pt x="236" y="9"/>
                    </a:lnTo>
                    <a:lnTo>
                      <a:pt x="236" y="8"/>
                    </a:lnTo>
                    <a:lnTo>
                      <a:pt x="234" y="8"/>
                    </a:lnTo>
                    <a:lnTo>
                      <a:pt x="234" y="6"/>
                    </a:lnTo>
                    <a:lnTo>
                      <a:pt x="231" y="8"/>
                    </a:lnTo>
                    <a:lnTo>
                      <a:pt x="230" y="8"/>
                    </a:lnTo>
                    <a:lnTo>
                      <a:pt x="226" y="8"/>
                    </a:lnTo>
                    <a:lnTo>
                      <a:pt x="225" y="6"/>
                    </a:lnTo>
                    <a:lnTo>
                      <a:pt x="224" y="8"/>
                    </a:lnTo>
                    <a:lnTo>
                      <a:pt x="223" y="8"/>
                    </a:lnTo>
                    <a:lnTo>
                      <a:pt x="222" y="8"/>
                    </a:lnTo>
                    <a:lnTo>
                      <a:pt x="222" y="10"/>
                    </a:lnTo>
                    <a:lnTo>
                      <a:pt x="222" y="13"/>
                    </a:lnTo>
                    <a:lnTo>
                      <a:pt x="220" y="14"/>
                    </a:lnTo>
                    <a:lnTo>
                      <a:pt x="220" y="15"/>
                    </a:lnTo>
                    <a:lnTo>
                      <a:pt x="218" y="16"/>
                    </a:lnTo>
                    <a:lnTo>
                      <a:pt x="217" y="16"/>
                    </a:lnTo>
                    <a:lnTo>
                      <a:pt x="217" y="17"/>
                    </a:lnTo>
                    <a:lnTo>
                      <a:pt x="218" y="17"/>
                    </a:lnTo>
                    <a:lnTo>
                      <a:pt x="216" y="19"/>
                    </a:lnTo>
                    <a:lnTo>
                      <a:pt x="216" y="21"/>
                    </a:lnTo>
                    <a:lnTo>
                      <a:pt x="214" y="20"/>
                    </a:lnTo>
                    <a:lnTo>
                      <a:pt x="214" y="19"/>
                    </a:lnTo>
                    <a:lnTo>
                      <a:pt x="215" y="18"/>
                    </a:lnTo>
                    <a:lnTo>
                      <a:pt x="215" y="17"/>
                    </a:lnTo>
                    <a:lnTo>
                      <a:pt x="212" y="18"/>
                    </a:lnTo>
                    <a:lnTo>
                      <a:pt x="209" y="18"/>
                    </a:lnTo>
                    <a:lnTo>
                      <a:pt x="208" y="19"/>
                    </a:lnTo>
                    <a:lnTo>
                      <a:pt x="206" y="18"/>
                    </a:lnTo>
                    <a:lnTo>
                      <a:pt x="205" y="17"/>
                    </a:lnTo>
                    <a:lnTo>
                      <a:pt x="202" y="17"/>
                    </a:lnTo>
                    <a:lnTo>
                      <a:pt x="201" y="17"/>
                    </a:lnTo>
                    <a:lnTo>
                      <a:pt x="200" y="19"/>
                    </a:lnTo>
                    <a:lnTo>
                      <a:pt x="198" y="16"/>
                    </a:lnTo>
                    <a:lnTo>
                      <a:pt x="196" y="16"/>
                    </a:lnTo>
                    <a:lnTo>
                      <a:pt x="193" y="15"/>
                    </a:lnTo>
                    <a:lnTo>
                      <a:pt x="193" y="19"/>
                    </a:lnTo>
                    <a:lnTo>
                      <a:pt x="191" y="17"/>
                    </a:lnTo>
                    <a:lnTo>
                      <a:pt x="189" y="18"/>
                    </a:lnTo>
                    <a:lnTo>
                      <a:pt x="188" y="17"/>
                    </a:lnTo>
                    <a:lnTo>
                      <a:pt x="188" y="16"/>
                    </a:lnTo>
                    <a:lnTo>
                      <a:pt x="189" y="15"/>
                    </a:lnTo>
                    <a:lnTo>
                      <a:pt x="188" y="14"/>
                    </a:lnTo>
                    <a:lnTo>
                      <a:pt x="187" y="14"/>
                    </a:lnTo>
                    <a:lnTo>
                      <a:pt x="187" y="16"/>
                    </a:lnTo>
                    <a:lnTo>
                      <a:pt x="186" y="17"/>
                    </a:lnTo>
                    <a:lnTo>
                      <a:pt x="184" y="17"/>
                    </a:lnTo>
                    <a:lnTo>
                      <a:pt x="183" y="17"/>
                    </a:lnTo>
                    <a:lnTo>
                      <a:pt x="183" y="16"/>
                    </a:lnTo>
                    <a:lnTo>
                      <a:pt x="180" y="16"/>
                    </a:lnTo>
                    <a:lnTo>
                      <a:pt x="180" y="15"/>
                    </a:lnTo>
                    <a:lnTo>
                      <a:pt x="179" y="16"/>
                    </a:lnTo>
                    <a:lnTo>
                      <a:pt x="178" y="15"/>
                    </a:lnTo>
                    <a:lnTo>
                      <a:pt x="177" y="12"/>
                    </a:lnTo>
                    <a:lnTo>
                      <a:pt x="178" y="10"/>
                    </a:lnTo>
                    <a:lnTo>
                      <a:pt x="178" y="7"/>
                    </a:lnTo>
                    <a:lnTo>
                      <a:pt x="178" y="6"/>
                    </a:lnTo>
                    <a:lnTo>
                      <a:pt x="179" y="5"/>
                    </a:lnTo>
                    <a:lnTo>
                      <a:pt x="179" y="4"/>
                    </a:lnTo>
                    <a:lnTo>
                      <a:pt x="181" y="4"/>
                    </a:lnTo>
                    <a:lnTo>
                      <a:pt x="179" y="3"/>
                    </a:lnTo>
                    <a:lnTo>
                      <a:pt x="177" y="0"/>
                    </a:lnTo>
                    <a:lnTo>
                      <a:pt x="177" y="1"/>
                    </a:lnTo>
                    <a:lnTo>
                      <a:pt x="173" y="1"/>
                    </a:lnTo>
                    <a:lnTo>
                      <a:pt x="172" y="0"/>
                    </a:lnTo>
                    <a:lnTo>
                      <a:pt x="170" y="3"/>
                    </a:lnTo>
                    <a:lnTo>
                      <a:pt x="170" y="2"/>
                    </a:lnTo>
                    <a:lnTo>
                      <a:pt x="167" y="4"/>
                    </a:lnTo>
                    <a:lnTo>
                      <a:pt x="166" y="4"/>
                    </a:lnTo>
                    <a:lnTo>
                      <a:pt x="164" y="3"/>
                    </a:lnTo>
                    <a:lnTo>
                      <a:pt x="163" y="6"/>
                    </a:lnTo>
                    <a:lnTo>
                      <a:pt x="164" y="8"/>
                    </a:lnTo>
                    <a:lnTo>
                      <a:pt x="163" y="10"/>
                    </a:lnTo>
                    <a:lnTo>
                      <a:pt x="163" y="8"/>
                    </a:lnTo>
                    <a:lnTo>
                      <a:pt x="162" y="11"/>
                    </a:lnTo>
                    <a:lnTo>
                      <a:pt x="162" y="13"/>
                    </a:lnTo>
                    <a:lnTo>
                      <a:pt x="161" y="13"/>
                    </a:lnTo>
                    <a:lnTo>
                      <a:pt x="161" y="14"/>
                    </a:lnTo>
                    <a:lnTo>
                      <a:pt x="160" y="12"/>
                    </a:lnTo>
                    <a:lnTo>
                      <a:pt x="159" y="12"/>
                    </a:lnTo>
                    <a:lnTo>
                      <a:pt x="159" y="14"/>
                    </a:lnTo>
                    <a:lnTo>
                      <a:pt x="160" y="16"/>
                    </a:lnTo>
                    <a:lnTo>
                      <a:pt x="159" y="16"/>
                    </a:lnTo>
                    <a:lnTo>
                      <a:pt x="159" y="17"/>
                    </a:lnTo>
                    <a:lnTo>
                      <a:pt x="158" y="17"/>
                    </a:lnTo>
                    <a:lnTo>
                      <a:pt x="158" y="15"/>
                    </a:lnTo>
                    <a:lnTo>
                      <a:pt x="156" y="15"/>
                    </a:lnTo>
                    <a:lnTo>
                      <a:pt x="156" y="13"/>
                    </a:lnTo>
                    <a:lnTo>
                      <a:pt x="154" y="15"/>
                    </a:lnTo>
                    <a:lnTo>
                      <a:pt x="154" y="16"/>
                    </a:lnTo>
                    <a:lnTo>
                      <a:pt x="153" y="17"/>
                    </a:lnTo>
                    <a:lnTo>
                      <a:pt x="153" y="19"/>
                    </a:lnTo>
                    <a:lnTo>
                      <a:pt x="153" y="20"/>
                    </a:lnTo>
                    <a:lnTo>
                      <a:pt x="149" y="19"/>
                    </a:lnTo>
                    <a:lnTo>
                      <a:pt x="146" y="18"/>
                    </a:lnTo>
                    <a:lnTo>
                      <a:pt x="146" y="16"/>
                    </a:lnTo>
                    <a:lnTo>
                      <a:pt x="145" y="15"/>
                    </a:lnTo>
                    <a:lnTo>
                      <a:pt x="141" y="18"/>
                    </a:lnTo>
                    <a:lnTo>
                      <a:pt x="141" y="21"/>
                    </a:lnTo>
                    <a:lnTo>
                      <a:pt x="139" y="23"/>
                    </a:lnTo>
                    <a:lnTo>
                      <a:pt x="139" y="21"/>
                    </a:lnTo>
                    <a:lnTo>
                      <a:pt x="135" y="22"/>
                    </a:lnTo>
                    <a:lnTo>
                      <a:pt x="134" y="21"/>
                    </a:lnTo>
                    <a:lnTo>
                      <a:pt x="133" y="21"/>
                    </a:lnTo>
                    <a:lnTo>
                      <a:pt x="133" y="19"/>
                    </a:lnTo>
                    <a:lnTo>
                      <a:pt x="131" y="17"/>
                    </a:lnTo>
                    <a:lnTo>
                      <a:pt x="131" y="19"/>
                    </a:lnTo>
                    <a:lnTo>
                      <a:pt x="128" y="19"/>
                    </a:lnTo>
                    <a:lnTo>
                      <a:pt x="130" y="17"/>
                    </a:lnTo>
                    <a:lnTo>
                      <a:pt x="130" y="16"/>
                    </a:lnTo>
                    <a:lnTo>
                      <a:pt x="131" y="15"/>
                    </a:lnTo>
                    <a:lnTo>
                      <a:pt x="128" y="15"/>
                    </a:lnTo>
                    <a:lnTo>
                      <a:pt x="128" y="16"/>
                    </a:lnTo>
                    <a:lnTo>
                      <a:pt x="126" y="15"/>
                    </a:lnTo>
                    <a:lnTo>
                      <a:pt x="126" y="13"/>
                    </a:lnTo>
                    <a:lnTo>
                      <a:pt x="126" y="10"/>
                    </a:lnTo>
                    <a:lnTo>
                      <a:pt x="123" y="8"/>
                    </a:lnTo>
                    <a:lnTo>
                      <a:pt x="121" y="9"/>
                    </a:lnTo>
                    <a:lnTo>
                      <a:pt x="121" y="10"/>
                    </a:lnTo>
                    <a:lnTo>
                      <a:pt x="122" y="10"/>
                    </a:lnTo>
                    <a:lnTo>
                      <a:pt x="120" y="11"/>
                    </a:lnTo>
                    <a:lnTo>
                      <a:pt x="118" y="14"/>
                    </a:lnTo>
                    <a:lnTo>
                      <a:pt x="117" y="14"/>
                    </a:lnTo>
                    <a:lnTo>
                      <a:pt x="115" y="15"/>
                    </a:lnTo>
                    <a:lnTo>
                      <a:pt x="115" y="14"/>
                    </a:lnTo>
                    <a:lnTo>
                      <a:pt x="115" y="13"/>
                    </a:lnTo>
                    <a:lnTo>
                      <a:pt x="114" y="14"/>
                    </a:lnTo>
                    <a:lnTo>
                      <a:pt x="113" y="14"/>
                    </a:lnTo>
                    <a:lnTo>
                      <a:pt x="113" y="10"/>
                    </a:lnTo>
                    <a:lnTo>
                      <a:pt x="112" y="10"/>
                    </a:lnTo>
                    <a:lnTo>
                      <a:pt x="112" y="6"/>
                    </a:lnTo>
                    <a:lnTo>
                      <a:pt x="110" y="6"/>
                    </a:lnTo>
                    <a:lnTo>
                      <a:pt x="111" y="7"/>
                    </a:lnTo>
                    <a:lnTo>
                      <a:pt x="109" y="7"/>
                    </a:lnTo>
                    <a:lnTo>
                      <a:pt x="109" y="10"/>
                    </a:lnTo>
                    <a:lnTo>
                      <a:pt x="107" y="10"/>
                    </a:lnTo>
                    <a:lnTo>
                      <a:pt x="107" y="11"/>
                    </a:lnTo>
                    <a:lnTo>
                      <a:pt x="104" y="9"/>
                    </a:lnTo>
                    <a:lnTo>
                      <a:pt x="102" y="8"/>
                    </a:lnTo>
                    <a:lnTo>
                      <a:pt x="100" y="12"/>
                    </a:lnTo>
                    <a:lnTo>
                      <a:pt x="99" y="12"/>
                    </a:lnTo>
                    <a:lnTo>
                      <a:pt x="95" y="11"/>
                    </a:lnTo>
                    <a:lnTo>
                      <a:pt x="95" y="10"/>
                    </a:lnTo>
                    <a:lnTo>
                      <a:pt x="93" y="10"/>
                    </a:lnTo>
                    <a:lnTo>
                      <a:pt x="93" y="11"/>
                    </a:lnTo>
                    <a:lnTo>
                      <a:pt x="91" y="12"/>
                    </a:lnTo>
                    <a:lnTo>
                      <a:pt x="90" y="14"/>
                    </a:lnTo>
                    <a:lnTo>
                      <a:pt x="92" y="15"/>
                    </a:lnTo>
                    <a:lnTo>
                      <a:pt x="92" y="16"/>
                    </a:lnTo>
                    <a:lnTo>
                      <a:pt x="92" y="17"/>
                    </a:lnTo>
                    <a:lnTo>
                      <a:pt x="90" y="17"/>
                    </a:lnTo>
                    <a:lnTo>
                      <a:pt x="90" y="18"/>
                    </a:lnTo>
                    <a:lnTo>
                      <a:pt x="88" y="18"/>
                    </a:lnTo>
                    <a:lnTo>
                      <a:pt x="89" y="19"/>
                    </a:lnTo>
                    <a:lnTo>
                      <a:pt x="88" y="20"/>
                    </a:lnTo>
                    <a:lnTo>
                      <a:pt x="88" y="23"/>
                    </a:lnTo>
                    <a:lnTo>
                      <a:pt x="90" y="23"/>
                    </a:lnTo>
                    <a:lnTo>
                      <a:pt x="91" y="23"/>
                    </a:lnTo>
                    <a:lnTo>
                      <a:pt x="91" y="24"/>
                    </a:lnTo>
                    <a:lnTo>
                      <a:pt x="91" y="23"/>
                    </a:lnTo>
                    <a:lnTo>
                      <a:pt x="93" y="24"/>
                    </a:lnTo>
                    <a:lnTo>
                      <a:pt x="93" y="25"/>
                    </a:lnTo>
                    <a:lnTo>
                      <a:pt x="91" y="24"/>
                    </a:lnTo>
                    <a:lnTo>
                      <a:pt x="92" y="25"/>
                    </a:lnTo>
                    <a:lnTo>
                      <a:pt x="91" y="27"/>
                    </a:lnTo>
                    <a:lnTo>
                      <a:pt x="92" y="25"/>
                    </a:lnTo>
                    <a:lnTo>
                      <a:pt x="92" y="27"/>
                    </a:lnTo>
                    <a:lnTo>
                      <a:pt x="91" y="28"/>
                    </a:lnTo>
                    <a:lnTo>
                      <a:pt x="92" y="28"/>
                    </a:lnTo>
                    <a:lnTo>
                      <a:pt x="92" y="29"/>
                    </a:lnTo>
                    <a:lnTo>
                      <a:pt x="92" y="32"/>
                    </a:lnTo>
                    <a:lnTo>
                      <a:pt x="91" y="32"/>
                    </a:lnTo>
                    <a:lnTo>
                      <a:pt x="90" y="34"/>
                    </a:lnTo>
                    <a:lnTo>
                      <a:pt x="92" y="35"/>
                    </a:lnTo>
                    <a:lnTo>
                      <a:pt x="91" y="36"/>
                    </a:lnTo>
                    <a:lnTo>
                      <a:pt x="91" y="37"/>
                    </a:lnTo>
                    <a:lnTo>
                      <a:pt x="90" y="38"/>
                    </a:lnTo>
                    <a:lnTo>
                      <a:pt x="91" y="39"/>
                    </a:lnTo>
                    <a:lnTo>
                      <a:pt x="92" y="41"/>
                    </a:lnTo>
                    <a:lnTo>
                      <a:pt x="92" y="42"/>
                    </a:lnTo>
                    <a:lnTo>
                      <a:pt x="93" y="43"/>
                    </a:lnTo>
                    <a:lnTo>
                      <a:pt x="93" y="44"/>
                    </a:lnTo>
                    <a:lnTo>
                      <a:pt x="94" y="44"/>
                    </a:lnTo>
                    <a:lnTo>
                      <a:pt x="94" y="45"/>
                    </a:lnTo>
                    <a:lnTo>
                      <a:pt x="93" y="45"/>
                    </a:lnTo>
                    <a:lnTo>
                      <a:pt x="93" y="46"/>
                    </a:lnTo>
                    <a:lnTo>
                      <a:pt x="97" y="47"/>
                    </a:lnTo>
                    <a:lnTo>
                      <a:pt x="97" y="48"/>
                    </a:lnTo>
                    <a:lnTo>
                      <a:pt x="95" y="48"/>
                    </a:lnTo>
                    <a:lnTo>
                      <a:pt x="93" y="47"/>
                    </a:lnTo>
                    <a:lnTo>
                      <a:pt x="92" y="49"/>
                    </a:lnTo>
                    <a:lnTo>
                      <a:pt x="90" y="52"/>
                    </a:lnTo>
                    <a:lnTo>
                      <a:pt x="88" y="52"/>
                    </a:lnTo>
                    <a:lnTo>
                      <a:pt x="89" y="53"/>
                    </a:lnTo>
                    <a:lnTo>
                      <a:pt x="88" y="55"/>
                    </a:lnTo>
                    <a:lnTo>
                      <a:pt x="88" y="57"/>
                    </a:lnTo>
                    <a:lnTo>
                      <a:pt x="88" y="58"/>
                    </a:lnTo>
                    <a:lnTo>
                      <a:pt x="87" y="61"/>
                    </a:lnTo>
                    <a:lnTo>
                      <a:pt x="86" y="61"/>
                    </a:lnTo>
                    <a:lnTo>
                      <a:pt x="86" y="62"/>
                    </a:lnTo>
                    <a:lnTo>
                      <a:pt x="87" y="62"/>
                    </a:lnTo>
                    <a:lnTo>
                      <a:pt x="86" y="62"/>
                    </a:lnTo>
                    <a:lnTo>
                      <a:pt x="87" y="62"/>
                    </a:lnTo>
                    <a:lnTo>
                      <a:pt x="86" y="63"/>
                    </a:lnTo>
                    <a:lnTo>
                      <a:pt x="87" y="66"/>
                    </a:lnTo>
                    <a:lnTo>
                      <a:pt x="87" y="68"/>
                    </a:lnTo>
                    <a:lnTo>
                      <a:pt x="88" y="70"/>
                    </a:lnTo>
                    <a:lnTo>
                      <a:pt x="89" y="72"/>
                    </a:lnTo>
                    <a:lnTo>
                      <a:pt x="88" y="72"/>
                    </a:lnTo>
                    <a:lnTo>
                      <a:pt x="89" y="73"/>
                    </a:lnTo>
                    <a:lnTo>
                      <a:pt x="88" y="73"/>
                    </a:lnTo>
                    <a:lnTo>
                      <a:pt x="88" y="74"/>
                    </a:lnTo>
                    <a:lnTo>
                      <a:pt x="89" y="74"/>
                    </a:lnTo>
                    <a:lnTo>
                      <a:pt x="90" y="75"/>
                    </a:lnTo>
                    <a:lnTo>
                      <a:pt x="92" y="75"/>
                    </a:lnTo>
                    <a:lnTo>
                      <a:pt x="91" y="76"/>
                    </a:lnTo>
                    <a:lnTo>
                      <a:pt x="92" y="77"/>
                    </a:lnTo>
                    <a:lnTo>
                      <a:pt x="92" y="79"/>
                    </a:lnTo>
                    <a:lnTo>
                      <a:pt x="92" y="81"/>
                    </a:lnTo>
                    <a:lnTo>
                      <a:pt x="91" y="80"/>
                    </a:lnTo>
                    <a:lnTo>
                      <a:pt x="91" y="82"/>
                    </a:lnTo>
                    <a:lnTo>
                      <a:pt x="90" y="82"/>
                    </a:lnTo>
                    <a:lnTo>
                      <a:pt x="88" y="83"/>
                    </a:lnTo>
                    <a:lnTo>
                      <a:pt x="89" y="84"/>
                    </a:lnTo>
                    <a:lnTo>
                      <a:pt x="90" y="82"/>
                    </a:lnTo>
                    <a:lnTo>
                      <a:pt x="90" y="85"/>
                    </a:lnTo>
                    <a:lnTo>
                      <a:pt x="91" y="86"/>
                    </a:lnTo>
                    <a:lnTo>
                      <a:pt x="88" y="86"/>
                    </a:lnTo>
                    <a:lnTo>
                      <a:pt x="86" y="89"/>
                    </a:lnTo>
                    <a:lnTo>
                      <a:pt x="85" y="92"/>
                    </a:lnTo>
                    <a:lnTo>
                      <a:pt x="85" y="93"/>
                    </a:lnTo>
                    <a:lnTo>
                      <a:pt x="84" y="93"/>
                    </a:lnTo>
                    <a:lnTo>
                      <a:pt x="85" y="96"/>
                    </a:lnTo>
                    <a:lnTo>
                      <a:pt x="84" y="98"/>
                    </a:lnTo>
                    <a:lnTo>
                      <a:pt x="80" y="97"/>
                    </a:lnTo>
                    <a:lnTo>
                      <a:pt x="79" y="98"/>
                    </a:lnTo>
                    <a:lnTo>
                      <a:pt x="78" y="100"/>
                    </a:lnTo>
                    <a:lnTo>
                      <a:pt x="77" y="100"/>
                    </a:lnTo>
                    <a:lnTo>
                      <a:pt x="75" y="100"/>
                    </a:lnTo>
                    <a:lnTo>
                      <a:pt x="74" y="105"/>
                    </a:lnTo>
                    <a:lnTo>
                      <a:pt x="71" y="102"/>
                    </a:lnTo>
                    <a:lnTo>
                      <a:pt x="71" y="107"/>
                    </a:lnTo>
                    <a:lnTo>
                      <a:pt x="70" y="108"/>
                    </a:lnTo>
                    <a:lnTo>
                      <a:pt x="69" y="108"/>
                    </a:lnTo>
                    <a:lnTo>
                      <a:pt x="71" y="111"/>
                    </a:lnTo>
                    <a:lnTo>
                      <a:pt x="72" y="111"/>
                    </a:lnTo>
                    <a:lnTo>
                      <a:pt x="73" y="112"/>
                    </a:lnTo>
                    <a:lnTo>
                      <a:pt x="72" y="114"/>
                    </a:lnTo>
                    <a:lnTo>
                      <a:pt x="71" y="115"/>
                    </a:lnTo>
                    <a:lnTo>
                      <a:pt x="71" y="118"/>
                    </a:lnTo>
                    <a:lnTo>
                      <a:pt x="69" y="118"/>
                    </a:lnTo>
                    <a:lnTo>
                      <a:pt x="68" y="118"/>
                    </a:lnTo>
                    <a:lnTo>
                      <a:pt x="67" y="116"/>
                    </a:lnTo>
                    <a:lnTo>
                      <a:pt x="65" y="116"/>
                    </a:lnTo>
                    <a:lnTo>
                      <a:pt x="63" y="116"/>
                    </a:lnTo>
                    <a:lnTo>
                      <a:pt x="62" y="116"/>
                    </a:lnTo>
                    <a:lnTo>
                      <a:pt x="63" y="118"/>
                    </a:lnTo>
                    <a:lnTo>
                      <a:pt x="63" y="122"/>
                    </a:lnTo>
                    <a:lnTo>
                      <a:pt x="63" y="126"/>
                    </a:lnTo>
                    <a:lnTo>
                      <a:pt x="64" y="126"/>
                    </a:lnTo>
                    <a:lnTo>
                      <a:pt x="65" y="126"/>
                    </a:lnTo>
                    <a:lnTo>
                      <a:pt x="69" y="127"/>
                    </a:lnTo>
                    <a:lnTo>
                      <a:pt x="70" y="126"/>
                    </a:lnTo>
                    <a:lnTo>
                      <a:pt x="71" y="128"/>
                    </a:lnTo>
                    <a:lnTo>
                      <a:pt x="69" y="128"/>
                    </a:lnTo>
                    <a:lnTo>
                      <a:pt x="66" y="130"/>
                    </a:lnTo>
                    <a:lnTo>
                      <a:pt x="66" y="131"/>
                    </a:lnTo>
                    <a:lnTo>
                      <a:pt x="68" y="134"/>
                    </a:lnTo>
                    <a:lnTo>
                      <a:pt x="67" y="134"/>
                    </a:lnTo>
                    <a:lnTo>
                      <a:pt x="64" y="133"/>
                    </a:lnTo>
                    <a:lnTo>
                      <a:pt x="64" y="132"/>
                    </a:lnTo>
                    <a:lnTo>
                      <a:pt x="63" y="131"/>
                    </a:lnTo>
                    <a:lnTo>
                      <a:pt x="62" y="133"/>
                    </a:lnTo>
                    <a:lnTo>
                      <a:pt x="63" y="134"/>
                    </a:lnTo>
                    <a:lnTo>
                      <a:pt x="63" y="136"/>
                    </a:lnTo>
                    <a:lnTo>
                      <a:pt x="60" y="135"/>
                    </a:lnTo>
                    <a:lnTo>
                      <a:pt x="58" y="137"/>
                    </a:lnTo>
                    <a:lnTo>
                      <a:pt x="58" y="138"/>
                    </a:lnTo>
                    <a:lnTo>
                      <a:pt x="58" y="139"/>
                    </a:lnTo>
                    <a:lnTo>
                      <a:pt x="57" y="139"/>
                    </a:lnTo>
                    <a:lnTo>
                      <a:pt x="56" y="139"/>
                    </a:lnTo>
                    <a:lnTo>
                      <a:pt x="56" y="141"/>
                    </a:lnTo>
                    <a:lnTo>
                      <a:pt x="58" y="141"/>
                    </a:lnTo>
                    <a:lnTo>
                      <a:pt x="57" y="141"/>
                    </a:lnTo>
                    <a:lnTo>
                      <a:pt x="57" y="143"/>
                    </a:lnTo>
                    <a:lnTo>
                      <a:pt x="58" y="142"/>
                    </a:lnTo>
                    <a:lnTo>
                      <a:pt x="58" y="146"/>
                    </a:lnTo>
                    <a:lnTo>
                      <a:pt x="61" y="148"/>
                    </a:lnTo>
                    <a:lnTo>
                      <a:pt x="61" y="149"/>
                    </a:lnTo>
                    <a:lnTo>
                      <a:pt x="62" y="149"/>
                    </a:lnTo>
                    <a:lnTo>
                      <a:pt x="62" y="153"/>
                    </a:lnTo>
                    <a:lnTo>
                      <a:pt x="63" y="156"/>
                    </a:lnTo>
                    <a:lnTo>
                      <a:pt x="61" y="157"/>
                    </a:lnTo>
                    <a:lnTo>
                      <a:pt x="59" y="156"/>
                    </a:lnTo>
                    <a:lnTo>
                      <a:pt x="58" y="156"/>
                    </a:lnTo>
                    <a:lnTo>
                      <a:pt x="55" y="159"/>
                    </a:lnTo>
                    <a:lnTo>
                      <a:pt x="54" y="167"/>
                    </a:lnTo>
                    <a:lnTo>
                      <a:pt x="52" y="168"/>
                    </a:lnTo>
                    <a:lnTo>
                      <a:pt x="53" y="169"/>
                    </a:lnTo>
                    <a:lnTo>
                      <a:pt x="55" y="169"/>
                    </a:lnTo>
                    <a:lnTo>
                      <a:pt x="53" y="170"/>
                    </a:lnTo>
                    <a:lnTo>
                      <a:pt x="53" y="172"/>
                    </a:lnTo>
                    <a:lnTo>
                      <a:pt x="53" y="170"/>
                    </a:lnTo>
                    <a:lnTo>
                      <a:pt x="52" y="170"/>
                    </a:lnTo>
                    <a:lnTo>
                      <a:pt x="51" y="169"/>
                    </a:lnTo>
                    <a:lnTo>
                      <a:pt x="50" y="170"/>
                    </a:lnTo>
                    <a:lnTo>
                      <a:pt x="49" y="169"/>
                    </a:lnTo>
                    <a:lnTo>
                      <a:pt x="47" y="170"/>
                    </a:lnTo>
                    <a:lnTo>
                      <a:pt x="44" y="170"/>
                    </a:lnTo>
                    <a:lnTo>
                      <a:pt x="44" y="172"/>
                    </a:lnTo>
                    <a:lnTo>
                      <a:pt x="43" y="172"/>
                    </a:lnTo>
                    <a:lnTo>
                      <a:pt x="43" y="174"/>
                    </a:lnTo>
                    <a:lnTo>
                      <a:pt x="41" y="174"/>
                    </a:lnTo>
                    <a:lnTo>
                      <a:pt x="40" y="174"/>
                    </a:lnTo>
                    <a:lnTo>
                      <a:pt x="39" y="176"/>
                    </a:lnTo>
                    <a:lnTo>
                      <a:pt x="35" y="179"/>
                    </a:lnTo>
                    <a:lnTo>
                      <a:pt x="34" y="177"/>
                    </a:lnTo>
                    <a:lnTo>
                      <a:pt x="33" y="176"/>
                    </a:lnTo>
                    <a:lnTo>
                      <a:pt x="32" y="176"/>
                    </a:lnTo>
                    <a:lnTo>
                      <a:pt x="28" y="174"/>
                    </a:lnTo>
                    <a:lnTo>
                      <a:pt x="30" y="174"/>
                    </a:lnTo>
                    <a:lnTo>
                      <a:pt x="30" y="173"/>
                    </a:lnTo>
                    <a:lnTo>
                      <a:pt x="25" y="172"/>
                    </a:lnTo>
                    <a:lnTo>
                      <a:pt x="24" y="172"/>
                    </a:lnTo>
                    <a:lnTo>
                      <a:pt x="24" y="173"/>
                    </a:lnTo>
                    <a:lnTo>
                      <a:pt x="27" y="174"/>
                    </a:lnTo>
                    <a:lnTo>
                      <a:pt x="27" y="176"/>
                    </a:lnTo>
                    <a:lnTo>
                      <a:pt x="25" y="177"/>
                    </a:lnTo>
                    <a:lnTo>
                      <a:pt x="24" y="180"/>
                    </a:lnTo>
                    <a:lnTo>
                      <a:pt x="24" y="182"/>
                    </a:lnTo>
                    <a:lnTo>
                      <a:pt x="23" y="183"/>
                    </a:lnTo>
                    <a:lnTo>
                      <a:pt x="24" y="184"/>
                    </a:lnTo>
                    <a:lnTo>
                      <a:pt x="24" y="190"/>
                    </a:lnTo>
                    <a:lnTo>
                      <a:pt x="24" y="191"/>
                    </a:lnTo>
                    <a:lnTo>
                      <a:pt x="19" y="191"/>
                    </a:lnTo>
                    <a:lnTo>
                      <a:pt x="19" y="192"/>
                    </a:lnTo>
                    <a:lnTo>
                      <a:pt x="20" y="196"/>
                    </a:lnTo>
                    <a:lnTo>
                      <a:pt x="22" y="199"/>
                    </a:lnTo>
                    <a:lnTo>
                      <a:pt x="23" y="200"/>
                    </a:lnTo>
                    <a:lnTo>
                      <a:pt x="22" y="203"/>
                    </a:lnTo>
                    <a:lnTo>
                      <a:pt x="24" y="208"/>
                    </a:lnTo>
                    <a:lnTo>
                      <a:pt x="24" y="211"/>
                    </a:lnTo>
                    <a:lnTo>
                      <a:pt x="24" y="212"/>
                    </a:lnTo>
                    <a:lnTo>
                      <a:pt x="22" y="216"/>
                    </a:lnTo>
                    <a:lnTo>
                      <a:pt x="17" y="220"/>
                    </a:lnTo>
                    <a:lnTo>
                      <a:pt x="15" y="218"/>
                    </a:lnTo>
                    <a:lnTo>
                      <a:pt x="14" y="217"/>
                    </a:lnTo>
                    <a:lnTo>
                      <a:pt x="14" y="216"/>
                    </a:lnTo>
                    <a:lnTo>
                      <a:pt x="13" y="216"/>
                    </a:lnTo>
                    <a:lnTo>
                      <a:pt x="13" y="217"/>
                    </a:lnTo>
                    <a:lnTo>
                      <a:pt x="9" y="222"/>
                    </a:lnTo>
                    <a:lnTo>
                      <a:pt x="7" y="227"/>
                    </a:lnTo>
                    <a:lnTo>
                      <a:pt x="4" y="231"/>
                    </a:lnTo>
                    <a:lnTo>
                      <a:pt x="4" y="232"/>
                    </a:lnTo>
                    <a:lnTo>
                      <a:pt x="4" y="234"/>
                    </a:lnTo>
                    <a:lnTo>
                      <a:pt x="4" y="237"/>
                    </a:lnTo>
                    <a:lnTo>
                      <a:pt x="1" y="240"/>
                    </a:lnTo>
                    <a:lnTo>
                      <a:pt x="1" y="242"/>
                    </a:lnTo>
                    <a:lnTo>
                      <a:pt x="0" y="245"/>
                    </a:lnTo>
                    <a:lnTo>
                      <a:pt x="1" y="248"/>
                    </a:lnTo>
                    <a:lnTo>
                      <a:pt x="4" y="249"/>
                    </a:lnTo>
                    <a:lnTo>
                      <a:pt x="3" y="251"/>
                    </a:lnTo>
                    <a:lnTo>
                      <a:pt x="3" y="254"/>
                    </a:lnTo>
                    <a:lnTo>
                      <a:pt x="5" y="255"/>
                    </a:lnTo>
                    <a:lnTo>
                      <a:pt x="6" y="254"/>
                    </a:lnTo>
                    <a:lnTo>
                      <a:pt x="9" y="256"/>
                    </a:lnTo>
                    <a:lnTo>
                      <a:pt x="10" y="255"/>
                    </a:lnTo>
                    <a:lnTo>
                      <a:pt x="11" y="254"/>
                    </a:lnTo>
                    <a:lnTo>
                      <a:pt x="14" y="259"/>
                    </a:lnTo>
                    <a:lnTo>
                      <a:pt x="12" y="262"/>
                    </a:lnTo>
                    <a:lnTo>
                      <a:pt x="14" y="265"/>
                    </a:lnTo>
                    <a:lnTo>
                      <a:pt x="17" y="271"/>
                    </a:lnTo>
                    <a:lnTo>
                      <a:pt x="17" y="268"/>
                    </a:lnTo>
                    <a:lnTo>
                      <a:pt x="19" y="268"/>
                    </a:lnTo>
                    <a:lnTo>
                      <a:pt x="20" y="266"/>
                    </a:lnTo>
                    <a:lnTo>
                      <a:pt x="23" y="267"/>
                    </a:lnTo>
                    <a:lnTo>
                      <a:pt x="24" y="267"/>
                    </a:lnTo>
                    <a:lnTo>
                      <a:pt x="21" y="269"/>
                    </a:lnTo>
                    <a:lnTo>
                      <a:pt x="20" y="271"/>
                    </a:lnTo>
                    <a:lnTo>
                      <a:pt x="24" y="277"/>
                    </a:lnTo>
                    <a:lnTo>
                      <a:pt x="24" y="282"/>
                    </a:lnTo>
                    <a:lnTo>
                      <a:pt x="25" y="283"/>
                    </a:lnTo>
                    <a:lnTo>
                      <a:pt x="27" y="293"/>
                    </a:lnTo>
                    <a:lnTo>
                      <a:pt x="28" y="294"/>
                    </a:lnTo>
                    <a:lnTo>
                      <a:pt x="30" y="295"/>
                    </a:lnTo>
                    <a:lnTo>
                      <a:pt x="30" y="297"/>
                    </a:lnTo>
                    <a:lnTo>
                      <a:pt x="30" y="300"/>
                    </a:lnTo>
                    <a:lnTo>
                      <a:pt x="32" y="301"/>
                    </a:lnTo>
                    <a:lnTo>
                      <a:pt x="34" y="301"/>
                    </a:lnTo>
                    <a:lnTo>
                      <a:pt x="35" y="302"/>
                    </a:lnTo>
                    <a:lnTo>
                      <a:pt x="38" y="301"/>
                    </a:lnTo>
                    <a:lnTo>
                      <a:pt x="43" y="303"/>
                    </a:lnTo>
                    <a:lnTo>
                      <a:pt x="45" y="302"/>
                    </a:lnTo>
                    <a:lnTo>
                      <a:pt x="47" y="300"/>
                    </a:lnTo>
                    <a:lnTo>
                      <a:pt x="49" y="301"/>
                    </a:lnTo>
                    <a:lnTo>
                      <a:pt x="49" y="305"/>
                    </a:lnTo>
                    <a:lnTo>
                      <a:pt x="52" y="311"/>
                    </a:lnTo>
                    <a:lnTo>
                      <a:pt x="50" y="313"/>
                    </a:lnTo>
                    <a:lnTo>
                      <a:pt x="53" y="324"/>
                    </a:lnTo>
                    <a:lnTo>
                      <a:pt x="53" y="325"/>
                    </a:lnTo>
                    <a:lnTo>
                      <a:pt x="55" y="328"/>
                    </a:lnTo>
                    <a:lnTo>
                      <a:pt x="57" y="328"/>
                    </a:lnTo>
                    <a:lnTo>
                      <a:pt x="61" y="329"/>
                    </a:lnTo>
                    <a:lnTo>
                      <a:pt x="59" y="332"/>
                    </a:lnTo>
                    <a:lnTo>
                      <a:pt x="61" y="335"/>
                    </a:lnTo>
                    <a:lnTo>
                      <a:pt x="61" y="337"/>
                    </a:lnTo>
                    <a:lnTo>
                      <a:pt x="64" y="345"/>
                    </a:lnTo>
                    <a:lnTo>
                      <a:pt x="62" y="351"/>
                    </a:lnTo>
                    <a:lnTo>
                      <a:pt x="61" y="353"/>
                    </a:lnTo>
                    <a:lnTo>
                      <a:pt x="63" y="356"/>
                    </a:lnTo>
                    <a:lnTo>
                      <a:pt x="68" y="359"/>
                    </a:lnTo>
                    <a:lnTo>
                      <a:pt x="71" y="358"/>
                    </a:lnTo>
                    <a:lnTo>
                      <a:pt x="72" y="360"/>
                    </a:lnTo>
                    <a:lnTo>
                      <a:pt x="74" y="359"/>
                    </a:lnTo>
                    <a:lnTo>
                      <a:pt x="79" y="362"/>
                    </a:lnTo>
                    <a:lnTo>
                      <a:pt x="82" y="366"/>
                    </a:lnTo>
                    <a:lnTo>
                      <a:pt x="85" y="368"/>
                    </a:lnTo>
                    <a:lnTo>
                      <a:pt x="88" y="375"/>
                    </a:lnTo>
                    <a:lnTo>
                      <a:pt x="90" y="377"/>
                    </a:lnTo>
                    <a:lnTo>
                      <a:pt x="90" y="379"/>
                    </a:lnTo>
                    <a:lnTo>
                      <a:pt x="92" y="379"/>
                    </a:lnTo>
                    <a:lnTo>
                      <a:pt x="92" y="381"/>
                    </a:lnTo>
                    <a:lnTo>
                      <a:pt x="95" y="386"/>
                    </a:lnTo>
                    <a:lnTo>
                      <a:pt x="97" y="386"/>
                    </a:lnTo>
                    <a:lnTo>
                      <a:pt x="98" y="388"/>
                    </a:lnTo>
                    <a:lnTo>
                      <a:pt x="99" y="391"/>
                    </a:lnTo>
                    <a:lnTo>
                      <a:pt x="103" y="392"/>
                    </a:lnTo>
                    <a:lnTo>
                      <a:pt x="105" y="394"/>
                    </a:lnTo>
                    <a:lnTo>
                      <a:pt x="107" y="394"/>
                    </a:lnTo>
                    <a:lnTo>
                      <a:pt x="112" y="396"/>
                    </a:lnTo>
                    <a:lnTo>
                      <a:pt x="113" y="397"/>
                    </a:lnTo>
                    <a:lnTo>
                      <a:pt x="113" y="400"/>
                    </a:lnTo>
                    <a:lnTo>
                      <a:pt x="112" y="402"/>
                    </a:lnTo>
                    <a:lnTo>
                      <a:pt x="115" y="402"/>
                    </a:lnTo>
                    <a:lnTo>
                      <a:pt x="114" y="403"/>
                    </a:lnTo>
                    <a:lnTo>
                      <a:pt x="116" y="405"/>
                    </a:lnTo>
                    <a:lnTo>
                      <a:pt x="117" y="407"/>
                    </a:lnTo>
                    <a:lnTo>
                      <a:pt x="116" y="407"/>
                    </a:lnTo>
                    <a:lnTo>
                      <a:pt x="115" y="408"/>
                    </a:lnTo>
                    <a:lnTo>
                      <a:pt x="118" y="410"/>
                    </a:lnTo>
                    <a:lnTo>
                      <a:pt x="118" y="412"/>
                    </a:lnTo>
                    <a:lnTo>
                      <a:pt x="119" y="412"/>
                    </a:lnTo>
                    <a:lnTo>
                      <a:pt x="121" y="412"/>
                    </a:lnTo>
                    <a:lnTo>
                      <a:pt x="123" y="414"/>
                    </a:lnTo>
                    <a:lnTo>
                      <a:pt x="125" y="414"/>
                    </a:lnTo>
                    <a:lnTo>
                      <a:pt x="124" y="418"/>
                    </a:lnTo>
                    <a:lnTo>
                      <a:pt x="123" y="421"/>
                    </a:lnTo>
                    <a:lnTo>
                      <a:pt x="121" y="423"/>
                    </a:lnTo>
                    <a:lnTo>
                      <a:pt x="118" y="422"/>
                    </a:lnTo>
                    <a:lnTo>
                      <a:pt x="113" y="422"/>
                    </a:lnTo>
                    <a:lnTo>
                      <a:pt x="113" y="426"/>
                    </a:lnTo>
                    <a:lnTo>
                      <a:pt x="111" y="426"/>
                    </a:lnTo>
                    <a:lnTo>
                      <a:pt x="110" y="427"/>
                    </a:lnTo>
                    <a:lnTo>
                      <a:pt x="109" y="427"/>
                    </a:lnTo>
                    <a:lnTo>
                      <a:pt x="112" y="431"/>
                    </a:lnTo>
                    <a:lnTo>
                      <a:pt x="112" y="432"/>
                    </a:lnTo>
                    <a:lnTo>
                      <a:pt x="114" y="434"/>
                    </a:lnTo>
                    <a:lnTo>
                      <a:pt x="113" y="435"/>
                    </a:lnTo>
                    <a:lnTo>
                      <a:pt x="117" y="435"/>
                    </a:lnTo>
                    <a:lnTo>
                      <a:pt x="118" y="435"/>
                    </a:lnTo>
                    <a:lnTo>
                      <a:pt x="118" y="439"/>
                    </a:lnTo>
                    <a:lnTo>
                      <a:pt x="116" y="439"/>
                    </a:lnTo>
                    <a:lnTo>
                      <a:pt x="117" y="440"/>
                    </a:lnTo>
                    <a:lnTo>
                      <a:pt x="116" y="442"/>
                    </a:lnTo>
                    <a:lnTo>
                      <a:pt x="118" y="443"/>
                    </a:lnTo>
                    <a:lnTo>
                      <a:pt x="118" y="444"/>
                    </a:lnTo>
                    <a:lnTo>
                      <a:pt x="119" y="447"/>
                    </a:lnTo>
                    <a:lnTo>
                      <a:pt x="121" y="445"/>
                    </a:lnTo>
                    <a:lnTo>
                      <a:pt x="123" y="446"/>
                    </a:lnTo>
                    <a:lnTo>
                      <a:pt x="122" y="448"/>
                    </a:lnTo>
                    <a:lnTo>
                      <a:pt x="122" y="451"/>
                    </a:lnTo>
                    <a:lnTo>
                      <a:pt x="123" y="451"/>
                    </a:lnTo>
                    <a:lnTo>
                      <a:pt x="124" y="449"/>
                    </a:lnTo>
                    <a:lnTo>
                      <a:pt x="130" y="450"/>
                    </a:lnTo>
                    <a:lnTo>
                      <a:pt x="131" y="451"/>
                    </a:lnTo>
                    <a:lnTo>
                      <a:pt x="129" y="454"/>
                    </a:lnTo>
                    <a:lnTo>
                      <a:pt x="132" y="456"/>
                    </a:lnTo>
                    <a:lnTo>
                      <a:pt x="136" y="456"/>
                    </a:lnTo>
                    <a:lnTo>
                      <a:pt x="140" y="453"/>
                    </a:lnTo>
                    <a:lnTo>
                      <a:pt x="143" y="455"/>
                    </a:lnTo>
                    <a:lnTo>
                      <a:pt x="145" y="454"/>
                    </a:lnTo>
                    <a:lnTo>
                      <a:pt x="148" y="456"/>
                    </a:lnTo>
                    <a:lnTo>
                      <a:pt x="148" y="458"/>
                    </a:lnTo>
                    <a:lnTo>
                      <a:pt x="152" y="457"/>
                    </a:lnTo>
                    <a:lnTo>
                      <a:pt x="153" y="457"/>
                    </a:lnTo>
                    <a:lnTo>
                      <a:pt x="154" y="457"/>
                    </a:lnTo>
                    <a:lnTo>
                      <a:pt x="155" y="457"/>
                    </a:lnTo>
                    <a:lnTo>
                      <a:pt x="158" y="458"/>
                    </a:lnTo>
                    <a:lnTo>
                      <a:pt x="162" y="461"/>
                    </a:lnTo>
                    <a:lnTo>
                      <a:pt x="166" y="463"/>
                    </a:lnTo>
                    <a:lnTo>
                      <a:pt x="169" y="465"/>
                    </a:lnTo>
                    <a:lnTo>
                      <a:pt x="169" y="467"/>
                    </a:lnTo>
                    <a:lnTo>
                      <a:pt x="174" y="465"/>
                    </a:lnTo>
                    <a:lnTo>
                      <a:pt x="178" y="467"/>
                    </a:lnTo>
                    <a:lnTo>
                      <a:pt x="180" y="471"/>
                    </a:lnTo>
                    <a:lnTo>
                      <a:pt x="188" y="477"/>
                    </a:lnTo>
                    <a:lnTo>
                      <a:pt x="190" y="477"/>
                    </a:lnTo>
                    <a:lnTo>
                      <a:pt x="191" y="477"/>
                    </a:lnTo>
                    <a:lnTo>
                      <a:pt x="191" y="481"/>
                    </a:lnTo>
                    <a:lnTo>
                      <a:pt x="193" y="482"/>
                    </a:lnTo>
                    <a:lnTo>
                      <a:pt x="196" y="482"/>
                    </a:lnTo>
                    <a:lnTo>
                      <a:pt x="197" y="479"/>
                    </a:lnTo>
                    <a:lnTo>
                      <a:pt x="200" y="478"/>
                    </a:lnTo>
                    <a:lnTo>
                      <a:pt x="200" y="476"/>
                    </a:lnTo>
                    <a:lnTo>
                      <a:pt x="202" y="473"/>
                    </a:lnTo>
                    <a:lnTo>
                      <a:pt x="204" y="473"/>
                    </a:lnTo>
                    <a:lnTo>
                      <a:pt x="205" y="476"/>
                    </a:lnTo>
                    <a:lnTo>
                      <a:pt x="206" y="477"/>
                    </a:lnTo>
                    <a:lnTo>
                      <a:pt x="208" y="477"/>
                    </a:lnTo>
                    <a:lnTo>
                      <a:pt x="210" y="476"/>
                    </a:lnTo>
                    <a:lnTo>
                      <a:pt x="211" y="473"/>
                    </a:lnTo>
                    <a:lnTo>
                      <a:pt x="211" y="471"/>
                    </a:lnTo>
                    <a:lnTo>
                      <a:pt x="210" y="470"/>
                    </a:lnTo>
                    <a:lnTo>
                      <a:pt x="210" y="466"/>
                    </a:lnTo>
                    <a:lnTo>
                      <a:pt x="211" y="465"/>
                    </a:lnTo>
                    <a:lnTo>
                      <a:pt x="213" y="467"/>
                    </a:lnTo>
                    <a:lnTo>
                      <a:pt x="215" y="467"/>
                    </a:lnTo>
                    <a:lnTo>
                      <a:pt x="216" y="467"/>
                    </a:lnTo>
                    <a:lnTo>
                      <a:pt x="218" y="467"/>
                    </a:lnTo>
                    <a:lnTo>
                      <a:pt x="221" y="470"/>
                    </a:lnTo>
                    <a:lnTo>
                      <a:pt x="223" y="470"/>
                    </a:lnTo>
                    <a:lnTo>
                      <a:pt x="224" y="466"/>
                    </a:lnTo>
                    <a:lnTo>
                      <a:pt x="226" y="465"/>
                    </a:lnTo>
                    <a:lnTo>
                      <a:pt x="227" y="462"/>
                    </a:lnTo>
                    <a:lnTo>
                      <a:pt x="229" y="459"/>
                    </a:lnTo>
                    <a:lnTo>
                      <a:pt x="229" y="456"/>
                    </a:lnTo>
                    <a:lnTo>
                      <a:pt x="231" y="454"/>
                    </a:lnTo>
                    <a:lnTo>
                      <a:pt x="232" y="454"/>
                    </a:lnTo>
                    <a:lnTo>
                      <a:pt x="231" y="450"/>
                    </a:lnTo>
                    <a:lnTo>
                      <a:pt x="229" y="447"/>
                    </a:lnTo>
                    <a:lnTo>
                      <a:pt x="229" y="444"/>
                    </a:lnTo>
                    <a:lnTo>
                      <a:pt x="232" y="444"/>
                    </a:lnTo>
                    <a:lnTo>
                      <a:pt x="233" y="445"/>
                    </a:lnTo>
                    <a:lnTo>
                      <a:pt x="236" y="444"/>
                    </a:lnTo>
                    <a:lnTo>
                      <a:pt x="237" y="446"/>
                    </a:lnTo>
                    <a:lnTo>
                      <a:pt x="238" y="447"/>
                    </a:lnTo>
                    <a:lnTo>
                      <a:pt x="237" y="447"/>
                    </a:lnTo>
                    <a:lnTo>
                      <a:pt x="237" y="448"/>
                    </a:lnTo>
                    <a:lnTo>
                      <a:pt x="239" y="450"/>
                    </a:lnTo>
                    <a:lnTo>
                      <a:pt x="242" y="452"/>
                    </a:lnTo>
                    <a:lnTo>
                      <a:pt x="242" y="455"/>
                    </a:lnTo>
                    <a:lnTo>
                      <a:pt x="242" y="456"/>
                    </a:lnTo>
                    <a:lnTo>
                      <a:pt x="243" y="457"/>
                    </a:lnTo>
                    <a:lnTo>
                      <a:pt x="244" y="460"/>
                    </a:lnTo>
                    <a:lnTo>
                      <a:pt x="246" y="459"/>
                    </a:lnTo>
                    <a:lnTo>
                      <a:pt x="249" y="459"/>
                    </a:lnTo>
                    <a:lnTo>
                      <a:pt x="250" y="461"/>
                    </a:lnTo>
                    <a:lnTo>
                      <a:pt x="256" y="463"/>
                    </a:lnTo>
                    <a:lnTo>
                      <a:pt x="257" y="464"/>
                    </a:lnTo>
                    <a:lnTo>
                      <a:pt x="257" y="467"/>
                    </a:lnTo>
                    <a:lnTo>
                      <a:pt x="259" y="469"/>
                    </a:lnTo>
                    <a:lnTo>
                      <a:pt x="260" y="468"/>
                    </a:lnTo>
                    <a:lnTo>
                      <a:pt x="260" y="466"/>
                    </a:lnTo>
                    <a:lnTo>
                      <a:pt x="262" y="466"/>
                    </a:lnTo>
                    <a:lnTo>
                      <a:pt x="263" y="465"/>
                    </a:lnTo>
                    <a:lnTo>
                      <a:pt x="264" y="465"/>
                    </a:lnTo>
                    <a:lnTo>
                      <a:pt x="266" y="463"/>
                    </a:lnTo>
                    <a:lnTo>
                      <a:pt x="268" y="463"/>
                    </a:lnTo>
                    <a:lnTo>
                      <a:pt x="271" y="460"/>
                    </a:lnTo>
                    <a:lnTo>
                      <a:pt x="272" y="459"/>
                    </a:lnTo>
                    <a:lnTo>
                      <a:pt x="275" y="459"/>
                    </a:lnTo>
                    <a:lnTo>
                      <a:pt x="276" y="463"/>
                    </a:lnTo>
                    <a:lnTo>
                      <a:pt x="276" y="470"/>
                    </a:lnTo>
                    <a:lnTo>
                      <a:pt x="278" y="471"/>
                    </a:lnTo>
                    <a:lnTo>
                      <a:pt x="279" y="471"/>
                    </a:lnTo>
                    <a:lnTo>
                      <a:pt x="283" y="470"/>
                    </a:lnTo>
                    <a:lnTo>
                      <a:pt x="285" y="475"/>
                    </a:lnTo>
                    <a:lnTo>
                      <a:pt x="286" y="483"/>
                    </a:lnTo>
                    <a:lnTo>
                      <a:pt x="292" y="483"/>
                    </a:lnTo>
                    <a:lnTo>
                      <a:pt x="294" y="482"/>
                    </a:lnTo>
                    <a:lnTo>
                      <a:pt x="294" y="483"/>
                    </a:lnTo>
                    <a:lnTo>
                      <a:pt x="295" y="482"/>
                    </a:lnTo>
                    <a:lnTo>
                      <a:pt x="297" y="484"/>
                    </a:lnTo>
                    <a:lnTo>
                      <a:pt x="299" y="482"/>
                    </a:lnTo>
                    <a:lnTo>
                      <a:pt x="299" y="480"/>
                    </a:lnTo>
                    <a:lnTo>
                      <a:pt x="301" y="479"/>
                    </a:lnTo>
                    <a:lnTo>
                      <a:pt x="301" y="478"/>
                    </a:lnTo>
                    <a:lnTo>
                      <a:pt x="304" y="476"/>
                    </a:lnTo>
                    <a:lnTo>
                      <a:pt x="303" y="468"/>
                    </a:lnTo>
                    <a:lnTo>
                      <a:pt x="306" y="458"/>
                    </a:lnTo>
                    <a:lnTo>
                      <a:pt x="306" y="453"/>
                    </a:lnTo>
                    <a:lnTo>
                      <a:pt x="304" y="453"/>
                    </a:lnTo>
                    <a:lnTo>
                      <a:pt x="308" y="441"/>
                    </a:lnTo>
                    <a:lnTo>
                      <a:pt x="309" y="440"/>
                    </a:lnTo>
                    <a:lnTo>
                      <a:pt x="310" y="436"/>
                    </a:lnTo>
                    <a:lnTo>
                      <a:pt x="313" y="431"/>
                    </a:lnTo>
                    <a:lnTo>
                      <a:pt x="314" y="430"/>
                    </a:lnTo>
                    <a:lnTo>
                      <a:pt x="319" y="430"/>
                    </a:lnTo>
                    <a:lnTo>
                      <a:pt x="320" y="427"/>
                    </a:lnTo>
                    <a:lnTo>
                      <a:pt x="324" y="427"/>
                    </a:lnTo>
                    <a:lnTo>
                      <a:pt x="328" y="424"/>
                    </a:lnTo>
                    <a:lnTo>
                      <a:pt x="328" y="422"/>
                    </a:lnTo>
                    <a:lnTo>
                      <a:pt x="330" y="421"/>
                    </a:lnTo>
                    <a:lnTo>
                      <a:pt x="330" y="419"/>
                    </a:lnTo>
                    <a:lnTo>
                      <a:pt x="332" y="418"/>
                    </a:lnTo>
                    <a:lnTo>
                      <a:pt x="333" y="418"/>
                    </a:lnTo>
                    <a:lnTo>
                      <a:pt x="335" y="418"/>
                    </a:lnTo>
                    <a:lnTo>
                      <a:pt x="333" y="411"/>
                    </a:lnTo>
                    <a:lnTo>
                      <a:pt x="337" y="405"/>
                    </a:lnTo>
                    <a:lnTo>
                      <a:pt x="337" y="403"/>
                    </a:lnTo>
                    <a:lnTo>
                      <a:pt x="336" y="400"/>
                    </a:lnTo>
                    <a:lnTo>
                      <a:pt x="337" y="399"/>
                    </a:lnTo>
                    <a:lnTo>
                      <a:pt x="337" y="397"/>
                    </a:lnTo>
                    <a:lnTo>
                      <a:pt x="340" y="396"/>
                    </a:lnTo>
                    <a:lnTo>
                      <a:pt x="341" y="396"/>
                    </a:lnTo>
                    <a:lnTo>
                      <a:pt x="343" y="397"/>
                    </a:lnTo>
                    <a:lnTo>
                      <a:pt x="346" y="397"/>
                    </a:lnTo>
                    <a:lnTo>
                      <a:pt x="347" y="396"/>
                    </a:lnTo>
                    <a:lnTo>
                      <a:pt x="348" y="398"/>
                    </a:lnTo>
                    <a:lnTo>
                      <a:pt x="348" y="397"/>
                    </a:lnTo>
                    <a:lnTo>
                      <a:pt x="349" y="399"/>
                    </a:lnTo>
                    <a:lnTo>
                      <a:pt x="350" y="400"/>
                    </a:lnTo>
                    <a:lnTo>
                      <a:pt x="351" y="399"/>
                    </a:lnTo>
                    <a:lnTo>
                      <a:pt x="352" y="400"/>
                    </a:lnTo>
                    <a:lnTo>
                      <a:pt x="354" y="398"/>
                    </a:lnTo>
                    <a:lnTo>
                      <a:pt x="356" y="399"/>
                    </a:lnTo>
                    <a:lnTo>
                      <a:pt x="358" y="401"/>
                    </a:lnTo>
                    <a:lnTo>
                      <a:pt x="358" y="403"/>
                    </a:lnTo>
                    <a:lnTo>
                      <a:pt x="361" y="403"/>
                    </a:lnTo>
                    <a:lnTo>
                      <a:pt x="363" y="405"/>
                    </a:lnTo>
                    <a:lnTo>
                      <a:pt x="365" y="406"/>
                    </a:lnTo>
                    <a:lnTo>
                      <a:pt x="366" y="405"/>
                    </a:lnTo>
                    <a:lnTo>
                      <a:pt x="369" y="407"/>
                    </a:lnTo>
                    <a:lnTo>
                      <a:pt x="371" y="408"/>
                    </a:lnTo>
                    <a:lnTo>
                      <a:pt x="372" y="410"/>
                    </a:lnTo>
                    <a:lnTo>
                      <a:pt x="374" y="410"/>
                    </a:lnTo>
                    <a:lnTo>
                      <a:pt x="375" y="410"/>
                    </a:lnTo>
                    <a:lnTo>
                      <a:pt x="377" y="412"/>
                    </a:lnTo>
                    <a:lnTo>
                      <a:pt x="379" y="410"/>
                    </a:lnTo>
                    <a:lnTo>
                      <a:pt x="380" y="410"/>
                    </a:lnTo>
                    <a:lnTo>
                      <a:pt x="382" y="409"/>
                    </a:lnTo>
                    <a:lnTo>
                      <a:pt x="384" y="405"/>
                    </a:lnTo>
                    <a:lnTo>
                      <a:pt x="384" y="403"/>
                    </a:lnTo>
                    <a:lnTo>
                      <a:pt x="379" y="398"/>
                    </a:lnTo>
                    <a:lnTo>
                      <a:pt x="379" y="397"/>
                    </a:lnTo>
                    <a:lnTo>
                      <a:pt x="379" y="396"/>
                    </a:lnTo>
                    <a:lnTo>
                      <a:pt x="378" y="395"/>
                    </a:lnTo>
                    <a:lnTo>
                      <a:pt x="381" y="392"/>
                    </a:lnTo>
                    <a:lnTo>
                      <a:pt x="381" y="387"/>
                    </a:lnTo>
                    <a:lnTo>
                      <a:pt x="384" y="382"/>
                    </a:lnTo>
                    <a:lnTo>
                      <a:pt x="384" y="376"/>
                    </a:lnTo>
                    <a:lnTo>
                      <a:pt x="386" y="375"/>
                    </a:lnTo>
                    <a:lnTo>
                      <a:pt x="386" y="374"/>
                    </a:lnTo>
                    <a:lnTo>
                      <a:pt x="389" y="374"/>
                    </a:lnTo>
                    <a:lnTo>
                      <a:pt x="389" y="372"/>
                    </a:lnTo>
                    <a:lnTo>
                      <a:pt x="388" y="369"/>
                    </a:lnTo>
                    <a:lnTo>
                      <a:pt x="387" y="369"/>
                    </a:lnTo>
                    <a:lnTo>
                      <a:pt x="387" y="365"/>
                    </a:lnTo>
                    <a:lnTo>
                      <a:pt x="388" y="359"/>
                    </a:lnTo>
                    <a:lnTo>
                      <a:pt x="391" y="359"/>
                    </a:lnTo>
                    <a:lnTo>
                      <a:pt x="392" y="351"/>
                    </a:lnTo>
                    <a:lnTo>
                      <a:pt x="393" y="352"/>
                    </a:lnTo>
                    <a:lnTo>
                      <a:pt x="393" y="350"/>
                    </a:lnTo>
                    <a:lnTo>
                      <a:pt x="394" y="348"/>
                    </a:lnTo>
                    <a:lnTo>
                      <a:pt x="395" y="346"/>
                    </a:lnTo>
                    <a:lnTo>
                      <a:pt x="395" y="340"/>
                    </a:lnTo>
                    <a:lnTo>
                      <a:pt x="393" y="339"/>
                    </a:lnTo>
                    <a:lnTo>
                      <a:pt x="393" y="336"/>
                    </a:lnTo>
                    <a:lnTo>
                      <a:pt x="392" y="335"/>
                    </a:lnTo>
                    <a:lnTo>
                      <a:pt x="392" y="333"/>
                    </a:lnTo>
                    <a:lnTo>
                      <a:pt x="394" y="332"/>
                    </a:lnTo>
                    <a:lnTo>
                      <a:pt x="395" y="331"/>
                    </a:lnTo>
                    <a:lnTo>
                      <a:pt x="395" y="328"/>
                    </a:lnTo>
                    <a:lnTo>
                      <a:pt x="393" y="327"/>
                    </a:lnTo>
                    <a:lnTo>
                      <a:pt x="393" y="321"/>
                    </a:lnTo>
                    <a:lnTo>
                      <a:pt x="393" y="318"/>
                    </a:lnTo>
                    <a:lnTo>
                      <a:pt x="394" y="314"/>
                    </a:lnTo>
                    <a:lnTo>
                      <a:pt x="395" y="310"/>
                    </a:lnTo>
                    <a:lnTo>
                      <a:pt x="395" y="311"/>
                    </a:lnTo>
                    <a:lnTo>
                      <a:pt x="397" y="307"/>
                    </a:lnTo>
                    <a:lnTo>
                      <a:pt x="400" y="306"/>
                    </a:lnTo>
                    <a:lnTo>
                      <a:pt x="401" y="305"/>
                    </a:lnTo>
                    <a:lnTo>
                      <a:pt x="401" y="304"/>
                    </a:lnTo>
                    <a:lnTo>
                      <a:pt x="402" y="299"/>
                    </a:lnTo>
                    <a:lnTo>
                      <a:pt x="401" y="299"/>
                    </a:lnTo>
                    <a:lnTo>
                      <a:pt x="400" y="297"/>
                    </a:lnTo>
                    <a:lnTo>
                      <a:pt x="402" y="294"/>
                    </a:lnTo>
                    <a:lnTo>
                      <a:pt x="403" y="295"/>
                    </a:lnTo>
                    <a:lnTo>
                      <a:pt x="406" y="295"/>
                    </a:lnTo>
                    <a:lnTo>
                      <a:pt x="407" y="293"/>
                    </a:lnTo>
                    <a:lnTo>
                      <a:pt x="409" y="292"/>
                    </a:lnTo>
                    <a:lnTo>
                      <a:pt x="410" y="295"/>
                    </a:lnTo>
                    <a:lnTo>
                      <a:pt x="414" y="297"/>
                    </a:lnTo>
                    <a:lnTo>
                      <a:pt x="418" y="296"/>
                    </a:lnTo>
                    <a:lnTo>
                      <a:pt x="420" y="297"/>
                    </a:lnTo>
                    <a:lnTo>
                      <a:pt x="421" y="301"/>
                    </a:lnTo>
                    <a:lnTo>
                      <a:pt x="420" y="302"/>
                    </a:lnTo>
                    <a:lnTo>
                      <a:pt x="420" y="303"/>
                    </a:lnTo>
                    <a:lnTo>
                      <a:pt x="420" y="305"/>
                    </a:lnTo>
                    <a:lnTo>
                      <a:pt x="426" y="306"/>
                    </a:lnTo>
                    <a:lnTo>
                      <a:pt x="430" y="308"/>
                    </a:lnTo>
                    <a:lnTo>
                      <a:pt x="431" y="306"/>
                    </a:lnTo>
                    <a:lnTo>
                      <a:pt x="433" y="306"/>
                    </a:lnTo>
                    <a:lnTo>
                      <a:pt x="435" y="307"/>
                    </a:lnTo>
                    <a:lnTo>
                      <a:pt x="436" y="306"/>
                    </a:lnTo>
                    <a:lnTo>
                      <a:pt x="437" y="307"/>
                    </a:lnTo>
                    <a:lnTo>
                      <a:pt x="439" y="306"/>
                    </a:lnTo>
                    <a:lnTo>
                      <a:pt x="439" y="308"/>
                    </a:lnTo>
                    <a:lnTo>
                      <a:pt x="444" y="311"/>
                    </a:lnTo>
                    <a:lnTo>
                      <a:pt x="444" y="314"/>
                    </a:lnTo>
                    <a:lnTo>
                      <a:pt x="443" y="314"/>
                    </a:lnTo>
                    <a:lnTo>
                      <a:pt x="442" y="315"/>
                    </a:lnTo>
                    <a:lnTo>
                      <a:pt x="442" y="316"/>
                    </a:lnTo>
                    <a:lnTo>
                      <a:pt x="445" y="318"/>
                    </a:lnTo>
                    <a:lnTo>
                      <a:pt x="445" y="319"/>
                    </a:lnTo>
                    <a:lnTo>
                      <a:pt x="444" y="320"/>
                    </a:lnTo>
                    <a:lnTo>
                      <a:pt x="446" y="322"/>
                    </a:lnTo>
                    <a:lnTo>
                      <a:pt x="446" y="325"/>
                    </a:lnTo>
                    <a:lnTo>
                      <a:pt x="446" y="326"/>
                    </a:lnTo>
                    <a:lnTo>
                      <a:pt x="444" y="327"/>
                    </a:lnTo>
                    <a:lnTo>
                      <a:pt x="441" y="332"/>
                    </a:lnTo>
                    <a:lnTo>
                      <a:pt x="443" y="335"/>
                    </a:lnTo>
                    <a:lnTo>
                      <a:pt x="444" y="334"/>
                    </a:lnTo>
                    <a:lnTo>
                      <a:pt x="445" y="335"/>
                    </a:lnTo>
                    <a:lnTo>
                      <a:pt x="448" y="333"/>
                    </a:lnTo>
                    <a:lnTo>
                      <a:pt x="450" y="335"/>
                    </a:lnTo>
                    <a:lnTo>
                      <a:pt x="454" y="331"/>
                    </a:lnTo>
                    <a:lnTo>
                      <a:pt x="456" y="331"/>
                    </a:lnTo>
                    <a:lnTo>
                      <a:pt x="458" y="329"/>
                    </a:lnTo>
                    <a:lnTo>
                      <a:pt x="459" y="329"/>
                    </a:lnTo>
                    <a:lnTo>
                      <a:pt x="462" y="329"/>
                    </a:lnTo>
                    <a:lnTo>
                      <a:pt x="466" y="330"/>
                    </a:lnTo>
                    <a:lnTo>
                      <a:pt x="467" y="330"/>
                    </a:lnTo>
                    <a:lnTo>
                      <a:pt x="471" y="333"/>
                    </a:lnTo>
                    <a:lnTo>
                      <a:pt x="472" y="331"/>
                    </a:lnTo>
                    <a:lnTo>
                      <a:pt x="474" y="331"/>
                    </a:lnTo>
                    <a:lnTo>
                      <a:pt x="473" y="328"/>
                    </a:lnTo>
                    <a:lnTo>
                      <a:pt x="474" y="328"/>
                    </a:lnTo>
                    <a:lnTo>
                      <a:pt x="475" y="328"/>
                    </a:lnTo>
                    <a:lnTo>
                      <a:pt x="478" y="322"/>
                    </a:lnTo>
                    <a:lnTo>
                      <a:pt x="479" y="322"/>
                    </a:lnTo>
                    <a:lnTo>
                      <a:pt x="477" y="318"/>
                    </a:lnTo>
                    <a:lnTo>
                      <a:pt x="478" y="315"/>
                    </a:lnTo>
                    <a:lnTo>
                      <a:pt x="481" y="316"/>
                    </a:lnTo>
                    <a:lnTo>
                      <a:pt x="482" y="318"/>
                    </a:lnTo>
                    <a:lnTo>
                      <a:pt x="481" y="320"/>
                    </a:lnTo>
                    <a:lnTo>
                      <a:pt x="485" y="324"/>
                    </a:lnTo>
                    <a:lnTo>
                      <a:pt x="487" y="323"/>
                    </a:lnTo>
                    <a:lnTo>
                      <a:pt x="489" y="325"/>
                    </a:lnTo>
                    <a:lnTo>
                      <a:pt x="491" y="324"/>
                    </a:lnTo>
                    <a:lnTo>
                      <a:pt x="492" y="322"/>
                    </a:lnTo>
                    <a:lnTo>
                      <a:pt x="494" y="323"/>
                    </a:lnTo>
                    <a:lnTo>
                      <a:pt x="497" y="322"/>
                    </a:lnTo>
                    <a:lnTo>
                      <a:pt x="501" y="324"/>
                    </a:lnTo>
                    <a:lnTo>
                      <a:pt x="507" y="329"/>
                    </a:lnTo>
                    <a:lnTo>
                      <a:pt x="508" y="333"/>
                    </a:lnTo>
                    <a:lnTo>
                      <a:pt x="511" y="334"/>
                    </a:lnTo>
                    <a:lnTo>
                      <a:pt x="513" y="338"/>
                    </a:lnTo>
                    <a:lnTo>
                      <a:pt x="516" y="341"/>
                    </a:lnTo>
                    <a:lnTo>
                      <a:pt x="519" y="342"/>
                    </a:lnTo>
                    <a:lnTo>
                      <a:pt x="521" y="342"/>
                    </a:lnTo>
                    <a:lnTo>
                      <a:pt x="523" y="342"/>
                    </a:lnTo>
                    <a:lnTo>
                      <a:pt x="524" y="345"/>
                    </a:lnTo>
                    <a:lnTo>
                      <a:pt x="528" y="342"/>
                    </a:lnTo>
                    <a:lnTo>
                      <a:pt x="529" y="345"/>
                    </a:lnTo>
                    <a:lnTo>
                      <a:pt x="531" y="346"/>
                    </a:lnTo>
                    <a:lnTo>
                      <a:pt x="532" y="346"/>
                    </a:lnTo>
                    <a:lnTo>
                      <a:pt x="537" y="350"/>
                    </a:lnTo>
                    <a:lnTo>
                      <a:pt x="537" y="357"/>
                    </a:lnTo>
                    <a:lnTo>
                      <a:pt x="539" y="361"/>
                    </a:lnTo>
                    <a:lnTo>
                      <a:pt x="545" y="365"/>
                    </a:lnTo>
                    <a:lnTo>
                      <a:pt x="548" y="361"/>
                    </a:lnTo>
                    <a:lnTo>
                      <a:pt x="549" y="361"/>
                    </a:lnTo>
                    <a:lnTo>
                      <a:pt x="549" y="358"/>
                    </a:lnTo>
                    <a:lnTo>
                      <a:pt x="550" y="358"/>
                    </a:lnTo>
                    <a:lnTo>
                      <a:pt x="552" y="359"/>
                    </a:lnTo>
                    <a:lnTo>
                      <a:pt x="553" y="358"/>
                    </a:lnTo>
                    <a:lnTo>
                      <a:pt x="555" y="357"/>
                    </a:lnTo>
                    <a:lnTo>
                      <a:pt x="552" y="356"/>
                    </a:lnTo>
                    <a:lnTo>
                      <a:pt x="554" y="354"/>
                    </a:lnTo>
                    <a:lnTo>
                      <a:pt x="555" y="355"/>
                    </a:lnTo>
                    <a:lnTo>
                      <a:pt x="555" y="353"/>
                    </a:lnTo>
                    <a:lnTo>
                      <a:pt x="555" y="352"/>
                    </a:lnTo>
                    <a:lnTo>
                      <a:pt x="554" y="352"/>
                    </a:lnTo>
                    <a:lnTo>
                      <a:pt x="554" y="351"/>
                    </a:lnTo>
                    <a:lnTo>
                      <a:pt x="553" y="352"/>
                    </a:lnTo>
                    <a:lnTo>
                      <a:pt x="552" y="350"/>
                    </a:lnTo>
                    <a:lnTo>
                      <a:pt x="553" y="348"/>
                    </a:lnTo>
                    <a:lnTo>
                      <a:pt x="555" y="348"/>
                    </a:lnTo>
                    <a:lnTo>
                      <a:pt x="555" y="350"/>
                    </a:lnTo>
                    <a:lnTo>
                      <a:pt x="557" y="351"/>
                    </a:lnTo>
                    <a:lnTo>
                      <a:pt x="558" y="351"/>
                    </a:lnTo>
                    <a:lnTo>
                      <a:pt x="559" y="350"/>
                    </a:lnTo>
                    <a:lnTo>
                      <a:pt x="560" y="348"/>
                    </a:lnTo>
                    <a:lnTo>
                      <a:pt x="557" y="345"/>
                    </a:lnTo>
                    <a:lnTo>
                      <a:pt x="558" y="343"/>
                    </a:lnTo>
                    <a:lnTo>
                      <a:pt x="559" y="342"/>
                    </a:lnTo>
                    <a:lnTo>
                      <a:pt x="559" y="341"/>
                    </a:lnTo>
                    <a:lnTo>
                      <a:pt x="560" y="340"/>
                    </a:lnTo>
                    <a:lnTo>
                      <a:pt x="556" y="337"/>
                    </a:lnTo>
                    <a:lnTo>
                      <a:pt x="552" y="335"/>
                    </a:lnTo>
                    <a:lnTo>
                      <a:pt x="550" y="335"/>
                    </a:lnTo>
                    <a:lnTo>
                      <a:pt x="546" y="334"/>
                    </a:lnTo>
                    <a:lnTo>
                      <a:pt x="545" y="333"/>
                    </a:lnTo>
                    <a:lnTo>
                      <a:pt x="544" y="331"/>
                    </a:lnTo>
                    <a:lnTo>
                      <a:pt x="545" y="329"/>
                    </a:lnTo>
                    <a:lnTo>
                      <a:pt x="545" y="327"/>
                    </a:lnTo>
                    <a:lnTo>
                      <a:pt x="546" y="326"/>
                    </a:lnTo>
                    <a:lnTo>
                      <a:pt x="545" y="324"/>
                    </a:lnTo>
                    <a:lnTo>
                      <a:pt x="544" y="323"/>
                    </a:lnTo>
                    <a:lnTo>
                      <a:pt x="542" y="322"/>
                    </a:lnTo>
                    <a:lnTo>
                      <a:pt x="540" y="324"/>
                    </a:lnTo>
                    <a:lnTo>
                      <a:pt x="538" y="324"/>
                    </a:lnTo>
                    <a:lnTo>
                      <a:pt x="537" y="325"/>
                    </a:lnTo>
                    <a:lnTo>
                      <a:pt x="535" y="322"/>
                    </a:lnTo>
                    <a:lnTo>
                      <a:pt x="537" y="320"/>
                    </a:lnTo>
                    <a:lnTo>
                      <a:pt x="537" y="318"/>
                    </a:lnTo>
                    <a:lnTo>
                      <a:pt x="539" y="317"/>
                    </a:lnTo>
                    <a:lnTo>
                      <a:pt x="541" y="317"/>
                    </a:lnTo>
                    <a:lnTo>
                      <a:pt x="542" y="315"/>
                    </a:lnTo>
                    <a:lnTo>
                      <a:pt x="543" y="313"/>
                    </a:lnTo>
                    <a:lnTo>
                      <a:pt x="545" y="314"/>
                    </a:lnTo>
                    <a:lnTo>
                      <a:pt x="545" y="311"/>
                    </a:lnTo>
                    <a:lnTo>
                      <a:pt x="547" y="312"/>
                    </a:lnTo>
                    <a:lnTo>
                      <a:pt x="548" y="311"/>
                    </a:lnTo>
                    <a:lnTo>
                      <a:pt x="549" y="310"/>
                    </a:lnTo>
                    <a:lnTo>
                      <a:pt x="548" y="309"/>
                    </a:lnTo>
                    <a:lnTo>
                      <a:pt x="550" y="307"/>
                    </a:lnTo>
                    <a:lnTo>
                      <a:pt x="548" y="306"/>
                    </a:lnTo>
                    <a:lnTo>
                      <a:pt x="549" y="306"/>
                    </a:lnTo>
                    <a:lnTo>
                      <a:pt x="548" y="305"/>
                    </a:lnTo>
                    <a:lnTo>
                      <a:pt x="549" y="303"/>
                    </a:lnTo>
                    <a:lnTo>
                      <a:pt x="552" y="303"/>
                    </a:lnTo>
                    <a:lnTo>
                      <a:pt x="555" y="302"/>
                    </a:lnTo>
                    <a:lnTo>
                      <a:pt x="556" y="299"/>
                    </a:lnTo>
                    <a:lnTo>
                      <a:pt x="554" y="298"/>
                    </a:lnTo>
                    <a:lnTo>
                      <a:pt x="555" y="295"/>
                    </a:lnTo>
                    <a:lnTo>
                      <a:pt x="554" y="295"/>
                    </a:lnTo>
                    <a:lnTo>
                      <a:pt x="554" y="294"/>
                    </a:lnTo>
                    <a:lnTo>
                      <a:pt x="557" y="294"/>
                    </a:lnTo>
                    <a:lnTo>
                      <a:pt x="558" y="295"/>
                    </a:lnTo>
                    <a:lnTo>
                      <a:pt x="559" y="291"/>
                    </a:lnTo>
                    <a:lnTo>
                      <a:pt x="557" y="289"/>
                    </a:lnTo>
                    <a:lnTo>
                      <a:pt x="558" y="287"/>
                    </a:lnTo>
                    <a:lnTo>
                      <a:pt x="562" y="289"/>
                    </a:lnTo>
                    <a:lnTo>
                      <a:pt x="565" y="289"/>
                    </a:lnTo>
                    <a:lnTo>
                      <a:pt x="565" y="290"/>
                    </a:lnTo>
                    <a:lnTo>
                      <a:pt x="566" y="289"/>
                    </a:lnTo>
                    <a:lnTo>
                      <a:pt x="567" y="290"/>
                    </a:lnTo>
                    <a:lnTo>
                      <a:pt x="569" y="290"/>
                    </a:lnTo>
                    <a:lnTo>
                      <a:pt x="570" y="289"/>
                    </a:lnTo>
                    <a:lnTo>
                      <a:pt x="570" y="287"/>
                    </a:lnTo>
                    <a:lnTo>
                      <a:pt x="569" y="284"/>
                    </a:lnTo>
                    <a:lnTo>
                      <a:pt x="572" y="284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27" name="Group 77">
              <a:extLst>
                <a:ext uri="{FF2B5EF4-FFF2-40B4-BE49-F238E27FC236}">
                  <a16:creationId xmlns:a16="http://schemas.microsoft.com/office/drawing/2014/main" id="{63DB5FAC-3B5E-C1F5-D575-03A6DC1CE15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308" y="3431"/>
              <a:ext cx="579" cy="487"/>
              <a:chOff x="1308" y="3431"/>
              <a:chExt cx="579" cy="487"/>
            </a:xfrm>
          </p:grpSpPr>
          <p:sp>
            <p:nvSpPr>
              <p:cNvPr id="176" name="Freeform 75">
                <a:extLst>
                  <a:ext uri="{FF2B5EF4-FFF2-40B4-BE49-F238E27FC236}">
                    <a16:creationId xmlns:a16="http://schemas.microsoft.com/office/drawing/2014/main" id="{115CC5E0-8AC9-56F9-DC46-04D20D1408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8" y="3431"/>
                <a:ext cx="579" cy="487"/>
              </a:xfrm>
              <a:custGeom>
                <a:avLst/>
                <a:gdLst>
                  <a:gd name="T0" fmla="*/ 545 w 579"/>
                  <a:gd name="T1" fmla="*/ 345 h 487"/>
                  <a:gd name="T2" fmla="*/ 506 w 579"/>
                  <a:gd name="T3" fmla="*/ 331 h 487"/>
                  <a:gd name="T4" fmla="*/ 490 w 579"/>
                  <a:gd name="T5" fmla="*/ 310 h 487"/>
                  <a:gd name="T6" fmla="*/ 473 w 579"/>
                  <a:gd name="T7" fmla="*/ 285 h 487"/>
                  <a:gd name="T8" fmla="*/ 442 w 579"/>
                  <a:gd name="T9" fmla="*/ 263 h 487"/>
                  <a:gd name="T10" fmla="*/ 468 w 579"/>
                  <a:gd name="T11" fmla="*/ 236 h 487"/>
                  <a:gd name="T12" fmla="*/ 453 w 579"/>
                  <a:gd name="T13" fmla="*/ 212 h 487"/>
                  <a:gd name="T14" fmla="*/ 460 w 579"/>
                  <a:gd name="T15" fmla="*/ 176 h 487"/>
                  <a:gd name="T16" fmla="*/ 438 w 579"/>
                  <a:gd name="T17" fmla="*/ 146 h 487"/>
                  <a:gd name="T18" fmla="*/ 435 w 579"/>
                  <a:gd name="T19" fmla="*/ 123 h 487"/>
                  <a:gd name="T20" fmla="*/ 428 w 579"/>
                  <a:gd name="T21" fmla="*/ 117 h 487"/>
                  <a:gd name="T22" fmla="*/ 420 w 579"/>
                  <a:gd name="T23" fmla="*/ 91 h 487"/>
                  <a:gd name="T24" fmla="*/ 393 w 579"/>
                  <a:gd name="T25" fmla="*/ 76 h 487"/>
                  <a:gd name="T26" fmla="*/ 398 w 579"/>
                  <a:gd name="T27" fmla="*/ 91 h 487"/>
                  <a:gd name="T28" fmla="*/ 391 w 579"/>
                  <a:gd name="T29" fmla="*/ 118 h 487"/>
                  <a:gd name="T30" fmla="*/ 378 w 579"/>
                  <a:gd name="T31" fmla="*/ 99 h 487"/>
                  <a:gd name="T32" fmla="*/ 373 w 579"/>
                  <a:gd name="T33" fmla="*/ 62 h 487"/>
                  <a:gd name="T34" fmla="*/ 371 w 579"/>
                  <a:gd name="T35" fmla="*/ 49 h 487"/>
                  <a:gd name="T36" fmla="*/ 362 w 579"/>
                  <a:gd name="T37" fmla="*/ 25 h 487"/>
                  <a:gd name="T38" fmla="*/ 373 w 579"/>
                  <a:gd name="T39" fmla="*/ 23 h 487"/>
                  <a:gd name="T40" fmla="*/ 330 w 579"/>
                  <a:gd name="T41" fmla="*/ 0 h 487"/>
                  <a:gd name="T42" fmla="*/ 307 w 579"/>
                  <a:gd name="T43" fmla="*/ 13 h 487"/>
                  <a:gd name="T44" fmla="*/ 280 w 579"/>
                  <a:gd name="T45" fmla="*/ 10 h 487"/>
                  <a:gd name="T46" fmla="*/ 261 w 579"/>
                  <a:gd name="T47" fmla="*/ 33 h 487"/>
                  <a:gd name="T48" fmla="*/ 254 w 579"/>
                  <a:gd name="T49" fmla="*/ 57 h 487"/>
                  <a:gd name="T50" fmla="*/ 252 w 579"/>
                  <a:gd name="T51" fmla="*/ 92 h 487"/>
                  <a:gd name="T52" fmla="*/ 251 w 579"/>
                  <a:gd name="T53" fmla="*/ 123 h 487"/>
                  <a:gd name="T54" fmla="*/ 226 w 579"/>
                  <a:gd name="T55" fmla="*/ 142 h 487"/>
                  <a:gd name="T56" fmla="*/ 219 w 579"/>
                  <a:gd name="T57" fmla="*/ 166 h 487"/>
                  <a:gd name="T58" fmla="*/ 214 w 579"/>
                  <a:gd name="T59" fmla="*/ 198 h 487"/>
                  <a:gd name="T60" fmla="*/ 206 w 579"/>
                  <a:gd name="T61" fmla="*/ 219 h 487"/>
                  <a:gd name="T62" fmla="*/ 198 w 579"/>
                  <a:gd name="T63" fmla="*/ 242 h 487"/>
                  <a:gd name="T64" fmla="*/ 170 w 579"/>
                  <a:gd name="T65" fmla="*/ 260 h 487"/>
                  <a:gd name="T66" fmla="*/ 148 w 579"/>
                  <a:gd name="T67" fmla="*/ 257 h 487"/>
                  <a:gd name="T68" fmla="*/ 127 w 579"/>
                  <a:gd name="T69" fmla="*/ 257 h 487"/>
                  <a:gd name="T70" fmla="*/ 106 w 579"/>
                  <a:gd name="T71" fmla="*/ 257 h 487"/>
                  <a:gd name="T72" fmla="*/ 90 w 579"/>
                  <a:gd name="T73" fmla="*/ 264 h 487"/>
                  <a:gd name="T74" fmla="*/ 59 w 579"/>
                  <a:gd name="T75" fmla="*/ 283 h 487"/>
                  <a:gd name="T76" fmla="*/ 38 w 579"/>
                  <a:gd name="T77" fmla="*/ 284 h 487"/>
                  <a:gd name="T78" fmla="*/ 15 w 579"/>
                  <a:gd name="T79" fmla="*/ 281 h 487"/>
                  <a:gd name="T80" fmla="*/ 7 w 579"/>
                  <a:gd name="T81" fmla="*/ 292 h 487"/>
                  <a:gd name="T82" fmla="*/ 39 w 579"/>
                  <a:gd name="T83" fmla="*/ 331 h 487"/>
                  <a:gd name="T84" fmla="*/ 85 w 579"/>
                  <a:gd name="T85" fmla="*/ 337 h 487"/>
                  <a:gd name="T86" fmla="*/ 102 w 579"/>
                  <a:gd name="T87" fmla="*/ 349 h 487"/>
                  <a:gd name="T88" fmla="*/ 146 w 579"/>
                  <a:gd name="T89" fmla="*/ 397 h 487"/>
                  <a:gd name="T90" fmla="*/ 212 w 579"/>
                  <a:gd name="T91" fmla="*/ 410 h 487"/>
                  <a:gd name="T92" fmla="*/ 231 w 579"/>
                  <a:gd name="T93" fmla="*/ 410 h 487"/>
                  <a:gd name="T94" fmla="*/ 265 w 579"/>
                  <a:gd name="T95" fmla="*/ 387 h 487"/>
                  <a:gd name="T96" fmla="*/ 308 w 579"/>
                  <a:gd name="T97" fmla="*/ 415 h 487"/>
                  <a:gd name="T98" fmla="*/ 328 w 579"/>
                  <a:gd name="T99" fmla="*/ 433 h 487"/>
                  <a:gd name="T100" fmla="*/ 369 w 579"/>
                  <a:gd name="T101" fmla="*/ 443 h 487"/>
                  <a:gd name="T102" fmla="*/ 369 w 579"/>
                  <a:gd name="T103" fmla="*/ 471 h 487"/>
                  <a:gd name="T104" fmla="*/ 381 w 579"/>
                  <a:gd name="T105" fmla="*/ 483 h 487"/>
                  <a:gd name="T106" fmla="*/ 388 w 579"/>
                  <a:gd name="T107" fmla="*/ 454 h 487"/>
                  <a:gd name="T108" fmla="*/ 396 w 579"/>
                  <a:gd name="T109" fmla="*/ 444 h 487"/>
                  <a:gd name="T110" fmla="*/ 409 w 579"/>
                  <a:gd name="T111" fmla="*/ 422 h 487"/>
                  <a:gd name="T112" fmla="*/ 421 w 579"/>
                  <a:gd name="T113" fmla="*/ 413 h 487"/>
                  <a:gd name="T114" fmla="*/ 440 w 579"/>
                  <a:gd name="T115" fmla="*/ 389 h 487"/>
                  <a:gd name="T116" fmla="*/ 450 w 579"/>
                  <a:gd name="T117" fmla="*/ 376 h 487"/>
                  <a:gd name="T118" fmla="*/ 484 w 579"/>
                  <a:gd name="T119" fmla="*/ 391 h 487"/>
                  <a:gd name="T120" fmla="*/ 525 w 579"/>
                  <a:gd name="T121" fmla="*/ 394 h 487"/>
                  <a:gd name="T122" fmla="*/ 579 w 579"/>
                  <a:gd name="T123" fmla="*/ 397 h 487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79"/>
                  <a:gd name="T187" fmla="*/ 0 h 487"/>
                  <a:gd name="T188" fmla="*/ 579 w 579"/>
                  <a:gd name="T189" fmla="*/ 487 h 487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79" h="487">
                    <a:moveTo>
                      <a:pt x="577" y="389"/>
                    </a:moveTo>
                    <a:lnTo>
                      <a:pt x="577" y="387"/>
                    </a:lnTo>
                    <a:lnTo>
                      <a:pt x="577" y="386"/>
                    </a:lnTo>
                    <a:lnTo>
                      <a:pt x="578" y="385"/>
                    </a:lnTo>
                    <a:lnTo>
                      <a:pt x="575" y="386"/>
                    </a:lnTo>
                    <a:lnTo>
                      <a:pt x="574" y="384"/>
                    </a:lnTo>
                    <a:lnTo>
                      <a:pt x="574" y="382"/>
                    </a:lnTo>
                    <a:lnTo>
                      <a:pt x="572" y="378"/>
                    </a:lnTo>
                    <a:lnTo>
                      <a:pt x="569" y="369"/>
                    </a:lnTo>
                    <a:lnTo>
                      <a:pt x="564" y="369"/>
                    </a:lnTo>
                    <a:lnTo>
                      <a:pt x="559" y="362"/>
                    </a:lnTo>
                    <a:lnTo>
                      <a:pt x="557" y="362"/>
                    </a:lnTo>
                    <a:lnTo>
                      <a:pt x="555" y="364"/>
                    </a:lnTo>
                    <a:lnTo>
                      <a:pt x="552" y="361"/>
                    </a:lnTo>
                    <a:lnTo>
                      <a:pt x="556" y="355"/>
                    </a:lnTo>
                    <a:lnTo>
                      <a:pt x="556" y="353"/>
                    </a:lnTo>
                    <a:lnTo>
                      <a:pt x="557" y="352"/>
                    </a:lnTo>
                    <a:lnTo>
                      <a:pt x="554" y="349"/>
                    </a:lnTo>
                    <a:lnTo>
                      <a:pt x="549" y="345"/>
                    </a:lnTo>
                    <a:lnTo>
                      <a:pt x="545" y="346"/>
                    </a:lnTo>
                    <a:lnTo>
                      <a:pt x="545" y="345"/>
                    </a:lnTo>
                    <a:lnTo>
                      <a:pt x="543" y="339"/>
                    </a:lnTo>
                    <a:lnTo>
                      <a:pt x="543" y="342"/>
                    </a:lnTo>
                    <a:lnTo>
                      <a:pt x="537" y="344"/>
                    </a:lnTo>
                    <a:lnTo>
                      <a:pt x="535" y="341"/>
                    </a:lnTo>
                    <a:lnTo>
                      <a:pt x="534" y="341"/>
                    </a:lnTo>
                    <a:lnTo>
                      <a:pt x="531" y="342"/>
                    </a:lnTo>
                    <a:lnTo>
                      <a:pt x="531" y="341"/>
                    </a:lnTo>
                    <a:lnTo>
                      <a:pt x="530" y="342"/>
                    </a:lnTo>
                    <a:lnTo>
                      <a:pt x="529" y="342"/>
                    </a:lnTo>
                    <a:lnTo>
                      <a:pt x="524" y="345"/>
                    </a:lnTo>
                    <a:lnTo>
                      <a:pt x="521" y="341"/>
                    </a:lnTo>
                    <a:lnTo>
                      <a:pt x="520" y="341"/>
                    </a:lnTo>
                    <a:lnTo>
                      <a:pt x="517" y="336"/>
                    </a:lnTo>
                    <a:lnTo>
                      <a:pt x="515" y="334"/>
                    </a:lnTo>
                    <a:lnTo>
                      <a:pt x="515" y="329"/>
                    </a:lnTo>
                    <a:lnTo>
                      <a:pt x="510" y="330"/>
                    </a:lnTo>
                    <a:lnTo>
                      <a:pt x="509" y="332"/>
                    </a:lnTo>
                    <a:lnTo>
                      <a:pt x="509" y="331"/>
                    </a:lnTo>
                    <a:lnTo>
                      <a:pt x="508" y="331"/>
                    </a:lnTo>
                    <a:lnTo>
                      <a:pt x="507" y="331"/>
                    </a:lnTo>
                    <a:lnTo>
                      <a:pt x="506" y="331"/>
                    </a:lnTo>
                    <a:lnTo>
                      <a:pt x="504" y="330"/>
                    </a:lnTo>
                    <a:lnTo>
                      <a:pt x="503" y="329"/>
                    </a:lnTo>
                    <a:lnTo>
                      <a:pt x="504" y="328"/>
                    </a:lnTo>
                    <a:lnTo>
                      <a:pt x="503" y="327"/>
                    </a:lnTo>
                    <a:lnTo>
                      <a:pt x="505" y="325"/>
                    </a:lnTo>
                    <a:lnTo>
                      <a:pt x="505" y="324"/>
                    </a:lnTo>
                    <a:lnTo>
                      <a:pt x="506" y="322"/>
                    </a:lnTo>
                    <a:lnTo>
                      <a:pt x="505" y="321"/>
                    </a:lnTo>
                    <a:lnTo>
                      <a:pt x="506" y="318"/>
                    </a:lnTo>
                    <a:lnTo>
                      <a:pt x="504" y="315"/>
                    </a:lnTo>
                    <a:lnTo>
                      <a:pt x="504" y="317"/>
                    </a:lnTo>
                    <a:lnTo>
                      <a:pt x="501" y="315"/>
                    </a:lnTo>
                    <a:lnTo>
                      <a:pt x="502" y="314"/>
                    </a:lnTo>
                    <a:lnTo>
                      <a:pt x="500" y="312"/>
                    </a:lnTo>
                    <a:lnTo>
                      <a:pt x="497" y="313"/>
                    </a:lnTo>
                    <a:lnTo>
                      <a:pt x="496" y="312"/>
                    </a:lnTo>
                    <a:lnTo>
                      <a:pt x="493" y="312"/>
                    </a:lnTo>
                    <a:lnTo>
                      <a:pt x="492" y="310"/>
                    </a:lnTo>
                    <a:lnTo>
                      <a:pt x="491" y="310"/>
                    </a:lnTo>
                    <a:lnTo>
                      <a:pt x="490" y="310"/>
                    </a:lnTo>
                    <a:lnTo>
                      <a:pt x="488" y="310"/>
                    </a:lnTo>
                    <a:lnTo>
                      <a:pt x="486" y="309"/>
                    </a:lnTo>
                    <a:lnTo>
                      <a:pt x="485" y="310"/>
                    </a:lnTo>
                    <a:lnTo>
                      <a:pt x="483" y="310"/>
                    </a:lnTo>
                    <a:lnTo>
                      <a:pt x="484" y="305"/>
                    </a:lnTo>
                    <a:lnTo>
                      <a:pt x="482" y="304"/>
                    </a:lnTo>
                    <a:lnTo>
                      <a:pt x="482" y="301"/>
                    </a:lnTo>
                    <a:lnTo>
                      <a:pt x="480" y="301"/>
                    </a:lnTo>
                    <a:lnTo>
                      <a:pt x="478" y="302"/>
                    </a:lnTo>
                    <a:lnTo>
                      <a:pt x="478" y="298"/>
                    </a:lnTo>
                    <a:lnTo>
                      <a:pt x="471" y="297"/>
                    </a:lnTo>
                    <a:lnTo>
                      <a:pt x="470" y="299"/>
                    </a:lnTo>
                    <a:lnTo>
                      <a:pt x="469" y="300"/>
                    </a:lnTo>
                    <a:lnTo>
                      <a:pt x="468" y="299"/>
                    </a:lnTo>
                    <a:lnTo>
                      <a:pt x="469" y="297"/>
                    </a:lnTo>
                    <a:lnTo>
                      <a:pt x="470" y="295"/>
                    </a:lnTo>
                    <a:lnTo>
                      <a:pt x="470" y="294"/>
                    </a:lnTo>
                    <a:lnTo>
                      <a:pt x="472" y="291"/>
                    </a:lnTo>
                    <a:lnTo>
                      <a:pt x="473" y="289"/>
                    </a:lnTo>
                    <a:lnTo>
                      <a:pt x="473" y="285"/>
                    </a:lnTo>
                    <a:lnTo>
                      <a:pt x="473" y="284"/>
                    </a:lnTo>
                    <a:lnTo>
                      <a:pt x="473" y="282"/>
                    </a:lnTo>
                    <a:lnTo>
                      <a:pt x="472" y="280"/>
                    </a:lnTo>
                    <a:lnTo>
                      <a:pt x="470" y="280"/>
                    </a:lnTo>
                    <a:lnTo>
                      <a:pt x="470" y="273"/>
                    </a:lnTo>
                    <a:lnTo>
                      <a:pt x="469" y="272"/>
                    </a:lnTo>
                    <a:lnTo>
                      <a:pt x="466" y="272"/>
                    </a:lnTo>
                    <a:lnTo>
                      <a:pt x="461" y="274"/>
                    </a:lnTo>
                    <a:lnTo>
                      <a:pt x="457" y="275"/>
                    </a:lnTo>
                    <a:lnTo>
                      <a:pt x="455" y="276"/>
                    </a:lnTo>
                    <a:lnTo>
                      <a:pt x="454" y="275"/>
                    </a:lnTo>
                    <a:lnTo>
                      <a:pt x="453" y="276"/>
                    </a:lnTo>
                    <a:lnTo>
                      <a:pt x="452" y="276"/>
                    </a:lnTo>
                    <a:lnTo>
                      <a:pt x="450" y="278"/>
                    </a:lnTo>
                    <a:lnTo>
                      <a:pt x="449" y="277"/>
                    </a:lnTo>
                    <a:lnTo>
                      <a:pt x="447" y="278"/>
                    </a:lnTo>
                    <a:lnTo>
                      <a:pt x="441" y="276"/>
                    </a:lnTo>
                    <a:lnTo>
                      <a:pt x="443" y="274"/>
                    </a:lnTo>
                    <a:lnTo>
                      <a:pt x="444" y="272"/>
                    </a:lnTo>
                    <a:lnTo>
                      <a:pt x="443" y="270"/>
                    </a:lnTo>
                    <a:lnTo>
                      <a:pt x="442" y="271"/>
                    </a:lnTo>
                    <a:lnTo>
                      <a:pt x="442" y="263"/>
                    </a:lnTo>
                    <a:lnTo>
                      <a:pt x="447" y="264"/>
                    </a:lnTo>
                    <a:lnTo>
                      <a:pt x="448" y="265"/>
                    </a:lnTo>
                    <a:lnTo>
                      <a:pt x="450" y="264"/>
                    </a:lnTo>
                    <a:lnTo>
                      <a:pt x="450" y="261"/>
                    </a:lnTo>
                    <a:lnTo>
                      <a:pt x="452" y="255"/>
                    </a:lnTo>
                    <a:lnTo>
                      <a:pt x="453" y="251"/>
                    </a:lnTo>
                    <a:lnTo>
                      <a:pt x="455" y="250"/>
                    </a:lnTo>
                    <a:lnTo>
                      <a:pt x="457" y="251"/>
                    </a:lnTo>
                    <a:lnTo>
                      <a:pt x="458" y="251"/>
                    </a:lnTo>
                    <a:lnTo>
                      <a:pt x="459" y="251"/>
                    </a:lnTo>
                    <a:lnTo>
                      <a:pt x="460" y="250"/>
                    </a:lnTo>
                    <a:lnTo>
                      <a:pt x="460" y="249"/>
                    </a:lnTo>
                    <a:lnTo>
                      <a:pt x="461" y="250"/>
                    </a:lnTo>
                    <a:lnTo>
                      <a:pt x="462" y="249"/>
                    </a:lnTo>
                    <a:lnTo>
                      <a:pt x="464" y="250"/>
                    </a:lnTo>
                    <a:lnTo>
                      <a:pt x="466" y="240"/>
                    </a:lnTo>
                    <a:lnTo>
                      <a:pt x="468" y="240"/>
                    </a:lnTo>
                    <a:lnTo>
                      <a:pt x="468" y="238"/>
                    </a:lnTo>
                    <a:lnTo>
                      <a:pt x="468" y="237"/>
                    </a:lnTo>
                    <a:lnTo>
                      <a:pt x="468" y="236"/>
                    </a:lnTo>
                    <a:lnTo>
                      <a:pt x="470" y="231"/>
                    </a:lnTo>
                    <a:lnTo>
                      <a:pt x="469" y="229"/>
                    </a:lnTo>
                    <a:lnTo>
                      <a:pt x="468" y="229"/>
                    </a:lnTo>
                    <a:lnTo>
                      <a:pt x="466" y="233"/>
                    </a:lnTo>
                    <a:lnTo>
                      <a:pt x="464" y="233"/>
                    </a:lnTo>
                    <a:lnTo>
                      <a:pt x="463" y="232"/>
                    </a:lnTo>
                    <a:lnTo>
                      <a:pt x="461" y="232"/>
                    </a:lnTo>
                    <a:lnTo>
                      <a:pt x="461" y="231"/>
                    </a:lnTo>
                    <a:lnTo>
                      <a:pt x="457" y="231"/>
                    </a:lnTo>
                    <a:lnTo>
                      <a:pt x="457" y="233"/>
                    </a:lnTo>
                    <a:lnTo>
                      <a:pt x="455" y="231"/>
                    </a:lnTo>
                    <a:lnTo>
                      <a:pt x="457" y="230"/>
                    </a:lnTo>
                    <a:lnTo>
                      <a:pt x="457" y="227"/>
                    </a:lnTo>
                    <a:lnTo>
                      <a:pt x="458" y="227"/>
                    </a:lnTo>
                    <a:lnTo>
                      <a:pt x="460" y="225"/>
                    </a:lnTo>
                    <a:lnTo>
                      <a:pt x="460" y="223"/>
                    </a:lnTo>
                    <a:lnTo>
                      <a:pt x="459" y="223"/>
                    </a:lnTo>
                    <a:lnTo>
                      <a:pt x="458" y="223"/>
                    </a:lnTo>
                    <a:lnTo>
                      <a:pt x="457" y="222"/>
                    </a:lnTo>
                    <a:lnTo>
                      <a:pt x="457" y="217"/>
                    </a:lnTo>
                    <a:lnTo>
                      <a:pt x="455" y="214"/>
                    </a:lnTo>
                    <a:lnTo>
                      <a:pt x="453" y="212"/>
                    </a:lnTo>
                    <a:lnTo>
                      <a:pt x="457" y="207"/>
                    </a:lnTo>
                    <a:lnTo>
                      <a:pt x="457" y="204"/>
                    </a:lnTo>
                    <a:lnTo>
                      <a:pt x="455" y="202"/>
                    </a:lnTo>
                    <a:lnTo>
                      <a:pt x="455" y="200"/>
                    </a:lnTo>
                    <a:lnTo>
                      <a:pt x="453" y="199"/>
                    </a:lnTo>
                    <a:lnTo>
                      <a:pt x="453" y="196"/>
                    </a:lnTo>
                    <a:lnTo>
                      <a:pt x="456" y="195"/>
                    </a:lnTo>
                    <a:lnTo>
                      <a:pt x="457" y="193"/>
                    </a:lnTo>
                    <a:lnTo>
                      <a:pt x="459" y="192"/>
                    </a:lnTo>
                    <a:lnTo>
                      <a:pt x="460" y="188"/>
                    </a:lnTo>
                    <a:lnTo>
                      <a:pt x="460" y="187"/>
                    </a:lnTo>
                    <a:lnTo>
                      <a:pt x="462" y="185"/>
                    </a:lnTo>
                    <a:lnTo>
                      <a:pt x="463" y="185"/>
                    </a:lnTo>
                    <a:lnTo>
                      <a:pt x="463" y="183"/>
                    </a:lnTo>
                    <a:lnTo>
                      <a:pt x="461" y="183"/>
                    </a:lnTo>
                    <a:lnTo>
                      <a:pt x="462" y="182"/>
                    </a:lnTo>
                    <a:lnTo>
                      <a:pt x="461" y="182"/>
                    </a:lnTo>
                    <a:lnTo>
                      <a:pt x="461" y="178"/>
                    </a:lnTo>
                    <a:lnTo>
                      <a:pt x="461" y="176"/>
                    </a:lnTo>
                    <a:lnTo>
                      <a:pt x="460" y="175"/>
                    </a:lnTo>
                    <a:lnTo>
                      <a:pt x="460" y="176"/>
                    </a:lnTo>
                    <a:lnTo>
                      <a:pt x="459" y="174"/>
                    </a:lnTo>
                    <a:lnTo>
                      <a:pt x="459" y="171"/>
                    </a:lnTo>
                    <a:lnTo>
                      <a:pt x="458" y="168"/>
                    </a:lnTo>
                    <a:lnTo>
                      <a:pt x="457" y="165"/>
                    </a:lnTo>
                    <a:lnTo>
                      <a:pt x="458" y="165"/>
                    </a:lnTo>
                    <a:lnTo>
                      <a:pt x="458" y="164"/>
                    </a:lnTo>
                    <a:lnTo>
                      <a:pt x="459" y="163"/>
                    </a:lnTo>
                    <a:lnTo>
                      <a:pt x="459" y="160"/>
                    </a:lnTo>
                    <a:lnTo>
                      <a:pt x="456" y="161"/>
                    </a:lnTo>
                    <a:lnTo>
                      <a:pt x="454" y="157"/>
                    </a:lnTo>
                    <a:lnTo>
                      <a:pt x="453" y="155"/>
                    </a:lnTo>
                    <a:lnTo>
                      <a:pt x="453" y="154"/>
                    </a:lnTo>
                    <a:lnTo>
                      <a:pt x="452" y="153"/>
                    </a:lnTo>
                    <a:lnTo>
                      <a:pt x="449" y="152"/>
                    </a:lnTo>
                    <a:lnTo>
                      <a:pt x="447" y="152"/>
                    </a:lnTo>
                    <a:lnTo>
                      <a:pt x="444" y="149"/>
                    </a:lnTo>
                    <a:lnTo>
                      <a:pt x="442" y="149"/>
                    </a:lnTo>
                    <a:lnTo>
                      <a:pt x="439" y="148"/>
                    </a:lnTo>
                    <a:lnTo>
                      <a:pt x="438" y="146"/>
                    </a:lnTo>
                    <a:lnTo>
                      <a:pt x="439" y="146"/>
                    </a:lnTo>
                    <a:lnTo>
                      <a:pt x="436" y="143"/>
                    </a:lnTo>
                    <a:lnTo>
                      <a:pt x="435" y="144"/>
                    </a:lnTo>
                    <a:lnTo>
                      <a:pt x="434" y="142"/>
                    </a:lnTo>
                    <a:lnTo>
                      <a:pt x="436" y="141"/>
                    </a:lnTo>
                    <a:lnTo>
                      <a:pt x="436" y="139"/>
                    </a:lnTo>
                    <a:lnTo>
                      <a:pt x="436" y="138"/>
                    </a:lnTo>
                    <a:lnTo>
                      <a:pt x="435" y="137"/>
                    </a:lnTo>
                    <a:lnTo>
                      <a:pt x="437" y="134"/>
                    </a:lnTo>
                    <a:lnTo>
                      <a:pt x="438" y="133"/>
                    </a:lnTo>
                    <a:lnTo>
                      <a:pt x="438" y="131"/>
                    </a:lnTo>
                    <a:lnTo>
                      <a:pt x="438" y="129"/>
                    </a:lnTo>
                    <a:lnTo>
                      <a:pt x="441" y="127"/>
                    </a:lnTo>
                    <a:lnTo>
                      <a:pt x="441" y="125"/>
                    </a:lnTo>
                    <a:lnTo>
                      <a:pt x="439" y="123"/>
                    </a:lnTo>
                    <a:lnTo>
                      <a:pt x="438" y="120"/>
                    </a:lnTo>
                    <a:lnTo>
                      <a:pt x="438" y="118"/>
                    </a:lnTo>
                    <a:lnTo>
                      <a:pt x="437" y="118"/>
                    </a:lnTo>
                    <a:lnTo>
                      <a:pt x="438" y="120"/>
                    </a:lnTo>
                    <a:lnTo>
                      <a:pt x="437" y="122"/>
                    </a:lnTo>
                    <a:lnTo>
                      <a:pt x="437" y="123"/>
                    </a:lnTo>
                    <a:lnTo>
                      <a:pt x="435" y="123"/>
                    </a:lnTo>
                    <a:lnTo>
                      <a:pt x="436" y="123"/>
                    </a:lnTo>
                    <a:lnTo>
                      <a:pt x="436" y="125"/>
                    </a:lnTo>
                    <a:lnTo>
                      <a:pt x="436" y="126"/>
                    </a:lnTo>
                    <a:lnTo>
                      <a:pt x="437" y="126"/>
                    </a:lnTo>
                    <a:lnTo>
                      <a:pt x="436" y="127"/>
                    </a:lnTo>
                    <a:lnTo>
                      <a:pt x="436" y="128"/>
                    </a:lnTo>
                    <a:lnTo>
                      <a:pt x="434" y="127"/>
                    </a:lnTo>
                    <a:lnTo>
                      <a:pt x="433" y="127"/>
                    </a:lnTo>
                    <a:lnTo>
                      <a:pt x="433" y="128"/>
                    </a:lnTo>
                    <a:lnTo>
                      <a:pt x="432" y="128"/>
                    </a:lnTo>
                    <a:lnTo>
                      <a:pt x="432" y="126"/>
                    </a:lnTo>
                    <a:lnTo>
                      <a:pt x="432" y="125"/>
                    </a:lnTo>
                    <a:lnTo>
                      <a:pt x="431" y="125"/>
                    </a:lnTo>
                    <a:lnTo>
                      <a:pt x="430" y="122"/>
                    </a:lnTo>
                    <a:lnTo>
                      <a:pt x="431" y="120"/>
                    </a:lnTo>
                    <a:lnTo>
                      <a:pt x="427" y="120"/>
                    </a:lnTo>
                    <a:lnTo>
                      <a:pt x="427" y="118"/>
                    </a:lnTo>
                    <a:lnTo>
                      <a:pt x="429" y="119"/>
                    </a:lnTo>
                    <a:lnTo>
                      <a:pt x="429" y="117"/>
                    </a:lnTo>
                    <a:lnTo>
                      <a:pt x="428" y="117"/>
                    </a:lnTo>
                    <a:lnTo>
                      <a:pt x="429" y="114"/>
                    </a:lnTo>
                    <a:lnTo>
                      <a:pt x="429" y="113"/>
                    </a:lnTo>
                    <a:lnTo>
                      <a:pt x="427" y="113"/>
                    </a:lnTo>
                    <a:lnTo>
                      <a:pt x="427" y="112"/>
                    </a:lnTo>
                    <a:lnTo>
                      <a:pt x="425" y="112"/>
                    </a:lnTo>
                    <a:lnTo>
                      <a:pt x="424" y="112"/>
                    </a:lnTo>
                    <a:lnTo>
                      <a:pt x="421" y="109"/>
                    </a:lnTo>
                    <a:lnTo>
                      <a:pt x="422" y="108"/>
                    </a:lnTo>
                    <a:lnTo>
                      <a:pt x="423" y="106"/>
                    </a:lnTo>
                    <a:lnTo>
                      <a:pt x="423" y="104"/>
                    </a:lnTo>
                    <a:lnTo>
                      <a:pt x="422" y="99"/>
                    </a:lnTo>
                    <a:lnTo>
                      <a:pt x="422" y="95"/>
                    </a:lnTo>
                    <a:lnTo>
                      <a:pt x="421" y="93"/>
                    </a:lnTo>
                    <a:lnTo>
                      <a:pt x="420" y="94"/>
                    </a:lnTo>
                    <a:lnTo>
                      <a:pt x="419" y="92"/>
                    </a:lnTo>
                    <a:lnTo>
                      <a:pt x="418" y="92"/>
                    </a:lnTo>
                    <a:lnTo>
                      <a:pt x="418" y="91"/>
                    </a:lnTo>
                    <a:lnTo>
                      <a:pt x="420" y="91"/>
                    </a:lnTo>
                    <a:lnTo>
                      <a:pt x="421" y="91"/>
                    </a:lnTo>
                    <a:lnTo>
                      <a:pt x="420" y="89"/>
                    </a:lnTo>
                    <a:lnTo>
                      <a:pt x="416" y="88"/>
                    </a:lnTo>
                    <a:lnTo>
                      <a:pt x="416" y="86"/>
                    </a:lnTo>
                    <a:lnTo>
                      <a:pt x="414" y="86"/>
                    </a:lnTo>
                    <a:lnTo>
                      <a:pt x="414" y="85"/>
                    </a:lnTo>
                    <a:lnTo>
                      <a:pt x="416" y="85"/>
                    </a:lnTo>
                    <a:lnTo>
                      <a:pt x="416" y="81"/>
                    </a:lnTo>
                    <a:lnTo>
                      <a:pt x="414" y="79"/>
                    </a:lnTo>
                    <a:lnTo>
                      <a:pt x="413" y="78"/>
                    </a:lnTo>
                    <a:lnTo>
                      <a:pt x="414" y="77"/>
                    </a:lnTo>
                    <a:lnTo>
                      <a:pt x="413" y="76"/>
                    </a:lnTo>
                    <a:lnTo>
                      <a:pt x="411" y="75"/>
                    </a:lnTo>
                    <a:lnTo>
                      <a:pt x="409" y="78"/>
                    </a:lnTo>
                    <a:lnTo>
                      <a:pt x="406" y="72"/>
                    </a:lnTo>
                    <a:lnTo>
                      <a:pt x="405" y="72"/>
                    </a:lnTo>
                    <a:lnTo>
                      <a:pt x="404" y="73"/>
                    </a:lnTo>
                    <a:lnTo>
                      <a:pt x="403" y="72"/>
                    </a:lnTo>
                    <a:lnTo>
                      <a:pt x="397" y="76"/>
                    </a:lnTo>
                    <a:lnTo>
                      <a:pt x="395" y="76"/>
                    </a:lnTo>
                    <a:lnTo>
                      <a:pt x="393" y="76"/>
                    </a:lnTo>
                    <a:lnTo>
                      <a:pt x="394" y="77"/>
                    </a:lnTo>
                    <a:lnTo>
                      <a:pt x="395" y="77"/>
                    </a:lnTo>
                    <a:lnTo>
                      <a:pt x="395" y="78"/>
                    </a:lnTo>
                    <a:lnTo>
                      <a:pt x="394" y="78"/>
                    </a:lnTo>
                    <a:lnTo>
                      <a:pt x="393" y="79"/>
                    </a:lnTo>
                    <a:lnTo>
                      <a:pt x="392" y="80"/>
                    </a:lnTo>
                    <a:lnTo>
                      <a:pt x="390" y="79"/>
                    </a:lnTo>
                    <a:lnTo>
                      <a:pt x="389" y="80"/>
                    </a:lnTo>
                    <a:lnTo>
                      <a:pt x="391" y="80"/>
                    </a:lnTo>
                    <a:lnTo>
                      <a:pt x="392" y="82"/>
                    </a:lnTo>
                    <a:lnTo>
                      <a:pt x="391" y="85"/>
                    </a:lnTo>
                    <a:lnTo>
                      <a:pt x="392" y="85"/>
                    </a:lnTo>
                    <a:lnTo>
                      <a:pt x="393" y="85"/>
                    </a:lnTo>
                    <a:lnTo>
                      <a:pt x="394" y="85"/>
                    </a:lnTo>
                    <a:lnTo>
                      <a:pt x="395" y="86"/>
                    </a:lnTo>
                    <a:lnTo>
                      <a:pt x="395" y="89"/>
                    </a:lnTo>
                    <a:lnTo>
                      <a:pt x="396" y="89"/>
                    </a:lnTo>
                    <a:lnTo>
                      <a:pt x="396" y="91"/>
                    </a:lnTo>
                    <a:lnTo>
                      <a:pt x="397" y="90"/>
                    </a:lnTo>
                    <a:lnTo>
                      <a:pt x="398" y="90"/>
                    </a:lnTo>
                    <a:lnTo>
                      <a:pt x="398" y="91"/>
                    </a:lnTo>
                    <a:lnTo>
                      <a:pt x="400" y="92"/>
                    </a:lnTo>
                    <a:lnTo>
                      <a:pt x="399" y="93"/>
                    </a:lnTo>
                    <a:lnTo>
                      <a:pt x="399" y="94"/>
                    </a:lnTo>
                    <a:lnTo>
                      <a:pt x="397" y="95"/>
                    </a:lnTo>
                    <a:lnTo>
                      <a:pt x="397" y="96"/>
                    </a:lnTo>
                    <a:lnTo>
                      <a:pt x="397" y="97"/>
                    </a:lnTo>
                    <a:lnTo>
                      <a:pt x="400" y="99"/>
                    </a:lnTo>
                    <a:lnTo>
                      <a:pt x="401" y="99"/>
                    </a:lnTo>
                    <a:lnTo>
                      <a:pt x="400" y="102"/>
                    </a:lnTo>
                    <a:lnTo>
                      <a:pt x="403" y="105"/>
                    </a:lnTo>
                    <a:lnTo>
                      <a:pt x="400" y="107"/>
                    </a:lnTo>
                    <a:lnTo>
                      <a:pt x="399" y="108"/>
                    </a:lnTo>
                    <a:lnTo>
                      <a:pt x="398" y="105"/>
                    </a:lnTo>
                    <a:lnTo>
                      <a:pt x="396" y="110"/>
                    </a:lnTo>
                    <a:lnTo>
                      <a:pt x="395" y="110"/>
                    </a:lnTo>
                    <a:lnTo>
                      <a:pt x="395" y="112"/>
                    </a:lnTo>
                    <a:lnTo>
                      <a:pt x="395" y="113"/>
                    </a:lnTo>
                    <a:lnTo>
                      <a:pt x="395" y="115"/>
                    </a:lnTo>
                    <a:lnTo>
                      <a:pt x="396" y="118"/>
                    </a:lnTo>
                    <a:lnTo>
                      <a:pt x="395" y="117"/>
                    </a:lnTo>
                    <a:lnTo>
                      <a:pt x="393" y="118"/>
                    </a:lnTo>
                    <a:lnTo>
                      <a:pt x="391" y="118"/>
                    </a:lnTo>
                    <a:lnTo>
                      <a:pt x="389" y="119"/>
                    </a:lnTo>
                    <a:lnTo>
                      <a:pt x="386" y="123"/>
                    </a:lnTo>
                    <a:lnTo>
                      <a:pt x="386" y="125"/>
                    </a:lnTo>
                    <a:lnTo>
                      <a:pt x="384" y="125"/>
                    </a:lnTo>
                    <a:lnTo>
                      <a:pt x="383" y="123"/>
                    </a:lnTo>
                    <a:lnTo>
                      <a:pt x="380" y="121"/>
                    </a:lnTo>
                    <a:lnTo>
                      <a:pt x="377" y="117"/>
                    </a:lnTo>
                    <a:lnTo>
                      <a:pt x="371" y="112"/>
                    </a:lnTo>
                    <a:lnTo>
                      <a:pt x="372" y="109"/>
                    </a:lnTo>
                    <a:lnTo>
                      <a:pt x="370" y="109"/>
                    </a:lnTo>
                    <a:lnTo>
                      <a:pt x="370" y="110"/>
                    </a:lnTo>
                    <a:lnTo>
                      <a:pt x="368" y="109"/>
                    </a:lnTo>
                    <a:lnTo>
                      <a:pt x="368" y="107"/>
                    </a:lnTo>
                    <a:lnTo>
                      <a:pt x="370" y="105"/>
                    </a:lnTo>
                    <a:lnTo>
                      <a:pt x="370" y="103"/>
                    </a:lnTo>
                    <a:lnTo>
                      <a:pt x="371" y="101"/>
                    </a:lnTo>
                    <a:lnTo>
                      <a:pt x="373" y="102"/>
                    </a:lnTo>
                    <a:lnTo>
                      <a:pt x="374" y="101"/>
                    </a:lnTo>
                    <a:lnTo>
                      <a:pt x="376" y="101"/>
                    </a:lnTo>
                    <a:lnTo>
                      <a:pt x="377" y="101"/>
                    </a:lnTo>
                    <a:lnTo>
                      <a:pt x="378" y="101"/>
                    </a:lnTo>
                    <a:lnTo>
                      <a:pt x="378" y="99"/>
                    </a:lnTo>
                    <a:lnTo>
                      <a:pt x="378" y="98"/>
                    </a:lnTo>
                    <a:lnTo>
                      <a:pt x="376" y="97"/>
                    </a:lnTo>
                    <a:lnTo>
                      <a:pt x="377" y="96"/>
                    </a:lnTo>
                    <a:lnTo>
                      <a:pt x="376" y="95"/>
                    </a:lnTo>
                    <a:lnTo>
                      <a:pt x="375" y="95"/>
                    </a:lnTo>
                    <a:lnTo>
                      <a:pt x="376" y="91"/>
                    </a:lnTo>
                    <a:lnTo>
                      <a:pt x="373" y="91"/>
                    </a:lnTo>
                    <a:lnTo>
                      <a:pt x="373" y="89"/>
                    </a:lnTo>
                    <a:lnTo>
                      <a:pt x="371" y="89"/>
                    </a:lnTo>
                    <a:lnTo>
                      <a:pt x="372" y="82"/>
                    </a:lnTo>
                    <a:lnTo>
                      <a:pt x="371" y="81"/>
                    </a:lnTo>
                    <a:lnTo>
                      <a:pt x="372" y="81"/>
                    </a:lnTo>
                    <a:lnTo>
                      <a:pt x="372" y="80"/>
                    </a:lnTo>
                    <a:lnTo>
                      <a:pt x="371" y="78"/>
                    </a:lnTo>
                    <a:lnTo>
                      <a:pt x="371" y="76"/>
                    </a:lnTo>
                    <a:lnTo>
                      <a:pt x="370" y="74"/>
                    </a:lnTo>
                    <a:lnTo>
                      <a:pt x="370" y="72"/>
                    </a:lnTo>
                    <a:lnTo>
                      <a:pt x="369" y="70"/>
                    </a:lnTo>
                    <a:lnTo>
                      <a:pt x="371" y="65"/>
                    </a:lnTo>
                    <a:lnTo>
                      <a:pt x="370" y="64"/>
                    </a:lnTo>
                    <a:lnTo>
                      <a:pt x="373" y="62"/>
                    </a:lnTo>
                    <a:lnTo>
                      <a:pt x="374" y="62"/>
                    </a:lnTo>
                    <a:lnTo>
                      <a:pt x="375" y="62"/>
                    </a:lnTo>
                    <a:lnTo>
                      <a:pt x="376" y="61"/>
                    </a:lnTo>
                    <a:lnTo>
                      <a:pt x="376" y="58"/>
                    </a:lnTo>
                    <a:lnTo>
                      <a:pt x="375" y="57"/>
                    </a:lnTo>
                    <a:lnTo>
                      <a:pt x="377" y="54"/>
                    </a:lnTo>
                    <a:lnTo>
                      <a:pt x="379" y="54"/>
                    </a:lnTo>
                    <a:lnTo>
                      <a:pt x="381" y="55"/>
                    </a:lnTo>
                    <a:lnTo>
                      <a:pt x="383" y="55"/>
                    </a:lnTo>
                    <a:lnTo>
                      <a:pt x="384" y="54"/>
                    </a:lnTo>
                    <a:lnTo>
                      <a:pt x="383" y="54"/>
                    </a:lnTo>
                    <a:lnTo>
                      <a:pt x="382" y="54"/>
                    </a:lnTo>
                    <a:lnTo>
                      <a:pt x="380" y="53"/>
                    </a:lnTo>
                    <a:lnTo>
                      <a:pt x="379" y="52"/>
                    </a:lnTo>
                    <a:lnTo>
                      <a:pt x="378" y="54"/>
                    </a:lnTo>
                    <a:lnTo>
                      <a:pt x="378" y="52"/>
                    </a:lnTo>
                    <a:lnTo>
                      <a:pt x="379" y="51"/>
                    </a:lnTo>
                    <a:lnTo>
                      <a:pt x="377" y="53"/>
                    </a:lnTo>
                    <a:lnTo>
                      <a:pt x="374" y="52"/>
                    </a:lnTo>
                    <a:lnTo>
                      <a:pt x="371" y="49"/>
                    </a:lnTo>
                    <a:lnTo>
                      <a:pt x="370" y="48"/>
                    </a:lnTo>
                    <a:lnTo>
                      <a:pt x="368" y="47"/>
                    </a:lnTo>
                    <a:lnTo>
                      <a:pt x="367" y="48"/>
                    </a:lnTo>
                    <a:lnTo>
                      <a:pt x="365" y="47"/>
                    </a:lnTo>
                    <a:lnTo>
                      <a:pt x="364" y="46"/>
                    </a:lnTo>
                    <a:lnTo>
                      <a:pt x="361" y="47"/>
                    </a:lnTo>
                    <a:lnTo>
                      <a:pt x="359" y="46"/>
                    </a:lnTo>
                    <a:lnTo>
                      <a:pt x="360" y="44"/>
                    </a:lnTo>
                    <a:lnTo>
                      <a:pt x="361" y="43"/>
                    </a:lnTo>
                    <a:lnTo>
                      <a:pt x="362" y="40"/>
                    </a:lnTo>
                    <a:lnTo>
                      <a:pt x="364" y="38"/>
                    </a:lnTo>
                    <a:lnTo>
                      <a:pt x="364" y="37"/>
                    </a:lnTo>
                    <a:lnTo>
                      <a:pt x="362" y="37"/>
                    </a:lnTo>
                    <a:lnTo>
                      <a:pt x="362" y="36"/>
                    </a:lnTo>
                    <a:lnTo>
                      <a:pt x="362" y="34"/>
                    </a:lnTo>
                    <a:lnTo>
                      <a:pt x="362" y="31"/>
                    </a:lnTo>
                    <a:lnTo>
                      <a:pt x="363" y="30"/>
                    </a:lnTo>
                    <a:lnTo>
                      <a:pt x="362" y="28"/>
                    </a:lnTo>
                    <a:lnTo>
                      <a:pt x="364" y="28"/>
                    </a:lnTo>
                    <a:lnTo>
                      <a:pt x="362" y="25"/>
                    </a:lnTo>
                    <a:lnTo>
                      <a:pt x="364" y="28"/>
                    </a:lnTo>
                    <a:lnTo>
                      <a:pt x="367" y="29"/>
                    </a:lnTo>
                    <a:lnTo>
                      <a:pt x="367" y="31"/>
                    </a:lnTo>
                    <a:lnTo>
                      <a:pt x="368" y="28"/>
                    </a:lnTo>
                    <a:lnTo>
                      <a:pt x="368" y="31"/>
                    </a:lnTo>
                    <a:lnTo>
                      <a:pt x="370" y="30"/>
                    </a:lnTo>
                    <a:lnTo>
                      <a:pt x="371" y="31"/>
                    </a:lnTo>
                    <a:lnTo>
                      <a:pt x="372" y="33"/>
                    </a:lnTo>
                    <a:lnTo>
                      <a:pt x="372" y="34"/>
                    </a:lnTo>
                    <a:lnTo>
                      <a:pt x="375" y="33"/>
                    </a:lnTo>
                    <a:lnTo>
                      <a:pt x="377" y="32"/>
                    </a:lnTo>
                    <a:lnTo>
                      <a:pt x="378" y="31"/>
                    </a:lnTo>
                    <a:lnTo>
                      <a:pt x="376" y="31"/>
                    </a:lnTo>
                    <a:lnTo>
                      <a:pt x="376" y="28"/>
                    </a:lnTo>
                    <a:lnTo>
                      <a:pt x="374" y="27"/>
                    </a:lnTo>
                    <a:lnTo>
                      <a:pt x="375" y="25"/>
                    </a:lnTo>
                    <a:lnTo>
                      <a:pt x="377" y="25"/>
                    </a:lnTo>
                    <a:lnTo>
                      <a:pt x="377" y="23"/>
                    </a:lnTo>
                    <a:lnTo>
                      <a:pt x="380" y="23"/>
                    </a:lnTo>
                    <a:lnTo>
                      <a:pt x="379" y="22"/>
                    </a:lnTo>
                    <a:lnTo>
                      <a:pt x="373" y="23"/>
                    </a:lnTo>
                    <a:lnTo>
                      <a:pt x="371" y="21"/>
                    </a:lnTo>
                    <a:lnTo>
                      <a:pt x="367" y="17"/>
                    </a:lnTo>
                    <a:lnTo>
                      <a:pt x="365" y="17"/>
                    </a:lnTo>
                    <a:lnTo>
                      <a:pt x="359" y="12"/>
                    </a:lnTo>
                    <a:lnTo>
                      <a:pt x="358" y="12"/>
                    </a:lnTo>
                    <a:lnTo>
                      <a:pt x="357" y="11"/>
                    </a:lnTo>
                    <a:lnTo>
                      <a:pt x="356" y="9"/>
                    </a:lnTo>
                    <a:lnTo>
                      <a:pt x="351" y="7"/>
                    </a:lnTo>
                    <a:lnTo>
                      <a:pt x="352" y="6"/>
                    </a:lnTo>
                    <a:lnTo>
                      <a:pt x="349" y="7"/>
                    </a:lnTo>
                    <a:lnTo>
                      <a:pt x="348" y="6"/>
                    </a:lnTo>
                    <a:lnTo>
                      <a:pt x="348" y="7"/>
                    </a:lnTo>
                    <a:lnTo>
                      <a:pt x="346" y="6"/>
                    </a:lnTo>
                    <a:lnTo>
                      <a:pt x="343" y="4"/>
                    </a:lnTo>
                    <a:lnTo>
                      <a:pt x="344" y="5"/>
                    </a:lnTo>
                    <a:lnTo>
                      <a:pt x="344" y="6"/>
                    </a:lnTo>
                    <a:lnTo>
                      <a:pt x="341" y="5"/>
                    </a:lnTo>
                    <a:lnTo>
                      <a:pt x="339" y="8"/>
                    </a:lnTo>
                    <a:lnTo>
                      <a:pt x="335" y="2"/>
                    </a:lnTo>
                    <a:lnTo>
                      <a:pt x="331" y="0"/>
                    </a:lnTo>
                    <a:lnTo>
                      <a:pt x="330" y="0"/>
                    </a:lnTo>
                    <a:lnTo>
                      <a:pt x="329" y="2"/>
                    </a:lnTo>
                    <a:lnTo>
                      <a:pt x="330" y="4"/>
                    </a:lnTo>
                    <a:lnTo>
                      <a:pt x="329" y="4"/>
                    </a:lnTo>
                    <a:lnTo>
                      <a:pt x="326" y="4"/>
                    </a:lnTo>
                    <a:lnTo>
                      <a:pt x="324" y="4"/>
                    </a:lnTo>
                    <a:lnTo>
                      <a:pt x="323" y="2"/>
                    </a:lnTo>
                    <a:lnTo>
                      <a:pt x="321" y="4"/>
                    </a:lnTo>
                    <a:lnTo>
                      <a:pt x="318" y="2"/>
                    </a:lnTo>
                    <a:lnTo>
                      <a:pt x="318" y="0"/>
                    </a:lnTo>
                    <a:lnTo>
                      <a:pt x="316" y="1"/>
                    </a:lnTo>
                    <a:lnTo>
                      <a:pt x="315" y="0"/>
                    </a:lnTo>
                    <a:lnTo>
                      <a:pt x="313" y="0"/>
                    </a:lnTo>
                    <a:lnTo>
                      <a:pt x="311" y="0"/>
                    </a:lnTo>
                    <a:lnTo>
                      <a:pt x="311" y="2"/>
                    </a:lnTo>
                    <a:lnTo>
                      <a:pt x="310" y="4"/>
                    </a:lnTo>
                    <a:lnTo>
                      <a:pt x="310" y="7"/>
                    </a:lnTo>
                    <a:lnTo>
                      <a:pt x="310" y="9"/>
                    </a:lnTo>
                    <a:lnTo>
                      <a:pt x="309" y="10"/>
                    </a:lnTo>
                    <a:lnTo>
                      <a:pt x="307" y="13"/>
                    </a:lnTo>
                    <a:lnTo>
                      <a:pt x="308" y="15"/>
                    </a:lnTo>
                    <a:lnTo>
                      <a:pt x="308" y="17"/>
                    </a:lnTo>
                    <a:lnTo>
                      <a:pt x="307" y="17"/>
                    </a:lnTo>
                    <a:lnTo>
                      <a:pt x="307" y="16"/>
                    </a:lnTo>
                    <a:lnTo>
                      <a:pt x="305" y="17"/>
                    </a:lnTo>
                    <a:lnTo>
                      <a:pt x="300" y="15"/>
                    </a:lnTo>
                    <a:lnTo>
                      <a:pt x="300" y="17"/>
                    </a:lnTo>
                    <a:lnTo>
                      <a:pt x="299" y="16"/>
                    </a:lnTo>
                    <a:lnTo>
                      <a:pt x="299" y="15"/>
                    </a:lnTo>
                    <a:lnTo>
                      <a:pt x="297" y="16"/>
                    </a:lnTo>
                    <a:lnTo>
                      <a:pt x="297" y="15"/>
                    </a:lnTo>
                    <a:lnTo>
                      <a:pt x="294" y="11"/>
                    </a:lnTo>
                    <a:lnTo>
                      <a:pt x="293" y="11"/>
                    </a:lnTo>
                    <a:lnTo>
                      <a:pt x="289" y="15"/>
                    </a:lnTo>
                    <a:lnTo>
                      <a:pt x="286" y="14"/>
                    </a:lnTo>
                    <a:lnTo>
                      <a:pt x="285" y="15"/>
                    </a:lnTo>
                    <a:lnTo>
                      <a:pt x="284" y="15"/>
                    </a:lnTo>
                    <a:lnTo>
                      <a:pt x="283" y="15"/>
                    </a:lnTo>
                    <a:lnTo>
                      <a:pt x="281" y="15"/>
                    </a:lnTo>
                    <a:lnTo>
                      <a:pt x="283" y="11"/>
                    </a:lnTo>
                    <a:lnTo>
                      <a:pt x="281" y="10"/>
                    </a:lnTo>
                    <a:lnTo>
                      <a:pt x="280" y="10"/>
                    </a:lnTo>
                    <a:lnTo>
                      <a:pt x="279" y="10"/>
                    </a:lnTo>
                    <a:lnTo>
                      <a:pt x="278" y="11"/>
                    </a:lnTo>
                    <a:lnTo>
                      <a:pt x="276" y="12"/>
                    </a:lnTo>
                    <a:lnTo>
                      <a:pt x="274" y="11"/>
                    </a:lnTo>
                    <a:lnTo>
                      <a:pt x="273" y="13"/>
                    </a:lnTo>
                    <a:lnTo>
                      <a:pt x="274" y="16"/>
                    </a:lnTo>
                    <a:lnTo>
                      <a:pt x="270" y="19"/>
                    </a:lnTo>
                    <a:lnTo>
                      <a:pt x="270" y="21"/>
                    </a:lnTo>
                    <a:lnTo>
                      <a:pt x="268" y="20"/>
                    </a:lnTo>
                    <a:lnTo>
                      <a:pt x="267" y="17"/>
                    </a:lnTo>
                    <a:lnTo>
                      <a:pt x="266" y="17"/>
                    </a:lnTo>
                    <a:lnTo>
                      <a:pt x="266" y="18"/>
                    </a:lnTo>
                    <a:lnTo>
                      <a:pt x="266" y="22"/>
                    </a:lnTo>
                    <a:lnTo>
                      <a:pt x="266" y="23"/>
                    </a:lnTo>
                    <a:lnTo>
                      <a:pt x="265" y="23"/>
                    </a:lnTo>
                    <a:lnTo>
                      <a:pt x="265" y="25"/>
                    </a:lnTo>
                    <a:lnTo>
                      <a:pt x="263" y="28"/>
                    </a:lnTo>
                    <a:lnTo>
                      <a:pt x="262" y="29"/>
                    </a:lnTo>
                    <a:lnTo>
                      <a:pt x="260" y="29"/>
                    </a:lnTo>
                    <a:lnTo>
                      <a:pt x="259" y="31"/>
                    </a:lnTo>
                    <a:lnTo>
                      <a:pt x="261" y="31"/>
                    </a:lnTo>
                    <a:lnTo>
                      <a:pt x="261" y="33"/>
                    </a:lnTo>
                    <a:lnTo>
                      <a:pt x="262" y="34"/>
                    </a:lnTo>
                    <a:lnTo>
                      <a:pt x="263" y="36"/>
                    </a:lnTo>
                    <a:lnTo>
                      <a:pt x="265" y="36"/>
                    </a:lnTo>
                    <a:lnTo>
                      <a:pt x="269" y="38"/>
                    </a:lnTo>
                    <a:lnTo>
                      <a:pt x="270" y="41"/>
                    </a:lnTo>
                    <a:lnTo>
                      <a:pt x="270" y="44"/>
                    </a:lnTo>
                    <a:lnTo>
                      <a:pt x="267" y="51"/>
                    </a:lnTo>
                    <a:lnTo>
                      <a:pt x="266" y="51"/>
                    </a:lnTo>
                    <a:lnTo>
                      <a:pt x="264" y="54"/>
                    </a:lnTo>
                    <a:lnTo>
                      <a:pt x="261" y="55"/>
                    </a:lnTo>
                    <a:lnTo>
                      <a:pt x="261" y="57"/>
                    </a:lnTo>
                    <a:lnTo>
                      <a:pt x="260" y="58"/>
                    </a:lnTo>
                    <a:lnTo>
                      <a:pt x="257" y="59"/>
                    </a:lnTo>
                    <a:lnTo>
                      <a:pt x="256" y="55"/>
                    </a:lnTo>
                    <a:lnTo>
                      <a:pt x="255" y="54"/>
                    </a:lnTo>
                    <a:lnTo>
                      <a:pt x="253" y="54"/>
                    </a:lnTo>
                    <a:lnTo>
                      <a:pt x="252" y="54"/>
                    </a:lnTo>
                    <a:lnTo>
                      <a:pt x="254" y="56"/>
                    </a:lnTo>
                    <a:lnTo>
                      <a:pt x="254" y="57"/>
                    </a:lnTo>
                    <a:lnTo>
                      <a:pt x="253" y="58"/>
                    </a:lnTo>
                    <a:lnTo>
                      <a:pt x="254" y="60"/>
                    </a:lnTo>
                    <a:lnTo>
                      <a:pt x="256" y="62"/>
                    </a:lnTo>
                    <a:lnTo>
                      <a:pt x="257" y="62"/>
                    </a:lnTo>
                    <a:lnTo>
                      <a:pt x="258" y="61"/>
                    </a:lnTo>
                    <a:lnTo>
                      <a:pt x="259" y="62"/>
                    </a:lnTo>
                    <a:lnTo>
                      <a:pt x="258" y="63"/>
                    </a:lnTo>
                    <a:lnTo>
                      <a:pt x="258" y="64"/>
                    </a:lnTo>
                    <a:lnTo>
                      <a:pt x="258" y="66"/>
                    </a:lnTo>
                    <a:lnTo>
                      <a:pt x="261" y="66"/>
                    </a:lnTo>
                    <a:lnTo>
                      <a:pt x="260" y="69"/>
                    </a:lnTo>
                    <a:lnTo>
                      <a:pt x="256" y="71"/>
                    </a:lnTo>
                    <a:lnTo>
                      <a:pt x="258" y="74"/>
                    </a:lnTo>
                    <a:lnTo>
                      <a:pt x="256" y="77"/>
                    </a:lnTo>
                    <a:lnTo>
                      <a:pt x="254" y="78"/>
                    </a:lnTo>
                    <a:lnTo>
                      <a:pt x="253" y="80"/>
                    </a:lnTo>
                    <a:lnTo>
                      <a:pt x="252" y="83"/>
                    </a:lnTo>
                    <a:lnTo>
                      <a:pt x="254" y="88"/>
                    </a:lnTo>
                    <a:lnTo>
                      <a:pt x="253" y="89"/>
                    </a:lnTo>
                    <a:lnTo>
                      <a:pt x="253" y="90"/>
                    </a:lnTo>
                    <a:lnTo>
                      <a:pt x="254" y="91"/>
                    </a:lnTo>
                    <a:lnTo>
                      <a:pt x="252" y="92"/>
                    </a:lnTo>
                    <a:lnTo>
                      <a:pt x="253" y="95"/>
                    </a:lnTo>
                    <a:lnTo>
                      <a:pt x="254" y="95"/>
                    </a:lnTo>
                    <a:lnTo>
                      <a:pt x="256" y="94"/>
                    </a:lnTo>
                    <a:lnTo>
                      <a:pt x="256" y="96"/>
                    </a:lnTo>
                    <a:lnTo>
                      <a:pt x="255" y="98"/>
                    </a:lnTo>
                    <a:lnTo>
                      <a:pt x="254" y="99"/>
                    </a:lnTo>
                    <a:lnTo>
                      <a:pt x="254" y="102"/>
                    </a:lnTo>
                    <a:lnTo>
                      <a:pt x="253" y="105"/>
                    </a:lnTo>
                    <a:lnTo>
                      <a:pt x="253" y="107"/>
                    </a:lnTo>
                    <a:lnTo>
                      <a:pt x="252" y="106"/>
                    </a:lnTo>
                    <a:lnTo>
                      <a:pt x="252" y="107"/>
                    </a:lnTo>
                    <a:lnTo>
                      <a:pt x="253" y="112"/>
                    </a:lnTo>
                    <a:lnTo>
                      <a:pt x="254" y="112"/>
                    </a:lnTo>
                    <a:lnTo>
                      <a:pt x="251" y="114"/>
                    </a:lnTo>
                    <a:lnTo>
                      <a:pt x="253" y="118"/>
                    </a:lnTo>
                    <a:lnTo>
                      <a:pt x="254" y="120"/>
                    </a:lnTo>
                    <a:lnTo>
                      <a:pt x="253" y="119"/>
                    </a:lnTo>
                    <a:lnTo>
                      <a:pt x="254" y="120"/>
                    </a:lnTo>
                    <a:lnTo>
                      <a:pt x="254" y="122"/>
                    </a:lnTo>
                    <a:lnTo>
                      <a:pt x="251" y="122"/>
                    </a:lnTo>
                    <a:lnTo>
                      <a:pt x="251" y="123"/>
                    </a:lnTo>
                    <a:lnTo>
                      <a:pt x="248" y="125"/>
                    </a:lnTo>
                    <a:lnTo>
                      <a:pt x="246" y="125"/>
                    </a:lnTo>
                    <a:lnTo>
                      <a:pt x="246" y="126"/>
                    </a:lnTo>
                    <a:lnTo>
                      <a:pt x="244" y="128"/>
                    </a:lnTo>
                    <a:lnTo>
                      <a:pt x="244" y="129"/>
                    </a:lnTo>
                    <a:lnTo>
                      <a:pt x="243" y="128"/>
                    </a:lnTo>
                    <a:lnTo>
                      <a:pt x="243" y="125"/>
                    </a:lnTo>
                    <a:lnTo>
                      <a:pt x="240" y="125"/>
                    </a:lnTo>
                    <a:lnTo>
                      <a:pt x="240" y="126"/>
                    </a:lnTo>
                    <a:lnTo>
                      <a:pt x="240" y="128"/>
                    </a:lnTo>
                    <a:lnTo>
                      <a:pt x="238" y="129"/>
                    </a:lnTo>
                    <a:lnTo>
                      <a:pt x="234" y="133"/>
                    </a:lnTo>
                    <a:lnTo>
                      <a:pt x="232" y="132"/>
                    </a:lnTo>
                    <a:lnTo>
                      <a:pt x="230" y="133"/>
                    </a:lnTo>
                    <a:lnTo>
                      <a:pt x="227" y="133"/>
                    </a:lnTo>
                    <a:lnTo>
                      <a:pt x="227" y="135"/>
                    </a:lnTo>
                    <a:lnTo>
                      <a:pt x="227" y="136"/>
                    </a:lnTo>
                    <a:lnTo>
                      <a:pt x="226" y="136"/>
                    </a:lnTo>
                    <a:lnTo>
                      <a:pt x="227" y="139"/>
                    </a:lnTo>
                    <a:lnTo>
                      <a:pt x="226" y="140"/>
                    </a:lnTo>
                    <a:lnTo>
                      <a:pt x="226" y="142"/>
                    </a:lnTo>
                    <a:lnTo>
                      <a:pt x="225" y="143"/>
                    </a:lnTo>
                    <a:lnTo>
                      <a:pt x="223" y="143"/>
                    </a:lnTo>
                    <a:lnTo>
                      <a:pt x="222" y="144"/>
                    </a:lnTo>
                    <a:lnTo>
                      <a:pt x="223" y="146"/>
                    </a:lnTo>
                    <a:lnTo>
                      <a:pt x="221" y="146"/>
                    </a:lnTo>
                    <a:lnTo>
                      <a:pt x="221" y="147"/>
                    </a:lnTo>
                    <a:lnTo>
                      <a:pt x="218" y="148"/>
                    </a:lnTo>
                    <a:lnTo>
                      <a:pt x="218" y="147"/>
                    </a:lnTo>
                    <a:lnTo>
                      <a:pt x="217" y="148"/>
                    </a:lnTo>
                    <a:lnTo>
                      <a:pt x="215" y="151"/>
                    </a:lnTo>
                    <a:lnTo>
                      <a:pt x="215" y="154"/>
                    </a:lnTo>
                    <a:lnTo>
                      <a:pt x="216" y="156"/>
                    </a:lnTo>
                    <a:lnTo>
                      <a:pt x="220" y="156"/>
                    </a:lnTo>
                    <a:lnTo>
                      <a:pt x="220" y="157"/>
                    </a:lnTo>
                    <a:lnTo>
                      <a:pt x="221" y="157"/>
                    </a:lnTo>
                    <a:lnTo>
                      <a:pt x="221" y="159"/>
                    </a:lnTo>
                    <a:lnTo>
                      <a:pt x="223" y="161"/>
                    </a:lnTo>
                    <a:lnTo>
                      <a:pt x="223" y="165"/>
                    </a:lnTo>
                    <a:lnTo>
                      <a:pt x="222" y="165"/>
                    </a:lnTo>
                    <a:lnTo>
                      <a:pt x="221" y="165"/>
                    </a:lnTo>
                    <a:lnTo>
                      <a:pt x="219" y="166"/>
                    </a:lnTo>
                    <a:lnTo>
                      <a:pt x="218" y="166"/>
                    </a:lnTo>
                    <a:lnTo>
                      <a:pt x="217" y="165"/>
                    </a:lnTo>
                    <a:lnTo>
                      <a:pt x="214" y="165"/>
                    </a:lnTo>
                    <a:lnTo>
                      <a:pt x="212" y="166"/>
                    </a:lnTo>
                    <a:lnTo>
                      <a:pt x="212" y="169"/>
                    </a:lnTo>
                    <a:lnTo>
                      <a:pt x="210" y="170"/>
                    </a:lnTo>
                    <a:lnTo>
                      <a:pt x="208" y="176"/>
                    </a:lnTo>
                    <a:lnTo>
                      <a:pt x="207" y="178"/>
                    </a:lnTo>
                    <a:lnTo>
                      <a:pt x="207" y="180"/>
                    </a:lnTo>
                    <a:lnTo>
                      <a:pt x="206" y="183"/>
                    </a:lnTo>
                    <a:lnTo>
                      <a:pt x="207" y="185"/>
                    </a:lnTo>
                    <a:lnTo>
                      <a:pt x="209" y="185"/>
                    </a:lnTo>
                    <a:lnTo>
                      <a:pt x="211" y="186"/>
                    </a:lnTo>
                    <a:lnTo>
                      <a:pt x="213" y="186"/>
                    </a:lnTo>
                    <a:lnTo>
                      <a:pt x="214" y="188"/>
                    </a:lnTo>
                    <a:lnTo>
                      <a:pt x="216" y="191"/>
                    </a:lnTo>
                    <a:lnTo>
                      <a:pt x="215" y="193"/>
                    </a:lnTo>
                    <a:lnTo>
                      <a:pt x="215" y="192"/>
                    </a:lnTo>
                    <a:lnTo>
                      <a:pt x="214" y="193"/>
                    </a:lnTo>
                    <a:lnTo>
                      <a:pt x="214" y="198"/>
                    </a:lnTo>
                    <a:lnTo>
                      <a:pt x="216" y="199"/>
                    </a:lnTo>
                    <a:lnTo>
                      <a:pt x="214" y="202"/>
                    </a:lnTo>
                    <a:lnTo>
                      <a:pt x="212" y="200"/>
                    </a:lnTo>
                    <a:lnTo>
                      <a:pt x="212" y="201"/>
                    </a:lnTo>
                    <a:lnTo>
                      <a:pt x="210" y="203"/>
                    </a:lnTo>
                    <a:lnTo>
                      <a:pt x="207" y="201"/>
                    </a:lnTo>
                    <a:lnTo>
                      <a:pt x="204" y="201"/>
                    </a:lnTo>
                    <a:lnTo>
                      <a:pt x="202" y="205"/>
                    </a:lnTo>
                    <a:lnTo>
                      <a:pt x="201" y="206"/>
                    </a:lnTo>
                    <a:lnTo>
                      <a:pt x="203" y="207"/>
                    </a:lnTo>
                    <a:lnTo>
                      <a:pt x="202" y="209"/>
                    </a:lnTo>
                    <a:lnTo>
                      <a:pt x="204" y="208"/>
                    </a:lnTo>
                    <a:lnTo>
                      <a:pt x="204" y="210"/>
                    </a:lnTo>
                    <a:lnTo>
                      <a:pt x="204" y="212"/>
                    </a:lnTo>
                    <a:lnTo>
                      <a:pt x="206" y="215"/>
                    </a:lnTo>
                    <a:lnTo>
                      <a:pt x="205" y="216"/>
                    </a:lnTo>
                    <a:lnTo>
                      <a:pt x="204" y="216"/>
                    </a:lnTo>
                    <a:lnTo>
                      <a:pt x="204" y="217"/>
                    </a:lnTo>
                    <a:lnTo>
                      <a:pt x="202" y="220"/>
                    </a:lnTo>
                    <a:lnTo>
                      <a:pt x="203" y="220"/>
                    </a:lnTo>
                    <a:lnTo>
                      <a:pt x="204" y="218"/>
                    </a:lnTo>
                    <a:lnTo>
                      <a:pt x="206" y="219"/>
                    </a:lnTo>
                    <a:lnTo>
                      <a:pt x="209" y="217"/>
                    </a:lnTo>
                    <a:lnTo>
                      <a:pt x="209" y="215"/>
                    </a:lnTo>
                    <a:lnTo>
                      <a:pt x="210" y="216"/>
                    </a:lnTo>
                    <a:lnTo>
                      <a:pt x="210" y="217"/>
                    </a:lnTo>
                    <a:lnTo>
                      <a:pt x="208" y="221"/>
                    </a:lnTo>
                    <a:lnTo>
                      <a:pt x="211" y="221"/>
                    </a:lnTo>
                    <a:lnTo>
                      <a:pt x="211" y="223"/>
                    </a:lnTo>
                    <a:lnTo>
                      <a:pt x="212" y="223"/>
                    </a:lnTo>
                    <a:lnTo>
                      <a:pt x="210" y="230"/>
                    </a:lnTo>
                    <a:lnTo>
                      <a:pt x="210" y="231"/>
                    </a:lnTo>
                    <a:lnTo>
                      <a:pt x="210" y="230"/>
                    </a:lnTo>
                    <a:lnTo>
                      <a:pt x="209" y="232"/>
                    </a:lnTo>
                    <a:lnTo>
                      <a:pt x="207" y="233"/>
                    </a:lnTo>
                    <a:lnTo>
                      <a:pt x="207" y="234"/>
                    </a:lnTo>
                    <a:lnTo>
                      <a:pt x="205" y="235"/>
                    </a:lnTo>
                    <a:lnTo>
                      <a:pt x="204" y="237"/>
                    </a:lnTo>
                    <a:lnTo>
                      <a:pt x="203" y="237"/>
                    </a:lnTo>
                    <a:lnTo>
                      <a:pt x="201" y="237"/>
                    </a:lnTo>
                    <a:lnTo>
                      <a:pt x="199" y="237"/>
                    </a:lnTo>
                    <a:lnTo>
                      <a:pt x="197" y="237"/>
                    </a:lnTo>
                    <a:lnTo>
                      <a:pt x="196" y="238"/>
                    </a:lnTo>
                    <a:lnTo>
                      <a:pt x="198" y="242"/>
                    </a:lnTo>
                    <a:lnTo>
                      <a:pt x="198" y="244"/>
                    </a:lnTo>
                    <a:lnTo>
                      <a:pt x="196" y="244"/>
                    </a:lnTo>
                    <a:lnTo>
                      <a:pt x="194" y="246"/>
                    </a:lnTo>
                    <a:lnTo>
                      <a:pt x="194" y="247"/>
                    </a:lnTo>
                    <a:lnTo>
                      <a:pt x="193" y="249"/>
                    </a:lnTo>
                    <a:lnTo>
                      <a:pt x="190" y="247"/>
                    </a:lnTo>
                    <a:lnTo>
                      <a:pt x="187" y="248"/>
                    </a:lnTo>
                    <a:lnTo>
                      <a:pt x="185" y="247"/>
                    </a:lnTo>
                    <a:lnTo>
                      <a:pt x="184" y="248"/>
                    </a:lnTo>
                    <a:lnTo>
                      <a:pt x="181" y="246"/>
                    </a:lnTo>
                    <a:lnTo>
                      <a:pt x="180" y="246"/>
                    </a:lnTo>
                    <a:lnTo>
                      <a:pt x="178" y="248"/>
                    </a:lnTo>
                    <a:lnTo>
                      <a:pt x="177" y="248"/>
                    </a:lnTo>
                    <a:lnTo>
                      <a:pt x="172" y="250"/>
                    </a:lnTo>
                    <a:lnTo>
                      <a:pt x="172" y="249"/>
                    </a:lnTo>
                    <a:lnTo>
                      <a:pt x="172" y="250"/>
                    </a:lnTo>
                    <a:lnTo>
                      <a:pt x="170" y="252"/>
                    </a:lnTo>
                    <a:lnTo>
                      <a:pt x="173" y="254"/>
                    </a:lnTo>
                    <a:lnTo>
                      <a:pt x="173" y="256"/>
                    </a:lnTo>
                    <a:lnTo>
                      <a:pt x="174" y="257"/>
                    </a:lnTo>
                    <a:lnTo>
                      <a:pt x="174" y="258"/>
                    </a:lnTo>
                    <a:lnTo>
                      <a:pt x="170" y="260"/>
                    </a:lnTo>
                    <a:lnTo>
                      <a:pt x="170" y="257"/>
                    </a:lnTo>
                    <a:lnTo>
                      <a:pt x="168" y="257"/>
                    </a:lnTo>
                    <a:lnTo>
                      <a:pt x="168" y="260"/>
                    </a:lnTo>
                    <a:lnTo>
                      <a:pt x="166" y="260"/>
                    </a:lnTo>
                    <a:lnTo>
                      <a:pt x="168" y="261"/>
                    </a:lnTo>
                    <a:lnTo>
                      <a:pt x="166" y="261"/>
                    </a:lnTo>
                    <a:lnTo>
                      <a:pt x="166" y="262"/>
                    </a:lnTo>
                    <a:lnTo>
                      <a:pt x="162" y="260"/>
                    </a:lnTo>
                    <a:lnTo>
                      <a:pt x="161" y="260"/>
                    </a:lnTo>
                    <a:lnTo>
                      <a:pt x="161" y="261"/>
                    </a:lnTo>
                    <a:lnTo>
                      <a:pt x="159" y="260"/>
                    </a:lnTo>
                    <a:lnTo>
                      <a:pt x="157" y="260"/>
                    </a:lnTo>
                    <a:lnTo>
                      <a:pt x="157" y="261"/>
                    </a:lnTo>
                    <a:lnTo>
                      <a:pt x="157" y="263"/>
                    </a:lnTo>
                    <a:lnTo>
                      <a:pt x="157" y="264"/>
                    </a:lnTo>
                    <a:lnTo>
                      <a:pt x="156" y="263"/>
                    </a:lnTo>
                    <a:lnTo>
                      <a:pt x="155" y="260"/>
                    </a:lnTo>
                    <a:lnTo>
                      <a:pt x="153" y="260"/>
                    </a:lnTo>
                    <a:lnTo>
                      <a:pt x="152" y="261"/>
                    </a:lnTo>
                    <a:lnTo>
                      <a:pt x="151" y="260"/>
                    </a:lnTo>
                    <a:lnTo>
                      <a:pt x="149" y="257"/>
                    </a:lnTo>
                    <a:lnTo>
                      <a:pt x="148" y="257"/>
                    </a:lnTo>
                    <a:lnTo>
                      <a:pt x="146" y="257"/>
                    </a:lnTo>
                    <a:lnTo>
                      <a:pt x="144" y="257"/>
                    </a:lnTo>
                    <a:lnTo>
                      <a:pt x="144" y="255"/>
                    </a:lnTo>
                    <a:lnTo>
                      <a:pt x="144" y="254"/>
                    </a:lnTo>
                    <a:lnTo>
                      <a:pt x="142" y="254"/>
                    </a:lnTo>
                    <a:lnTo>
                      <a:pt x="142" y="255"/>
                    </a:lnTo>
                    <a:lnTo>
                      <a:pt x="143" y="257"/>
                    </a:lnTo>
                    <a:lnTo>
                      <a:pt x="142" y="260"/>
                    </a:lnTo>
                    <a:lnTo>
                      <a:pt x="141" y="260"/>
                    </a:lnTo>
                    <a:lnTo>
                      <a:pt x="139" y="262"/>
                    </a:lnTo>
                    <a:lnTo>
                      <a:pt x="137" y="262"/>
                    </a:lnTo>
                    <a:lnTo>
                      <a:pt x="136" y="263"/>
                    </a:lnTo>
                    <a:lnTo>
                      <a:pt x="133" y="262"/>
                    </a:lnTo>
                    <a:lnTo>
                      <a:pt x="131" y="261"/>
                    </a:lnTo>
                    <a:lnTo>
                      <a:pt x="128" y="259"/>
                    </a:lnTo>
                    <a:lnTo>
                      <a:pt x="128" y="257"/>
                    </a:lnTo>
                    <a:lnTo>
                      <a:pt x="129" y="257"/>
                    </a:lnTo>
                    <a:lnTo>
                      <a:pt x="128" y="256"/>
                    </a:lnTo>
                    <a:lnTo>
                      <a:pt x="128" y="255"/>
                    </a:lnTo>
                    <a:lnTo>
                      <a:pt x="128" y="257"/>
                    </a:lnTo>
                    <a:lnTo>
                      <a:pt x="127" y="257"/>
                    </a:lnTo>
                    <a:lnTo>
                      <a:pt x="126" y="256"/>
                    </a:lnTo>
                    <a:lnTo>
                      <a:pt x="125" y="256"/>
                    </a:lnTo>
                    <a:lnTo>
                      <a:pt x="125" y="255"/>
                    </a:lnTo>
                    <a:lnTo>
                      <a:pt x="126" y="255"/>
                    </a:lnTo>
                    <a:lnTo>
                      <a:pt x="125" y="254"/>
                    </a:lnTo>
                    <a:lnTo>
                      <a:pt x="126" y="254"/>
                    </a:lnTo>
                    <a:lnTo>
                      <a:pt x="126" y="252"/>
                    </a:lnTo>
                    <a:lnTo>
                      <a:pt x="125" y="251"/>
                    </a:lnTo>
                    <a:lnTo>
                      <a:pt x="125" y="250"/>
                    </a:lnTo>
                    <a:lnTo>
                      <a:pt x="125" y="248"/>
                    </a:lnTo>
                    <a:lnTo>
                      <a:pt x="124" y="247"/>
                    </a:lnTo>
                    <a:lnTo>
                      <a:pt x="121" y="249"/>
                    </a:lnTo>
                    <a:lnTo>
                      <a:pt x="119" y="251"/>
                    </a:lnTo>
                    <a:lnTo>
                      <a:pt x="115" y="248"/>
                    </a:lnTo>
                    <a:lnTo>
                      <a:pt x="114" y="254"/>
                    </a:lnTo>
                    <a:lnTo>
                      <a:pt x="116" y="254"/>
                    </a:lnTo>
                    <a:lnTo>
                      <a:pt x="112" y="256"/>
                    </a:lnTo>
                    <a:lnTo>
                      <a:pt x="110" y="259"/>
                    </a:lnTo>
                    <a:lnTo>
                      <a:pt x="109" y="257"/>
                    </a:lnTo>
                    <a:lnTo>
                      <a:pt x="108" y="258"/>
                    </a:lnTo>
                    <a:lnTo>
                      <a:pt x="106" y="257"/>
                    </a:lnTo>
                    <a:lnTo>
                      <a:pt x="108" y="257"/>
                    </a:lnTo>
                    <a:lnTo>
                      <a:pt x="108" y="256"/>
                    </a:lnTo>
                    <a:lnTo>
                      <a:pt x="104" y="253"/>
                    </a:lnTo>
                    <a:lnTo>
                      <a:pt x="103" y="253"/>
                    </a:lnTo>
                    <a:lnTo>
                      <a:pt x="101" y="252"/>
                    </a:lnTo>
                    <a:lnTo>
                      <a:pt x="102" y="255"/>
                    </a:lnTo>
                    <a:lnTo>
                      <a:pt x="101" y="256"/>
                    </a:lnTo>
                    <a:lnTo>
                      <a:pt x="101" y="258"/>
                    </a:lnTo>
                    <a:lnTo>
                      <a:pt x="99" y="261"/>
                    </a:lnTo>
                    <a:lnTo>
                      <a:pt x="100" y="261"/>
                    </a:lnTo>
                    <a:lnTo>
                      <a:pt x="100" y="262"/>
                    </a:lnTo>
                    <a:lnTo>
                      <a:pt x="99" y="262"/>
                    </a:lnTo>
                    <a:lnTo>
                      <a:pt x="100" y="264"/>
                    </a:lnTo>
                    <a:lnTo>
                      <a:pt x="99" y="264"/>
                    </a:lnTo>
                    <a:lnTo>
                      <a:pt x="98" y="264"/>
                    </a:lnTo>
                    <a:lnTo>
                      <a:pt x="96" y="265"/>
                    </a:lnTo>
                    <a:lnTo>
                      <a:pt x="98" y="267"/>
                    </a:lnTo>
                    <a:lnTo>
                      <a:pt x="95" y="267"/>
                    </a:lnTo>
                    <a:lnTo>
                      <a:pt x="95" y="264"/>
                    </a:lnTo>
                    <a:lnTo>
                      <a:pt x="94" y="264"/>
                    </a:lnTo>
                    <a:lnTo>
                      <a:pt x="91" y="263"/>
                    </a:lnTo>
                    <a:lnTo>
                      <a:pt x="90" y="264"/>
                    </a:lnTo>
                    <a:lnTo>
                      <a:pt x="87" y="263"/>
                    </a:lnTo>
                    <a:lnTo>
                      <a:pt x="85" y="265"/>
                    </a:lnTo>
                    <a:lnTo>
                      <a:pt x="82" y="263"/>
                    </a:lnTo>
                    <a:lnTo>
                      <a:pt x="81" y="265"/>
                    </a:lnTo>
                    <a:lnTo>
                      <a:pt x="78" y="267"/>
                    </a:lnTo>
                    <a:lnTo>
                      <a:pt x="77" y="267"/>
                    </a:lnTo>
                    <a:lnTo>
                      <a:pt x="76" y="269"/>
                    </a:lnTo>
                    <a:lnTo>
                      <a:pt x="78" y="270"/>
                    </a:lnTo>
                    <a:lnTo>
                      <a:pt x="78" y="271"/>
                    </a:lnTo>
                    <a:lnTo>
                      <a:pt x="77" y="271"/>
                    </a:lnTo>
                    <a:lnTo>
                      <a:pt x="77" y="272"/>
                    </a:lnTo>
                    <a:lnTo>
                      <a:pt x="75" y="272"/>
                    </a:lnTo>
                    <a:lnTo>
                      <a:pt x="74" y="275"/>
                    </a:lnTo>
                    <a:lnTo>
                      <a:pt x="71" y="277"/>
                    </a:lnTo>
                    <a:lnTo>
                      <a:pt x="66" y="276"/>
                    </a:lnTo>
                    <a:lnTo>
                      <a:pt x="64" y="275"/>
                    </a:lnTo>
                    <a:lnTo>
                      <a:pt x="64" y="276"/>
                    </a:lnTo>
                    <a:lnTo>
                      <a:pt x="64" y="280"/>
                    </a:lnTo>
                    <a:lnTo>
                      <a:pt x="63" y="282"/>
                    </a:lnTo>
                    <a:lnTo>
                      <a:pt x="60" y="280"/>
                    </a:lnTo>
                    <a:lnTo>
                      <a:pt x="59" y="283"/>
                    </a:lnTo>
                    <a:lnTo>
                      <a:pt x="58" y="282"/>
                    </a:lnTo>
                    <a:lnTo>
                      <a:pt x="58" y="283"/>
                    </a:lnTo>
                    <a:lnTo>
                      <a:pt x="58" y="284"/>
                    </a:lnTo>
                    <a:lnTo>
                      <a:pt x="59" y="284"/>
                    </a:lnTo>
                    <a:lnTo>
                      <a:pt x="58" y="286"/>
                    </a:lnTo>
                    <a:lnTo>
                      <a:pt x="58" y="288"/>
                    </a:lnTo>
                    <a:lnTo>
                      <a:pt x="56" y="288"/>
                    </a:lnTo>
                    <a:lnTo>
                      <a:pt x="55" y="289"/>
                    </a:lnTo>
                    <a:lnTo>
                      <a:pt x="54" y="287"/>
                    </a:lnTo>
                    <a:lnTo>
                      <a:pt x="52" y="285"/>
                    </a:lnTo>
                    <a:lnTo>
                      <a:pt x="52" y="283"/>
                    </a:lnTo>
                    <a:lnTo>
                      <a:pt x="49" y="280"/>
                    </a:lnTo>
                    <a:lnTo>
                      <a:pt x="49" y="279"/>
                    </a:lnTo>
                    <a:lnTo>
                      <a:pt x="46" y="279"/>
                    </a:lnTo>
                    <a:lnTo>
                      <a:pt x="43" y="281"/>
                    </a:lnTo>
                    <a:lnTo>
                      <a:pt x="42" y="282"/>
                    </a:lnTo>
                    <a:lnTo>
                      <a:pt x="42" y="280"/>
                    </a:lnTo>
                    <a:lnTo>
                      <a:pt x="40" y="280"/>
                    </a:lnTo>
                    <a:lnTo>
                      <a:pt x="39" y="279"/>
                    </a:lnTo>
                    <a:lnTo>
                      <a:pt x="38" y="279"/>
                    </a:lnTo>
                    <a:lnTo>
                      <a:pt x="36" y="280"/>
                    </a:lnTo>
                    <a:lnTo>
                      <a:pt x="38" y="284"/>
                    </a:lnTo>
                    <a:lnTo>
                      <a:pt x="37" y="284"/>
                    </a:lnTo>
                    <a:lnTo>
                      <a:pt x="35" y="285"/>
                    </a:lnTo>
                    <a:lnTo>
                      <a:pt x="35" y="287"/>
                    </a:lnTo>
                    <a:lnTo>
                      <a:pt x="33" y="287"/>
                    </a:lnTo>
                    <a:lnTo>
                      <a:pt x="33" y="288"/>
                    </a:lnTo>
                    <a:lnTo>
                      <a:pt x="33" y="289"/>
                    </a:lnTo>
                    <a:lnTo>
                      <a:pt x="31" y="291"/>
                    </a:lnTo>
                    <a:lnTo>
                      <a:pt x="30" y="291"/>
                    </a:lnTo>
                    <a:lnTo>
                      <a:pt x="30" y="288"/>
                    </a:lnTo>
                    <a:lnTo>
                      <a:pt x="28" y="289"/>
                    </a:lnTo>
                    <a:lnTo>
                      <a:pt x="27" y="289"/>
                    </a:lnTo>
                    <a:lnTo>
                      <a:pt x="25" y="287"/>
                    </a:lnTo>
                    <a:lnTo>
                      <a:pt x="25" y="286"/>
                    </a:lnTo>
                    <a:lnTo>
                      <a:pt x="26" y="284"/>
                    </a:lnTo>
                    <a:lnTo>
                      <a:pt x="25" y="283"/>
                    </a:lnTo>
                    <a:lnTo>
                      <a:pt x="24" y="281"/>
                    </a:lnTo>
                    <a:lnTo>
                      <a:pt x="23" y="280"/>
                    </a:lnTo>
                    <a:lnTo>
                      <a:pt x="20" y="280"/>
                    </a:lnTo>
                    <a:lnTo>
                      <a:pt x="21" y="284"/>
                    </a:lnTo>
                    <a:lnTo>
                      <a:pt x="17" y="280"/>
                    </a:lnTo>
                    <a:lnTo>
                      <a:pt x="14" y="280"/>
                    </a:lnTo>
                    <a:lnTo>
                      <a:pt x="15" y="281"/>
                    </a:lnTo>
                    <a:lnTo>
                      <a:pt x="17" y="281"/>
                    </a:lnTo>
                    <a:lnTo>
                      <a:pt x="17" y="282"/>
                    </a:lnTo>
                    <a:lnTo>
                      <a:pt x="18" y="282"/>
                    </a:lnTo>
                    <a:lnTo>
                      <a:pt x="15" y="284"/>
                    </a:lnTo>
                    <a:lnTo>
                      <a:pt x="14" y="285"/>
                    </a:lnTo>
                    <a:lnTo>
                      <a:pt x="14" y="286"/>
                    </a:lnTo>
                    <a:lnTo>
                      <a:pt x="13" y="287"/>
                    </a:lnTo>
                    <a:lnTo>
                      <a:pt x="12" y="287"/>
                    </a:lnTo>
                    <a:lnTo>
                      <a:pt x="10" y="286"/>
                    </a:lnTo>
                    <a:lnTo>
                      <a:pt x="10" y="284"/>
                    </a:lnTo>
                    <a:lnTo>
                      <a:pt x="8" y="284"/>
                    </a:lnTo>
                    <a:lnTo>
                      <a:pt x="7" y="286"/>
                    </a:lnTo>
                    <a:lnTo>
                      <a:pt x="8" y="287"/>
                    </a:lnTo>
                    <a:lnTo>
                      <a:pt x="9" y="287"/>
                    </a:lnTo>
                    <a:lnTo>
                      <a:pt x="10" y="288"/>
                    </a:lnTo>
                    <a:lnTo>
                      <a:pt x="11" y="289"/>
                    </a:lnTo>
                    <a:lnTo>
                      <a:pt x="10" y="291"/>
                    </a:lnTo>
                    <a:lnTo>
                      <a:pt x="9" y="290"/>
                    </a:lnTo>
                    <a:lnTo>
                      <a:pt x="7" y="291"/>
                    </a:lnTo>
                    <a:lnTo>
                      <a:pt x="7" y="292"/>
                    </a:lnTo>
                    <a:lnTo>
                      <a:pt x="10" y="293"/>
                    </a:lnTo>
                    <a:lnTo>
                      <a:pt x="8" y="294"/>
                    </a:lnTo>
                    <a:lnTo>
                      <a:pt x="7" y="295"/>
                    </a:lnTo>
                    <a:lnTo>
                      <a:pt x="5" y="294"/>
                    </a:lnTo>
                    <a:lnTo>
                      <a:pt x="4" y="294"/>
                    </a:lnTo>
                    <a:lnTo>
                      <a:pt x="4" y="297"/>
                    </a:lnTo>
                    <a:lnTo>
                      <a:pt x="0" y="301"/>
                    </a:lnTo>
                    <a:lnTo>
                      <a:pt x="5" y="303"/>
                    </a:lnTo>
                    <a:lnTo>
                      <a:pt x="11" y="308"/>
                    </a:lnTo>
                    <a:lnTo>
                      <a:pt x="17" y="308"/>
                    </a:lnTo>
                    <a:lnTo>
                      <a:pt x="19" y="309"/>
                    </a:lnTo>
                    <a:lnTo>
                      <a:pt x="20" y="308"/>
                    </a:lnTo>
                    <a:lnTo>
                      <a:pt x="22" y="310"/>
                    </a:lnTo>
                    <a:lnTo>
                      <a:pt x="25" y="315"/>
                    </a:lnTo>
                    <a:lnTo>
                      <a:pt x="27" y="315"/>
                    </a:lnTo>
                    <a:lnTo>
                      <a:pt x="26" y="314"/>
                    </a:lnTo>
                    <a:lnTo>
                      <a:pt x="31" y="318"/>
                    </a:lnTo>
                    <a:lnTo>
                      <a:pt x="34" y="322"/>
                    </a:lnTo>
                    <a:lnTo>
                      <a:pt x="35" y="325"/>
                    </a:lnTo>
                    <a:lnTo>
                      <a:pt x="38" y="328"/>
                    </a:lnTo>
                    <a:lnTo>
                      <a:pt x="39" y="331"/>
                    </a:lnTo>
                    <a:lnTo>
                      <a:pt x="40" y="331"/>
                    </a:lnTo>
                    <a:lnTo>
                      <a:pt x="42" y="330"/>
                    </a:lnTo>
                    <a:lnTo>
                      <a:pt x="45" y="330"/>
                    </a:lnTo>
                    <a:lnTo>
                      <a:pt x="46" y="330"/>
                    </a:lnTo>
                    <a:lnTo>
                      <a:pt x="46" y="331"/>
                    </a:lnTo>
                    <a:lnTo>
                      <a:pt x="53" y="333"/>
                    </a:lnTo>
                    <a:lnTo>
                      <a:pt x="57" y="335"/>
                    </a:lnTo>
                    <a:lnTo>
                      <a:pt x="62" y="331"/>
                    </a:lnTo>
                    <a:lnTo>
                      <a:pt x="64" y="328"/>
                    </a:lnTo>
                    <a:lnTo>
                      <a:pt x="65" y="325"/>
                    </a:lnTo>
                    <a:lnTo>
                      <a:pt x="69" y="326"/>
                    </a:lnTo>
                    <a:lnTo>
                      <a:pt x="72" y="328"/>
                    </a:lnTo>
                    <a:lnTo>
                      <a:pt x="77" y="328"/>
                    </a:lnTo>
                    <a:lnTo>
                      <a:pt x="78" y="329"/>
                    </a:lnTo>
                    <a:lnTo>
                      <a:pt x="79" y="329"/>
                    </a:lnTo>
                    <a:lnTo>
                      <a:pt x="82" y="326"/>
                    </a:lnTo>
                    <a:lnTo>
                      <a:pt x="82" y="328"/>
                    </a:lnTo>
                    <a:lnTo>
                      <a:pt x="84" y="331"/>
                    </a:lnTo>
                    <a:lnTo>
                      <a:pt x="84" y="332"/>
                    </a:lnTo>
                    <a:lnTo>
                      <a:pt x="82" y="333"/>
                    </a:lnTo>
                    <a:lnTo>
                      <a:pt x="82" y="335"/>
                    </a:lnTo>
                    <a:lnTo>
                      <a:pt x="85" y="337"/>
                    </a:lnTo>
                    <a:lnTo>
                      <a:pt x="87" y="339"/>
                    </a:lnTo>
                    <a:lnTo>
                      <a:pt x="90" y="338"/>
                    </a:lnTo>
                    <a:lnTo>
                      <a:pt x="90" y="337"/>
                    </a:lnTo>
                    <a:lnTo>
                      <a:pt x="90" y="336"/>
                    </a:lnTo>
                    <a:lnTo>
                      <a:pt x="91" y="336"/>
                    </a:lnTo>
                    <a:lnTo>
                      <a:pt x="92" y="337"/>
                    </a:lnTo>
                    <a:lnTo>
                      <a:pt x="92" y="338"/>
                    </a:lnTo>
                    <a:lnTo>
                      <a:pt x="91" y="342"/>
                    </a:lnTo>
                    <a:lnTo>
                      <a:pt x="92" y="345"/>
                    </a:lnTo>
                    <a:lnTo>
                      <a:pt x="93" y="345"/>
                    </a:lnTo>
                    <a:lnTo>
                      <a:pt x="96" y="342"/>
                    </a:lnTo>
                    <a:lnTo>
                      <a:pt x="97" y="345"/>
                    </a:lnTo>
                    <a:lnTo>
                      <a:pt x="97" y="347"/>
                    </a:lnTo>
                    <a:lnTo>
                      <a:pt x="96" y="347"/>
                    </a:lnTo>
                    <a:lnTo>
                      <a:pt x="95" y="346"/>
                    </a:lnTo>
                    <a:lnTo>
                      <a:pt x="95" y="344"/>
                    </a:lnTo>
                    <a:lnTo>
                      <a:pt x="95" y="345"/>
                    </a:lnTo>
                    <a:lnTo>
                      <a:pt x="94" y="346"/>
                    </a:lnTo>
                    <a:lnTo>
                      <a:pt x="95" y="348"/>
                    </a:lnTo>
                    <a:lnTo>
                      <a:pt x="98" y="348"/>
                    </a:lnTo>
                    <a:lnTo>
                      <a:pt x="101" y="347"/>
                    </a:lnTo>
                    <a:lnTo>
                      <a:pt x="102" y="349"/>
                    </a:lnTo>
                    <a:lnTo>
                      <a:pt x="104" y="349"/>
                    </a:lnTo>
                    <a:lnTo>
                      <a:pt x="102" y="354"/>
                    </a:lnTo>
                    <a:lnTo>
                      <a:pt x="103" y="355"/>
                    </a:lnTo>
                    <a:lnTo>
                      <a:pt x="104" y="358"/>
                    </a:lnTo>
                    <a:lnTo>
                      <a:pt x="106" y="358"/>
                    </a:lnTo>
                    <a:lnTo>
                      <a:pt x="107" y="357"/>
                    </a:lnTo>
                    <a:lnTo>
                      <a:pt x="107" y="354"/>
                    </a:lnTo>
                    <a:lnTo>
                      <a:pt x="108" y="354"/>
                    </a:lnTo>
                    <a:lnTo>
                      <a:pt x="109" y="354"/>
                    </a:lnTo>
                    <a:lnTo>
                      <a:pt x="108" y="356"/>
                    </a:lnTo>
                    <a:lnTo>
                      <a:pt x="112" y="356"/>
                    </a:lnTo>
                    <a:lnTo>
                      <a:pt x="112" y="358"/>
                    </a:lnTo>
                    <a:lnTo>
                      <a:pt x="109" y="360"/>
                    </a:lnTo>
                    <a:lnTo>
                      <a:pt x="108" y="365"/>
                    </a:lnTo>
                    <a:lnTo>
                      <a:pt x="112" y="368"/>
                    </a:lnTo>
                    <a:lnTo>
                      <a:pt x="118" y="375"/>
                    </a:lnTo>
                    <a:lnTo>
                      <a:pt x="120" y="378"/>
                    </a:lnTo>
                    <a:lnTo>
                      <a:pt x="134" y="388"/>
                    </a:lnTo>
                    <a:lnTo>
                      <a:pt x="138" y="392"/>
                    </a:lnTo>
                    <a:lnTo>
                      <a:pt x="142" y="395"/>
                    </a:lnTo>
                    <a:lnTo>
                      <a:pt x="146" y="397"/>
                    </a:lnTo>
                    <a:lnTo>
                      <a:pt x="149" y="398"/>
                    </a:lnTo>
                    <a:lnTo>
                      <a:pt x="150" y="398"/>
                    </a:lnTo>
                    <a:lnTo>
                      <a:pt x="150" y="397"/>
                    </a:lnTo>
                    <a:lnTo>
                      <a:pt x="152" y="397"/>
                    </a:lnTo>
                    <a:lnTo>
                      <a:pt x="152" y="398"/>
                    </a:lnTo>
                    <a:lnTo>
                      <a:pt x="157" y="400"/>
                    </a:lnTo>
                    <a:lnTo>
                      <a:pt x="158" y="399"/>
                    </a:lnTo>
                    <a:lnTo>
                      <a:pt x="160" y="399"/>
                    </a:lnTo>
                    <a:lnTo>
                      <a:pt x="160" y="400"/>
                    </a:lnTo>
                    <a:lnTo>
                      <a:pt x="161" y="399"/>
                    </a:lnTo>
                    <a:lnTo>
                      <a:pt x="161" y="398"/>
                    </a:lnTo>
                    <a:lnTo>
                      <a:pt x="173" y="402"/>
                    </a:lnTo>
                    <a:lnTo>
                      <a:pt x="187" y="405"/>
                    </a:lnTo>
                    <a:lnTo>
                      <a:pt x="191" y="407"/>
                    </a:lnTo>
                    <a:lnTo>
                      <a:pt x="193" y="406"/>
                    </a:lnTo>
                    <a:lnTo>
                      <a:pt x="196" y="406"/>
                    </a:lnTo>
                    <a:lnTo>
                      <a:pt x="201" y="408"/>
                    </a:lnTo>
                    <a:lnTo>
                      <a:pt x="202" y="407"/>
                    </a:lnTo>
                    <a:lnTo>
                      <a:pt x="205" y="410"/>
                    </a:lnTo>
                    <a:lnTo>
                      <a:pt x="210" y="412"/>
                    </a:lnTo>
                    <a:lnTo>
                      <a:pt x="212" y="410"/>
                    </a:lnTo>
                    <a:lnTo>
                      <a:pt x="213" y="408"/>
                    </a:lnTo>
                    <a:lnTo>
                      <a:pt x="214" y="407"/>
                    </a:lnTo>
                    <a:lnTo>
                      <a:pt x="214" y="406"/>
                    </a:lnTo>
                    <a:lnTo>
                      <a:pt x="214" y="409"/>
                    </a:lnTo>
                    <a:lnTo>
                      <a:pt x="216" y="408"/>
                    </a:lnTo>
                    <a:lnTo>
                      <a:pt x="217" y="409"/>
                    </a:lnTo>
                    <a:lnTo>
                      <a:pt x="218" y="410"/>
                    </a:lnTo>
                    <a:lnTo>
                      <a:pt x="216" y="412"/>
                    </a:lnTo>
                    <a:lnTo>
                      <a:pt x="218" y="414"/>
                    </a:lnTo>
                    <a:lnTo>
                      <a:pt x="218" y="413"/>
                    </a:lnTo>
                    <a:lnTo>
                      <a:pt x="218" y="414"/>
                    </a:lnTo>
                    <a:lnTo>
                      <a:pt x="222" y="414"/>
                    </a:lnTo>
                    <a:lnTo>
                      <a:pt x="222" y="415"/>
                    </a:lnTo>
                    <a:lnTo>
                      <a:pt x="224" y="415"/>
                    </a:lnTo>
                    <a:lnTo>
                      <a:pt x="225" y="414"/>
                    </a:lnTo>
                    <a:lnTo>
                      <a:pt x="226" y="412"/>
                    </a:lnTo>
                    <a:lnTo>
                      <a:pt x="227" y="410"/>
                    </a:lnTo>
                    <a:lnTo>
                      <a:pt x="228" y="412"/>
                    </a:lnTo>
                    <a:lnTo>
                      <a:pt x="230" y="410"/>
                    </a:lnTo>
                    <a:lnTo>
                      <a:pt x="231" y="410"/>
                    </a:lnTo>
                    <a:lnTo>
                      <a:pt x="232" y="410"/>
                    </a:lnTo>
                    <a:lnTo>
                      <a:pt x="234" y="406"/>
                    </a:lnTo>
                    <a:lnTo>
                      <a:pt x="235" y="404"/>
                    </a:lnTo>
                    <a:lnTo>
                      <a:pt x="237" y="401"/>
                    </a:lnTo>
                    <a:lnTo>
                      <a:pt x="240" y="401"/>
                    </a:lnTo>
                    <a:lnTo>
                      <a:pt x="242" y="399"/>
                    </a:lnTo>
                    <a:lnTo>
                      <a:pt x="242" y="396"/>
                    </a:lnTo>
                    <a:lnTo>
                      <a:pt x="242" y="395"/>
                    </a:lnTo>
                    <a:lnTo>
                      <a:pt x="243" y="392"/>
                    </a:lnTo>
                    <a:lnTo>
                      <a:pt x="245" y="388"/>
                    </a:lnTo>
                    <a:lnTo>
                      <a:pt x="245" y="386"/>
                    </a:lnTo>
                    <a:lnTo>
                      <a:pt x="246" y="384"/>
                    </a:lnTo>
                    <a:lnTo>
                      <a:pt x="250" y="382"/>
                    </a:lnTo>
                    <a:lnTo>
                      <a:pt x="250" y="381"/>
                    </a:lnTo>
                    <a:lnTo>
                      <a:pt x="249" y="380"/>
                    </a:lnTo>
                    <a:lnTo>
                      <a:pt x="250" y="380"/>
                    </a:lnTo>
                    <a:lnTo>
                      <a:pt x="254" y="384"/>
                    </a:lnTo>
                    <a:lnTo>
                      <a:pt x="260" y="386"/>
                    </a:lnTo>
                    <a:lnTo>
                      <a:pt x="264" y="385"/>
                    </a:lnTo>
                    <a:lnTo>
                      <a:pt x="265" y="387"/>
                    </a:lnTo>
                    <a:lnTo>
                      <a:pt x="267" y="386"/>
                    </a:lnTo>
                    <a:lnTo>
                      <a:pt x="269" y="383"/>
                    </a:lnTo>
                    <a:lnTo>
                      <a:pt x="271" y="381"/>
                    </a:lnTo>
                    <a:lnTo>
                      <a:pt x="275" y="386"/>
                    </a:lnTo>
                    <a:lnTo>
                      <a:pt x="275" y="387"/>
                    </a:lnTo>
                    <a:lnTo>
                      <a:pt x="278" y="391"/>
                    </a:lnTo>
                    <a:lnTo>
                      <a:pt x="283" y="392"/>
                    </a:lnTo>
                    <a:lnTo>
                      <a:pt x="286" y="395"/>
                    </a:lnTo>
                    <a:lnTo>
                      <a:pt x="285" y="397"/>
                    </a:lnTo>
                    <a:lnTo>
                      <a:pt x="289" y="399"/>
                    </a:lnTo>
                    <a:lnTo>
                      <a:pt x="291" y="399"/>
                    </a:lnTo>
                    <a:lnTo>
                      <a:pt x="295" y="399"/>
                    </a:lnTo>
                    <a:lnTo>
                      <a:pt x="296" y="397"/>
                    </a:lnTo>
                    <a:lnTo>
                      <a:pt x="299" y="397"/>
                    </a:lnTo>
                    <a:lnTo>
                      <a:pt x="302" y="399"/>
                    </a:lnTo>
                    <a:lnTo>
                      <a:pt x="304" y="400"/>
                    </a:lnTo>
                    <a:lnTo>
                      <a:pt x="305" y="403"/>
                    </a:lnTo>
                    <a:lnTo>
                      <a:pt x="307" y="406"/>
                    </a:lnTo>
                    <a:lnTo>
                      <a:pt x="308" y="412"/>
                    </a:lnTo>
                    <a:lnTo>
                      <a:pt x="308" y="415"/>
                    </a:lnTo>
                    <a:lnTo>
                      <a:pt x="305" y="418"/>
                    </a:lnTo>
                    <a:lnTo>
                      <a:pt x="305" y="420"/>
                    </a:lnTo>
                    <a:lnTo>
                      <a:pt x="307" y="423"/>
                    </a:lnTo>
                    <a:lnTo>
                      <a:pt x="307" y="426"/>
                    </a:lnTo>
                    <a:lnTo>
                      <a:pt x="308" y="426"/>
                    </a:lnTo>
                    <a:lnTo>
                      <a:pt x="313" y="423"/>
                    </a:lnTo>
                    <a:lnTo>
                      <a:pt x="314" y="422"/>
                    </a:lnTo>
                    <a:lnTo>
                      <a:pt x="317" y="422"/>
                    </a:lnTo>
                    <a:lnTo>
                      <a:pt x="319" y="423"/>
                    </a:lnTo>
                    <a:lnTo>
                      <a:pt x="321" y="423"/>
                    </a:lnTo>
                    <a:lnTo>
                      <a:pt x="320" y="424"/>
                    </a:lnTo>
                    <a:lnTo>
                      <a:pt x="320" y="425"/>
                    </a:lnTo>
                    <a:lnTo>
                      <a:pt x="321" y="425"/>
                    </a:lnTo>
                    <a:lnTo>
                      <a:pt x="322" y="426"/>
                    </a:lnTo>
                    <a:lnTo>
                      <a:pt x="322" y="427"/>
                    </a:lnTo>
                    <a:lnTo>
                      <a:pt x="325" y="426"/>
                    </a:lnTo>
                    <a:lnTo>
                      <a:pt x="327" y="429"/>
                    </a:lnTo>
                    <a:lnTo>
                      <a:pt x="327" y="431"/>
                    </a:lnTo>
                    <a:lnTo>
                      <a:pt x="328" y="433"/>
                    </a:lnTo>
                    <a:lnTo>
                      <a:pt x="329" y="433"/>
                    </a:lnTo>
                    <a:lnTo>
                      <a:pt x="332" y="436"/>
                    </a:lnTo>
                    <a:lnTo>
                      <a:pt x="333" y="435"/>
                    </a:lnTo>
                    <a:lnTo>
                      <a:pt x="334" y="436"/>
                    </a:lnTo>
                    <a:lnTo>
                      <a:pt x="336" y="436"/>
                    </a:lnTo>
                    <a:lnTo>
                      <a:pt x="338" y="438"/>
                    </a:lnTo>
                    <a:lnTo>
                      <a:pt x="339" y="440"/>
                    </a:lnTo>
                    <a:lnTo>
                      <a:pt x="341" y="437"/>
                    </a:lnTo>
                    <a:lnTo>
                      <a:pt x="343" y="438"/>
                    </a:lnTo>
                    <a:lnTo>
                      <a:pt x="346" y="439"/>
                    </a:lnTo>
                    <a:lnTo>
                      <a:pt x="349" y="436"/>
                    </a:lnTo>
                    <a:lnTo>
                      <a:pt x="351" y="439"/>
                    </a:lnTo>
                    <a:lnTo>
                      <a:pt x="358" y="439"/>
                    </a:lnTo>
                    <a:lnTo>
                      <a:pt x="361" y="435"/>
                    </a:lnTo>
                    <a:lnTo>
                      <a:pt x="362" y="438"/>
                    </a:lnTo>
                    <a:lnTo>
                      <a:pt x="366" y="439"/>
                    </a:lnTo>
                    <a:lnTo>
                      <a:pt x="367" y="438"/>
                    </a:lnTo>
                    <a:lnTo>
                      <a:pt x="368" y="439"/>
                    </a:lnTo>
                    <a:lnTo>
                      <a:pt x="367" y="439"/>
                    </a:lnTo>
                    <a:lnTo>
                      <a:pt x="368" y="441"/>
                    </a:lnTo>
                    <a:lnTo>
                      <a:pt x="369" y="443"/>
                    </a:lnTo>
                    <a:lnTo>
                      <a:pt x="368" y="444"/>
                    </a:lnTo>
                    <a:lnTo>
                      <a:pt x="370" y="446"/>
                    </a:lnTo>
                    <a:lnTo>
                      <a:pt x="370" y="448"/>
                    </a:lnTo>
                    <a:lnTo>
                      <a:pt x="370" y="450"/>
                    </a:lnTo>
                    <a:lnTo>
                      <a:pt x="370" y="451"/>
                    </a:lnTo>
                    <a:lnTo>
                      <a:pt x="370" y="452"/>
                    </a:lnTo>
                    <a:lnTo>
                      <a:pt x="370" y="454"/>
                    </a:lnTo>
                    <a:lnTo>
                      <a:pt x="369" y="454"/>
                    </a:lnTo>
                    <a:lnTo>
                      <a:pt x="368" y="456"/>
                    </a:lnTo>
                    <a:lnTo>
                      <a:pt x="368" y="458"/>
                    </a:lnTo>
                    <a:lnTo>
                      <a:pt x="370" y="460"/>
                    </a:lnTo>
                    <a:lnTo>
                      <a:pt x="371" y="461"/>
                    </a:lnTo>
                    <a:lnTo>
                      <a:pt x="370" y="462"/>
                    </a:lnTo>
                    <a:lnTo>
                      <a:pt x="371" y="463"/>
                    </a:lnTo>
                    <a:lnTo>
                      <a:pt x="370" y="463"/>
                    </a:lnTo>
                    <a:lnTo>
                      <a:pt x="371" y="465"/>
                    </a:lnTo>
                    <a:lnTo>
                      <a:pt x="370" y="467"/>
                    </a:lnTo>
                    <a:lnTo>
                      <a:pt x="369" y="468"/>
                    </a:lnTo>
                    <a:lnTo>
                      <a:pt x="370" y="471"/>
                    </a:lnTo>
                    <a:lnTo>
                      <a:pt x="369" y="471"/>
                    </a:lnTo>
                    <a:lnTo>
                      <a:pt x="370" y="473"/>
                    </a:lnTo>
                    <a:lnTo>
                      <a:pt x="371" y="473"/>
                    </a:lnTo>
                    <a:lnTo>
                      <a:pt x="371" y="475"/>
                    </a:lnTo>
                    <a:lnTo>
                      <a:pt x="370" y="476"/>
                    </a:lnTo>
                    <a:lnTo>
                      <a:pt x="370" y="478"/>
                    </a:lnTo>
                    <a:lnTo>
                      <a:pt x="368" y="481"/>
                    </a:lnTo>
                    <a:lnTo>
                      <a:pt x="368" y="483"/>
                    </a:lnTo>
                    <a:lnTo>
                      <a:pt x="370" y="484"/>
                    </a:lnTo>
                    <a:lnTo>
                      <a:pt x="373" y="486"/>
                    </a:lnTo>
                    <a:lnTo>
                      <a:pt x="375" y="487"/>
                    </a:lnTo>
                    <a:lnTo>
                      <a:pt x="375" y="485"/>
                    </a:lnTo>
                    <a:lnTo>
                      <a:pt x="376" y="486"/>
                    </a:lnTo>
                    <a:lnTo>
                      <a:pt x="377" y="486"/>
                    </a:lnTo>
                    <a:lnTo>
                      <a:pt x="376" y="485"/>
                    </a:lnTo>
                    <a:lnTo>
                      <a:pt x="376" y="484"/>
                    </a:lnTo>
                    <a:lnTo>
                      <a:pt x="378" y="484"/>
                    </a:lnTo>
                    <a:lnTo>
                      <a:pt x="378" y="481"/>
                    </a:lnTo>
                    <a:lnTo>
                      <a:pt x="379" y="483"/>
                    </a:lnTo>
                    <a:lnTo>
                      <a:pt x="379" y="481"/>
                    </a:lnTo>
                    <a:lnTo>
                      <a:pt x="381" y="483"/>
                    </a:lnTo>
                    <a:lnTo>
                      <a:pt x="382" y="482"/>
                    </a:lnTo>
                    <a:lnTo>
                      <a:pt x="380" y="480"/>
                    </a:lnTo>
                    <a:lnTo>
                      <a:pt x="382" y="480"/>
                    </a:lnTo>
                    <a:lnTo>
                      <a:pt x="380" y="477"/>
                    </a:lnTo>
                    <a:lnTo>
                      <a:pt x="380" y="476"/>
                    </a:lnTo>
                    <a:lnTo>
                      <a:pt x="382" y="478"/>
                    </a:lnTo>
                    <a:lnTo>
                      <a:pt x="382" y="476"/>
                    </a:lnTo>
                    <a:lnTo>
                      <a:pt x="383" y="475"/>
                    </a:lnTo>
                    <a:lnTo>
                      <a:pt x="382" y="473"/>
                    </a:lnTo>
                    <a:lnTo>
                      <a:pt x="384" y="473"/>
                    </a:lnTo>
                    <a:lnTo>
                      <a:pt x="383" y="471"/>
                    </a:lnTo>
                    <a:lnTo>
                      <a:pt x="383" y="464"/>
                    </a:lnTo>
                    <a:lnTo>
                      <a:pt x="385" y="463"/>
                    </a:lnTo>
                    <a:lnTo>
                      <a:pt x="384" y="461"/>
                    </a:lnTo>
                    <a:lnTo>
                      <a:pt x="384" y="460"/>
                    </a:lnTo>
                    <a:lnTo>
                      <a:pt x="385" y="462"/>
                    </a:lnTo>
                    <a:lnTo>
                      <a:pt x="386" y="461"/>
                    </a:lnTo>
                    <a:lnTo>
                      <a:pt x="386" y="459"/>
                    </a:lnTo>
                    <a:lnTo>
                      <a:pt x="387" y="459"/>
                    </a:lnTo>
                    <a:lnTo>
                      <a:pt x="387" y="457"/>
                    </a:lnTo>
                    <a:lnTo>
                      <a:pt x="388" y="456"/>
                    </a:lnTo>
                    <a:lnTo>
                      <a:pt x="388" y="454"/>
                    </a:lnTo>
                    <a:lnTo>
                      <a:pt x="389" y="453"/>
                    </a:lnTo>
                    <a:lnTo>
                      <a:pt x="390" y="454"/>
                    </a:lnTo>
                    <a:lnTo>
                      <a:pt x="391" y="454"/>
                    </a:lnTo>
                    <a:lnTo>
                      <a:pt x="392" y="452"/>
                    </a:lnTo>
                    <a:lnTo>
                      <a:pt x="393" y="454"/>
                    </a:lnTo>
                    <a:lnTo>
                      <a:pt x="394" y="452"/>
                    </a:lnTo>
                    <a:lnTo>
                      <a:pt x="392" y="452"/>
                    </a:lnTo>
                    <a:lnTo>
                      <a:pt x="393" y="451"/>
                    </a:lnTo>
                    <a:lnTo>
                      <a:pt x="392" y="450"/>
                    </a:lnTo>
                    <a:lnTo>
                      <a:pt x="396" y="450"/>
                    </a:lnTo>
                    <a:lnTo>
                      <a:pt x="394" y="448"/>
                    </a:lnTo>
                    <a:lnTo>
                      <a:pt x="395" y="447"/>
                    </a:lnTo>
                    <a:lnTo>
                      <a:pt x="394" y="448"/>
                    </a:lnTo>
                    <a:lnTo>
                      <a:pt x="393" y="447"/>
                    </a:lnTo>
                    <a:lnTo>
                      <a:pt x="394" y="446"/>
                    </a:lnTo>
                    <a:lnTo>
                      <a:pt x="395" y="446"/>
                    </a:lnTo>
                    <a:lnTo>
                      <a:pt x="394" y="446"/>
                    </a:lnTo>
                    <a:lnTo>
                      <a:pt x="395" y="444"/>
                    </a:lnTo>
                    <a:lnTo>
                      <a:pt x="396" y="444"/>
                    </a:lnTo>
                    <a:lnTo>
                      <a:pt x="395" y="443"/>
                    </a:lnTo>
                    <a:lnTo>
                      <a:pt x="395" y="441"/>
                    </a:lnTo>
                    <a:lnTo>
                      <a:pt x="397" y="440"/>
                    </a:lnTo>
                    <a:lnTo>
                      <a:pt x="395" y="440"/>
                    </a:lnTo>
                    <a:lnTo>
                      <a:pt x="395" y="439"/>
                    </a:lnTo>
                    <a:lnTo>
                      <a:pt x="394" y="439"/>
                    </a:lnTo>
                    <a:lnTo>
                      <a:pt x="396" y="437"/>
                    </a:lnTo>
                    <a:lnTo>
                      <a:pt x="397" y="438"/>
                    </a:lnTo>
                    <a:lnTo>
                      <a:pt x="397" y="437"/>
                    </a:lnTo>
                    <a:lnTo>
                      <a:pt x="398" y="437"/>
                    </a:lnTo>
                    <a:lnTo>
                      <a:pt x="399" y="436"/>
                    </a:lnTo>
                    <a:lnTo>
                      <a:pt x="400" y="434"/>
                    </a:lnTo>
                    <a:lnTo>
                      <a:pt x="400" y="435"/>
                    </a:lnTo>
                    <a:lnTo>
                      <a:pt x="400" y="433"/>
                    </a:lnTo>
                    <a:lnTo>
                      <a:pt x="403" y="433"/>
                    </a:lnTo>
                    <a:lnTo>
                      <a:pt x="403" y="430"/>
                    </a:lnTo>
                    <a:lnTo>
                      <a:pt x="404" y="427"/>
                    </a:lnTo>
                    <a:lnTo>
                      <a:pt x="406" y="426"/>
                    </a:lnTo>
                    <a:lnTo>
                      <a:pt x="408" y="424"/>
                    </a:lnTo>
                    <a:lnTo>
                      <a:pt x="409" y="423"/>
                    </a:lnTo>
                    <a:lnTo>
                      <a:pt x="409" y="422"/>
                    </a:lnTo>
                    <a:lnTo>
                      <a:pt x="408" y="423"/>
                    </a:lnTo>
                    <a:lnTo>
                      <a:pt x="409" y="418"/>
                    </a:lnTo>
                    <a:lnTo>
                      <a:pt x="411" y="419"/>
                    </a:lnTo>
                    <a:lnTo>
                      <a:pt x="412" y="418"/>
                    </a:lnTo>
                    <a:lnTo>
                      <a:pt x="413" y="418"/>
                    </a:lnTo>
                    <a:lnTo>
                      <a:pt x="413" y="417"/>
                    </a:lnTo>
                    <a:lnTo>
                      <a:pt x="414" y="418"/>
                    </a:lnTo>
                    <a:lnTo>
                      <a:pt x="416" y="417"/>
                    </a:lnTo>
                    <a:lnTo>
                      <a:pt x="414" y="416"/>
                    </a:lnTo>
                    <a:lnTo>
                      <a:pt x="414" y="415"/>
                    </a:lnTo>
                    <a:lnTo>
                      <a:pt x="414" y="416"/>
                    </a:lnTo>
                    <a:lnTo>
                      <a:pt x="416" y="416"/>
                    </a:lnTo>
                    <a:lnTo>
                      <a:pt x="416" y="414"/>
                    </a:lnTo>
                    <a:lnTo>
                      <a:pt x="417" y="414"/>
                    </a:lnTo>
                    <a:lnTo>
                      <a:pt x="417" y="413"/>
                    </a:lnTo>
                    <a:lnTo>
                      <a:pt x="418" y="413"/>
                    </a:lnTo>
                    <a:lnTo>
                      <a:pt x="420" y="412"/>
                    </a:lnTo>
                    <a:lnTo>
                      <a:pt x="421" y="413"/>
                    </a:lnTo>
                    <a:lnTo>
                      <a:pt x="424" y="410"/>
                    </a:lnTo>
                    <a:lnTo>
                      <a:pt x="422" y="409"/>
                    </a:lnTo>
                    <a:lnTo>
                      <a:pt x="423" y="406"/>
                    </a:lnTo>
                    <a:lnTo>
                      <a:pt x="424" y="405"/>
                    </a:lnTo>
                    <a:lnTo>
                      <a:pt x="425" y="405"/>
                    </a:lnTo>
                    <a:lnTo>
                      <a:pt x="424" y="404"/>
                    </a:lnTo>
                    <a:lnTo>
                      <a:pt x="425" y="404"/>
                    </a:lnTo>
                    <a:lnTo>
                      <a:pt x="425" y="403"/>
                    </a:lnTo>
                    <a:lnTo>
                      <a:pt x="427" y="403"/>
                    </a:lnTo>
                    <a:lnTo>
                      <a:pt x="427" y="401"/>
                    </a:lnTo>
                    <a:lnTo>
                      <a:pt x="428" y="400"/>
                    </a:lnTo>
                    <a:lnTo>
                      <a:pt x="429" y="398"/>
                    </a:lnTo>
                    <a:lnTo>
                      <a:pt x="428" y="395"/>
                    </a:lnTo>
                    <a:lnTo>
                      <a:pt x="429" y="392"/>
                    </a:lnTo>
                    <a:lnTo>
                      <a:pt x="429" y="391"/>
                    </a:lnTo>
                    <a:lnTo>
                      <a:pt x="430" y="389"/>
                    </a:lnTo>
                    <a:lnTo>
                      <a:pt x="430" y="388"/>
                    </a:lnTo>
                    <a:lnTo>
                      <a:pt x="431" y="388"/>
                    </a:lnTo>
                    <a:lnTo>
                      <a:pt x="432" y="386"/>
                    </a:lnTo>
                    <a:lnTo>
                      <a:pt x="437" y="389"/>
                    </a:lnTo>
                    <a:lnTo>
                      <a:pt x="440" y="389"/>
                    </a:lnTo>
                    <a:lnTo>
                      <a:pt x="441" y="389"/>
                    </a:lnTo>
                    <a:lnTo>
                      <a:pt x="442" y="387"/>
                    </a:lnTo>
                    <a:lnTo>
                      <a:pt x="443" y="386"/>
                    </a:lnTo>
                    <a:lnTo>
                      <a:pt x="442" y="386"/>
                    </a:lnTo>
                    <a:lnTo>
                      <a:pt x="442" y="384"/>
                    </a:lnTo>
                    <a:lnTo>
                      <a:pt x="443" y="385"/>
                    </a:lnTo>
                    <a:lnTo>
                      <a:pt x="445" y="384"/>
                    </a:lnTo>
                    <a:lnTo>
                      <a:pt x="444" y="383"/>
                    </a:lnTo>
                    <a:lnTo>
                      <a:pt x="446" y="384"/>
                    </a:lnTo>
                    <a:lnTo>
                      <a:pt x="446" y="383"/>
                    </a:lnTo>
                    <a:lnTo>
                      <a:pt x="445" y="382"/>
                    </a:lnTo>
                    <a:lnTo>
                      <a:pt x="447" y="382"/>
                    </a:lnTo>
                    <a:lnTo>
                      <a:pt x="448" y="381"/>
                    </a:lnTo>
                    <a:lnTo>
                      <a:pt x="447" y="380"/>
                    </a:lnTo>
                    <a:lnTo>
                      <a:pt x="449" y="379"/>
                    </a:lnTo>
                    <a:lnTo>
                      <a:pt x="449" y="381"/>
                    </a:lnTo>
                    <a:lnTo>
                      <a:pt x="450" y="381"/>
                    </a:lnTo>
                    <a:lnTo>
                      <a:pt x="450" y="380"/>
                    </a:lnTo>
                    <a:lnTo>
                      <a:pt x="449" y="378"/>
                    </a:lnTo>
                    <a:lnTo>
                      <a:pt x="449" y="376"/>
                    </a:lnTo>
                    <a:lnTo>
                      <a:pt x="450" y="376"/>
                    </a:lnTo>
                    <a:lnTo>
                      <a:pt x="452" y="377"/>
                    </a:lnTo>
                    <a:lnTo>
                      <a:pt x="452" y="375"/>
                    </a:lnTo>
                    <a:lnTo>
                      <a:pt x="455" y="373"/>
                    </a:lnTo>
                    <a:lnTo>
                      <a:pt x="456" y="373"/>
                    </a:lnTo>
                    <a:lnTo>
                      <a:pt x="457" y="373"/>
                    </a:lnTo>
                    <a:lnTo>
                      <a:pt x="458" y="373"/>
                    </a:lnTo>
                    <a:lnTo>
                      <a:pt x="458" y="374"/>
                    </a:lnTo>
                    <a:lnTo>
                      <a:pt x="458" y="375"/>
                    </a:lnTo>
                    <a:lnTo>
                      <a:pt x="459" y="374"/>
                    </a:lnTo>
                    <a:lnTo>
                      <a:pt x="461" y="375"/>
                    </a:lnTo>
                    <a:lnTo>
                      <a:pt x="463" y="374"/>
                    </a:lnTo>
                    <a:lnTo>
                      <a:pt x="463" y="376"/>
                    </a:lnTo>
                    <a:lnTo>
                      <a:pt x="465" y="376"/>
                    </a:lnTo>
                    <a:lnTo>
                      <a:pt x="466" y="378"/>
                    </a:lnTo>
                    <a:lnTo>
                      <a:pt x="469" y="378"/>
                    </a:lnTo>
                    <a:lnTo>
                      <a:pt x="470" y="380"/>
                    </a:lnTo>
                    <a:lnTo>
                      <a:pt x="473" y="382"/>
                    </a:lnTo>
                    <a:lnTo>
                      <a:pt x="475" y="382"/>
                    </a:lnTo>
                    <a:lnTo>
                      <a:pt x="478" y="382"/>
                    </a:lnTo>
                    <a:lnTo>
                      <a:pt x="478" y="385"/>
                    </a:lnTo>
                    <a:lnTo>
                      <a:pt x="482" y="388"/>
                    </a:lnTo>
                    <a:lnTo>
                      <a:pt x="484" y="391"/>
                    </a:lnTo>
                    <a:lnTo>
                      <a:pt x="486" y="392"/>
                    </a:lnTo>
                    <a:lnTo>
                      <a:pt x="488" y="391"/>
                    </a:lnTo>
                    <a:lnTo>
                      <a:pt x="489" y="392"/>
                    </a:lnTo>
                    <a:lnTo>
                      <a:pt x="490" y="394"/>
                    </a:lnTo>
                    <a:lnTo>
                      <a:pt x="491" y="397"/>
                    </a:lnTo>
                    <a:lnTo>
                      <a:pt x="495" y="401"/>
                    </a:lnTo>
                    <a:lnTo>
                      <a:pt x="496" y="403"/>
                    </a:lnTo>
                    <a:lnTo>
                      <a:pt x="497" y="403"/>
                    </a:lnTo>
                    <a:lnTo>
                      <a:pt x="499" y="407"/>
                    </a:lnTo>
                    <a:lnTo>
                      <a:pt x="504" y="405"/>
                    </a:lnTo>
                    <a:lnTo>
                      <a:pt x="506" y="406"/>
                    </a:lnTo>
                    <a:lnTo>
                      <a:pt x="507" y="406"/>
                    </a:lnTo>
                    <a:lnTo>
                      <a:pt x="508" y="408"/>
                    </a:lnTo>
                    <a:lnTo>
                      <a:pt x="510" y="405"/>
                    </a:lnTo>
                    <a:lnTo>
                      <a:pt x="514" y="403"/>
                    </a:lnTo>
                    <a:lnTo>
                      <a:pt x="515" y="402"/>
                    </a:lnTo>
                    <a:lnTo>
                      <a:pt x="517" y="403"/>
                    </a:lnTo>
                    <a:lnTo>
                      <a:pt x="518" y="401"/>
                    </a:lnTo>
                    <a:lnTo>
                      <a:pt x="520" y="397"/>
                    </a:lnTo>
                    <a:lnTo>
                      <a:pt x="522" y="399"/>
                    </a:lnTo>
                    <a:lnTo>
                      <a:pt x="522" y="397"/>
                    </a:lnTo>
                    <a:lnTo>
                      <a:pt x="525" y="394"/>
                    </a:lnTo>
                    <a:lnTo>
                      <a:pt x="531" y="397"/>
                    </a:lnTo>
                    <a:lnTo>
                      <a:pt x="533" y="399"/>
                    </a:lnTo>
                    <a:lnTo>
                      <a:pt x="536" y="404"/>
                    </a:lnTo>
                    <a:lnTo>
                      <a:pt x="539" y="409"/>
                    </a:lnTo>
                    <a:lnTo>
                      <a:pt x="539" y="410"/>
                    </a:lnTo>
                    <a:lnTo>
                      <a:pt x="542" y="412"/>
                    </a:lnTo>
                    <a:lnTo>
                      <a:pt x="545" y="412"/>
                    </a:lnTo>
                    <a:lnTo>
                      <a:pt x="548" y="410"/>
                    </a:lnTo>
                    <a:lnTo>
                      <a:pt x="551" y="411"/>
                    </a:lnTo>
                    <a:lnTo>
                      <a:pt x="554" y="407"/>
                    </a:lnTo>
                    <a:lnTo>
                      <a:pt x="557" y="409"/>
                    </a:lnTo>
                    <a:lnTo>
                      <a:pt x="559" y="408"/>
                    </a:lnTo>
                    <a:lnTo>
                      <a:pt x="562" y="409"/>
                    </a:lnTo>
                    <a:lnTo>
                      <a:pt x="564" y="407"/>
                    </a:lnTo>
                    <a:lnTo>
                      <a:pt x="565" y="403"/>
                    </a:lnTo>
                    <a:lnTo>
                      <a:pt x="566" y="401"/>
                    </a:lnTo>
                    <a:lnTo>
                      <a:pt x="571" y="401"/>
                    </a:lnTo>
                    <a:lnTo>
                      <a:pt x="572" y="399"/>
                    </a:lnTo>
                    <a:lnTo>
                      <a:pt x="574" y="396"/>
                    </a:lnTo>
                    <a:lnTo>
                      <a:pt x="577" y="396"/>
                    </a:lnTo>
                    <a:lnTo>
                      <a:pt x="579" y="397"/>
                    </a:lnTo>
                    <a:lnTo>
                      <a:pt x="577" y="38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7" name="Freeform 76">
                <a:extLst>
                  <a:ext uri="{FF2B5EF4-FFF2-40B4-BE49-F238E27FC236}">
                    <a16:creationId xmlns:a16="http://schemas.microsoft.com/office/drawing/2014/main" id="{02945A5E-FD40-79A2-2131-4EDC6826B5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8" y="3431"/>
                <a:ext cx="579" cy="487"/>
              </a:xfrm>
              <a:custGeom>
                <a:avLst/>
                <a:gdLst>
                  <a:gd name="T0" fmla="*/ 545 w 579"/>
                  <a:gd name="T1" fmla="*/ 345 h 487"/>
                  <a:gd name="T2" fmla="*/ 506 w 579"/>
                  <a:gd name="T3" fmla="*/ 331 h 487"/>
                  <a:gd name="T4" fmla="*/ 490 w 579"/>
                  <a:gd name="T5" fmla="*/ 310 h 487"/>
                  <a:gd name="T6" fmla="*/ 473 w 579"/>
                  <a:gd name="T7" fmla="*/ 285 h 487"/>
                  <a:gd name="T8" fmla="*/ 442 w 579"/>
                  <a:gd name="T9" fmla="*/ 263 h 487"/>
                  <a:gd name="T10" fmla="*/ 468 w 579"/>
                  <a:gd name="T11" fmla="*/ 236 h 487"/>
                  <a:gd name="T12" fmla="*/ 453 w 579"/>
                  <a:gd name="T13" fmla="*/ 212 h 487"/>
                  <a:gd name="T14" fmla="*/ 460 w 579"/>
                  <a:gd name="T15" fmla="*/ 176 h 487"/>
                  <a:gd name="T16" fmla="*/ 438 w 579"/>
                  <a:gd name="T17" fmla="*/ 146 h 487"/>
                  <a:gd name="T18" fmla="*/ 435 w 579"/>
                  <a:gd name="T19" fmla="*/ 123 h 487"/>
                  <a:gd name="T20" fmla="*/ 428 w 579"/>
                  <a:gd name="T21" fmla="*/ 117 h 487"/>
                  <a:gd name="T22" fmla="*/ 420 w 579"/>
                  <a:gd name="T23" fmla="*/ 91 h 487"/>
                  <a:gd name="T24" fmla="*/ 393 w 579"/>
                  <a:gd name="T25" fmla="*/ 76 h 487"/>
                  <a:gd name="T26" fmla="*/ 398 w 579"/>
                  <a:gd name="T27" fmla="*/ 91 h 487"/>
                  <a:gd name="T28" fmla="*/ 391 w 579"/>
                  <a:gd name="T29" fmla="*/ 118 h 487"/>
                  <a:gd name="T30" fmla="*/ 378 w 579"/>
                  <a:gd name="T31" fmla="*/ 99 h 487"/>
                  <a:gd name="T32" fmla="*/ 373 w 579"/>
                  <a:gd name="T33" fmla="*/ 62 h 487"/>
                  <a:gd name="T34" fmla="*/ 371 w 579"/>
                  <a:gd name="T35" fmla="*/ 49 h 487"/>
                  <a:gd name="T36" fmla="*/ 362 w 579"/>
                  <a:gd name="T37" fmla="*/ 25 h 487"/>
                  <a:gd name="T38" fmla="*/ 373 w 579"/>
                  <a:gd name="T39" fmla="*/ 23 h 487"/>
                  <a:gd name="T40" fmla="*/ 330 w 579"/>
                  <a:gd name="T41" fmla="*/ 0 h 487"/>
                  <a:gd name="T42" fmla="*/ 307 w 579"/>
                  <a:gd name="T43" fmla="*/ 13 h 487"/>
                  <a:gd name="T44" fmla="*/ 280 w 579"/>
                  <a:gd name="T45" fmla="*/ 10 h 487"/>
                  <a:gd name="T46" fmla="*/ 261 w 579"/>
                  <a:gd name="T47" fmla="*/ 33 h 487"/>
                  <a:gd name="T48" fmla="*/ 254 w 579"/>
                  <a:gd name="T49" fmla="*/ 57 h 487"/>
                  <a:gd name="T50" fmla="*/ 252 w 579"/>
                  <a:gd name="T51" fmla="*/ 92 h 487"/>
                  <a:gd name="T52" fmla="*/ 251 w 579"/>
                  <a:gd name="T53" fmla="*/ 123 h 487"/>
                  <a:gd name="T54" fmla="*/ 226 w 579"/>
                  <a:gd name="T55" fmla="*/ 142 h 487"/>
                  <a:gd name="T56" fmla="*/ 219 w 579"/>
                  <a:gd name="T57" fmla="*/ 166 h 487"/>
                  <a:gd name="T58" fmla="*/ 214 w 579"/>
                  <a:gd name="T59" fmla="*/ 198 h 487"/>
                  <a:gd name="T60" fmla="*/ 206 w 579"/>
                  <a:gd name="T61" fmla="*/ 219 h 487"/>
                  <a:gd name="T62" fmla="*/ 198 w 579"/>
                  <a:gd name="T63" fmla="*/ 242 h 487"/>
                  <a:gd name="T64" fmla="*/ 170 w 579"/>
                  <a:gd name="T65" fmla="*/ 260 h 487"/>
                  <a:gd name="T66" fmla="*/ 148 w 579"/>
                  <a:gd name="T67" fmla="*/ 257 h 487"/>
                  <a:gd name="T68" fmla="*/ 127 w 579"/>
                  <a:gd name="T69" fmla="*/ 257 h 487"/>
                  <a:gd name="T70" fmla="*/ 106 w 579"/>
                  <a:gd name="T71" fmla="*/ 257 h 487"/>
                  <a:gd name="T72" fmla="*/ 90 w 579"/>
                  <a:gd name="T73" fmla="*/ 264 h 487"/>
                  <a:gd name="T74" fmla="*/ 59 w 579"/>
                  <a:gd name="T75" fmla="*/ 283 h 487"/>
                  <a:gd name="T76" fmla="*/ 38 w 579"/>
                  <a:gd name="T77" fmla="*/ 284 h 487"/>
                  <a:gd name="T78" fmla="*/ 15 w 579"/>
                  <a:gd name="T79" fmla="*/ 281 h 487"/>
                  <a:gd name="T80" fmla="*/ 7 w 579"/>
                  <a:gd name="T81" fmla="*/ 292 h 487"/>
                  <a:gd name="T82" fmla="*/ 39 w 579"/>
                  <a:gd name="T83" fmla="*/ 331 h 487"/>
                  <a:gd name="T84" fmla="*/ 85 w 579"/>
                  <a:gd name="T85" fmla="*/ 337 h 487"/>
                  <a:gd name="T86" fmla="*/ 102 w 579"/>
                  <a:gd name="T87" fmla="*/ 349 h 487"/>
                  <a:gd name="T88" fmla="*/ 146 w 579"/>
                  <a:gd name="T89" fmla="*/ 397 h 487"/>
                  <a:gd name="T90" fmla="*/ 212 w 579"/>
                  <a:gd name="T91" fmla="*/ 410 h 487"/>
                  <a:gd name="T92" fmla="*/ 231 w 579"/>
                  <a:gd name="T93" fmla="*/ 410 h 487"/>
                  <a:gd name="T94" fmla="*/ 265 w 579"/>
                  <a:gd name="T95" fmla="*/ 387 h 487"/>
                  <a:gd name="T96" fmla="*/ 308 w 579"/>
                  <a:gd name="T97" fmla="*/ 415 h 487"/>
                  <a:gd name="T98" fmla="*/ 328 w 579"/>
                  <a:gd name="T99" fmla="*/ 433 h 487"/>
                  <a:gd name="T100" fmla="*/ 369 w 579"/>
                  <a:gd name="T101" fmla="*/ 443 h 487"/>
                  <a:gd name="T102" fmla="*/ 369 w 579"/>
                  <a:gd name="T103" fmla="*/ 471 h 487"/>
                  <a:gd name="T104" fmla="*/ 381 w 579"/>
                  <a:gd name="T105" fmla="*/ 483 h 487"/>
                  <a:gd name="T106" fmla="*/ 388 w 579"/>
                  <a:gd name="T107" fmla="*/ 454 h 487"/>
                  <a:gd name="T108" fmla="*/ 396 w 579"/>
                  <a:gd name="T109" fmla="*/ 444 h 487"/>
                  <a:gd name="T110" fmla="*/ 409 w 579"/>
                  <a:gd name="T111" fmla="*/ 422 h 487"/>
                  <a:gd name="T112" fmla="*/ 421 w 579"/>
                  <a:gd name="T113" fmla="*/ 413 h 487"/>
                  <a:gd name="T114" fmla="*/ 440 w 579"/>
                  <a:gd name="T115" fmla="*/ 389 h 487"/>
                  <a:gd name="T116" fmla="*/ 450 w 579"/>
                  <a:gd name="T117" fmla="*/ 376 h 487"/>
                  <a:gd name="T118" fmla="*/ 484 w 579"/>
                  <a:gd name="T119" fmla="*/ 391 h 487"/>
                  <a:gd name="T120" fmla="*/ 525 w 579"/>
                  <a:gd name="T121" fmla="*/ 394 h 487"/>
                  <a:gd name="T122" fmla="*/ 579 w 579"/>
                  <a:gd name="T123" fmla="*/ 397 h 487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79"/>
                  <a:gd name="T187" fmla="*/ 0 h 487"/>
                  <a:gd name="T188" fmla="*/ 579 w 579"/>
                  <a:gd name="T189" fmla="*/ 487 h 487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79" h="487">
                    <a:moveTo>
                      <a:pt x="577" y="389"/>
                    </a:moveTo>
                    <a:lnTo>
                      <a:pt x="577" y="387"/>
                    </a:lnTo>
                    <a:lnTo>
                      <a:pt x="577" y="386"/>
                    </a:lnTo>
                    <a:lnTo>
                      <a:pt x="578" y="385"/>
                    </a:lnTo>
                    <a:lnTo>
                      <a:pt x="575" y="386"/>
                    </a:lnTo>
                    <a:lnTo>
                      <a:pt x="574" y="384"/>
                    </a:lnTo>
                    <a:lnTo>
                      <a:pt x="574" y="382"/>
                    </a:lnTo>
                    <a:lnTo>
                      <a:pt x="572" y="378"/>
                    </a:lnTo>
                    <a:lnTo>
                      <a:pt x="569" y="369"/>
                    </a:lnTo>
                    <a:lnTo>
                      <a:pt x="564" y="369"/>
                    </a:lnTo>
                    <a:lnTo>
                      <a:pt x="559" y="362"/>
                    </a:lnTo>
                    <a:lnTo>
                      <a:pt x="557" y="362"/>
                    </a:lnTo>
                    <a:lnTo>
                      <a:pt x="555" y="364"/>
                    </a:lnTo>
                    <a:lnTo>
                      <a:pt x="552" y="361"/>
                    </a:lnTo>
                    <a:lnTo>
                      <a:pt x="556" y="355"/>
                    </a:lnTo>
                    <a:lnTo>
                      <a:pt x="556" y="353"/>
                    </a:lnTo>
                    <a:lnTo>
                      <a:pt x="557" y="352"/>
                    </a:lnTo>
                    <a:lnTo>
                      <a:pt x="554" y="349"/>
                    </a:lnTo>
                    <a:lnTo>
                      <a:pt x="549" y="345"/>
                    </a:lnTo>
                    <a:lnTo>
                      <a:pt x="545" y="346"/>
                    </a:lnTo>
                    <a:lnTo>
                      <a:pt x="545" y="345"/>
                    </a:lnTo>
                    <a:lnTo>
                      <a:pt x="543" y="339"/>
                    </a:lnTo>
                    <a:lnTo>
                      <a:pt x="543" y="342"/>
                    </a:lnTo>
                    <a:lnTo>
                      <a:pt x="537" y="344"/>
                    </a:lnTo>
                    <a:lnTo>
                      <a:pt x="535" y="341"/>
                    </a:lnTo>
                    <a:lnTo>
                      <a:pt x="534" y="341"/>
                    </a:lnTo>
                    <a:lnTo>
                      <a:pt x="531" y="342"/>
                    </a:lnTo>
                    <a:lnTo>
                      <a:pt x="531" y="341"/>
                    </a:lnTo>
                    <a:lnTo>
                      <a:pt x="530" y="342"/>
                    </a:lnTo>
                    <a:lnTo>
                      <a:pt x="529" y="342"/>
                    </a:lnTo>
                    <a:lnTo>
                      <a:pt x="524" y="345"/>
                    </a:lnTo>
                    <a:lnTo>
                      <a:pt x="521" y="341"/>
                    </a:lnTo>
                    <a:lnTo>
                      <a:pt x="520" y="341"/>
                    </a:lnTo>
                    <a:lnTo>
                      <a:pt x="517" y="336"/>
                    </a:lnTo>
                    <a:lnTo>
                      <a:pt x="515" y="334"/>
                    </a:lnTo>
                    <a:lnTo>
                      <a:pt x="515" y="329"/>
                    </a:lnTo>
                    <a:lnTo>
                      <a:pt x="510" y="330"/>
                    </a:lnTo>
                    <a:lnTo>
                      <a:pt x="509" y="332"/>
                    </a:lnTo>
                    <a:lnTo>
                      <a:pt x="509" y="331"/>
                    </a:lnTo>
                    <a:lnTo>
                      <a:pt x="508" y="331"/>
                    </a:lnTo>
                    <a:lnTo>
                      <a:pt x="507" y="331"/>
                    </a:lnTo>
                    <a:lnTo>
                      <a:pt x="506" y="331"/>
                    </a:lnTo>
                    <a:lnTo>
                      <a:pt x="504" y="330"/>
                    </a:lnTo>
                    <a:lnTo>
                      <a:pt x="503" y="329"/>
                    </a:lnTo>
                    <a:lnTo>
                      <a:pt x="504" y="328"/>
                    </a:lnTo>
                    <a:lnTo>
                      <a:pt x="503" y="327"/>
                    </a:lnTo>
                    <a:lnTo>
                      <a:pt x="505" y="325"/>
                    </a:lnTo>
                    <a:lnTo>
                      <a:pt x="505" y="324"/>
                    </a:lnTo>
                    <a:lnTo>
                      <a:pt x="506" y="322"/>
                    </a:lnTo>
                    <a:lnTo>
                      <a:pt x="505" y="321"/>
                    </a:lnTo>
                    <a:lnTo>
                      <a:pt x="506" y="318"/>
                    </a:lnTo>
                    <a:lnTo>
                      <a:pt x="504" y="315"/>
                    </a:lnTo>
                    <a:lnTo>
                      <a:pt x="504" y="317"/>
                    </a:lnTo>
                    <a:lnTo>
                      <a:pt x="501" y="315"/>
                    </a:lnTo>
                    <a:lnTo>
                      <a:pt x="502" y="314"/>
                    </a:lnTo>
                    <a:lnTo>
                      <a:pt x="500" y="312"/>
                    </a:lnTo>
                    <a:lnTo>
                      <a:pt x="497" y="313"/>
                    </a:lnTo>
                    <a:lnTo>
                      <a:pt x="496" y="312"/>
                    </a:lnTo>
                    <a:lnTo>
                      <a:pt x="493" y="312"/>
                    </a:lnTo>
                    <a:lnTo>
                      <a:pt x="492" y="310"/>
                    </a:lnTo>
                    <a:lnTo>
                      <a:pt x="491" y="310"/>
                    </a:lnTo>
                    <a:lnTo>
                      <a:pt x="490" y="310"/>
                    </a:lnTo>
                    <a:lnTo>
                      <a:pt x="488" y="310"/>
                    </a:lnTo>
                    <a:lnTo>
                      <a:pt x="486" y="309"/>
                    </a:lnTo>
                    <a:lnTo>
                      <a:pt x="485" y="310"/>
                    </a:lnTo>
                    <a:lnTo>
                      <a:pt x="483" y="310"/>
                    </a:lnTo>
                    <a:lnTo>
                      <a:pt x="484" y="305"/>
                    </a:lnTo>
                    <a:lnTo>
                      <a:pt x="482" y="304"/>
                    </a:lnTo>
                    <a:lnTo>
                      <a:pt x="482" y="301"/>
                    </a:lnTo>
                    <a:lnTo>
                      <a:pt x="480" y="301"/>
                    </a:lnTo>
                    <a:lnTo>
                      <a:pt x="478" y="302"/>
                    </a:lnTo>
                    <a:lnTo>
                      <a:pt x="478" y="298"/>
                    </a:lnTo>
                    <a:lnTo>
                      <a:pt x="471" y="297"/>
                    </a:lnTo>
                    <a:lnTo>
                      <a:pt x="470" y="299"/>
                    </a:lnTo>
                    <a:lnTo>
                      <a:pt x="469" y="300"/>
                    </a:lnTo>
                    <a:lnTo>
                      <a:pt x="468" y="299"/>
                    </a:lnTo>
                    <a:lnTo>
                      <a:pt x="469" y="297"/>
                    </a:lnTo>
                    <a:lnTo>
                      <a:pt x="470" y="295"/>
                    </a:lnTo>
                    <a:lnTo>
                      <a:pt x="470" y="294"/>
                    </a:lnTo>
                    <a:lnTo>
                      <a:pt x="472" y="291"/>
                    </a:lnTo>
                    <a:lnTo>
                      <a:pt x="473" y="289"/>
                    </a:lnTo>
                    <a:lnTo>
                      <a:pt x="473" y="285"/>
                    </a:lnTo>
                    <a:lnTo>
                      <a:pt x="473" y="284"/>
                    </a:lnTo>
                    <a:lnTo>
                      <a:pt x="473" y="282"/>
                    </a:lnTo>
                    <a:lnTo>
                      <a:pt x="472" y="280"/>
                    </a:lnTo>
                    <a:lnTo>
                      <a:pt x="470" y="280"/>
                    </a:lnTo>
                    <a:lnTo>
                      <a:pt x="470" y="273"/>
                    </a:lnTo>
                    <a:lnTo>
                      <a:pt x="469" y="272"/>
                    </a:lnTo>
                    <a:lnTo>
                      <a:pt x="466" y="272"/>
                    </a:lnTo>
                    <a:lnTo>
                      <a:pt x="461" y="274"/>
                    </a:lnTo>
                    <a:lnTo>
                      <a:pt x="457" y="275"/>
                    </a:lnTo>
                    <a:lnTo>
                      <a:pt x="455" y="276"/>
                    </a:lnTo>
                    <a:lnTo>
                      <a:pt x="454" y="275"/>
                    </a:lnTo>
                    <a:lnTo>
                      <a:pt x="453" y="276"/>
                    </a:lnTo>
                    <a:lnTo>
                      <a:pt x="452" y="276"/>
                    </a:lnTo>
                    <a:lnTo>
                      <a:pt x="450" y="278"/>
                    </a:lnTo>
                    <a:lnTo>
                      <a:pt x="449" y="277"/>
                    </a:lnTo>
                    <a:lnTo>
                      <a:pt x="447" y="278"/>
                    </a:lnTo>
                    <a:lnTo>
                      <a:pt x="441" y="276"/>
                    </a:lnTo>
                    <a:lnTo>
                      <a:pt x="443" y="274"/>
                    </a:lnTo>
                    <a:lnTo>
                      <a:pt x="444" y="272"/>
                    </a:lnTo>
                    <a:lnTo>
                      <a:pt x="443" y="270"/>
                    </a:lnTo>
                    <a:lnTo>
                      <a:pt x="442" y="271"/>
                    </a:lnTo>
                    <a:lnTo>
                      <a:pt x="442" y="263"/>
                    </a:lnTo>
                    <a:lnTo>
                      <a:pt x="447" y="264"/>
                    </a:lnTo>
                    <a:lnTo>
                      <a:pt x="448" y="265"/>
                    </a:lnTo>
                    <a:lnTo>
                      <a:pt x="450" y="264"/>
                    </a:lnTo>
                    <a:lnTo>
                      <a:pt x="450" y="261"/>
                    </a:lnTo>
                    <a:lnTo>
                      <a:pt x="452" y="255"/>
                    </a:lnTo>
                    <a:lnTo>
                      <a:pt x="453" y="251"/>
                    </a:lnTo>
                    <a:lnTo>
                      <a:pt x="455" y="250"/>
                    </a:lnTo>
                    <a:lnTo>
                      <a:pt x="457" y="251"/>
                    </a:lnTo>
                    <a:lnTo>
                      <a:pt x="458" y="251"/>
                    </a:lnTo>
                    <a:lnTo>
                      <a:pt x="459" y="251"/>
                    </a:lnTo>
                    <a:lnTo>
                      <a:pt x="460" y="250"/>
                    </a:lnTo>
                    <a:lnTo>
                      <a:pt x="460" y="249"/>
                    </a:lnTo>
                    <a:lnTo>
                      <a:pt x="461" y="250"/>
                    </a:lnTo>
                    <a:lnTo>
                      <a:pt x="462" y="249"/>
                    </a:lnTo>
                    <a:lnTo>
                      <a:pt x="464" y="250"/>
                    </a:lnTo>
                    <a:lnTo>
                      <a:pt x="466" y="240"/>
                    </a:lnTo>
                    <a:lnTo>
                      <a:pt x="468" y="240"/>
                    </a:lnTo>
                    <a:lnTo>
                      <a:pt x="468" y="238"/>
                    </a:lnTo>
                    <a:lnTo>
                      <a:pt x="468" y="237"/>
                    </a:lnTo>
                    <a:lnTo>
                      <a:pt x="468" y="236"/>
                    </a:lnTo>
                    <a:lnTo>
                      <a:pt x="470" y="231"/>
                    </a:lnTo>
                    <a:lnTo>
                      <a:pt x="469" y="229"/>
                    </a:lnTo>
                    <a:lnTo>
                      <a:pt x="468" y="229"/>
                    </a:lnTo>
                    <a:lnTo>
                      <a:pt x="466" y="233"/>
                    </a:lnTo>
                    <a:lnTo>
                      <a:pt x="464" y="233"/>
                    </a:lnTo>
                    <a:lnTo>
                      <a:pt x="463" y="232"/>
                    </a:lnTo>
                    <a:lnTo>
                      <a:pt x="461" y="232"/>
                    </a:lnTo>
                    <a:lnTo>
                      <a:pt x="461" y="231"/>
                    </a:lnTo>
                    <a:lnTo>
                      <a:pt x="457" y="231"/>
                    </a:lnTo>
                    <a:lnTo>
                      <a:pt x="457" y="233"/>
                    </a:lnTo>
                    <a:lnTo>
                      <a:pt x="455" y="231"/>
                    </a:lnTo>
                    <a:lnTo>
                      <a:pt x="457" y="230"/>
                    </a:lnTo>
                    <a:lnTo>
                      <a:pt x="457" y="227"/>
                    </a:lnTo>
                    <a:lnTo>
                      <a:pt x="458" y="227"/>
                    </a:lnTo>
                    <a:lnTo>
                      <a:pt x="460" y="225"/>
                    </a:lnTo>
                    <a:lnTo>
                      <a:pt x="460" y="223"/>
                    </a:lnTo>
                    <a:lnTo>
                      <a:pt x="459" y="223"/>
                    </a:lnTo>
                    <a:lnTo>
                      <a:pt x="458" y="223"/>
                    </a:lnTo>
                    <a:lnTo>
                      <a:pt x="457" y="222"/>
                    </a:lnTo>
                    <a:lnTo>
                      <a:pt x="457" y="217"/>
                    </a:lnTo>
                    <a:lnTo>
                      <a:pt x="455" y="214"/>
                    </a:lnTo>
                    <a:lnTo>
                      <a:pt x="453" y="212"/>
                    </a:lnTo>
                    <a:lnTo>
                      <a:pt x="457" y="207"/>
                    </a:lnTo>
                    <a:lnTo>
                      <a:pt x="457" y="204"/>
                    </a:lnTo>
                    <a:lnTo>
                      <a:pt x="455" y="202"/>
                    </a:lnTo>
                    <a:lnTo>
                      <a:pt x="455" y="200"/>
                    </a:lnTo>
                    <a:lnTo>
                      <a:pt x="453" y="199"/>
                    </a:lnTo>
                    <a:lnTo>
                      <a:pt x="453" y="196"/>
                    </a:lnTo>
                    <a:lnTo>
                      <a:pt x="456" y="195"/>
                    </a:lnTo>
                    <a:lnTo>
                      <a:pt x="457" y="193"/>
                    </a:lnTo>
                    <a:lnTo>
                      <a:pt x="459" y="192"/>
                    </a:lnTo>
                    <a:lnTo>
                      <a:pt x="460" y="188"/>
                    </a:lnTo>
                    <a:lnTo>
                      <a:pt x="460" y="187"/>
                    </a:lnTo>
                    <a:lnTo>
                      <a:pt x="462" y="185"/>
                    </a:lnTo>
                    <a:lnTo>
                      <a:pt x="463" y="185"/>
                    </a:lnTo>
                    <a:lnTo>
                      <a:pt x="463" y="183"/>
                    </a:lnTo>
                    <a:lnTo>
                      <a:pt x="461" y="183"/>
                    </a:lnTo>
                    <a:lnTo>
                      <a:pt x="462" y="182"/>
                    </a:lnTo>
                    <a:lnTo>
                      <a:pt x="461" y="182"/>
                    </a:lnTo>
                    <a:lnTo>
                      <a:pt x="461" y="178"/>
                    </a:lnTo>
                    <a:lnTo>
                      <a:pt x="461" y="176"/>
                    </a:lnTo>
                    <a:lnTo>
                      <a:pt x="460" y="175"/>
                    </a:lnTo>
                    <a:lnTo>
                      <a:pt x="460" y="176"/>
                    </a:lnTo>
                    <a:lnTo>
                      <a:pt x="459" y="174"/>
                    </a:lnTo>
                    <a:lnTo>
                      <a:pt x="459" y="171"/>
                    </a:lnTo>
                    <a:lnTo>
                      <a:pt x="458" y="168"/>
                    </a:lnTo>
                    <a:lnTo>
                      <a:pt x="457" y="165"/>
                    </a:lnTo>
                    <a:lnTo>
                      <a:pt x="458" y="165"/>
                    </a:lnTo>
                    <a:lnTo>
                      <a:pt x="458" y="164"/>
                    </a:lnTo>
                    <a:lnTo>
                      <a:pt x="459" y="163"/>
                    </a:lnTo>
                    <a:lnTo>
                      <a:pt x="459" y="160"/>
                    </a:lnTo>
                    <a:lnTo>
                      <a:pt x="456" y="161"/>
                    </a:lnTo>
                    <a:lnTo>
                      <a:pt x="454" y="157"/>
                    </a:lnTo>
                    <a:lnTo>
                      <a:pt x="453" y="155"/>
                    </a:lnTo>
                    <a:lnTo>
                      <a:pt x="453" y="154"/>
                    </a:lnTo>
                    <a:lnTo>
                      <a:pt x="452" y="153"/>
                    </a:lnTo>
                    <a:lnTo>
                      <a:pt x="449" y="152"/>
                    </a:lnTo>
                    <a:lnTo>
                      <a:pt x="447" y="152"/>
                    </a:lnTo>
                    <a:lnTo>
                      <a:pt x="444" y="149"/>
                    </a:lnTo>
                    <a:lnTo>
                      <a:pt x="442" y="149"/>
                    </a:lnTo>
                    <a:lnTo>
                      <a:pt x="439" y="148"/>
                    </a:lnTo>
                    <a:lnTo>
                      <a:pt x="438" y="146"/>
                    </a:lnTo>
                    <a:lnTo>
                      <a:pt x="439" y="146"/>
                    </a:lnTo>
                    <a:lnTo>
                      <a:pt x="436" y="143"/>
                    </a:lnTo>
                    <a:lnTo>
                      <a:pt x="435" y="144"/>
                    </a:lnTo>
                    <a:lnTo>
                      <a:pt x="434" y="142"/>
                    </a:lnTo>
                    <a:lnTo>
                      <a:pt x="436" y="141"/>
                    </a:lnTo>
                    <a:lnTo>
                      <a:pt x="436" y="139"/>
                    </a:lnTo>
                    <a:lnTo>
                      <a:pt x="436" y="138"/>
                    </a:lnTo>
                    <a:lnTo>
                      <a:pt x="435" y="137"/>
                    </a:lnTo>
                    <a:lnTo>
                      <a:pt x="437" y="134"/>
                    </a:lnTo>
                    <a:lnTo>
                      <a:pt x="438" y="133"/>
                    </a:lnTo>
                    <a:lnTo>
                      <a:pt x="438" y="131"/>
                    </a:lnTo>
                    <a:lnTo>
                      <a:pt x="438" y="129"/>
                    </a:lnTo>
                    <a:lnTo>
                      <a:pt x="441" y="127"/>
                    </a:lnTo>
                    <a:lnTo>
                      <a:pt x="441" y="125"/>
                    </a:lnTo>
                    <a:lnTo>
                      <a:pt x="439" y="123"/>
                    </a:lnTo>
                    <a:lnTo>
                      <a:pt x="438" y="120"/>
                    </a:lnTo>
                    <a:lnTo>
                      <a:pt x="438" y="118"/>
                    </a:lnTo>
                    <a:lnTo>
                      <a:pt x="437" y="118"/>
                    </a:lnTo>
                    <a:lnTo>
                      <a:pt x="438" y="120"/>
                    </a:lnTo>
                    <a:lnTo>
                      <a:pt x="437" y="122"/>
                    </a:lnTo>
                    <a:lnTo>
                      <a:pt x="437" y="123"/>
                    </a:lnTo>
                    <a:lnTo>
                      <a:pt x="435" y="123"/>
                    </a:lnTo>
                    <a:lnTo>
                      <a:pt x="436" y="123"/>
                    </a:lnTo>
                    <a:lnTo>
                      <a:pt x="436" y="125"/>
                    </a:lnTo>
                    <a:lnTo>
                      <a:pt x="436" y="126"/>
                    </a:lnTo>
                    <a:lnTo>
                      <a:pt x="437" y="126"/>
                    </a:lnTo>
                    <a:lnTo>
                      <a:pt x="436" y="127"/>
                    </a:lnTo>
                    <a:lnTo>
                      <a:pt x="436" y="128"/>
                    </a:lnTo>
                    <a:lnTo>
                      <a:pt x="434" y="127"/>
                    </a:lnTo>
                    <a:lnTo>
                      <a:pt x="433" y="127"/>
                    </a:lnTo>
                    <a:lnTo>
                      <a:pt x="433" y="128"/>
                    </a:lnTo>
                    <a:lnTo>
                      <a:pt x="432" y="128"/>
                    </a:lnTo>
                    <a:lnTo>
                      <a:pt x="432" y="126"/>
                    </a:lnTo>
                    <a:lnTo>
                      <a:pt x="432" y="125"/>
                    </a:lnTo>
                    <a:lnTo>
                      <a:pt x="431" y="125"/>
                    </a:lnTo>
                    <a:lnTo>
                      <a:pt x="430" y="122"/>
                    </a:lnTo>
                    <a:lnTo>
                      <a:pt x="431" y="120"/>
                    </a:lnTo>
                    <a:lnTo>
                      <a:pt x="427" y="120"/>
                    </a:lnTo>
                    <a:lnTo>
                      <a:pt x="427" y="118"/>
                    </a:lnTo>
                    <a:lnTo>
                      <a:pt x="429" y="119"/>
                    </a:lnTo>
                    <a:lnTo>
                      <a:pt x="429" y="117"/>
                    </a:lnTo>
                    <a:lnTo>
                      <a:pt x="428" y="117"/>
                    </a:lnTo>
                    <a:lnTo>
                      <a:pt x="429" y="114"/>
                    </a:lnTo>
                    <a:lnTo>
                      <a:pt x="429" y="113"/>
                    </a:lnTo>
                    <a:lnTo>
                      <a:pt x="427" y="113"/>
                    </a:lnTo>
                    <a:lnTo>
                      <a:pt x="427" y="112"/>
                    </a:lnTo>
                    <a:lnTo>
                      <a:pt x="425" y="112"/>
                    </a:lnTo>
                    <a:lnTo>
                      <a:pt x="424" y="112"/>
                    </a:lnTo>
                    <a:lnTo>
                      <a:pt x="421" y="109"/>
                    </a:lnTo>
                    <a:lnTo>
                      <a:pt x="422" y="108"/>
                    </a:lnTo>
                    <a:lnTo>
                      <a:pt x="423" y="106"/>
                    </a:lnTo>
                    <a:lnTo>
                      <a:pt x="423" y="104"/>
                    </a:lnTo>
                    <a:lnTo>
                      <a:pt x="422" y="99"/>
                    </a:lnTo>
                    <a:lnTo>
                      <a:pt x="422" y="95"/>
                    </a:lnTo>
                    <a:lnTo>
                      <a:pt x="421" y="93"/>
                    </a:lnTo>
                    <a:lnTo>
                      <a:pt x="420" y="94"/>
                    </a:lnTo>
                    <a:lnTo>
                      <a:pt x="419" y="92"/>
                    </a:lnTo>
                    <a:lnTo>
                      <a:pt x="418" y="92"/>
                    </a:lnTo>
                    <a:lnTo>
                      <a:pt x="418" y="91"/>
                    </a:lnTo>
                    <a:lnTo>
                      <a:pt x="420" y="91"/>
                    </a:lnTo>
                    <a:lnTo>
                      <a:pt x="421" y="91"/>
                    </a:lnTo>
                    <a:lnTo>
                      <a:pt x="420" y="89"/>
                    </a:lnTo>
                    <a:lnTo>
                      <a:pt x="416" y="88"/>
                    </a:lnTo>
                    <a:lnTo>
                      <a:pt x="416" y="86"/>
                    </a:lnTo>
                    <a:lnTo>
                      <a:pt x="414" y="86"/>
                    </a:lnTo>
                    <a:lnTo>
                      <a:pt x="414" y="85"/>
                    </a:lnTo>
                    <a:lnTo>
                      <a:pt x="416" y="85"/>
                    </a:lnTo>
                    <a:lnTo>
                      <a:pt x="416" y="81"/>
                    </a:lnTo>
                    <a:lnTo>
                      <a:pt x="414" y="79"/>
                    </a:lnTo>
                    <a:lnTo>
                      <a:pt x="413" y="78"/>
                    </a:lnTo>
                    <a:lnTo>
                      <a:pt x="414" y="77"/>
                    </a:lnTo>
                    <a:lnTo>
                      <a:pt x="413" y="76"/>
                    </a:lnTo>
                    <a:lnTo>
                      <a:pt x="411" y="75"/>
                    </a:lnTo>
                    <a:lnTo>
                      <a:pt x="409" y="78"/>
                    </a:lnTo>
                    <a:lnTo>
                      <a:pt x="406" y="72"/>
                    </a:lnTo>
                    <a:lnTo>
                      <a:pt x="405" y="72"/>
                    </a:lnTo>
                    <a:lnTo>
                      <a:pt x="404" y="73"/>
                    </a:lnTo>
                    <a:lnTo>
                      <a:pt x="403" y="72"/>
                    </a:lnTo>
                    <a:lnTo>
                      <a:pt x="397" y="76"/>
                    </a:lnTo>
                    <a:lnTo>
                      <a:pt x="395" y="76"/>
                    </a:lnTo>
                    <a:lnTo>
                      <a:pt x="393" y="76"/>
                    </a:lnTo>
                    <a:lnTo>
                      <a:pt x="394" y="77"/>
                    </a:lnTo>
                    <a:lnTo>
                      <a:pt x="395" y="77"/>
                    </a:lnTo>
                    <a:lnTo>
                      <a:pt x="395" y="78"/>
                    </a:lnTo>
                    <a:lnTo>
                      <a:pt x="394" y="78"/>
                    </a:lnTo>
                    <a:lnTo>
                      <a:pt x="393" y="79"/>
                    </a:lnTo>
                    <a:lnTo>
                      <a:pt x="392" y="80"/>
                    </a:lnTo>
                    <a:lnTo>
                      <a:pt x="390" y="79"/>
                    </a:lnTo>
                    <a:lnTo>
                      <a:pt x="389" y="80"/>
                    </a:lnTo>
                    <a:lnTo>
                      <a:pt x="391" y="80"/>
                    </a:lnTo>
                    <a:lnTo>
                      <a:pt x="392" y="82"/>
                    </a:lnTo>
                    <a:lnTo>
                      <a:pt x="391" y="85"/>
                    </a:lnTo>
                    <a:lnTo>
                      <a:pt x="392" y="85"/>
                    </a:lnTo>
                    <a:lnTo>
                      <a:pt x="393" y="85"/>
                    </a:lnTo>
                    <a:lnTo>
                      <a:pt x="394" y="85"/>
                    </a:lnTo>
                    <a:lnTo>
                      <a:pt x="395" y="86"/>
                    </a:lnTo>
                    <a:lnTo>
                      <a:pt x="395" y="89"/>
                    </a:lnTo>
                    <a:lnTo>
                      <a:pt x="396" y="89"/>
                    </a:lnTo>
                    <a:lnTo>
                      <a:pt x="396" y="91"/>
                    </a:lnTo>
                    <a:lnTo>
                      <a:pt x="397" y="90"/>
                    </a:lnTo>
                    <a:lnTo>
                      <a:pt x="398" y="90"/>
                    </a:lnTo>
                    <a:lnTo>
                      <a:pt x="398" y="91"/>
                    </a:lnTo>
                    <a:lnTo>
                      <a:pt x="400" y="92"/>
                    </a:lnTo>
                    <a:lnTo>
                      <a:pt x="399" y="93"/>
                    </a:lnTo>
                    <a:lnTo>
                      <a:pt x="399" y="94"/>
                    </a:lnTo>
                    <a:lnTo>
                      <a:pt x="397" y="95"/>
                    </a:lnTo>
                    <a:lnTo>
                      <a:pt x="397" y="96"/>
                    </a:lnTo>
                    <a:lnTo>
                      <a:pt x="397" y="97"/>
                    </a:lnTo>
                    <a:lnTo>
                      <a:pt x="400" y="99"/>
                    </a:lnTo>
                    <a:lnTo>
                      <a:pt x="401" y="99"/>
                    </a:lnTo>
                    <a:lnTo>
                      <a:pt x="400" y="102"/>
                    </a:lnTo>
                    <a:lnTo>
                      <a:pt x="403" y="105"/>
                    </a:lnTo>
                    <a:lnTo>
                      <a:pt x="400" y="107"/>
                    </a:lnTo>
                    <a:lnTo>
                      <a:pt x="399" y="108"/>
                    </a:lnTo>
                    <a:lnTo>
                      <a:pt x="398" y="105"/>
                    </a:lnTo>
                    <a:lnTo>
                      <a:pt x="396" y="110"/>
                    </a:lnTo>
                    <a:lnTo>
                      <a:pt x="395" y="110"/>
                    </a:lnTo>
                    <a:lnTo>
                      <a:pt x="395" y="112"/>
                    </a:lnTo>
                    <a:lnTo>
                      <a:pt x="395" y="113"/>
                    </a:lnTo>
                    <a:lnTo>
                      <a:pt x="395" y="115"/>
                    </a:lnTo>
                    <a:lnTo>
                      <a:pt x="396" y="118"/>
                    </a:lnTo>
                    <a:lnTo>
                      <a:pt x="395" y="117"/>
                    </a:lnTo>
                    <a:lnTo>
                      <a:pt x="393" y="118"/>
                    </a:lnTo>
                    <a:lnTo>
                      <a:pt x="391" y="118"/>
                    </a:lnTo>
                    <a:lnTo>
                      <a:pt x="389" y="119"/>
                    </a:lnTo>
                    <a:lnTo>
                      <a:pt x="386" y="123"/>
                    </a:lnTo>
                    <a:lnTo>
                      <a:pt x="386" y="125"/>
                    </a:lnTo>
                    <a:lnTo>
                      <a:pt x="384" y="125"/>
                    </a:lnTo>
                    <a:lnTo>
                      <a:pt x="383" y="123"/>
                    </a:lnTo>
                    <a:lnTo>
                      <a:pt x="380" y="121"/>
                    </a:lnTo>
                    <a:lnTo>
                      <a:pt x="377" y="117"/>
                    </a:lnTo>
                    <a:lnTo>
                      <a:pt x="371" y="112"/>
                    </a:lnTo>
                    <a:lnTo>
                      <a:pt x="372" y="109"/>
                    </a:lnTo>
                    <a:lnTo>
                      <a:pt x="370" y="109"/>
                    </a:lnTo>
                    <a:lnTo>
                      <a:pt x="370" y="110"/>
                    </a:lnTo>
                    <a:lnTo>
                      <a:pt x="368" y="109"/>
                    </a:lnTo>
                    <a:lnTo>
                      <a:pt x="368" y="107"/>
                    </a:lnTo>
                    <a:lnTo>
                      <a:pt x="370" y="105"/>
                    </a:lnTo>
                    <a:lnTo>
                      <a:pt x="370" y="103"/>
                    </a:lnTo>
                    <a:lnTo>
                      <a:pt x="371" y="101"/>
                    </a:lnTo>
                    <a:lnTo>
                      <a:pt x="373" y="102"/>
                    </a:lnTo>
                    <a:lnTo>
                      <a:pt x="374" y="101"/>
                    </a:lnTo>
                    <a:lnTo>
                      <a:pt x="376" y="101"/>
                    </a:lnTo>
                    <a:lnTo>
                      <a:pt x="377" y="101"/>
                    </a:lnTo>
                    <a:lnTo>
                      <a:pt x="378" y="101"/>
                    </a:lnTo>
                    <a:lnTo>
                      <a:pt x="378" y="99"/>
                    </a:lnTo>
                    <a:lnTo>
                      <a:pt x="378" y="98"/>
                    </a:lnTo>
                    <a:lnTo>
                      <a:pt x="376" y="97"/>
                    </a:lnTo>
                    <a:lnTo>
                      <a:pt x="377" y="96"/>
                    </a:lnTo>
                    <a:lnTo>
                      <a:pt x="376" y="95"/>
                    </a:lnTo>
                    <a:lnTo>
                      <a:pt x="375" y="95"/>
                    </a:lnTo>
                    <a:lnTo>
                      <a:pt x="376" y="91"/>
                    </a:lnTo>
                    <a:lnTo>
                      <a:pt x="373" y="91"/>
                    </a:lnTo>
                    <a:lnTo>
                      <a:pt x="373" y="89"/>
                    </a:lnTo>
                    <a:lnTo>
                      <a:pt x="371" y="89"/>
                    </a:lnTo>
                    <a:lnTo>
                      <a:pt x="372" y="82"/>
                    </a:lnTo>
                    <a:lnTo>
                      <a:pt x="371" y="81"/>
                    </a:lnTo>
                    <a:lnTo>
                      <a:pt x="372" y="81"/>
                    </a:lnTo>
                    <a:lnTo>
                      <a:pt x="372" y="80"/>
                    </a:lnTo>
                    <a:lnTo>
                      <a:pt x="371" y="78"/>
                    </a:lnTo>
                    <a:lnTo>
                      <a:pt x="371" y="76"/>
                    </a:lnTo>
                    <a:lnTo>
                      <a:pt x="370" y="74"/>
                    </a:lnTo>
                    <a:lnTo>
                      <a:pt x="370" y="72"/>
                    </a:lnTo>
                    <a:lnTo>
                      <a:pt x="369" y="70"/>
                    </a:lnTo>
                    <a:lnTo>
                      <a:pt x="371" y="65"/>
                    </a:lnTo>
                    <a:lnTo>
                      <a:pt x="370" y="64"/>
                    </a:lnTo>
                    <a:lnTo>
                      <a:pt x="373" y="62"/>
                    </a:lnTo>
                    <a:lnTo>
                      <a:pt x="374" y="62"/>
                    </a:lnTo>
                    <a:lnTo>
                      <a:pt x="375" y="62"/>
                    </a:lnTo>
                    <a:lnTo>
                      <a:pt x="376" y="61"/>
                    </a:lnTo>
                    <a:lnTo>
                      <a:pt x="376" y="58"/>
                    </a:lnTo>
                    <a:lnTo>
                      <a:pt x="375" y="57"/>
                    </a:lnTo>
                    <a:lnTo>
                      <a:pt x="377" y="54"/>
                    </a:lnTo>
                    <a:lnTo>
                      <a:pt x="379" y="54"/>
                    </a:lnTo>
                    <a:lnTo>
                      <a:pt x="381" y="55"/>
                    </a:lnTo>
                    <a:lnTo>
                      <a:pt x="383" y="55"/>
                    </a:lnTo>
                    <a:lnTo>
                      <a:pt x="384" y="54"/>
                    </a:lnTo>
                    <a:lnTo>
                      <a:pt x="383" y="54"/>
                    </a:lnTo>
                    <a:lnTo>
                      <a:pt x="382" y="54"/>
                    </a:lnTo>
                    <a:lnTo>
                      <a:pt x="380" y="53"/>
                    </a:lnTo>
                    <a:lnTo>
                      <a:pt x="379" y="52"/>
                    </a:lnTo>
                    <a:lnTo>
                      <a:pt x="378" y="54"/>
                    </a:lnTo>
                    <a:lnTo>
                      <a:pt x="378" y="52"/>
                    </a:lnTo>
                    <a:lnTo>
                      <a:pt x="379" y="51"/>
                    </a:lnTo>
                    <a:lnTo>
                      <a:pt x="377" y="53"/>
                    </a:lnTo>
                    <a:lnTo>
                      <a:pt x="374" y="52"/>
                    </a:lnTo>
                    <a:lnTo>
                      <a:pt x="371" y="49"/>
                    </a:lnTo>
                    <a:lnTo>
                      <a:pt x="370" y="48"/>
                    </a:lnTo>
                    <a:lnTo>
                      <a:pt x="368" y="47"/>
                    </a:lnTo>
                    <a:lnTo>
                      <a:pt x="367" y="48"/>
                    </a:lnTo>
                    <a:lnTo>
                      <a:pt x="365" y="47"/>
                    </a:lnTo>
                    <a:lnTo>
                      <a:pt x="364" y="46"/>
                    </a:lnTo>
                    <a:lnTo>
                      <a:pt x="361" y="47"/>
                    </a:lnTo>
                    <a:lnTo>
                      <a:pt x="359" y="46"/>
                    </a:lnTo>
                    <a:lnTo>
                      <a:pt x="360" y="44"/>
                    </a:lnTo>
                    <a:lnTo>
                      <a:pt x="361" y="43"/>
                    </a:lnTo>
                    <a:lnTo>
                      <a:pt x="362" y="40"/>
                    </a:lnTo>
                    <a:lnTo>
                      <a:pt x="364" y="38"/>
                    </a:lnTo>
                    <a:lnTo>
                      <a:pt x="364" y="37"/>
                    </a:lnTo>
                    <a:lnTo>
                      <a:pt x="362" y="37"/>
                    </a:lnTo>
                    <a:lnTo>
                      <a:pt x="362" y="36"/>
                    </a:lnTo>
                    <a:lnTo>
                      <a:pt x="362" y="34"/>
                    </a:lnTo>
                    <a:lnTo>
                      <a:pt x="362" y="31"/>
                    </a:lnTo>
                    <a:lnTo>
                      <a:pt x="363" y="30"/>
                    </a:lnTo>
                    <a:lnTo>
                      <a:pt x="362" y="28"/>
                    </a:lnTo>
                    <a:lnTo>
                      <a:pt x="364" y="28"/>
                    </a:lnTo>
                    <a:lnTo>
                      <a:pt x="362" y="25"/>
                    </a:lnTo>
                    <a:lnTo>
                      <a:pt x="364" y="28"/>
                    </a:lnTo>
                    <a:lnTo>
                      <a:pt x="367" y="29"/>
                    </a:lnTo>
                    <a:lnTo>
                      <a:pt x="367" y="31"/>
                    </a:lnTo>
                    <a:lnTo>
                      <a:pt x="368" y="28"/>
                    </a:lnTo>
                    <a:lnTo>
                      <a:pt x="368" y="31"/>
                    </a:lnTo>
                    <a:lnTo>
                      <a:pt x="370" y="30"/>
                    </a:lnTo>
                    <a:lnTo>
                      <a:pt x="371" y="31"/>
                    </a:lnTo>
                    <a:lnTo>
                      <a:pt x="372" y="33"/>
                    </a:lnTo>
                    <a:lnTo>
                      <a:pt x="372" y="34"/>
                    </a:lnTo>
                    <a:lnTo>
                      <a:pt x="375" y="33"/>
                    </a:lnTo>
                    <a:lnTo>
                      <a:pt x="377" y="32"/>
                    </a:lnTo>
                    <a:lnTo>
                      <a:pt x="378" y="31"/>
                    </a:lnTo>
                    <a:lnTo>
                      <a:pt x="376" y="31"/>
                    </a:lnTo>
                    <a:lnTo>
                      <a:pt x="376" y="28"/>
                    </a:lnTo>
                    <a:lnTo>
                      <a:pt x="374" y="27"/>
                    </a:lnTo>
                    <a:lnTo>
                      <a:pt x="375" y="25"/>
                    </a:lnTo>
                    <a:lnTo>
                      <a:pt x="377" y="25"/>
                    </a:lnTo>
                    <a:lnTo>
                      <a:pt x="377" y="23"/>
                    </a:lnTo>
                    <a:lnTo>
                      <a:pt x="380" y="23"/>
                    </a:lnTo>
                    <a:lnTo>
                      <a:pt x="379" y="22"/>
                    </a:lnTo>
                    <a:lnTo>
                      <a:pt x="373" y="23"/>
                    </a:lnTo>
                    <a:lnTo>
                      <a:pt x="371" y="21"/>
                    </a:lnTo>
                    <a:lnTo>
                      <a:pt x="367" y="17"/>
                    </a:lnTo>
                    <a:lnTo>
                      <a:pt x="365" y="17"/>
                    </a:lnTo>
                    <a:lnTo>
                      <a:pt x="359" y="12"/>
                    </a:lnTo>
                    <a:lnTo>
                      <a:pt x="358" y="12"/>
                    </a:lnTo>
                    <a:lnTo>
                      <a:pt x="357" y="11"/>
                    </a:lnTo>
                    <a:lnTo>
                      <a:pt x="356" y="9"/>
                    </a:lnTo>
                    <a:lnTo>
                      <a:pt x="351" y="7"/>
                    </a:lnTo>
                    <a:lnTo>
                      <a:pt x="352" y="6"/>
                    </a:lnTo>
                    <a:lnTo>
                      <a:pt x="349" y="7"/>
                    </a:lnTo>
                    <a:lnTo>
                      <a:pt x="348" y="6"/>
                    </a:lnTo>
                    <a:lnTo>
                      <a:pt x="348" y="7"/>
                    </a:lnTo>
                    <a:lnTo>
                      <a:pt x="346" y="6"/>
                    </a:lnTo>
                    <a:lnTo>
                      <a:pt x="343" y="4"/>
                    </a:lnTo>
                    <a:lnTo>
                      <a:pt x="344" y="5"/>
                    </a:lnTo>
                    <a:lnTo>
                      <a:pt x="344" y="6"/>
                    </a:lnTo>
                    <a:lnTo>
                      <a:pt x="341" y="5"/>
                    </a:lnTo>
                    <a:lnTo>
                      <a:pt x="339" y="8"/>
                    </a:lnTo>
                    <a:lnTo>
                      <a:pt x="335" y="2"/>
                    </a:lnTo>
                    <a:lnTo>
                      <a:pt x="331" y="0"/>
                    </a:lnTo>
                    <a:lnTo>
                      <a:pt x="330" y="0"/>
                    </a:lnTo>
                    <a:lnTo>
                      <a:pt x="329" y="2"/>
                    </a:lnTo>
                    <a:lnTo>
                      <a:pt x="330" y="4"/>
                    </a:lnTo>
                    <a:lnTo>
                      <a:pt x="329" y="4"/>
                    </a:lnTo>
                    <a:lnTo>
                      <a:pt x="326" y="4"/>
                    </a:lnTo>
                    <a:lnTo>
                      <a:pt x="324" y="4"/>
                    </a:lnTo>
                    <a:lnTo>
                      <a:pt x="323" y="2"/>
                    </a:lnTo>
                    <a:lnTo>
                      <a:pt x="321" y="4"/>
                    </a:lnTo>
                    <a:lnTo>
                      <a:pt x="318" y="2"/>
                    </a:lnTo>
                    <a:lnTo>
                      <a:pt x="318" y="0"/>
                    </a:lnTo>
                    <a:lnTo>
                      <a:pt x="316" y="1"/>
                    </a:lnTo>
                    <a:lnTo>
                      <a:pt x="315" y="0"/>
                    </a:lnTo>
                    <a:lnTo>
                      <a:pt x="313" y="0"/>
                    </a:lnTo>
                    <a:lnTo>
                      <a:pt x="311" y="0"/>
                    </a:lnTo>
                    <a:lnTo>
                      <a:pt x="311" y="2"/>
                    </a:lnTo>
                    <a:lnTo>
                      <a:pt x="310" y="4"/>
                    </a:lnTo>
                    <a:lnTo>
                      <a:pt x="310" y="7"/>
                    </a:lnTo>
                    <a:lnTo>
                      <a:pt x="310" y="9"/>
                    </a:lnTo>
                    <a:lnTo>
                      <a:pt x="309" y="10"/>
                    </a:lnTo>
                    <a:lnTo>
                      <a:pt x="307" y="13"/>
                    </a:lnTo>
                    <a:lnTo>
                      <a:pt x="308" y="15"/>
                    </a:lnTo>
                    <a:lnTo>
                      <a:pt x="308" y="17"/>
                    </a:lnTo>
                    <a:lnTo>
                      <a:pt x="307" y="17"/>
                    </a:lnTo>
                    <a:lnTo>
                      <a:pt x="307" y="16"/>
                    </a:lnTo>
                    <a:lnTo>
                      <a:pt x="305" y="17"/>
                    </a:lnTo>
                    <a:lnTo>
                      <a:pt x="300" y="15"/>
                    </a:lnTo>
                    <a:lnTo>
                      <a:pt x="300" y="17"/>
                    </a:lnTo>
                    <a:lnTo>
                      <a:pt x="299" y="16"/>
                    </a:lnTo>
                    <a:lnTo>
                      <a:pt x="299" y="15"/>
                    </a:lnTo>
                    <a:lnTo>
                      <a:pt x="297" y="16"/>
                    </a:lnTo>
                    <a:lnTo>
                      <a:pt x="297" y="15"/>
                    </a:lnTo>
                    <a:lnTo>
                      <a:pt x="294" y="11"/>
                    </a:lnTo>
                    <a:lnTo>
                      <a:pt x="293" y="11"/>
                    </a:lnTo>
                    <a:lnTo>
                      <a:pt x="289" y="15"/>
                    </a:lnTo>
                    <a:lnTo>
                      <a:pt x="286" y="14"/>
                    </a:lnTo>
                    <a:lnTo>
                      <a:pt x="285" y="15"/>
                    </a:lnTo>
                    <a:lnTo>
                      <a:pt x="284" y="15"/>
                    </a:lnTo>
                    <a:lnTo>
                      <a:pt x="283" y="15"/>
                    </a:lnTo>
                    <a:lnTo>
                      <a:pt x="281" y="15"/>
                    </a:lnTo>
                    <a:lnTo>
                      <a:pt x="283" y="11"/>
                    </a:lnTo>
                    <a:lnTo>
                      <a:pt x="281" y="10"/>
                    </a:lnTo>
                    <a:lnTo>
                      <a:pt x="280" y="10"/>
                    </a:lnTo>
                    <a:lnTo>
                      <a:pt x="279" y="10"/>
                    </a:lnTo>
                    <a:lnTo>
                      <a:pt x="278" y="11"/>
                    </a:lnTo>
                    <a:lnTo>
                      <a:pt x="276" y="12"/>
                    </a:lnTo>
                    <a:lnTo>
                      <a:pt x="274" y="11"/>
                    </a:lnTo>
                    <a:lnTo>
                      <a:pt x="273" y="13"/>
                    </a:lnTo>
                    <a:lnTo>
                      <a:pt x="274" y="16"/>
                    </a:lnTo>
                    <a:lnTo>
                      <a:pt x="270" y="19"/>
                    </a:lnTo>
                    <a:lnTo>
                      <a:pt x="270" y="21"/>
                    </a:lnTo>
                    <a:lnTo>
                      <a:pt x="268" y="20"/>
                    </a:lnTo>
                    <a:lnTo>
                      <a:pt x="267" y="17"/>
                    </a:lnTo>
                    <a:lnTo>
                      <a:pt x="266" y="17"/>
                    </a:lnTo>
                    <a:lnTo>
                      <a:pt x="266" y="18"/>
                    </a:lnTo>
                    <a:lnTo>
                      <a:pt x="266" y="22"/>
                    </a:lnTo>
                    <a:lnTo>
                      <a:pt x="266" y="23"/>
                    </a:lnTo>
                    <a:lnTo>
                      <a:pt x="265" y="23"/>
                    </a:lnTo>
                    <a:lnTo>
                      <a:pt x="265" y="25"/>
                    </a:lnTo>
                    <a:lnTo>
                      <a:pt x="263" y="28"/>
                    </a:lnTo>
                    <a:lnTo>
                      <a:pt x="262" y="29"/>
                    </a:lnTo>
                    <a:lnTo>
                      <a:pt x="260" y="29"/>
                    </a:lnTo>
                    <a:lnTo>
                      <a:pt x="259" y="31"/>
                    </a:lnTo>
                    <a:lnTo>
                      <a:pt x="261" y="31"/>
                    </a:lnTo>
                    <a:lnTo>
                      <a:pt x="261" y="33"/>
                    </a:lnTo>
                    <a:lnTo>
                      <a:pt x="262" y="34"/>
                    </a:lnTo>
                    <a:lnTo>
                      <a:pt x="263" y="36"/>
                    </a:lnTo>
                    <a:lnTo>
                      <a:pt x="265" y="36"/>
                    </a:lnTo>
                    <a:lnTo>
                      <a:pt x="269" y="38"/>
                    </a:lnTo>
                    <a:lnTo>
                      <a:pt x="270" y="41"/>
                    </a:lnTo>
                    <a:lnTo>
                      <a:pt x="270" y="44"/>
                    </a:lnTo>
                    <a:lnTo>
                      <a:pt x="267" y="51"/>
                    </a:lnTo>
                    <a:lnTo>
                      <a:pt x="266" y="51"/>
                    </a:lnTo>
                    <a:lnTo>
                      <a:pt x="264" y="54"/>
                    </a:lnTo>
                    <a:lnTo>
                      <a:pt x="261" y="55"/>
                    </a:lnTo>
                    <a:lnTo>
                      <a:pt x="261" y="57"/>
                    </a:lnTo>
                    <a:lnTo>
                      <a:pt x="260" y="58"/>
                    </a:lnTo>
                    <a:lnTo>
                      <a:pt x="257" y="59"/>
                    </a:lnTo>
                    <a:lnTo>
                      <a:pt x="256" y="55"/>
                    </a:lnTo>
                    <a:lnTo>
                      <a:pt x="255" y="54"/>
                    </a:lnTo>
                    <a:lnTo>
                      <a:pt x="253" y="54"/>
                    </a:lnTo>
                    <a:lnTo>
                      <a:pt x="252" y="54"/>
                    </a:lnTo>
                    <a:lnTo>
                      <a:pt x="254" y="56"/>
                    </a:lnTo>
                    <a:lnTo>
                      <a:pt x="254" y="57"/>
                    </a:lnTo>
                    <a:lnTo>
                      <a:pt x="253" y="58"/>
                    </a:lnTo>
                    <a:lnTo>
                      <a:pt x="254" y="60"/>
                    </a:lnTo>
                    <a:lnTo>
                      <a:pt x="256" y="62"/>
                    </a:lnTo>
                    <a:lnTo>
                      <a:pt x="257" y="62"/>
                    </a:lnTo>
                    <a:lnTo>
                      <a:pt x="258" y="61"/>
                    </a:lnTo>
                    <a:lnTo>
                      <a:pt x="259" y="62"/>
                    </a:lnTo>
                    <a:lnTo>
                      <a:pt x="258" y="63"/>
                    </a:lnTo>
                    <a:lnTo>
                      <a:pt x="258" y="64"/>
                    </a:lnTo>
                    <a:lnTo>
                      <a:pt x="258" y="66"/>
                    </a:lnTo>
                    <a:lnTo>
                      <a:pt x="261" y="66"/>
                    </a:lnTo>
                    <a:lnTo>
                      <a:pt x="260" y="69"/>
                    </a:lnTo>
                    <a:lnTo>
                      <a:pt x="256" y="71"/>
                    </a:lnTo>
                    <a:lnTo>
                      <a:pt x="258" y="74"/>
                    </a:lnTo>
                    <a:lnTo>
                      <a:pt x="256" y="77"/>
                    </a:lnTo>
                    <a:lnTo>
                      <a:pt x="254" y="78"/>
                    </a:lnTo>
                    <a:lnTo>
                      <a:pt x="253" y="80"/>
                    </a:lnTo>
                    <a:lnTo>
                      <a:pt x="252" y="83"/>
                    </a:lnTo>
                    <a:lnTo>
                      <a:pt x="254" y="88"/>
                    </a:lnTo>
                    <a:lnTo>
                      <a:pt x="253" y="89"/>
                    </a:lnTo>
                    <a:lnTo>
                      <a:pt x="253" y="90"/>
                    </a:lnTo>
                    <a:lnTo>
                      <a:pt x="254" y="91"/>
                    </a:lnTo>
                    <a:lnTo>
                      <a:pt x="252" y="92"/>
                    </a:lnTo>
                    <a:lnTo>
                      <a:pt x="253" y="95"/>
                    </a:lnTo>
                    <a:lnTo>
                      <a:pt x="254" y="95"/>
                    </a:lnTo>
                    <a:lnTo>
                      <a:pt x="256" y="94"/>
                    </a:lnTo>
                    <a:lnTo>
                      <a:pt x="256" y="96"/>
                    </a:lnTo>
                    <a:lnTo>
                      <a:pt x="255" y="98"/>
                    </a:lnTo>
                    <a:lnTo>
                      <a:pt x="254" y="99"/>
                    </a:lnTo>
                    <a:lnTo>
                      <a:pt x="254" y="102"/>
                    </a:lnTo>
                    <a:lnTo>
                      <a:pt x="253" y="105"/>
                    </a:lnTo>
                    <a:lnTo>
                      <a:pt x="253" y="107"/>
                    </a:lnTo>
                    <a:lnTo>
                      <a:pt x="252" y="106"/>
                    </a:lnTo>
                    <a:lnTo>
                      <a:pt x="252" y="107"/>
                    </a:lnTo>
                    <a:lnTo>
                      <a:pt x="253" y="112"/>
                    </a:lnTo>
                    <a:lnTo>
                      <a:pt x="254" y="112"/>
                    </a:lnTo>
                    <a:lnTo>
                      <a:pt x="251" y="114"/>
                    </a:lnTo>
                    <a:lnTo>
                      <a:pt x="253" y="118"/>
                    </a:lnTo>
                    <a:lnTo>
                      <a:pt x="254" y="120"/>
                    </a:lnTo>
                    <a:lnTo>
                      <a:pt x="253" y="119"/>
                    </a:lnTo>
                    <a:lnTo>
                      <a:pt x="254" y="120"/>
                    </a:lnTo>
                    <a:lnTo>
                      <a:pt x="254" y="122"/>
                    </a:lnTo>
                    <a:lnTo>
                      <a:pt x="251" y="122"/>
                    </a:lnTo>
                    <a:lnTo>
                      <a:pt x="251" y="123"/>
                    </a:lnTo>
                    <a:lnTo>
                      <a:pt x="248" y="125"/>
                    </a:lnTo>
                    <a:lnTo>
                      <a:pt x="246" y="125"/>
                    </a:lnTo>
                    <a:lnTo>
                      <a:pt x="246" y="126"/>
                    </a:lnTo>
                    <a:lnTo>
                      <a:pt x="244" y="128"/>
                    </a:lnTo>
                    <a:lnTo>
                      <a:pt x="244" y="129"/>
                    </a:lnTo>
                    <a:lnTo>
                      <a:pt x="243" y="128"/>
                    </a:lnTo>
                    <a:lnTo>
                      <a:pt x="243" y="125"/>
                    </a:lnTo>
                    <a:lnTo>
                      <a:pt x="240" y="125"/>
                    </a:lnTo>
                    <a:lnTo>
                      <a:pt x="240" y="126"/>
                    </a:lnTo>
                    <a:lnTo>
                      <a:pt x="240" y="128"/>
                    </a:lnTo>
                    <a:lnTo>
                      <a:pt x="238" y="129"/>
                    </a:lnTo>
                    <a:lnTo>
                      <a:pt x="234" y="133"/>
                    </a:lnTo>
                    <a:lnTo>
                      <a:pt x="232" y="132"/>
                    </a:lnTo>
                    <a:lnTo>
                      <a:pt x="230" y="133"/>
                    </a:lnTo>
                    <a:lnTo>
                      <a:pt x="227" y="133"/>
                    </a:lnTo>
                    <a:lnTo>
                      <a:pt x="227" y="135"/>
                    </a:lnTo>
                    <a:lnTo>
                      <a:pt x="227" y="136"/>
                    </a:lnTo>
                    <a:lnTo>
                      <a:pt x="226" y="136"/>
                    </a:lnTo>
                    <a:lnTo>
                      <a:pt x="227" y="139"/>
                    </a:lnTo>
                    <a:lnTo>
                      <a:pt x="226" y="140"/>
                    </a:lnTo>
                    <a:lnTo>
                      <a:pt x="226" y="142"/>
                    </a:lnTo>
                    <a:lnTo>
                      <a:pt x="225" y="143"/>
                    </a:lnTo>
                    <a:lnTo>
                      <a:pt x="223" y="143"/>
                    </a:lnTo>
                    <a:lnTo>
                      <a:pt x="222" y="144"/>
                    </a:lnTo>
                    <a:lnTo>
                      <a:pt x="223" y="146"/>
                    </a:lnTo>
                    <a:lnTo>
                      <a:pt x="221" y="146"/>
                    </a:lnTo>
                    <a:lnTo>
                      <a:pt x="221" y="147"/>
                    </a:lnTo>
                    <a:lnTo>
                      <a:pt x="218" y="148"/>
                    </a:lnTo>
                    <a:lnTo>
                      <a:pt x="218" y="147"/>
                    </a:lnTo>
                    <a:lnTo>
                      <a:pt x="217" y="148"/>
                    </a:lnTo>
                    <a:lnTo>
                      <a:pt x="215" y="151"/>
                    </a:lnTo>
                    <a:lnTo>
                      <a:pt x="215" y="154"/>
                    </a:lnTo>
                    <a:lnTo>
                      <a:pt x="216" y="156"/>
                    </a:lnTo>
                    <a:lnTo>
                      <a:pt x="220" y="156"/>
                    </a:lnTo>
                    <a:lnTo>
                      <a:pt x="220" y="157"/>
                    </a:lnTo>
                    <a:lnTo>
                      <a:pt x="221" y="157"/>
                    </a:lnTo>
                    <a:lnTo>
                      <a:pt x="221" y="159"/>
                    </a:lnTo>
                    <a:lnTo>
                      <a:pt x="223" y="161"/>
                    </a:lnTo>
                    <a:lnTo>
                      <a:pt x="223" y="165"/>
                    </a:lnTo>
                    <a:lnTo>
                      <a:pt x="222" y="165"/>
                    </a:lnTo>
                    <a:lnTo>
                      <a:pt x="221" y="165"/>
                    </a:lnTo>
                    <a:lnTo>
                      <a:pt x="219" y="166"/>
                    </a:lnTo>
                    <a:lnTo>
                      <a:pt x="218" y="166"/>
                    </a:lnTo>
                    <a:lnTo>
                      <a:pt x="217" y="165"/>
                    </a:lnTo>
                    <a:lnTo>
                      <a:pt x="214" y="165"/>
                    </a:lnTo>
                    <a:lnTo>
                      <a:pt x="212" y="166"/>
                    </a:lnTo>
                    <a:lnTo>
                      <a:pt x="212" y="169"/>
                    </a:lnTo>
                    <a:lnTo>
                      <a:pt x="210" y="170"/>
                    </a:lnTo>
                    <a:lnTo>
                      <a:pt x="208" y="176"/>
                    </a:lnTo>
                    <a:lnTo>
                      <a:pt x="207" y="178"/>
                    </a:lnTo>
                    <a:lnTo>
                      <a:pt x="207" y="180"/>
                    </a:lnTo>
                    <a:lnTo>
                      <a:pt x="206" y="183"/>
                    </a:lnTo>
                    <a:lnTo>
                      <a:pt x="207" y="185"/>
                    </a:lnTo>
                    <a:lnTo>
                      <a:pt x="209" y="185"/>
                    </a:lnTo>
                    <a:lnTo>
                      <a:pt x="211" y="186"/>
                    </a:lnTo>
                    <a:lnTo>
                      <a:pt x="213" y="186"/>
                    </a:lnTo>
                    <a:lnTo>
                      <a:pt x="214" y="188"/>
                    </a:lnTo>
                    <a:lnTo>
                      <a:pt x="216" y="191"/>
                    </a:lnTo>
                    <a:lnTo>
                      <a:pt x="215" y="193"/>
                    </a:lnTo>
                    <a:lnTo>
                      <a:pt x="215" y="192"/>
                    </a:lnTo>
                    <a:lnTo>
                      <a:pt x="214" y="193"/>
                    </a:lnTo>
                    <a:lnTo>
                      <a:pt x="214" y="198"/>
                    </a:lnTo>
                    <a:lnTo>
                      <a:pt x="216" y="199"/>
                    </a:lnTo>
                    <a:lnTo>
                      <a:pt x="214" y="202"/>
                    </a:lnTo>
                    <a:lnTo>
                      <a:pt x="212" y="200"/>
                    </a:lnTo>
                    <a:lnTo>
                      <a:pt x="212" y="201"/>
                    </a:lnTo>
                    <a:lnTo>
                      <a:pt x="210" y="203"/>
                    </a:lnTo>
                    <a:lnTo>
                      <a:pt x="207" y="201"/>
                    </a:lnTo>
                    <a:lnTo>
                      <a:pt x="204" y="201"/>
                    </a:lnTo>
                    <a:lnTo>
                      <a:pt x="202" y="205"/>
                    </a:lnTo>
                    <a:lnTo>
                      <a:pt x="201" y="206"/>
                    </a:lnTo>
                    <a:lnTo>
                      <a:pt x="203" y="207"/>
                    </a:lnTo>
                    <a:lnTo>
                      <a:pt x="202" y="209"/>
                    </a:lnTo>
                    <a:lnTo>
                      <a:pt x="204" y="208"/>
                    </a:lnTo>
                    <a:lnTo>
                      <a:pt x="204" y="210"/>
                    </a:lnTo>
                    <a:lnTo>
                      <a:pt x="204" y="212"/>
                    </a:lnTo>
                    <a:lnTo>
                      <a:pt x="206" y="215"/>
                    </a:lnTo>
                    <a:lnTo>
                      <a:pt x="205" y="216"/>
                    </a:lnTo>
                    <a:lnTo>
                      <a:pt x="204" y="216"/>
                    </a:lnTo>
                    <a:lnTo>
                      <a:pt x="204" y="217"/>
                    </a:lnTo>
                    <a:lnTo>
                      <a:pt x="202" y="220"/>
                    </a:lnTo>
                    <a:lnTo>
                      <a:pt x="203" y="220"/>
                    </a:lnTo>
                    <a:lnTo>
                      <a:pt x="204" y="218"/>
                    </a:lnTo>
                    <a:lnTo>
                      <a:pt x="206" y="219"/>
                    </a:lnTo>
                    <a:lnTo>
                      <a:pt x="209" y="217"/>
                    </a:lnTo>
                    <a:lnTo>
                      <a:pt x="209" y="215"/>
                    </a:lnTo>
                    <a:lnTo>
                      <a:pt x="210" y="216"/>
                    </a:lnTo>
                    <a:lnTo>
                      <a:pt x="210" y="217"/>
                    </a:lnTo>
                    <a:lnTo>
                      <a:pt x="208" y="221"/>
                    </a:lnTo>
                    <a:lnTo>
                      <a:pt x="211" y="221"/>
                    </a:lnTo>
                    <a:lnTo>
                      <a:pt x="211" y="223"/>
                    </a:lnTo>
                    <a:lnTo>
                      <a:pt x="212" y="223"/>
                    </a:lnTo>
                    <a:lnTo>
                      <a:pt x="210" y="230"/>
                    </a:lnTo>
                    <a:lnTo>
                      <a:pt x="210" y="231"/>
                    </a:lnTo>
                    <a:lnTo>
                      <a:pt x="210" y="230"/>
                    </a:lnTo>
                    <a:lnTo>
                      <a:pt x="209" y="232"/>
                    </a:lnTo>
                    <a:lnTo>
                      <a:pt x="207" y="233"/>
                    </a:lnTo>
                    <a:lnTo>
                      <a:pt x="207" y="234"/>
                    </a:lnTo>
                    <a:lnTo>
                      <a:pt x="205" y="235"/>
                    </a:lnTo>
                    <a:lnTo>
                      <a:pt x="204" y="237"/>
                    </a:lnTo>
                    <a:lnTo>
                      <a:pt x="203" y="237"/>
                    </a:lnTo>
                    <a:lnTo>
                      <a:pt x="201" y="237"/>
                    </a:lnTo>
                    <a:lnTo>
                      <a:pt x="199" y="237"/>
                    </a:lnTo>
                    <a:lnTo>
                      <a:pt x="197" y="237"/>
                    </a:lnTo>
                    <a:lnTo>
                      <a:pt x="196" y="238"/>
                    </a:lnTo>
                    <a:lnTo>
                      <a:pt x="198" y="242"/>
                    </a:lnTo>
                    <a:lnTo>
                      <a:pt x="198" y="244"/>
                    </a:lnTo>
                    <a:lnTo>
                      <a:pt x="196" y="244"/>
                    </a:lnTo>
                    <a:lnTo>
                      <a:pt x="194" y="246"/>
                    </a:lnTo>
                    <a:lnTo>
                      <a:pt x="194" y="247"/>
                    </a:lnTo>
                    <a:lnTo>
                      <a:pt x="193" y="249"/>
                    </a:lnTo>
                    <a:lnTo>
                      <a:pt x="190" y="247"/>
                    </a:lnTo>
                    <a:lnTo>
                      <a:pt x="187" y="248"/>
                    </a:lnTo>
                    <a:lnTo>
                      <a:pt x="185" y="247"/>
                    </a:lnTo>
                    <a:lnTo>
                      <a:pt x="184" y="248"/>
                    </a:lnTo>
                    <a:lnTo>
                      <a:pt x="181" y="246"/>
                    </a:lnTo>
                    <a:lnTo>
                      <a:pt x="180" y="246"/>
                    </a:lnTo>
                    <a:lnTo>
                      <a:pt x="178" y="248"/>
                    </a:lnTo>
                    <a:lnTo>
                      <a:pt x="177" y="248"/>
                    </a:lnTo>
                    <a:lnTo>
                      <a:pt x="172" y="250"/>
                    </a:lnTo>
                    <a:lnTo>
                      <a:pt x="172" y="249"/>
                    </a:lnTo>
                    <a:lnTo>
                      <a:pt x="172" y="250"/>
                    </a:lnTo>
                    <a:lnTo>
                      <a:pt x="170" y="252"/>
                    </a:lnTo>
                    <a:lnTo>
                      <a:pt x="173" y="254"/>
                    </a:lnTo>
                    <a:lnTo>
                      <a:pt x="173" y="256"/>
                    </a:lnTo>
                    <a:lnTo>
                      <a:pt x="174" y="257"/>
                    </a:lnTo>
                    <a:lnTo>
                      <a:pt x="174" y="258"/>
                    </a:lnTo>
                    <a:lnTo>
                      <a:pt x="170" y="260"/>
                    </a:lnTo>
                    <a:lnTo>
                      <a:pt x="170" y="257"/>
                    </a:lnTo>
                    <a:lnTo>
                      <a:pt x="168" y="257"/>
                    </a:lnTo>
                    <a:lnTo>
                      <a:pt x="168" y="260"/>
                    </a:lnTo>
                    <a:lnTo>
                      <a:pt x="166" y="260"/>
                    </a:lnTo>
                    <a:lnTo>
                      <a:pt x="168" y="261"/>
                    </a:lnTo>
                    <a:lnTo>
                      <a:pt x="166" y="261"/>
                    </a:lnTo>
                    <a:lnTo>
                      <a:pt x="166" y="262"/>
                    </a:lnTo>
                    <a:lnTo>
                      <a:pt x="162" y="260"/>
                    </a:lnTo>
                    <a:lnTo>
                      <a:pt x="161" y="260"/>
                    </a:lnTo>
                    <a:lnTo>
                      <a:pt x="161" y="261"/>
                    </a:lnTo>
                    <a:lnTo>
                      <a:pt x="159" y="260"/>
                    </a:lnTo>
                    <a:lnTo>
                      <a:pt x="157" y="260"/>
                    </a:lnTo>
                    <a:lnTo>
                      <a:pt x="157" y="261"/>
                    </a:lnTo>
                    <a:lnTo>
                      <a:pt x="157" y="263"/>
                    </a:lnTo>
                    <a:lnTo>
                      <a:pt x="157" y="264"/>
                    </a:lnTo>
                    <a:lnTo>
                      <a:pt x="156" y="263"/>
                    </a:lnTo>
                    <a:lnTo>
                      <a:pt x="155" y="260"/>
                    </a:lnTo>
                    <a:lnTo>
                      <a:pt x="153" y="260"/>
                    </a:lnTo>
                    <a:lnTo>
                      <a:pt x="152" y="261"/>
                    </a:lnTo>
                    <a:lnTo>
                      <a:pt x="151" y="260"/>
                    </a:lnTo>
                    <a:lnTo>
                      <a:pt x="149" y="257"/>
                    </a:lnTo>
                    <a:lnTo>
                      <a:pt x="148" y="257"/>
                    </a:lnTo>
                    <a:lnTo>
                      <a:pt x="146" y="257"/>
                    </a:lnTo>
                    <a:lnTo>
                      <a:pt x="144" y="257"/>
                    </a:lnTo>
                    <a:lnTo>
                      <a:pt x="144" y="255"/>
                    </a:lnTo>
                    <a:lnTo>
                      <a:pt x="144" y="254"/>
                    </a:lnTo>
                    <a:lnTo>
                      <a:pt x="142" y="254"/>
                    </a:lnTo>
                    <a:lnTo>
                      <a:pt x="142" y="255"/>
                    </a:lnTo>
                    <a:lnTo>
                      <a:pt x="143" y="257"/>
                    </a:lnTo>
                    <a:lnTo>
                      <a:pt x="142" y="260"/>
                    </a:lnTo>
                    <a:lnTo>
                      <a:pt x="141" y="260"/>
                    </a:lnTo>
                    <a:lnTo>
                      <a:pt x="139" y="262"/>
                    </a:lnTo>
                    <a:lnTo>
                      <a:pt x="137" y="262"/>
                    </a:lnTo>
                    <a:lnTo>
                      <a:pt x="136" y="263"/>
                    </a:lnTo>
                    <a:lnTo>
                      <a:pt x="133" y="262"/>
                    </a:lnTo>
                    <a:lnTo>
                      <a:pt x="131" y="261"/>
                    </a:lnTo>
                    <a:lnTo>
                      <a:pt x="128" y="259"/>
                    </a:lnTo>
                    <a:lnTo>
                      <a:pt x="128" y="257"/>
                    </a:lnTo>
                    <a:lnTo>
                      <a:pt x="129" y="257"/>
                    </a:lnTo>
                    <a:lnTo>
                      <a:pt x="128" y="256"/>
                    </a:lnTo>
                    <a:lnTo>
                      <a:pt x="128" y="255"/>
                    </a:lnTo>
                    <a:lnTo>
                      <a:pt x="128" y="257"/>
                    </a:lnTo>
                    <a:lnTo>
                      <a:pt x="127" y="257"/>
                    </a:lnTo>
                    <a:lnTo>
                      <a:pt x="126" y="256"/>
                    </a:lnTo>
                    <a:lnTo>
                      <a:pt x="125" y="256"/>
                    </a:lnTo>
                    <a:lnTo>
                      <a:pt x="125" y="255"/>
                    </a:lnTo>
                    <a:lnTo>
                      <a:pt x="126" y="255"/>
                    </a:lnTo>
                    <a:lnTo>
                      <a:pt x="125" y="254"/>
                    </a:lnTo>
                    <a:lnTo>
                      <a:pt x="126" y="254"/>
                    </a:lnTo>
                    <a:lnTo>
                      <a:pt x="126" y="252"/>
                    </a:lnTo>
                    <a:lnTo>
                      <a:pt x="125" y="251"/>
                    </a:lnTo>
                    <a:lnTo>
                      <a:pt x="125" y="250"/>
                    </a:lnTo>
                    <a:lnTo>
                      <a:pt x="125" y="248"/>
                    </a:lnTo>
                    <a:lnTo>
                      <a:pt x="124" y="247"/>
                    </a:lnTo>
                    <a:lnTo>
                      <a:pt x="121" y="249"/>
                    </a:lnTo>
                    <a:lnTo>
                      <a:pt x="119" y="251"/>
                    </a:lnTo>
                    <a:lnTo>
                      <a:pt x="115" y="248"/>
                    </a:lnTo>
                    <a:lnTo>
                      <a:pt x="114" y="254"/>
                    </a:lnTo>
                    <a:lnTo>
                      <a:pt x="116" y="254"/>
                    </a:lnTo>
                    <a:lnTo>
                      <a:pt x="112" y="256"/>
                    </a:lnTo>
                    <a:lnTo>
                      <a:pt x="110" y="259"/>
                    </a:lnTo>
                    <a:lnTo>
                      <a:pt x="109" y="257"/>
                    </a:lnTo>
                    <a:lnTo>
                      <a:pt x="108" y="258"/>
                    </a:lnTo>
                    <a:lnTo>
                      <a:pt x="106" y="257"/>
                    </a:lnTo>
                    <a:lnTo>
                      <a:pt x="108" y="257"/>
                    </a:lnTo>
                    <a:lnTo>
                      <a:pt x="108" y="256"/>
                    </a:lnTo>
                    <a:lnTo>
                      <a:pt x="104" y="253"/>
                    </a:lnTo>
                    <a:lnTo>
                      <a:pt x="103" y="253"/>
                    </a:lnTo>
                    <a:lnTo>
                      <a:pt x="101" y="252"/>
                    </a:lnTo>
                    <a:lnTo>
                      <a:pt x="102" y="255"/>
                    </a:lnTo>
                    <a:lnTo>
                      <a:pt x="101" y="256"/>
                    </a:lnTo>
                    <a:lnTo>
                      <a:pt x="101" y="258"/>
                    </a:lnTo>
                    <a:lnTo>
                      <a:pt x="99" y="261"/>
                    </a:lnTo>
                    <a:lnTo>
                      <a:pt x="100" y="261"/>
                    </a:lnTo>
                    <a:lnTo>
                      <a:pt x="100" y="262"/>
                    </a:lnTo>
                    <a:lnTo>
                      <a:pt x="99" y="262"/>
                    </a:lnTo>
                    <a:lnTo>
                      <a:pt x="100" y="264"/>
                    </a:lnTo>
                    <a:lnTo>
                      <a:pt x="99" y="264"/>
                    </a:lnTo>
                    <a:lnTo>
                      <a:pt x="98" y="264"/>
                    </a:lnTo>
                    <a:lnTo>
                      <a:pt x="96" y="265"/>
                    </a:lnTo>
                    <a:lnTo>
                      <a:pt x="98" y="267"/>
                    </a:lnTo>
                    <a:lnTo>
                      <a:pt x="95" y="267"/>
                    </a:lnTo>
                    <a:lnTo>
                      <a:pt x="95" y="264"/>
                    </a:lnTo>
                    <a:lnTo>
                      <a:pt x="94" y="264"/>
                    </a:lnTo>
                    <a:lnTo>
                      <a:pt x="91" y="263"/>
                    </a:lnTo>
                    <a:lnTo>
                      <a:pt x="90" y="264"/>
                    </a:lnTo>
                    <a:lnTo>
                      <a:pt x="87" y="263"/>
                    </a:lnTo>
                    <a:lnTo>
                      <a:pt x="85" y="265"/>
                    </a:lnTo>
                    <a:lnTo>
                      <a:pt x="82" y="263"/>
                    </a:lnTo>
                    <a:lnTo>
                      <a:pt x="81" y="265"/>
                    </a:lnTo>
                    <a:lnTo>
                      <a:pt x="78" y="267"/>
                    </a:lnTo>
                    <a:lnTo>
                      <a:pt x="77" y="267"/>
                    </a:lnTo>
                    <a:lnTo>
                      <a:pt x="76" y="269"/>
                    </a:lnTo>
                    <a:lnTo>
                      <a:pt x="78" y="270"/>
                    </a:lnTo>
                    <a:lnTo>
                      <a:pt x="78" y="271"/>
                    </a:lnTo>
                    <a:lnTo>
                      <a:pt x="77" y="271"/>
                    </a:lnTo>
                    <a:lnTo>
                      <a:pt x="77" y="272"/>
                    </a:lnTo>
                    <a:lnTo>
                      <a:pt x="75" y="272"/>
                    </a:lnTo>
                    <a:lnTo>
                      <a:pt x="74" y="275"/>
                    </a:lnTo>
                    <a:lnTo>
                      <a:pt x="71" y="277"/>
                    </a:lnTo>
                    <a:lnTo>
                      <a:pt x="66" y="276"/>
                    </a:lnTo>
                    <a:lnTo>
                      <a:pt x="64" y="275"/>
                    </a:lnTo>
                    <a:lnTo>
                      <a:pt x="64" y="276"/>
                    </a:lnTo>
                    <a:lnTo>
                      <a:pt x="64" y="280"/>
                    </a:lnTo>
                    <a:lnTo>
                      <a:pt x="63" y="282"/>
                    </a:lnTo>
                    <a:lnTo>
                      <a:pt x="60" y="280"/>
                    </a:lnTo>
                    <a:lnTo>
                      <a:pt x="59" y="283"/>
                    </a:lnTo>
                    <a:lnTo>
                      <a:pt x="58" y="282"/>
                    </a:lnTo>
                    <a:lnTo>
                      <a:pt x="58" y="283"/>
                    </a:lnTo>
                    <a:lnTo>
                      <a:pt x="58" y="284"/>
                    </a:lnTo>
                    <a:lnTo>
                      <a:pt x="59" y="284"/>
                    </a:lnTo>
                    <a:lnTo>
                      <a:pt x="58" y="286"/>
                    </a:lnTo>
                    <a:lnTo>
                      <a:pt x="58" y="288"/>
                    </a:lnTo>
                    <a:lnTo>
                      <a:pt x="56" y="288"/>
                    </a:lnTo>
                    <a:lnTo>
                      <a:pt x="55" y="289"/>
                    </a:lnTo>
                    <a:lnTo>
                      <a:pt x="54" y="287"/>
                    </a:lnTo>
                    <a:lnTo>
                      <a:pt x="52" y="285"/>
                    </a:lnTo>
                    <a:lnTo>
                      <a:pt x="52" y="283"/>
                    </a:lnTo>
                    <a:lnTo>
                      <a:pt x="49" y="280"/>
                    </a:lnTo>
                    <a:lnTo>
                      <a:pt x="49" y="279"/>
                    </a:lnTo>
                    <a:lnTo>
                      <a:pt x="46" y="279"/>
                    </a:lnTo>
                    <a:lnTo>
                      <a:pt x="43" y="281"/>
                    </a:lnTo>
                    <a:lnTo>
                      <a:pt x="42" y="282"/>
                    </a:lnTo>
                    <a:lnTo>
                      <a:pt x="42" y="280"/>
                    </a:lnTo>
                    <a:lnTo>
                      <a:pt x="40" y="280"/>
                    </a:lnTo>
                    <a:lnTo>
                      <a:pt x="39" y="279"/>
                    </a:lnTo>
                    <a:lnTo>
                      <a:pt x="38" y="279"/>
                    </a:lnTo>
                    <a:lnTo>
                      <a:pt x="36" y="280"/>
                    </a:lnTo>
                    <a:lnTo>
                      <a:pt x="38" y="284"/>
                    </a:lnTo>
                    <a:lnTo>
                      <a:pt x="37" y="284"/>
                    </a:lnTo>
                    <a:lnTo>
                      <a:pt x="35" y="285"/>
                    </a:lnTo>
                    <a:lnTo>
                      <a:pt x="35" y="287"/>
                    </a:lnTo>
                    <a:lnTo>
                      <a:pt x="33" y="287"/>
                    </a:lnTo>
                    <a:lnTo>
                      <a:pt x="33" y="288"/>
                    </a:lnTo>
                    <a:lnTo>
                      <a:pt x="33" y="289"/>
                    </a:lnTo>
                    <a:lnTo>
                      <a:pt x="31" y="291"/>
                    </a:lnTo>
                    <a:lnTo>
                      <a:pt x="30" y="291"/>
                    </a:lnTo>
                    <a:lnTo>
                      <a:pt x="30" y="288"/>
                    </a:lnTo>
                    <a:lnTo>
                      <a:pt x="28" y="289"/>
                    </a:lnTo>
                    <a:lnTo>
                      <a:pt x="27" y="289"/>
                    </a:lnTo>
                    <a:lnTo>
                      <a:pt x="25" y="287"/>
                    </a:lnTo>
                    <a:lnTo>
                      <a:pt x="25" y="286"/>
                    </a:lnTo>
                    <a:lnTo>
                      <a:pt x="26" y="284"/>
                    </a:lnTo>
                    <a:lnTo>
                      <a:pt x="25" y="283"/>
                    </a:lnTo>
                    <a:lnTo>
                      <a:pt x="24" y="281"/>
                    </a:lnTo>
                    <a:lnTo>
                      <a:pt x="23" y="280"/>
                    </a:lnTo>
                    <a:lnTo>
                      <a:pt x="20" y="280"/>
                    </a:lnTo>
                    <a:lnTo>
                      <a:pt x="21" y="284"/>
                    </a:lnTo>
                    <a:lnTo>
                      <a:pt x="17" y="280"/>
                    </a:lnTo>
                    <a:lnTo>
                      <a:pt x="14" y="280"/>
                    </a:lnTo>
                    <a:lnTo>
                      <a:pt x="15" y="281"/>
                    </a:lnTo>
                    <a:lnTo>
                      <a:pt x="17" y="281"/>
                    </a:lnTo>
                    <a:lnTo>
                      <a:pt x="17" y="282"/>
                    </a:lnTo>
                    <a:lnTo>
                      <a:pt x="18" y="282"/>
                    </a:lnTo>
                    <a:lnTo>
                      <a:pt x="15" y="284"/>
                    </a:lnTo>
                    <a:lnTo>
                      <a:pt x="14" y="285"/>
                    </a:lnTo>
                    <a:lnTo>
                      <a:pt x="14" y="286"/>
                    </a:lnTo>
                    <a:lnTo>
                      <a:pt x="13" y="287"/>
                    </a:lnTo>
                    <a:lnTo>
                      <a:pt x="12" y="287"/>
                    </a:lnTo>
                    <a:lnTo>
                      <a:pt x="10" y="286"/>
                    </a:lnTo>
                    <a:lnTo>
                      <a:pt x="10" y="284"/>
                    </a:lnTo>
                    <a:lnTo>
                      <a:pt x="8" y="284"/>
                    </a:lnTo>
                    <a:lnTo>
                      <a:pt x="7" y="286"/>
                    </a:lnTo>
                    <a:lnTo>
                      <a:pt x="8" y="287"/>
                    </a:lnTo>
                    <a:lnTo>
                      <a:pt x="9" y="287"/>
                    </a:lnTo>
                    <a:lnTo>
                      <a:pt x="10" y="288"/>
                    </a:lnTo>
                    <a:lnTo>
                      <a:pt x="11" y="289"/>
                    </a:lnTo>
                    <a:lnTo>
                      <a:pt x="10" y="291"/>
                    </a:lnTo>
                    <a:lnTo>
                      <a:pt x="9" y="290"/>
                    </a:lnTo>
                    <a:lnTo>
                      <a:pt x="7" y="291"/>
                    </a:lnTo>
                    <a:lnTo>
                      <a:pt x="7" y="292"/>
                    </a:lnTo>
                    <a:lnTo>
                      <a:pt x="10" y="293"/>
                    </a:lnTo>
                    <a:lnTo>
                      <a:pt x="8" y="294"/>
                    </a:lnTo>
                    <a:lnTo>
                      <a:pt x="7" y="295"/>
                    </a:lnTo>
                    <a:lnTo>
                      <a:pt x="5" y="294"/>
                    </a:lnTo>
                    <a:lnTo>
                      <a:pt x="4" y="294"/>
                    </a:lnTo>
                    <a:lnTo>
                      <a:pt x="4" y="297"/>
                    </a:lnTo>
                    <a:lnTo>
                      <a:pt x="0" y="301"/>
                    </a:lnTo>
                    <a:lnTo>
                      <a:pt x="5" y="303"/>
                    </a:lnTo>
                    <a:lnTo>
                      <a:pt x="11" y="308"/>
                    </a:lnTo>
                    <a:lnTo>
                      <a:pt x="17" y="308"/>
                    </a:lnTo>
                    <a:lnTo>
                      <a:pt x="19" y="309"/>
                    </a:lnTo>
                    <a:lnTo>
                      <a:pt x="20" y="308"/>
                    </a:lnTo>
                    <a:lnTo>
                      <a:pt x="22" y="310"/>
                    </a:lnTo>
                    <a:lnTo>
                      <a:pt x="25" y="315"/>
                    </a:lnTo>
                    <a:lnTo>
                      <a:pt x="27" y="315"/>
                    </a:lnTo>
                    <a:lnTo>
                      <a:pt x="26" y="314"/>
                    </a:lnTo>
                    <a:lnTo>
                      <a:pt x="31" y="318"/>
                    </a:lnTo>
                    <a:lnTo>
                      <a:pt x="34" y="322"/>
                    </a:lnTo>
                    <a:lnTo>
                      <a:pt x="35" y="325"/>
                    </a:lnTo>
                    <a:lnTo>
                      <a:pt x="38" y="328"/>
                    </a:lnTo>
                    <a:lnTo>
                      <a:pt x="39" y="331"/>
                    </a:lnTo>
                    <a:lnTo>
                      <a:pt x="40" y="331"/>
                    </a:lnTo>
                    <a:lnTo>
                      <a:pt x="42" y="330"/>
                    </a:lnTo>
                    <a:lnTo>
                      <a:pt x="45" y="330"/>
                    </a:lnTo>
                    <a:lnTo>
                      <a:pt x="46" y="330"/>
                    </a:lnTo>
                    <a:lnTo>
                      <a:pt x="46" y="331"/>
                    </a:lnTo>
                    <a:lnTo>
                      <a:pt x="53" y="333"/>
                    </a:lnTo>
                    <a:lnTo>
                      <a:pt x="57" y="335"/>
                    </a:lnTo>
                    <a:lnTo>
                      <a:pt x="62" y="331"/>
                    </a:lnTo>
                    <a:lnTo>
                      <a:pt x="64" y="328"/>
                    </a:lnTo>
                    <a:lnTo>
                      <a:pt x="65" y="325"/>
                    </a:lnTo>
                    <a:lnTo>
                      <a:pt x="69" y="326"/>
                    </a:lnTo>
                    <a:lnTo>
                      <a:pt x="72" y="328"/>
                    </a:lnTo>
                    <a:lnTo>
                      <a:pt x="77" y="328"/>
                    </a:lnTo>
                    <a:lnTo>
                      <a:pt x="78" y="329"/>
                    </a:lnTo>
                    <a:lnTo>
                      <a:pt x="79" y="329"/>
                    </a:lnTo>
                    <a:lnTo>
                      <a:pt x="82" y="326"/>
                    </a:lnTo>
                    <a:lnTo>
                      <a:pt x="82" y="328"/>
                    </a:lnTo>
                    <a:lnTo>
                      <a:pt x="84" y="331"/>
                    </a:lnTo>
                    <a:lnTo>
                      <a:pt x="84" y="332"/>
                    </a:lnTo>
                    <a:lnTo>
                      <a:pt x="82" y="333"/>
                    </a:lnTo>
                    <a:lnTo>
                      <a:pt x="82" y="335"/>
                    </a:lnTo>
                    <a:lnTo>
                      <a:pt x="85" y="337"/>
                    </a:lnTo>
                    <a:lnTo>
                      <a:pt x="87" y="339"/>
                    </a:lnTo>
                    <a:lnTo>
                      <a:pt x="90" y="338"/>
                    </a:lnTo>
                    <a:lnTo>
                      <a:pt x="90" y="337"/>
                    </a:lnTo>
                    <a:lnTo>
                      <a:pt x="90" y="336"/>
                    </a:lnTo>
                    <a:lnTo>
                      <a:pt x="91" y="336"/>
                    </a:lnTo>
                    <a:lnTo>
                      <a:pt x="92" y="337"/>
                    </a:lnTo>
                    <a:lnTo>
                      <a:pt x="92" y="338"/>
                    </a:lnTo>
                    <a:lnTo>
                      <a:pt x="91" y="342"/>
                    </a:lnTo>
                    <a:lnTo>
                      <a:pt x="92" y="345"/>
                    </a:lnTo>
                    <a:lnTo>
                      <a:pt x="93" y="345"/>
                    </a:lnTo>
                    <a:lnTo>
                      <a:pt x="96" y="342"/>
                    </a:lnTo>
                    <a:lnTo>
                      <a:pt x="97" y="345"/>
                    </a:lnTo>
                    <a:lnTo>
                      <a:pt x="97" y="347"/>
                    </a:lnTo>
                    <a:lnTo>
                      <a:pt x="96" y="347"/>
                    </a:lnTo>
                    <a:lnTo>
                      <a:pt x="95" y="346"/>
                    </a:lnTo>
                    <a:lnTo>
                      <a:pt x="95" y="344"/>
                    </a:lnTo>
                    <a:lnTo>
                      <a:pt x="95" y="345"/>
                    </a:lnTo>
                    <a:lnTo>
                      <a:pt x="94" y="346"/>
                    </a:lnTo>
                    <a:lnTo>
                      <a:pt x="95" y="348"/>
                    </a:lnTo>
                    <a:lnTo>
                      <a:pt x="98" y="348"/>
                    </a:lnTo>
                    <a:lnTo>
                      <a:pt x="101" y="347"/>
                    </a:lnTo>
                    <a:lnTo>
                      <a:pt x="102" y="349"/>
                    </a:lnTo>
                    <a:lnTo>
                      <a:pt x="104" y="349"/>
                    </a:lnTo>
                    <a:lnTo>
                      <a:pt x="102" y="354"/>
                    </a:lnTo>
                    <a:lnTo>
                      <a:pt x="103" y="355"/>
                    </a:lnTo>
                    <a:lnTo>
                      <a:pt x="104" y="358"/>
                    </a:lnTo>
                    <a:lnTo>
                      <a:pt x="106" y="358"/>
                    </a:lnTo>
                    <a:lnTo>
                      <a:pt x="107" y="357"/>
                    </a:lnTo>
                    <a:lnTo>
                      <a:pt x="107" y="354"/>
                    </a:lnTo>
                    <a:lnTo>
                      <a:pt x="108" y="354"/>
                    </a:lnTo>
                    <a:lnTo>
                      <a:pt x="109" y="354"/>
                    </a:lnTo>
                    <a:lnTo>
                      <a:pt x="108" y="356"/>
                    </a:lnTo>
                    <a:lnTo>
                      <a:pt x="112" y="356"/>
                    </a:lnTo>
                    <a:lnTo>
                      <a:pt x="112" y="358"/>
                    </a:lnTo>
                    <a:lnTo>
                      <a:pt x="109" y="360"/>
                    </a:lnTo>
                    <a:lnTo>
                      <a:pt x="108" y="365"/>
                    </a:lnTo>
                    <a:lnTo>
                      <a:pt x="112" y="368"/>
                    </a:lnTo>
                    <a:lnTo>
                      <a:pt x="118" y="375"/>
                    </a:lnTo>
                    <a:lnTo>
                      <a:pt x="120" y="378"/>
                    </a:lnTo>
                    <a:lnTo>
                      <a:pt x="134" y="388"/>
                    </a:lnTo>
                    <a:lnTo>
                      <a:pt x="138" y="392"/>
                    </a:lnTo>
                    <a:lnTo>
                      <a:pt x="142" y="395"/>
                    </a:lnTo>
                    <a:lnTo>
                      <a:pt x="146" y="397"/>
                    </a:lnTo>
                    <a:lnTo>
                      <a:pt x="149" y="398"/>
                    </a:lnTo>
                    <a:lnTo>
                      <a:pt x="150" y="398"/>
                    </a:lnTo>
                    <a:lnTo>
                      <a:pt x="150" y="397"/>
                    </a:lnTo>
                    <a:lnTo>
                      <a:pt x="152" y="397"/>
                    </a:lnTo>
                    <a:lnTo>
                      <a:pt x="152" y="398"/>
                    </a:lnTo>
                    <a:lnTo>
                      <a:pt x="157" y="400"/>
                    </a:lnTo>
                    <a:lnTo>
                      <a:pt x="158" y="399"/>
                    </a:lnTo>
                    <a:lnTo>
                      <a:pt x="160" y="399"/>
                    </a:lnTo>
                    <a:lnTo>
                      <a:pt x="160" y="400"/>
                    </a:lnTo>
                    <a:lnTo>
                      <a:pt x="161" y="399"/>
                    </a:lnTo>
                    <a:lnTo>
                      <a:pt x="161" y="398"/>
                    </a:lnTo>
                    <a:lnTo>
                      <a:pt x="173" y="402"/>
                    </a:lnTo>
                    <a:lnTo>
                      <a:pt x="187" y="405"/>
                    </a:lnTo>
                    <a:lnTo>
                      <a:pt x="191" y="407"/>
                    </a:lnTo>
                    <a:lnTo>
                      <a:pt x="193" y="406"/>
                    </a:lnTo>
                    <a:lnTo>
                      <a:pt x="196" y="406"/>
                    </a:lnTo>
                    <a:lnTo>
                      <a:pt x="201" y="408"/>
                    </a:lnTo>
                    <a:lnTo>
                      <a:pt x="202" y="407"/>
                    </a:lnTo>
                    <a:lnTo>
                      <a:pt x="205" y="410"/>
                    </a:lnTo>
                    <a:lnTo>
                      <a:pt x="210" y="412"/>
                    </a:lnTo>
                    <a:lnTo>
                      <a:pt x="212" y="410"/>
                    </a:lnTo>
                    <a:lnTo>
                      <a:pt x="213" y="408"/>
                    </a:lnTo>
                    <a:lnTo>
                      <a:pt x="214" y="407"/>
                    </a:lnTo>
                    <a:lnTo>
                      <a:pt x="214" y="406"/>
                    </a:lnTo>
                    <a:lnTo>
                      <a:pt x="214" y="409"/>
                    </a:lnTo>
                    <a:lnTo>
                      <a:pt x="216" y="408"/>
                    </a:lnTo>
                    <a:lnTo>
                      <a:pt x="217" y="409"/>
                    </a:lnTo>
                    <a:lnTo>
                      <a:pt x="218" y="410"/>
                    </a:lnTo>
                    <a:lnTo>
                      <a:pt x="216" y="412"/>
                    </a:lnTo>
                    <a:lnTo>
                      <a:pt x="218" y="414"/>
                    </a:lnTo>
                    <a:lnTo>
                      <a:pt x="218" y="413"/>
                    </a:lnTo>
                    <a:lnTo>
                      <a:pt x="218" y="414"/>
                    </a:lnTo>
                    <a:lnTo>
                      <a:pt x="222" y="414"/>
                    </a:lnTo>
                    <a:lnTo>
                      <a:pt x="222" y="415"/>
                    </a:lnTo>
                    <a:lnTo>
                      <a:pt x="224" y="415"/>
                    </a:lnTo>
                    <a:lnTo>
                      <a:pt x="225" y="414"/>
                    </a:lnTo>
                    <a:lnTo>
                      <a:pt x="226" y="412"/>
                    </a:lnTo>
                    <a:lnTo>
                      <a:pt x="227" y="410"/>
                    </a:lnTo>
                    <a:lnTo>
                      <a:pt x="228" y="412"/>
                    </a:lnTo>
                    <a:lnTo>
                      <a:pt x="230" y="410"/>
                    </a:lnTo>
                    <a:lnTo>
                      <a:pt x="231" y="410"/>
                    </a:lnTo>
                    <a:lnTo>
                      <a:pt x="232" y="410"/>
                    </a:lnTo>
                    <a:lnTo>
                      <a:pt x="234" y="406"/>
                    </a:lnTo>
                    <a:lnTo>
                      <a:pt x="235" y="404"/>
                    </a:lnTo>
                    <a:lnTo>
                      <a:pt x="237" y="401"/>
                    </a:lnTo>
                    <a:lnTo>
                      <a:pt x="240" y="401"/>
                    </a:lnTo>
                    <a:lnTo>
                      <a:pt x="242" y="399"/>
                    </a:lnTo>
                    <a:lnTo>
                      <a:pt x="242" y="396"/>
                    </a:lnTo>
                    <a:lnTo>
                      <a:pt x="242" y="395"/>
                    </a:lnTo>
                    <a:lnTo>
                      <a:pt x="243" y="392"/>
                    </a:lnTo>
                    <a:lnTo>
                      <a:pt x="245" y="388"/>
                    </a:lnTo>
                    <a:lnTo>
                      <a:pt x="245" y="386"/>
                    </a:lnTo>
                    <a:lnTo>
                      <a:pt x="246" y="384"/>
                    </a:lnTo>
                    <a:lnTo>
                      <a:pt x="250" y="382"/>
                    </a:lnTo>
                    <a:lnTo>
                      <a:pt x="250" y="381"/>
                    </a:lnTo>
                    <a:lnTo>
                      <a:pt x="249" y="380"/>
                    </a:lnTo>
                    <a:lnTo>
                      <a:pt x="250" y="380"/>
                    </a:lnTo>
                    <a:lnTo>
                      <a:pt x="254" y="384"/>
                    </a:lnTo>
                    <a:lnTo>
                      <a:pt x="260" y="386"/>
                    </a:lnTo>
                    <a:lnTo>
                      <a:pt x="264" y="385"/>
                    </a:lnTo>
                    <a:lnTo>
                      <a:pt x="265" y="387"/>
                    </a:lnTo>
                    <a:lnTo>
                      <a:pt x="267" y="386"/>
                    </a:lnTo>
                    <a:lnTo>
                      <a:pt x="269" y="383"/>
                    </a:lnTo>
                    <a:lnTo>
                      <a:pt x="271" y="381"/>
                    </a:lnTo>
                    <a:lnTo>
                      <a:pt x="275" y="386"/>
                    </a:lnTo>
                    <a:lnTo>
                      <a:pt x="275" y="387"/>
                    </a:lnTo>
                    <a:lnTo>
                      <a:pt x="278" y="391"/>
                    </a:lnTo>
                    <a:lnTo>
                      <a:pt x="283" y="392"/>
                    </a:lnTo>
                    <a:lnTo>
                      <a:pt x="286" y="395"/>
                    </a:lnTo>
                    <a:lnTo>
                      <a:pt x="285" y="397"/>
                    </a:lnTo>
                    <a:lnTo>
                      <a:pt x="289" y="399"/>
                    </a:lnTo>
                    <a:lnTo>
                      <a:pt x="291" y="399"/>
                    </a:lnTo>
                    <a:lnTo>
                      <a:pt x="295" y="399"/>
                    </a:lnTo>
                    <a:lnTo>
                      <a:pt x="296" y="397"/>
                    </a:lnTo>
                    <a:lnTo>
                      <a:pt x="299" y="397"/>
                    </a:lnTo>
                    <a:lnTo>
                      <a:pt x="302" y="399"/>
                    </a:lnTo>
                    <a:lnTo>
                      <a:pt x="304" y="400"/>
                    </a:lnTo>
                    <a:lnTo>
                      <a:pt x="305" y="403"/>
                    </a:lnTo>
                    <a:lnTo>
                      <a:pt x="307" y="406"/>
                    </a:lnTo>
                    <a:lnTo>
                      <a:pt x="308" y="412"/>
                    </a:lnTo>
                    <a:lnTo>
                      <a:pt x="308" y="415"/>
                    </a:lnTo>
                    <a:lnTo>
                      <a:pt x="305" y="418"/>
                    </a:lnTo>
                    <a:lnTo>
                      <a:pt x="305" y="420"/>
                    </a:lnTo>
                    <a:lnTo>
                      <a:pt x="307" y="423"/>
                    </a:lnTo>
                    <a:lnTo>
                      <a:pt x="307" y="426"/>
                    </a:lnTo>
                    <a:lnTo>
                      <a:pt x="308" y="426"/>
                    </a:lnTo>
                    <a:lnTo>
                      <a:pt x="313" y="423"/>
                    </a:lnTo>
                    <a:lnTo>
                      <a:pt x="314" y="422"/>
                    </a:lnTo>
                    <a:lnTo>
                      <a:pt x="317" y="422"/>
                    </a:lnTo>
                    <a:lnTo>
                      <a:pt x="319" y="423"/>
                    </a:lnTo>
                    <a:lnTo>
                      <a:pt x="321" y="423"/>
                    </a:lnTo>
                    <a:lnTo>
                      <a:pt x="320" y="424"/>
                    </a:lnTo>
                    <a:lnTo>
                      <a:pt x="320" y="425"/>
                    </a:lnTo>
                    <a:lnTo>
                      <a:pt x="321" y="425"/>
                    </a:lnTo>
                    <a:lnTo>
                      <a:pt x="322" y="426"/>
                    </a:lnTo>
                    <a:lnTo>
                      <a:pt x="322" y="427"/>
                    </a:lnTo>
                    <a:lnTo>
                      <a:pt x="325" y="426"/>
                    </a:lnTo>
                    <a:lnTo>
                      <a:pt x="327" y="429"/>
                    </a:lnTo>
                    <a:lnTo>
                      <a:pt x="327" y="431"/>
                    </a:lnTo>
                    <a:lnTo>
                      <a:pt x="328" y="433"/>
                    </a:lnTo>
                    <a:lnTo>
                      <a:pt x="329" y="433"/>
                    </a:lnTo>
                    <a:lnTo>
                      <a:pt x="332" y="436"/>
                    </a:lnTo>
                    <a:lnTo>
                      <a:pt x="333" y="435"/>
                    </a:lnTo>
                    <a:lnTo>
                      <a:pt x="334" y="436"/>
                    </a:lnTo>
                    <a:lnTo>
                      <a:pt x="336" y="436"/>
                    </a:lnTo>
                    <a:lnTo>
                      <a:pt x="338" y="438"/>
                    </a:lnTo>
                    <a:lnTo>
                      <a:pt x="339" y="440"/>
                    </a:lnTo>
                    <a:lnTo>
                      <a:pt x="341" y="437"/>
                    </a:lnTo>
                    <a:lnTo>
                      <a:pt x="343" y="438"/>
                    </a:lnTo>
                    <a:lnTo>
                      <a:pt x="346" y="439"/>
                    </a:lnTo>
                    <a:lnTo>
                      <a:pt x="349" y="436"/>
                    </a:lnTo>
                    <a:lnTo>
                      <a:pt x="351" y="439"/>
                    </a:lnTo>
                    <a:lnTo>
                      <a:pt x="358" y="439"/>
                    </a:lnTo>
                    <a:lnTo>
                      <a:pt x="361" y="435"/>
                    </a:lnTo>
                    <a:lnTo>
                      <a:pt x="362" y="438"/>
                    </a:lnTo>
                    <a:lnTo>
                      <a:pt x="366" y="439"/>
                    </a:lnTo>
                    <a:lnTo>
                      <a:pt x="367" y="438"/>
                    </a:lnTo>
                    <a:lnTo>
                      <a:pt x="368" y="439"/>
                    </a:lnTo>
                    <a:lnTo>
                      <a:pt x="367" y="439"/>
                    </a:lnTo>
                    <a:lnTo>
                      <a:pt x="368" y="441"/>
                    </a:lnTo>
                    <a:lnTo>
                      <a:pt x="369" y="443"/>
                    </a:lnTo>
                    <a:lnTo>
                      <a:pt x="368" y="444"/>
                    </a:lnTo>
                    <a:lnTo>
                      <a:pt x="370" y="446"/>
                    </a:lnTo>
                    <a:lnTo>
                      <a:pt x="370" y="448"/>
                    </a:lnTo>
                    <a:lnTo>
                      <a:pt x="370" y="450"/>
                    </a:lnTo>
                    <a:lnTo>
                      <a:pt x="370" y="451"/>
                    </a:lnTo>
                    <a:lnTo>
                      <a:pt x="370" y="452"/>
                    </a:lnTo>
                    <a:lnTo>
                      <a:pt x="370" y="454"/>
                    </a:lnTo>
                    <a:lnTo>
                      <a:pt x="369" y="454"/>
                    </a:lnTo>
                    <a:lnTo>
                      <a:pt x="368" y="456"/>
                    </a:lnTo>
                    <a:lnTo>
                      <a:pt x="368" y="458"/>
                    </a:lnTo>
                    <a:lnTo>
                      <a:pt x="370" y="460"/>
                    </a:lnTo>
                    <a:lnTo>
                      <a:pt x="371" y="461"/>
                    </a:lnTo>
                    <a:lnTo>
                      <a:pt x="370" y="462"/>
                    </a:lnTo>
                    <a:lnTo>
                      <a:pt x="371" y="463"/>
                    </a:lnTo>
                    <a:lnTo>
                      <a:pt x="370" y="463"/>
                    </a:lnTo>
                    <a:lnTo>
                      <a:pt x="371" y="465"/>
                    </a:lnTo>
                    <a:lnTo>
                      <a:pt x="370" y="467"/>
                    </a:lnTo>
                    <a:lnTo>
                      <a:pt x="369" y="468"/>
                    </a:lnTo>
                    <a:lnTo>
                      <a:pt x="370" y="471"/>
                    </a:lnTo>
                    <a:lnTo>
                      <a:pt x="369" y="471"/>
                    </a:lnTo>
                    <a:lnTo>
                      <a:pt x="370" y="473"/>
                    </a:lnTo>
                    <a:lnTo>
                      <a:pt x="371" y="473"/>
                    </a:lnTo>
                    <a:lnTo>
                      <a:pt x="371" y="475"/>
                    </a:lnTo>
                    <a:lnTo>
                      <a:pt x="370" y="476"/>
                    </a:lnTo>
                    <a:lnTo>
                      <a:pt x="370" y="478"/>
                    </a:lnTo>
                    <a:lnTo>
                      <a:pt x="368" y="481"/>
                    </a:lnTo>
                    <a:lnTo>
                      <a:pt x="368" y="483"/>
                    </a:lnTo>
                    <a:lnTo>
                      <a:pt x="370" y="484"/>
                    </a:lnTo>
                    <a:lnTo>
                      <a:pt x="373" y="486"/>
                    </a:lnTo>
                    <a:lnTo>
                      <a:pt x="375" y="487"/>
                    </a:lnTo>
                    <a:lnTo>
                      <a:pt x="375" y="485"/>
                    </a:lnTo>
                    <a:lnTo>
                      <a:pt x="376" y="486"/>
                    </a:lnTo>
                    <a:lnTo>
                      <a:pt x="377" y="486"/>
                    </a:lnTo>
                    <a:lnTo>
                      <a:pt x="376" y="485"/>
                    </a:lnTo>
                    <a:lnTo>
                      <a:pt x="376" y="484"/>
                    </a:lnTo>
                    <a:lnTo>
                      <a:pt x="378" y="484"/>
                    </a:lnTo>
                    <a:lnTo>
                      <a:pt x="378" y="481"/>
                    </a:lnTo>
                    <a:lnTo>
                      <a:pt x="379" y="483"/>
                    </a:lnTo>
                    <a:lnTo>
                      <a:pt x="379" y="481"/>
                    </a:lnTo>
                    <a:lnTo>
                      <a:pt x="381" y="483"/>
                    </a:lnTo>
                    <a:lnTo>
                      <a:pt x="382" y="482"/>
                    </a:lnTo>
                    <a:lnTo>
                      <a:pt x="380" y="480"/>
                    </a:lnTo>
                    <a:lnTo>
                      <a:pt x="382" y="480"/>
                    </a:lnTo>
                    <a:lnTo>
                      <a:pt x="380" y="477"/>
                    </a:lnTo>
                    <a:lnTo>
                      <a:pt x="380" y="476"/>
                    </a:lnTo>
                    <a:lnTo>
                      <a:pt x="382" y="478"/>
                    </a:lnTo>
                    <a:lnTo>
                      <a:pt x="382" y="476"/>
                    </a:lnTo>
                    <a:lnTo>
                      <a:pt x="383" y="475"/>
                    </a:lnTo>
                    <a:lnTo>
                      <a:pt x="382" y="473"/>
                    </a:lnTo>
                    <a:lnTo>
                      <a:pt x="384" y="473"/>
                    </a:lnTo>
                    <a:lnTo>
                      <a:pt x="383" y="471"/>
                    </a:lnTo>
                    <a:lnTo>
                      <a:pt x="383" y="464"/>
                    </a:lnTo>
                    <a:lnTo>
                      <a:pt x="385" y="463"/>
                    </a:lnTo>
                    <a:lnTo>
                      <a:pt x="384" y="461"/>
                    </a:lnTo>
                    <a:lnTo>
                      <a:pt x="384" y="460"/>
                    </a:lnTo>
                    <a:lnTo>
                      <a:pt x="385" y="462"/>
                    </a:lnTo>
                    <a:lnTo>
                      <a:pt x="386" y="461"/>
                    </a:lnTo>
                    <a:lnTo>
                      <a:pt x="386" y="459"/>
                    </a:lnTo>
                    <a:lnTo>
                      <a:pt x="387" y="459"/>
                    </a:lnTo>
                    <a:lnTo>
                      <a:pt x="387" y="457"/>
                    </a:lnTo>
                    <a:lnTo>
                      <a:pt x="388" y="456"/>
                    </a:lnTo>
                    <a:lnTo>
                      <a:pt x="388" y="454"/>
                    </a:lnTo>
                    <a:lnTo>
                      <a:pt x="389" y="453"/>
                    </a:lnTo>
                    <a:lnTo>
                      <a:pt x="390" y="454"/>
                    </a:lnTo>
                    <a:lnTo>
                      <a:pt x="391" y="454"/>
                    </a:lnTo>
                    <a:lnTo>
                      <a:pt x="392" y="452"/>
                    </a:lnTo>
                    <a:lnTo>
                      <a:pt x="393" y="454"/>
                    </a:lnTo>
                    <a:lnTo>
                      <a:pt x="394" y="452"/>
                    </a:lnTo>
                    <a:lnTo>
                      <a:pt x="392" y="452"/>
                    </a:lnTo>
                    <a:lnTo>
                      <a:pt x="393" y="451"/>
                    </a:lnTo>
                    <a:lnTo>
                      <a:pt x="392" y="450"/>
                    </a:lnTo>
                    <a:lnTo>
                      <a:pt x="396" y="450"/>
                    </a:lnTo>
                    <a:lnTo>
                      <a:pt x="394" y="448"/>
                    </a:lnTo>
                    <a:lnTo>
                      <a:pt x="395" y="447"/>
                    </a:lnTo>
                    <a:lnTo>
                      <a:pt x="394" y="448"/>
                    </a:lnTo>
                    <a:lnTo>
                      <a:pt x="393" y="447"/>
                    </a:lnTo>
                    <a:lnTo>
                      <a:pt x="394" y="446"/>
                    </a:lnTo>
                    <a:lnTo>
                      <a:pt x="395" y="446"/>
                    </a:lnTo>
                    <a:lnTo>
                      <a:pt x="394" y="446"/>
                    </a:lnTo>
                    <a:lnTo>
                      <a:pt x="395" y="444"/>
                    </a:lnTo>
                    <a:lnTo>
                      <a:pt x="396" y="444"/>
                    </a:lnTo>
                    <a:lnTo>
                      <a:pt x="395" y="443"/>
                    </a:lnTo>
                    <a:lnTo>
                      <a:pt x="395" y="441"/>
                    </a:lnTo>
                    <a:lnTo>
                      <a:pt x="397" y="440"/>
                    </a:lnTo>
                    <a:lnTo>
                      <a:pt x="395" y="440"/>
                    </a:lnTo>
                    <a:lnTo>
                      <a:pt x="395" y="439"/>
                    </a:lnTo>
                    <a:lnTo>
                      <a:pt x="394" y="439"/>
                    </a:lnTo>
                    <a:lnTo>
                      <a:pt x="396" y="437"/>
                    </a:lnTo>
                    <a:lnTo>
                      <a:pt x="397" y="438"/>
                    </a:lnTo>
                    <a:lnTo>
                      <a:pt x="397" y="437"/>
                    </a:lnTo>
                    <a:lnTo>
                      <a:pt x="398" y="437"/>
                    </a:lnTo>
                    <a:lnTo>
                      <a:pt x="399" y="436"/>
                    </a:lnTo>
                    <a:lnTo>
                      <a:pt x="400" y="434"/>
                    </a:lnTo>
                    <a:lnTo>
                      <a:pt x="400" y="435"/>
                    </a:lnTo>
                    <a:lnTo>
                      <a:pt x="400" y="433"/>
                    </a:lnTo>
                    <a:lnTo>
                      <a:pt x="403" y="433"/>
                    </a:lnTo>
                    <a:lnTo>
                      <a:pt x="403" y="430"/>
                    </a:lnTo>
                    <a:lnTo>
                      <a:pt x="404" y="427"/>
                    </a:lnTo>
                    <a:lnTo>
                      <a:pt x="406" y="426"/>
                    </a:lnTo>
                    <a:lnTo>
                      <a:pt x="408" y="424"/>
                    </a:lnTo>
                    <a:lnTo>
                      <a:pt x="409" y="423"/>
                    </a:lnTo>
                    <a:lnTo>
                      <a:pt x="409" y="422"/>
                    </a:lnTo>
                    <a:lnTo>
                      <a:pt x="408" y="423"/>
                    </a:lnTo>
                    <a:lnTo>
                      <a:pt x="409" y="418"/>
                    </a:lnTo>
                    <a:lnTo>
                      <a:pt x="411" y="419"/>
                    </a:lnTo>
                    <a:lnTo>
                      <a:pt x="412" y="418"/>
                    </a:lnTo>
                    <a:lnTo>
                      <a:pt x="413" y="418"/>
                    </a:lnTo>
                    <a:lnTo>
                      <a:pt x="413" y="417"/>
                    </a:lnTo>
                    <a:lnTo>
                      <a:pt x="414" y="418"/>
                    </a:lnTo>
                    <a:lnTo>
                      <a:pt x="416" y="417"/>
                    </a:lnTo>
                    <a:lnTo>
                      <a:pt x="414" y="416"/>
                    </a:lnTo>
                    <a:lnTo>
                      <a:pt x="414" y="415"/>
                    </a:lnTo>
                    <a:lnTo>
                      <a:pt x="414" y="416"/>
                    </a:lnTo>
                    <a:lnTo>
                      <a:pt x="416" y="416"/>
                    </a:lnTo>
                    <a:lnTo>
                      <a:pt x="416" y="414"/>
                    </a:lnTo>
                    <a:lnTo>
                      <a:pt x="417" y="414"/>
                    </a:lnTo>
                    <a:lnTo>
                      <a:pt x="417" y="413"/>
                    </a:lnTo>
                    <a:lnTo>
                      <a:pt x="418" y="413"/>
                    </a:lnTo>
                    <a:lnTo>
                      <a:pt x="420" y="412"/>
                    </a:lnTo>
                    <a:lnTo>
                      <a:pt x="421" y="413"/>
                    </a:lnTo>
                    <a:lnTo>
                      <a:pt x="424" y="410"/>
                    </a:lnTo>
                    <a:lnTo>
                      <a:pt x="422" y="409"/>
                    </a:lnTo>
                    <a:lnTo>
                      <a:pt x="423" y="406"/>
                    </a:lnTo>
                    <a:lnTo>
                      <a:pt x="424" y="405"/>
                    </a:lnTo>
                    <a:lnTo>
                      <a:pt x="425" y="405"/>
                    </a:lnTo>
                    <a:lnTo>
                      <a:pt x="424" y="404"/>
                    </a:lnTo>
                    <a:lnTo>
                      <a:pt x="425" y="404"/>
                    </a:lnTo>
                    <a:lnTo>
                      <a:pt x="425" y="403"/>
                    </a:lnTo>
                    <a:lnTo>
                      <a:pt x="427" y="403"/>
                    </a:lnTo>
                    <a:lnTo>
                      <a:pt x="427" y="401"/>
                    </a:lnTo>
                    <a:lnTo>
                      <a:pt x="428" y="400"/>
                    </a:lnTo>
                    <a:lnTo>
                      <a:pt x="429" y="398"/>
                    </a:lnTo>
                    <a:lnTo>
                      <a:pt x="428" y="395"/>
                    </a:lnTo>
                    <a:lnTo>
                      <a:pt x="429" y="392"/>
                    </a:lnTo>
                    <a:lnTo>
                      <a:pt x="429" y="391"/>
                    </a:lnTo>
                    <a:lnTo>
                      <a:pt x="430" y="389"/>
                    </a:lnTo>
                    <a:lnTo>
                      <a:pt x="430" y="388"/>
                    </a:lnTo>
                    <a:lnTo>
                      <a:pt x="431" y="388"/>
                    </a:lnTo>
                    <a:lnTo>
                      <a:pt x="432" y="386"/>
                    </a:lnTo>
                    <a:lnTo>
                      <a:pt x="437" y="389"/>
                    </a:lnTo>
                    <a:lnTo>
                      <a:pt x="440" y="389"/>
                    </a:lnTo>
                    <a:lnTo>
                      <a:pt x="441" y="389"/>
                    </a:lnTo>
                    <a:lnTo>
                      <a:pt x="442" y="387"/>
                    </a:lnTo>
                    <a:lnTo>
                      <a:pt x="443" y="386"/>
                    </a:lnTo>
                    <a:lnTo>
                      <a:pt x="442" y="386"/>
                    </a:lnTo>
                    <a:lnTo>
                      <a:pt x="442" y="384"/>
                    </a:lnTo>
                    <a:lnTo>
                      <a:pt x="443" y="385"/>
                    </a:lnTo>
                    <a:lnTo>
                      <a:pt x="445" y="384"/>
                    </a:lnTo>
                    <a:lnTo>
                      <a:pt x="444" y="383"/>
                    </a:lnTo>
                    <a:lnTo>
                      <a:pt x="446" y="384"/>
                    </a:lnTo>
                    <a:lnTo>
                      <a:pt x="446" y="383"/>
                    </a:lnTo>
                    <a:lnTo>
                      <a:pt x="445" y="382"/>
                    </a:lnTo>
                    <a:lnTo>
                      <a:pt x="447" y="382"/>
                    </a:lnTo>
                    <a:lnTo>
                      <a:pt x="448" y="381"/>
                    </a:lnTo>
                    <a:lnTo>
                      <a:pt x="447" y="380"/>
                    </a:lnTo>
                    <a:lnTo>
                      <a:pt x="449" y="379"/>
                    </a:lnTo>
                    <a:lnTo>
                      <a:pt x="449" y="381"/>
                    </a:lnTo>
                    <a:lnTo>
                      <a:pt x="450" y="381"/>
                    </a:lnTo>
                    <a:lnTo>
                      <a:pt x="450" y="380"/>
                    </a:lnTo>
                    <a:lnTo>
                      <a:pt x="449" y="378"/>
                    </a:lnTo>
                    <a:lnTo>
                      <a:pt x="449" y="376"/>
                    </a:lnTo>
                    <a:lnTo>
                      <a:pt x="450" y="376"/>
                    </a:lnTo>
                    <a:lnTo>
                      <a:pt x="452" y="377"/>
                    </a:lnTo>
                    <a:lnTo>
                      <a:pt x="452" y="375"/>
                    </a:lnTo>
                    <a:lnTo>
                      <a:pt x="455" y="373"/>
                    </a:lnTo>
                    <a:lnTo>
                      <a:pt x="456" y="373"/>
                    </a:lnTo>
                    <a:lnTo>
                      <a:pt x="457" y="373"/>
                    </a:lnTo>
                    <a:lnTo>
                      <a:pt x="458" y="373"/>
                    </a:lnTo>
                    <a:lnTo>
                      <a:pt x="458" y="374"/>
                    </a:lnTo>
                    <a:lnTo>
                      <a:pt x="458" y="375"/>
                    </a:lnTo>
                    <a:lnTo>
                      <a:pt x="459" y="374"/>
                    </a:lnTo>
                    <a:lnTo>
                      <a:pt x="461" y="375"/>
                    </a:lnTo>
                    <a:lnTo>
                      <a:pt x="463" y="374"/>
                    </a:lnTo>
                    <a:lnTo>
                      <a:pt x="463" y="376"/>
                    </a:lnTo>
                    <a:lnTo>
                      <a:pt x="465" y="376"/>
                    </a:lnTo>
                    <a:lnTo>
                      <a:pt x="466" y="378"/>
                    </a:lnTo>
                    <a:lnTo>
                      <a:pt x="469" y="378"/>
                    </a:lnTo>
                    <a:lnTo>
                      <a:pt x="470" y="380"/>
                    </a:lnTo>
                    <a:lnTo>
                      <a:pt x="473" y="382"/>
                    </a:lnTo>
                    <a:lnTo>
                      <a:pt x="475" y="382"/>
                    </a:lnTo>
                    <a:lnTo>
                      <a:pt x="478" y="382"/>
                    </a:lnTo>
                    <a:lnTo>
                      <a:pt x="478" y="385"/>
                    </a:lnTo>
                    <a:lnTo>
                      <a:pt x="482" y="388"/>
                    </a:lnTo>
                    <a:lnTo>
                      <a:pt x="484" y="391"/>
                    </a:lnTo>
                    <a:lnTo>
                      <a:pt x="486" y="392"/>
                    </a:lnTo>
                    <a:lnTo>
                      <a:pt x="488" y="391"/>
                    </a:lnTo>
                    <a:lnTo>
                      <a:pt x="489" y="392"/>
                    </a:lnTo>
                    <a:lnTo>
                      <a:pt x="490" y="394"/>
                    </a:lnTo>
                    <a:lnTo>
                      <a:pt x="491" y="397"/>
                    </a:lnTo>
                    <a:lnTo>
                      <a:pt x="495" y="401"/>
                    </a:lnTo>
                    <a:lnTo>
                      <a:pt x="496" y="403"/>
                    </a:lnTo>
                    <a:lnTo>
                      <a:pt x="497" y="403"/>
                    </a:lnTo>
                    <a:lnTo>
                      <a:pt x="499" y="407"/>
                    </a:lnTo>
                    <a:lnTo>
                      <a:pt x="504" y="405"/>
                    </a:lnTo>
                    <a:lnTo>
                      <a:pt x="506" y="406"/>
                    </a:lnTo>
                    <a:lnTo>
                      <a:pt x="507" y="406"/>
                    </a:lnTo>
                    <a:lnTo>
                      <a:pt x="508" y="408"/>
                    </a:lnTo>
                    <a:lnTo>
                      <a:pt x="510" y="405"/>
                    </a:lnTo>
                    <a:lnTo>
                      <a:pt x="514" y="403"/>
                    </a:lnTo>
                    <a:lnTo>
                      <a:pt x="515" y="402"/>
                    </a:lnTo>
                    <a:lnTo>
                      <a:pt x="517" y="403"/>
                    </a:lnTo>
                    <a:lnTo>
                      <a:pt x="518" y="401"/>
                    </a:lnTo>
                    <a:lnTo>
                      <a:pt x="520" y="397"/>
                    </a:lnTo>
                    <a:lnTo>
                      <a:pt x="522" y="399"/>
                    </a:lnTo>
                    <a:lnTo>
                      <a:pt x="522" y="397"/>
                    </a:lnTo>
                    <a:lnTo>
                      <a:pt x="525" y="394"/>
                    </a:lnTo>
                    <a:lnTo>
                      <a:pt x="531" y="397"/>
                    </a:lnTo>
                    <a:lnTo>
                      <a:pt x="533" y="399"/>
                    </a:lnTo>
                    <a:lnTo>
                      <a:pt x="536" y="404"/>
                    </a:lnTo>
                    <a:lnTo>
                      <a:pt x="539" y="409"/>
                    </a:lnTo>
                    <a:lnTo>
                      <a:pt x="539" y="410"/>
                    </a:lnTo>
                    <a:lnTo>
                      <a:pt x="542" y="412"/>
                    </a:lnTo>
                    <a:lnTo>
                      <a:pt x="545" y="412"/>
                    </a:lnTo>
                    <a:lnTo>
                      <a:pt x="548" y="410"/>
                    </a:lnTo>
                    <a:lnTo>
                      <a:pt x="551" y="411"/>
                    </a:lnTo>
                    <a:lnTo>
                      <a:pt x="554" y="407"/>
                    </a:lnTo>
                    <a:lnTo>
                      <a:pt x="557" y="409"/>
                    </a:lnTo>
                    <a:lnTo>
                      <a:pt x="559" y="408"/>
                    </a:lnTo>
                    <a:lnTo>
                      <a:pt x="562" y="409"/>
                    </a:lnTo>
                    <a:lnTo>
                      <a:pt x="564" y="407"/>
                    </a:lnTo>
                    <a:lnTo>
                      <a:pt x="565" y="403"/>
                    </a:lnTo>
                    <a:lnTo>
                      <a:pt x="566" y="401"/>
                    </a:lnTo>
                    <a:lnTo>
                      <a:pt x="571" y="401"/>
                    </a:lnTo>
                    <a:lnTo>
                      <a:pt x="572" y="399"/>
                    </a:lnTo>
                    <a:lnTo>
                      <a:pt x="574" y="396"/>
                    </a:lnTo>
                    <a:lnTo>
                      <a:pt x="577" y="396"/>
                    </a:lnTo>
                    <a:lnTo>
                      <a:pt x="579" y="397"/>
                    </a:lnTo>
                    <a:lnTo>
                      <a:pt x="577" y="389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28" name="Group 80">
              <a:extLst>
                <a:ext uri="{FF2B5EF4-FFF2-40B4-BE49-F238E27FC236}">
                  <a16:creationId xmlns:a16="http://schemas.microsoft.com/office/drawing/2014/main" id="{7995401D-11B6-75D2-C853-514CBFF02B5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81" y="2725"/>
              <a:ext cx="335" cy="268"/>
              <a:chOff x="1081" y="2725"/>
              <a:chExt cx="335" cy="268"/>
            </a:xfrm>
          </p:grpSpPr>
          <p:sp>
            <p:nvSpPr>
              <p:cNvPr id="174" name="Freeform 78">
                <a:extLst>
                  <a:ext uri="{FF2B5EF4-FFF2-40B4-BE49-F238E27FC236}">
                    <a16:creationId xmlns:a16="http://schemas.microsoft.com/office/drawing/2014/main" id="{5709C806-7DC9-EE70-361E-97DAD236B3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1" y="2725"/>
                <a:ext cx="335" cy="268"/>
              </a:xfrm>
              <a:custGeom>
                <a:avLst/>
                <a:gdLst>
                  <a:gd name="T0" fmla="*/ 328 w 335"/>
                  <a:gd name="T1" fmla="*/ 238 h 268"/>
                  <a:gd name="T2" fmla="*/ 328 w 335"/>
                  <a:gd name="T3" fmla="*/ 207 h 268"/>
                  <a:gd name="T4" fmla="*/ 325 w 335"/>
                  <a:gd name="T5" fmla="*/ 172 h 268"/>
                  <a:gd name="T6" fmla="*/ 319 w 335"/>
                  <a:gd name="T7" fmla="*/ 134 h 268"/>
                  <a:gd name="T8" fmla="*/ 289 w 335"/>
                  <a:gd name="T9" fmla="*/ 125 h 268"/>
                  <a:gd name="T10" fmla="*/ 278 w 335"/>
                  <a:gd name="T11" fmla="*/ 116 h 268"/>
                  <a:gd name="T12" fmla="*/ 276 w 335"/>
                  <a:gd name="T13" fmla="*/ 91 h 268"/>
                  <a:gd name="T14" fmla="*/ 262 w 335"/>
                  <a:gd name="T15" fmla="*/ 77 h 268"/>
                  <a:gd name="T16" fmla="*/ 266 w 335"/>
                  <a:gd name="T17" fmla="*/ 43 h 268"/>
                  <a:gd name="T18" fmla="*/ 254 w 335"/>
                  <a:gd name="T19" fmla="*/ 21 h 268"/>
                  <a:gd name="T20" fmla="*/ 238 w 335"/>
                  <a:gd name="T21" fmla="*/ 22 h 268"/>
                  <a:gd name="T22" fmla="*/ 229 w 335"/>
                  <a:gd name="T23" fmla="*/ 20 h 268"/>
                  <a:gd name="T24" fmla="*/ 213 w 335"/>
                  <a:gd name="T25" fmla="*/ 7 h 268"/>
                  <a:gd name="T26" fmla="*/ 202 w 335"/>
                  <a:gd name="T27" fmla="*/ 1 h 268"/>
                  <a:gd name="T28" fmla="*/ 188 w 335"/>
                  <a:gd name="T29" fmla="*/ 20 h 268"/>
                  <a:gd name="T30" fmla="*/ 188 w 335"/>
                  <a:gd name="T31" fmla="*/ 43 h 268"/>
                  <a:gd name="T32" fmla="*/ 186 w 335"/>
                  <a:gd name="T33" fmla="*/ 68 h 268"/>
                  <a:gd name="T34" fmla="*/ 150 w 335"/>
                  <a:gd name="T35" fmla="*/ 62 h 268"/>
                  <a:gd name="T36" fmla="*/ 130 w 335"/>
                  <a:gd name="T37" fmla="*/ 84 h 268"/>
                  <a:gd name="T38" fmla="*/ 113 w 335"/>
                  <a:gd name="T39" fmla="*/ 79 h 268"/>
                  <a:gd name="T40" fmla="*/ 87 w 335"/>
                  <a:gd name="T41" fmla="*/ 63 h 268"/>
                  <a:gd name="T42" fmla="*/ 66 w 335"/>
                  <a:gd name="T43" fmla="*/ 79 h 268"/>
                  <a:gd name="T44" fmla="*/ 51 w 335"/>
                  <a:gd name="T45" fmla="*/ 81 h 268"/>
                  <a:gd name="T46" fmla="*/ 39 w 335"/>
                  <a:gd name="T47" fmla="*/ 78 h 268"/>
                  <a:gd name="T48" fmla="*/ 36 w 335"/>
                  <a:gd name="T49" fmla="*/ 82 h 268"/>
                  <a:gd name="T50" fmla="*/ 32 w 335"/>
                  <a:gd name="T51" fmla="*/ 94 h 268"/>
                  <a:gd name="T52" fmla="*/ 23 w 335"/>
                  <a:gd name="T53" fmla="*/ 112 h 268"/>
                  <a:gd name="T54" fmla="*/ 8 w 335"/>
                  <a:gd name="T55" fmla="*/ 126 h 268"/>
                  <a:gd name="T56" fmla="*/ 3 w 335"/>
                  <a:gd name="T57" fmla="*/ 148 h 268"/>
                  <a:gd name="T58" fmla="*/ 8 w 335"/>
                  <a:gd name="T59" fmla="*/ 172 h 268"/>
                  <a:gd name="T60" fmla="*/ 14 w 335"/>
                  <a:gd name="T61" fmla="*/ 188 h 268"/>
                  <a:gd name="T62" fmla="*/ 18 w 335"/>
                  <a:gd name="T63" fmla="*/ 202 h 268"/>
                  <a:gd name="T64" fmla="*/ 23 w 335"/>
                  <a:gd name="T65" fmla="*/ 209 h 268"/>
                  <a:gd name="T66" fmla="*/ 29 w 335"/>
                  <a:gd name="T67" fmla="*/ 224 h 268"/>
                  <a:gd name="T68" fmla="*/ 41 w 335"/>
                  <a:gd name="T69" fmla="*/ 226 h 268"/>
                  <a:gd name="T70" fmla="*/ 54 w 335"/>
                  <a:gd name="T71" fmla="*/ 222 h 268"/>
                  <a:gd name="T72" fmla="*/ 55 w 335"/>
                  <a:gd name="T73" fmla="*/ 238 h 268"/>
                  <a:gd name="T74" fmla="*/ 63 w 335"/>
                  <a:gd name="T75" fmla="*/ 236 h 268"/>
                  <a:gd name="T76" fmla="*/ 78 w 335"/>
                  <a:gd name="T77" fmla="*/ 237 h 268"/>
                  <a:gd name="T78" fmla="*/ 93 w 335"/>
                  <a:gd name="T79" fmla="*/ 224 h 268"/>
                  <a:gd name="T80" fmla="*/ 131 w 335"/>
                  <a:gd name="T81" fmla="*/ 211 h 268"/>
                  <a:gd name="T82" fmla="*/ 140 w 335"/>
                  <a:gd name="T83" fmla="*/ 202 h 268"/>
                  <a:gd name="T84" fmla="*/ 148 w 335"/>
                  <a:gd name="T85" fmla="*/ 190 h 268"/>
                  <a:gd name="T86" fmla="*/ 155 w 335"/>
                  <a:gd name="T87" fmla="*/ 191 h 268"/>
                  <a:gd name="T88" fmla="*/ 165 w 335"/>
                  <a:gd name="T89" fmla="*/ 193 h 268"/>
                  <a:gd name="T90" fmla="*/ 173 w 335"/>
                  <a:gd name="T91" fmla="*/ 198 h 268"/>
                  <a:gd name="T92" fmla="*/ 180 w 335"/>
                  <a:gd name="T93" fmla="*/ 214 h 268"/>
                  <a:gd name="T94" fmla="*/ 192 w 335"/>
                  <a:gd name="T95" fmla="*/ 224 h 268"/>
                  <a:gd name="T96" fmla="*/ 202 w 335"/>
                  <a:gd name="T97" fmla="*/ 234 h 268"/>
                  <a:gd name="T98" fmla="*/ 213 w 335"/>
                  <a:gd name="T99" fmla="*/ 246 h 268"/>
                  <a:gd name="T100" fmla="*/ 231 w 335"/>
                  <a:gd name="T101" fmla="*/ 249 h 268"/>
                  <a:gd name="T102" fmla="*/ 242 w 335"/>
                  <a:gd name="T103" fmla="*/ 243 h 268"/>
                  <a:gd name="T104" fmla="*/ 256 w 335"/>
                  <a:gd name="T105" fmla="*/ 250 h 268"/>
                  <a:gd name="T106" fmla="*/ 268 w 335"/>
                  <a:gd name="T107" fmla="*/ 259 h 268"/>
                  <a:gd name="T108" fmla="*/ 268 w 335"/>
                  <a:gd name="T109" fmla="*/ 267 h 268"/>
                  <a:gd name="T110" fmla="*/ 279 w 335"/>
                  <a:gd name="T111" fmla="*/ 263 h 268"/>
                  <a:gd name="T112" fmla="*/ 282 w 335"/>
                  <a:gd name="T113" fmla="*/ 252 h 268"/>
                  <a:gd name="T114" fmla="*/ 295 w 335"/>
                  <a:gd name="T115" fmla="*/ 241 h 268"/>
                  <a:gd name="T116" fmla="*/ 305 w 335"/>
                  <a:gd name="T117" fmla="*/ 255 h 268"/>
                  <a:gd name="T118" fmla="*/ 319 w 335"/>
                  <a:gd name="T119" fmla="*/ 253 h 268"/>
                  <a:gd name="T120" fmla="*/ 326 w 335"/>
                  <a:gd name="T121" fmla="*/ 256 h 26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35"/>
                  <a:gd name="T184" fmla="*/ 0 h 268"/>
                  <a:gd name="T185" fmla="*/ 335 w 335"/>
                  <a:gd name="T186" fmla="*/ 268 h 26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35" h="268">
                    <a:moveTo>
                      <a:pt x="334" y="252"/>
                    </a:moveTo>
                    <a:lnTo>
                      <a:pt x="334" y="249"/>
                    </a:lnTo>
                    <a:lnTo>
                      <a:pt x="333" y="249"/>
                    </a:lnTo>
                    <a:lnTo>
                      <a:pt x="332" y="246"/>
                    </a:lnTo>
                    <a:lnTo>
                      <a:pt x="331" y="245"/>
                    </a:lnTo>
                    <a:lnTo>
                      <a:pt x="331" y="244"/>
                    </a:lnTo>
                    <a:lnTo>
                      <a:pt x="329" y="242"/>
                    </a:lnTo>
                    <a:lnTo>
                      <a:pt x="328" y="239"/>
                    </a:lnTo>
                    <a:lnTo>
                      <a:pt x="326" y="238"/>
                    </a:lnTo>
                    <a:lnTo>
                      <a:pt x="328" y="238"/>
                    </a:lnTo>
                    <a:lnTo>
                      <a:pt x="324" y="233"/>
                    </a:lnTo>
                    <a:lnTo>
                      <a:pt x="326" y="232"/>
                    </a:lnTo>
                    <a:lnTo>
                      <a:pt x="327" y="231"/>
                    </a:lnTo>
                    <a:lnTo>
                      <a:pt x="323" y="230"/>
                    </a:lnTo>
                    <a:lnTo>
                      <a:pt x="321" y="228"/>
                    </a:lnTo>
                    <a:lnTo>
                      <a:pt x="326" y="220"/>
                    </a:lnTo>
                    <a:lnTo>
                      <a:pt x="325" y="218"/>
                    </a:lnTo>
                    <a:lnTo>
                      <a:pt x="328" y="214"/>
                    </a:lnTo>
                    <a:lnTo>
                      <a:pt x="331" y="212"/>
                    </a:lnTo>
                    <a:lnTo>
                      <a:pt x="328" y="210"/>
                    </a:lnTo>
                    <a:lnTo>
                      <a:pt x="328" y="207"/>
                    </a:lnTo>
                    <a:lnTo>
                      <a:pt x="327" y="204"/>
                    </a:lnTo>
                    <a:lnTo>
                      <a:pt x="323" y="201"/>
                    </a:lnTo>
                    <a:lnTo>
                      <a:pt x="323" y="200"/>
                    </a:lnTo>
                    <a:lnTo>
                      <a:pt x="325" y="196"/>
                    </a:lnTo>
                    <a:lnTo>
                      <a:pt x="328" y="194"/>
                    </a:lnTo>
                    <a:lnTo>
                      <a:pt x="326" y="191"/>
                    </a:lnTo>
                    <a:lnTo>
                      <a:pt x="325" y="180"/>
                    </a:lnTo>
                    <a:lnTo>
                      <a:pt x="324" y="180"/>
                    </a:lnTo>
                    <a:lnTo>
                      <a:pt x="324" y="178"/>
                    </a:lnTo>
                    <a:lnTo>
                      <a:pt x="326" y="174"/>
                    </a:lnTo>
                    <a:lnTo>
                      <a:pt x="325" y="172"/>
                    </a:lnTo>
                    <a:lnTo>
                      <a:pt x="327" y="167"/>
                    </a:lnTo>
                    <a:lnTo>
                      <a:pt x="324" y="165"/>
                    </a:lnTo>
                    <a:lnTo>
                      <a:pt x="325" y="164"/>
                    </a:lnTo>
                    <a:lnTo>
                      <a:pt x="328" y="158"/>
                    </a:lnTo>
                    <a:lnTo>
                      <a:pt x="330" y="155"/>
                    </a:lnTo>
                    <a:lnTo>
                      <a:pt x="328" y="150"/>
                    </a:lnTo>
                    <a:lnTo>
                      <a:pt x="323" y="145"/>
                    </a:lnTo>
                    <a:lnTo>
                      <a:pt x="322" y="142"/>
                    </a:lnTo>
                    <a:lnTo>
                      <a:pt x="322" y="139"/>
                    </a:lnTo>
                    <a:lnTo>
                      <a:pt x="322" y="133"/>
                    </a:lnTo>
                    <a:lnTo>
                      <a:pt x="319" y="134"/>
                    </a:lnTo>
                    <a:lnTo>
                      <a:pt x="316" y="127"/>
                    </a:lnTo>
                    <a:lnTo>
                      <a:pt x="313" y="127"/>
                    </a:lnTo>
                    <a:lnTo>
                      <a:pt x="308" y="125"/>
                    </a:lnTo>
                    <a:lnTo>
                      <a:pt x="306" y="123"/>
                    </a:lnTo>
                    <a:lnTo>
                      <a:pt x="304" y="120"/>
                    </a:lnTo>
                    <a:lnTo>
                      <a:pt x="301" y="119"/>
                    </a:lnTo>
                    <a:lnTo>
                      <a:pt x="300" y="117"/>
                    </a:lnTo>
                    <a:lnTo>
                      <a:pt x="298" y="116"/>
                    </a:lnTo>
                    <a:lnTo>
                      <a:pt x="296" y="116"/>
                    </a:lnTo>
                    <a:lnTo>
                      <a:pt x="294" y="116"/>
                    </a:lnTo>
                    <a:lnTo>
                      <a:pt x="289" y="125"/>
                    </a:lnTo>
                    <a:lnTo>
                      <a:pt x="284" y="129"/>
                    </a:lnTo>
                    <a:lnTo>
                      <a:pt x="282" y="129"/>
                    </a:lnTo>
                    <a:lnTo>
                      <a:pt x="281" y="128"/>
                    </a:lnTo>
                    <a:lnTo>
                      <a:pt x="279" y="128"/>
                    </a:lnTo>
                    <a:lnTo>
                      <a:pt x="278" y="126"/>
                    </a:lnTo>
                    <a:lnTo>
                      <a:pt x="279" y="125"/>
                    </a:lnTo>
                    <a:lnTo>
                      <a:pt x="279" y="124"/>
                    </a:lnTo>
                    <a:lnTo>
                      <a:pt x="280" y="122"/>
                    </a:lnTo>
                    <a:lnTo>
                      <a:pt x="279" y="121"/>
                    </a:lnTo>
                    <a:lnTo>
                      <a:pt x="279" y="120"/>
                    </a:lnTo>
                    <a:lnTo>
                      <a:pt x="278" y="116"/>
                    </a:lnTo>
                    <a:lnTo>
                      <a:pt x="281" y="114"/>
                    </a:lnTo>
                    <a:lnTo>
                      <a:pt x="280" y="113"/>
                    </a:lnTo>
                    <a:lnTo>
                      <a:pt x="281" y="112"/>
                    </a:lnTo>
                    <a:lnTo>
                      <a:pt x="280" y="110"/>
                    </a:lnTo>
                    <a:lnTo>
                      <a:pt x="282" y="107"/>
                    </a:lnTo>
                    <a:lnTo>
                      <a:pt x="281" y="107"/>
                    </a:lnTo>
                    <a:lnTo>
                      <a:pt x="281" y="99"/>
                    </a:lnTo>
                    <a:lnTo>
                      <a:pt x="279" y="96"/>
                    </a:lnTo>
                    <a:lnTo>
                      <a:pt x="278" y="92"/>
                    </a:lnTo>
                    <a:lnTo>
                      <a:pt x="277" y="92"/>
                    </a:lnTo>
                    <a:lnTo>
                      <a:pt x="276" y="91"/>
                    </a:lnTo>
                    <a:lnTo>
                      <a:pt x="275" y="91"/>
                    </a:lnTo>
                    <a:lnTo>
                      <a:pt x="275" y="90"/>
                    </a:lnTo>
                    <a:lnTo>
                      <a:pt x="274" y="91"/>
                    </a:lnTo>
                    <a:lnTo>
                      <a:pt x="274" y="90"/>
                    </a:lnTo>
                    <a:lnTo>
                      <a:pt x="271" y="90"/>
                    </a:lnTo>
                    <a:lnTo>
                      <a:pt x="271" y="88"/>
                    </a:lnTo>
                    <a:lnTo>
                      <a:pt x="268" y="87"/>
                    </a:lnTo>
                    <a:lnTo>
                      <a:pt x="266" y="86"/>
                    </a:lnTo>
                    <a:lnTo>
                      <a:pt x="262" y="79"/>
                    </a:lnTo>
                    <a:lnTo>
                      <a:pt x="262" y="77"/>
                    </a:lnTo>
                    <a:lnTo>
                      <a:pt x="260" y="73"/>
                    </a:lnTo>
                    <a:lnTo>
                      <a:pt x="259" y="71"/>
                    </a:lnTo>
                    <a:lnTo>
                      <a:pt x="259" y="60"/>
                    </a:lnTo>
                    <a:lnTo>
                      <a:pt x="258" y="57"/>
                    </a:lnTo>
                    <a:lnTo>
                      <a:pt x="259" y="54"/>
                    </a:lnTo>
                    <a:lnTo>
                      <a:pt x="259" y="52"/>
                    </a:lnTo>
                    <a:lnTo>
                      <a:pt x="260" y="50"/>
                    </a:lnTo>
                    <a:lnTo>
                      <a:pt x="262" y="49"/>
                    </a:lnTo>
                    <a:lnTo>
                      <a:pt x="262" y="48"/>
                    </a:lnTo>
                    <a:lnTo>
                      <a:pt x="266" y="46"/>
                    </a:lnTo>
                    <a:lnTo>
                      <a:pt x="266" y="43"/>
                    </a:lnTo>
                    <a:lnTo>
                      <a:pt x="265" y="39"/>
                    </a:lnTo>
                    <a:lnTo>
                      <a:pt x="262" y="38"/>
                    </a:lnTo>
                    <a:lnTo>
                      <a:pt x="264" y="33"/>
                    </a:lnTo>
                    <a:lnTo>
                      <a:pt x="264" y="30"/>
                    </a:lnTo>
                    <a:lnTo>
                      <a:pt x="258" y="28"/>
                    </a:lnTo>
                    <a:lnTo>
                      <a:pt x="257" y="28"/>
                    </a:lnTo>
                    <a:lnTo>
                      <a:pt x="256" y="29"/>
                    </a:lnTo>
                    <a:lnTo>
                      <a:pt x="254" y="26"/>
                    </a:lnTo>
                    <a:lnTo>
                      <a:pt x="256" y="25"/>
                    </a:lnTo>
                    <a:lnTo>
                      <a:pt x="255" y="23"/>
                    </a:lnTo>
                    <a:lnTo>
                      <a:pt x="254" y="21"/>
                    </a:lnTo>
                    <a:lnTo>
                      <a:pt x="256" y="20"/>
                    </a:lnTo>
                    <a:lnTo>
                      <a:pt x="255" y="20"/>
                    </a:lnTo>
                    <a:lnTo>
                      <a:pt x="250" y="20"/>
                    </a:lnTo>
                    <a:lnTo>
                      <a:pt x="247" y="22"/>
                    </a:lnTo>
                    <a:lnTo>
                      <a:pt x="245" y="21"/>
                    </a:lnTo>
                    <a:lnTo>
                      <a:pt x="243" y="23"/>
                    </a:lnTo>
                    <a:lnTo>
                      <a:pt x="243" y="26"/>
                    </a:lnTo>
                    <a:lnTo>
                      <a:pt x="241" y="26"/>
                    </a:lnTo>
                    <a:lnTo>
                      <a:pt x="238" y="23"/>
                    </a:lnTo>
                    <a:lnTo>
                      <a:pt x="237" y="23"/>
                    </a:lnTo>
                    <a:lnTo>
                      <a:pt x="238" y="22"/>
                    </a:lnTo>
                    <a:lnTo>
                      <a:pt x="238" y="20"/>
                    </a:lnTo>
                    <a:lnTo>
                      <a:pt x="238" y="18"/>
                    </a:lnTo>
                    <a:lnTo>
                      <a:pt x="239" y="12"/>
                    </a:lnTo>
                    <a:lnTo>
                      <a:pt x="238" y="7"/>
                    </a:lnTo>
                    <a:lnTo>
                      <a:pt x="234" y="9"/>
                    </a:lnTo>
                    <a:lnTo>
                      <a:pt x="230" y="9"/>
                    </a:lnTo>
                    <a:lnTo>
                      <a:pt x="230" y="12"/>
                    </a:lnTo>
                    <a:lnTo>
                      <a:pt x="227" y="15"/>
                    </a:lnTo>
                    <a:lnTo>
                      <a:pt x="227" y="18"/>
                    </a:lnTo>
                    <a:lnTo>
                      <a:pt x="228" y="18"/>
                    </a:lnTo>
                    <a:lnTo>
                      <a:pt x="229" y="20"/>
                    </a:lnTo>
                    <a:lnTo>
                      <a:pt x="227" y="19"/>
                    </a:lnTo>
                    <a:lnTo>
                      <a:pt x="225" y="20"/>
                    </a:lnTo>
                    <a:lnTo>
                      <a:pt x="224" y="18"/>
                    </a:lnTo>
                    <a:lnTo>
                      <a:pt x="221" y="18"/>
                    </a:lnTo>
                    <a:lnTo>
                      <a:pt x="219" y="18"/>
                    </a:lnTo>
                    <a:lnTo>
                      <a:pt x="218" y="14"/>
                    </a:lnTo>
                    <a:lnTo>
                      <a:pt x="218" y="13"/>
                    </a:lnTo>
                    <a:lnTo>
                      <a:pt x="221" y="10"/>
                    </a:lnTo>
                    <a:lnTo>
                      <a:pt x="220" y="8"/>
                    </a:lnTo>
                    <a:lnTo>
                      <a:pt x="215" y="7"/>
                    </a:lnTo>
                    <a:lnTo>
                      <a:pt x="213" y="7"/>
                    </a:lnTo>
                    <a:lnTo>
                      <a:pt x="213" y="5"/>
                    </a:lnTo>
                    <a:lnTo>
                      <a:pt x="211" y="4"/>
                    </a:lnTo>
                    <a:lnTo>
                      <a:pt x="211" y="3"/>
                    </a:lnTo>
                    <a:lnTo>
                      <a:pt x="209" y="1"/>
                    </a:lnTo>
                    <a:lnTo>
                      <a:pt x="208" y="6"/>
                    </a:lnTo>
                    <a:lnTo>
                      <a:pt x="205" y="7"/>
                    </a:lnTo>
                    <a:lnTo>
                      <a:pt x="202" y="5"/>
                    </a:lnTo>
                    <a:lnTo>
                      <a:pt x="202" y="4"/>
                    </a:lnTo>
                    <a:lnTo>
                      <a:pt x="202" y="3"/>
                    </a:lnTo>
                    <a:lnTo>
                      <a:pt x="202" y="1"/>
                    </a:lnTo>
                    <a:lnTo>
                      <a:pt x="199" y="0"/>
                    </a:lnTo>
                    <a:lnTo>
                      <a:pt x="197" y="0"/>
                    </a:lnTo>
                    <a:lnTo>
                      <a:pt x="197" y="3"/>
                    </a:lnTo>
                    <a:lnTo>
                      <a:pt x="196" y="3"/>
                    </a:lnTo>
                    <a:lnTo>
                      <a:pt x="193" y="5"/>
                    </a:lnTo>
                    <a:lnTo>
                      <a:pt x="191" y="5"/>
                    </a:lnTo>
                    <a:lnTo>
                      <a:pt x="189" y="5"/>
                    </a:lnTo>
                    <a:lnTo>
                      <a:pt x="188" y="7"/>
                    </a:lnTo>
                    <a:lnTo>
                      <a:pt x="183" y="13"/>
                    </a:lnTo>
                    <a:lnTo>
                      <a:pt x="185" y="15"/>
                    </a:lnTo>
                    <a:lnTo>
                      <a:pt x="188" y="20"/>
                    </a:lnTo>
                    <a:lnTo>
                      <a:pt x="189" y="18"/>
                    </a:lnTo>
                    <a:lnTo>
                      <a:pt x="193" y="17"/>
                    </a:lnTo>
                    <a:lnTo>
                      <a:pt x="193" y="18"/>
                    </a:lnTo>
                    <a:lnTo>
                      <a:pt x="194" y="23"/>
                    </a:lnTo>
                    <a:lnTo>
                      <a:pt x="196" y="27"/>
                    </a:lnTo>
                    <a:lnTo>
                      <a:pt x="195" y="26"/>
                    </a:lnTo>
                    <a:lnTo>
                      <a:pt x="193" y="28"/>
                    </a:lnTo>
                    <a:lnTo>
                      <a:pt x="193" y="34"/>
                    </a:lnTo>
                    <a:lnTo>
                      <a:pt x="192" y="37"/>
                    </a:lnTo>
                    <a:lnTo>
                      <a:pt x="193" y="38"/>
                    </a:lnTo>
                    <a:lnTo>
                      <a:pt x="188" y="43"/>
                    </a:lnTo>
                    <a:lnTo>
                      <a:pt x="187" y="44"/>
                    </a:lnTo>
                    <a:lnTo>
                      <a:pt x="185" y="46"/>
                    </a:lnTo>
                    <a:lnTo>
                      <a:pt x="186" y="48"/>
                    </a:lnTo>
                    <a:lnTo>
                      <a:pt x="187" y="51"/>
                    </a:lnTo>
                    <a:lnTo>
                      <a:pt x="187" y="54"/>
                    </a:lnTo>
                    <a:lnTo>
                      <a:pt x="189" y="54"/>
                    </a:lnTo>
                    <a:lnTo>
                      <a:pt x="186" y="56"/>
                    </a:lnTo>
                    <a:lnTo>
                      <a:pt x="186" y="59"/>
                    </a:lnTo>
                    <a:lnTo>
                      <a:pt x="185" y="60"/>
                    </a:lnTo>
                    <a:lnTo>
                      <a:pt x="186" y="61"/>
                    </a:lnTo>
                    <a:lnTo>
                      <a:pt x="186" y="68"/>
                    </a:lnTo>
                    <a:lnTo>
                      <a:pt x="186" y="71"/>
                    </a:lnTo>
                    <a:lnTo>
                      <a:pt x="185" y="71"/>
                    </a:lnTo>
                    <a:lnTo>
                      <a:pt x="179" y="71"/>
                    </a:lnTo>
                    <a:lnTo>
                      <a:pt x="177" y="73"/>
                    </a:lnTo>
                    <a:lnTo>
                      <a:pt x="174" y="73"/>
                    </a:lnTo>
                    <a:lnTo>
                      <a:pt x="171" y="71"/>
                    </a:lnTo>
                    <a:lnTo>
                      <a:pt x="169" y="69"/>
                    </a:lnTo>
                    <a:lnTo>
                      <a:pt x="159" y="64"/>
                    </a:lnTo>
                    <a:lnTo>
                      <a:pt x="158" y="68"/>
                    </a:lnTo>
                    <a:lnTo>
                      <a:pt x="152" y="62"/>
                    </a:lnTo>
                    <a:lnTo>
                      <a:pt x="150" y="62"/>
                    </a:lnTo>
                    <a:lnTo>
                      <a:pt x="149" y="65"/>
                    </a:lnTo>
                    <a:lnTo>
                      <a:pt x="147" y="65"/>
                    </a:lnTo>
                    <a:lnTo>
                      <a:pt x="145" y="65"/>
                    </a:lnTo>
                    <a:lnTo>
                      <a:pt x="143" y="65"/>
                    </a:lnTo>
                    <a:lnTo>
                      <a:pt x="140" y="63"/>
                    </a:lnTo>
                    <a:lnTo>
                      <a:pt x="139" y="63"/>
                    </a:lnTo>
                    <a:lnTo>
                      <a:pt x="139" y="65"/>
                    </a:lnTo>
                    <a:lnTo>
                      <a:pt x="137" y="69"/>
                    </a:lnTo>
                    <a:lnTo>
                      <a:pt x="134" y="72"/>
                    </a:lnTo>
                    <a:lnTo>
                      <a:pt x="131" y="78"/>
                    </a:lnTo>
                    <a:lnTo>
                      <a:pt x="130" y="84"/>
                    </a:lnTo>
                    <a:lnTo>
                      <a:pt x="128" y="86"/>
                    </a:lnTo>
                    <a:lnTo>
                      <a:pt x="128" y="84"/>
                    </a:lnTo>
                    <a:lnTo>
                      <a:pt x="124" y="86"/>
                    </a:lnTo>
                    <a:lnTo>
                      <a:pt x="121" y="85"/>
                    </a:lnTo>
                    <a:lnTo>
                      <a:pt x="121" y="84"/>
                    </a:lnTo>
                    <a:lnTo>
                      <a:pt x="120" y="84"/>
                    </a:lnTo>
                    <a:lnTo>
                      <a:pt x="119" y="82"/>
                    </a:lnTo>
                    <a:lnTo>
                      <a:pt x="117" y="82"/>
                    </a:lnTo>
                    <a:lnTo>
                      <a:pt x="115" y="80"/>
                    </a:lnTo>
                    <a:lnTo>
                      <a:pt x="113" y="79"/>
                    </a:lnTo>
                    <a:lnTo>
                      <a:pt x="112" y="81"/>
                    </a:lnTo>
                    <a:lnTo>
                      <a:pt x="109" y="82"/>
                    </a:lnTo>
                    <a:lnTo>
                      <a:pt x="107" y="81"/>
                    </a:lnTo>
                    <a:lnTo>
                      <a:pt x="107" y="80"/>
                    </a:lnTo>
                    <a:lnTo>
                      <a:pt x="109" y="77"/>
                    </a:lnTo>
                    <a:lnTo>
                      <a:pt x="106" y="73"/>
                    </a:lnTo>
                    <a:lnTo>
                      <a:pt x="101" y="73"/>
                    </a:lnTo>
                    <a:lnTo>
                      <a:pt x="99" y="71"/>
                    </a:lnTo>
                    <a:lnTo>
                      <a:pt x="95" y="67"/>
                    </a:lnTo>
                    <a:lnTo>
                      <a:pt x="91" y="67"/>
                    </a:lnTo>
                    <a:lnTo>
                      <a:pt x="87" y="63"/>
                    </a:lnTo>
                    <a:lnTo>
                      <a:pt x="83" y="61"/>
                    </a:lnTo>
                    <a:lnTo>
                      <a:pt x="80" y="68"/>
                    </a:lnTo>
                    <a:lnTo>
                      <a:pt x="79" y="69"/>
                    </a:lnTo>
                    <a:lnTo>
                      <a:pt x="77" y="69"/>
                    </a:lnTo>
                    <a:lnTo>
                      <a:pt x="75" y="70"/>
                    </a:lnTo>
                    <a:lnTo>
                      <a:pt x="69" y="68"/>
                    </a:lnTo>
                    <a:lnTo>
                      <a:pt x="69" y="69"/>
                    </a:lnTo>
                    <a:lnTo>
                      <a:pt x="69" y="73"/>
                    </a:lnTo>
                    <a:lnTo>
                      <a:pt x="67" y="74"/>
                    </a:lnTo>
                    <a:lnTo>
                      <a:pt x="67" y="77"/>
                    </a:lnTo>
                    <a:lnTo>
                      <a:pt x="66" y="79"/>
                    </a:lnTo>
                    <a:lnTo>
                      <a:pt x="66" y="83"/>
                    </a:lnTo>
                    <a:lnTo>
                      <a:pt x="65" y="86"/>
                    </a:lnTo>
                    <a:lnTo>
                      <a:pt x="62" y="87"/>
                    </a:lnTo>
                    <a:lnTo>
                      <a:pt x="60" y="87"/>
                    </a:lnTo>
                    <a:lnTo>
                      <a:pt x="60" y="86"/>
                    </a:lnTo>
                    <a:lnTo>
                      <a:pt x="59" y="88"/>
                    </a:lnTo>
                    <a:lnTo>
                      <a:pt x="58" y="86"/>
                    </a:lnTo>
                    <a:lnTo>
                      <a:pt x="55" y="86"/>
                    </a:lnTo>
                    <a:lnTo>
                      <a:pt x="55" y="85"/>
                    </a:lnTo>
                    <a:lnTo>
                      <a:pt x="52" y="84"/>
                    </a:lnTo>
                    <a:lnTo>
                      <a:pt x="51" y="81"/>
                    </a:lnTo>
                    <a:lnTo>
                      <a:pt x="48" y="78"/>
                    </a:lnTo>
                    <a:lnTo>
                      <a:pt x="47" y="78"/>
                    </a:lnTo>
                    <a:lnTo>
                      <a:pt x="46" y="79"/>
                    </a:lnTo>
                    <a:lnTo>
                      <a:pt x="46" y="78"/>
                    </a:lnTo>
                    <a:lnTo>
                      <a:pt x="44" y="79"/>
                    </a:lnTo>
                    <a:lnTo>
                      <a:pt x="45" y="78"/>
                    </a:lnTo>
                    <a:lnTo>
                      <a:pt x="46" y="76"/>
                    </a:lnTo>
                    <a:lnTo>
                      <a:pt x="44" y="76"/>
                    </a:lnTo>
                    <a:lnTo>
                      <a:pt x="44" y="75"/>
                    </a:lnTo>
                    <a:lnTo>
                      <a:pt x="41" y="76"/>
                    </a:lnTo>
                    <a:lnTo>
                      <a:pt x="39" y="78"/>
                    </a:lnTo>
                    <a:lnTo>
                      <a:pt x="37" y="75"/>
                    </a:lnTo>
                    <a:lnTo>
                      <a:pt x="34" y="76"/>
                    </a:lnTo>
                    <a:lnTo>
                      <a:pt x="36" y="78"/>
                    </a:lnTo>
                    <a:lnTo>
                      <a:pt x="35" y="78"/>
                    </a:lnTo>
                    <a:lnTo>
                      <a:pt x="36" y="79"/>
                    </a:lnTo>
                    <a:lnTo>
                      <a:pt x="37" y="78"/>
                    </a:lnTo>
                    <a:lnTo>
                      <a:pt x="38" y="79"/>
                    </a:lnTo>
                    <a:lnTo>
                      <a:pt x="38" y="80"/>
                    </a:lnTo>
                    <a:lnTo>
                      <a:pt x="37" y="79"/>
                    </a:lnTo>
                    <a:lnTo>
                      <a:pt x="36" y="81"/>
                    </a:lnTo>
                    <a:lnTo>
                      <a:pt x="36" y="82"/>
                    </a:lnTo>
                    <a:lnTo>
                      <a:pt x="36" y="84"/>
                    </a:lnTo>
                    <a:lnTo>
                      <a:pt x="37" y="84"/>
                    </a:lnTo>
                    <a:lnTo>
                      <a:pt x="38" y="85"/>
                    </a:lnTo>
                    <a:lnTo>
                      <a:pt x="38" y="86"/>
                    </a:lnTo>
                    <a:lnTo>
                      <a:pt x="35" y="87"/>
                    </a:lnTo>
                    <a:lnTo>
                      <a:pt x="34" y="89"/>
                    </a:lnTo>
                    <a:lnTo>
                      <a:pt x="36" y="91"/>
                    </a:lnTo>
                    <a:lnTo>
                      <a:pt x="34" y="95"/>
                    </a:lnTo>
                    <a:lnTo>
                      <a:pt x="32" y="94"/>
                    </a:lnTo>
                    <a:lnTo>
                      <a:pt x="30" y="94"/>
                    </a:lnTo>
                    <a:lnTo>
                      <a:pt x="28" y="97"/>
                    </a:lnTo>
                    <a:lnTo>
                      <a:pt x="26" y="102"/>
                    </a:lnTo>
                    <a:lnTo>
                      <a:pt x="26" y="104"/>
                    </a:lnTo>
                    <a:lnTo>
                      <a:pt x="25" y="104"/>
                    </a:lnTo>
                    <a:lnTo>
                      <a:pt x="24" y="107"/>
                    </a:lnTo>
                    <a:lnTo>
                      <a:pt x="27" y="110"/>
                    </a:lnTo>
                    <a:lnTo>
                      <a:pt x="26" y="112"/>
                    </a:lnTo>
                    <a:lnTo>
                      <a:pt x="23" y="112"/>
                    </a:lnTo>
                    <a:lnTo>
                      <a:pt x="23" y="110"/>
                    </a:lnTo>
                    <a:lnTo>
                      <a:pt x="23" y="108"/>
                    </a:lnTo>
                    <a:lnTo>
                      <a:pt x="22" y="110"/>
                    </a:lnTo>
                    <a:lnTo>
                      <a:pt x="20" y="114"/>
                    </a:lnTo>
                    <a:lnTo>
                      <a:pt x="16" y="115"/>
                    </a:lnTo>
                    <a:lnTo>
                      <a:pt x="12" y="116"/>
                    </a:lnTo>
                    <a:lnTo>
                      <a:pt x="10" y="118"/>
                    </a:lnTo>
                    <a:lnTo>
                      <a:pt x="10" y="121"/>
                    </a:lnTo>
                    <a:lnTo>
                      <a:pt x="9" y="123"/>
                    </a:lnTo>
                    <a:lnTo>
                      <a:pt x="8" y="126"/>
                    </a:lnTo>
                    <a:lnTo>
                      <a:pt x="10" y="128"/>
                    </a:lnTo>
                    <a:lnTo>
                      <a:pt x="10" y="130"/>
                    </a:lnTo>
                    <a:lnTo>
                      <a:pt x="4" y="135"/>
                    </a:lnTo>
                    <a:lnTo>
                      <a:pt x="3" y="134"/>
                    </a:lnTo>
                    <a:lnTo>
                      <a:pt x="0" y="139"/>
                    </a:lnTo>
                    <a:lnTo>
                      <a:pt x="0" y="144"/>
                    </a:lnTo>
                    <a:lnTo>
                      <a:pt x="2" y="144"/>
                    </a:lnTo>
                    <a:lnTo>
                      <a:pt x="3" y="144"/>
                    </a:lnTo>
                    <a:lnTo>
                      <a:pt x="4" y="144"/>
                    </a:lnTo>
                    <a:lnTo>
                      <a:pt x="3" y="147"/>
                    </a:lnTo>
                    <a:lnTo>
                      <a:pt x="3" y="148"/>
                    </a:lnTo>
                    <a:lnTo>
                      <a:pt x="3" y="149"/>
                    </a:lnTo>
                    <a:lnTo>
                      <a:pt x="4" y="153"/>
                    </a:lnTo>
                    <a:lnTo>
                      <a:pt x="4" y="154"/>
                    </a:lnTo>
                    <a:lnTo>
                      <a:pt x="2" y="158"/>
                    </a:lnTo>
                    <a:lnTo>
                      <a:pt x="5" y="161"/>
                    </a:lnTo>
                    <a:lnTo>
                      <a:pt x="4" y="161"/>
                    </a:lnTo>
                    <a:lnTo>
                      <a:pt x="4" y="163"/>
                    </a:lnTo>
                    <a:lnTo>
                      <a:pt x="6" y="165"/>
                    </a:lnTo>
                    <a:lnTo>
                      <a:pt x="7" y="170"/>
                    </a:lnTo>
                    <a:lnTo>
                      <a:pt x="6" y="172"/>
                    </a:lnTo>
                    <a:lnTo>
                      <a:pt x="8" y="172"/>
                    </a:lnTo>
                    <a:lnTo>
                      <a:pt x="9" y="175"/>
                    </a:lnTo>
                    <a:lnTo>
                      <a:pt x="9" y="176"/>
                    </a:lnTo>
                    <a:lnTo>
                      <a:pt x="12" y="178"/>
                    </a:lnTo>
                    <a:lnTo>
                      <a:pt x="12" y="181"/>
                    </a:lnTo>
                    <a:lnTo>
                      <a:pt x="12" y="182"/>
                    </a:lnTo>
                    <a:lnTo>
                      <a:pt x="13" y="182"/>
                    </a:lnTo>
                    <a:lnTo>
                      <a:pt x="13" y="185"/>
                    </a:lnTo>
                    <a:lnTo>
                      <a:pt x="14" y="185"/>
                    </a:lnTo>
                    <a:lnTo>
                      <a:pt x="14" y="187"/>
                    </a:lnTo>
                    <a:lnTo>
                      <a:pt x="14" y="188"/>
                    </a:lnTo>
                    <a:lnTo>
                      <a:pt x="14" y="192"/>
                    </a:lnTo>
                    <a:lnTo>
                      <a:pt x="14" y="194"/>
                    </a:lnTo>
                    <a:lnTo>
                      <a:pt x="16" y="195"/>
                    </a:lnTo>
                    <a:lnTo>
                      <a:pt x="17" y="199"/>
                    </a:lnTo>
                    <a:lnTo>
                      <a:pt x="18" y="199"/>
                    </a:lnTo>
                    <a:lnTo>
                      <a:pt x="17" y="201"/>
                    </a:lnTo>
                    <a:lnTo>
                      <a:pt x="18" y="201"/>
                    </a:lnTo>
                    <a:lnTo>
                      <a:pt x="17" y="202"/>
                    </a:lnTo>
                    <a:lnTo>
                      <a:pt x="18" y="202"/>
                    </a:lnTo>
                    <a:lnTo>
                      <a:pt x="18" y="205"/>
                    </a:lnTo>
                    <a:lnTo>
                      <a:pt x="18" y="206"/>
                    </a:lnTo>
                    <a:lnTo>
                      <a:pt x="19" y="205"/>
                    </a:lnTo>
                    <a:lnTo>
                      <a:pt x="18" y="208"/>
                    </a:lnTo>
                    <a:lnTo>
                      <a:pt x="22" y="209"/>
                    </a:lnTo>
                    <a:lnTo>
                      <a:pt x="22" y="208"/>
                    </a:lnTo>
                    <a:lnTo>
                      <a:pt x="22" y="209"/>
                    </a:lnTo>
                    <a:lnTo>
                      <a:pt x="23" y="210"/>
                    </a:lnTo>
                    <a:lnTo>
                      <a:pt x="23" y="209"/>
                    </a:lnTo>
                    <a:lnTo>
                      <a:pt x="25" y="210"/>
                    </a:lnTo>
                    <a:lnTo>
                      <a:pt x="26" y="210"/>
                    </a:lnTo>
                    <a:lnTo>
                      <a:pt x="26" y="211"/>
                    </a:lnTo>
                    <a:lnTo>
                      <a:pt x="25" y="211"/>
                    </a:lnTo>
                    <a:lnTo>
                      <a:pt x="27" y="212"/>
                    </a:lnTo>
                    <a:lnTo>
                      <a:pt x="26" y="215"/>
                    </a:lnTo>
                    <a:lnTo>
                      <a:pt x="28" y="216"/>
                    </a:lnTo>
                    <a:lnTo>
                      <a:pt x="28" y="218"/>
                    </a:lnTo>
                    <a:lnTo>
                      <a:pt x="29" y="221"/>
                    </a:lnTo>
                    <a:lnTo>
                      <a:pt x="30" y="221"/>
                    </a:lnTo>
                    <a:lnTo>
                      <a:pt x="29" y="224"/>
                    </a:lnTo>
                    <a:lnTo>
                      <a:pt x="31" y="224"/>
                    </a:lnTo>
                    <a:lnTo>
                      <a:pt x="31" y="225"/>
                    </a:lnTo>
                    <a:lnTo>
                      <a:pt x="32" y="227"/>
                    </a:lnTo>
                    <a:lnTo>
                      <a:pt x="33" y="224"/>
                    </a:lnTo>
                    <a:lnTo>
                      <a:pt x="35" y="219"/>
                    </a:lnTo>
                    <a:lnTo>
                      <a:pt x="39" y="219"/>
                    </a:lnTo>
                    <a:lnTo>
                      <a:pt x="38" y="220"/>
                    </a:lnTo>
                    <a:lnTo>
                      <a:pt x="39" y="222"/>
                    </a:lnTo>
                    <a:lnTo>
                      <a:pt x="40" y="225"/>
                    </a:lnTo>
                    <a:lnTo>
                      <a:pt x="41" y="226"/>
                    </a:lnTo>
                    <a:lnTo>
                      <a:pt x="44" y="228"/>
                    </a:lnTo>
                    <a:lnTo>
                      <a:pt x="46" y="228"/>
                    </a:lnTo>
                    <a:lnTo>
                      <a:pt x="47" y="226"/>
                    </a:lnTo>
                    <a:lnTo>
                      <a:pt x="45" y="224"/>
                    </a:lnTo>
                    <a:lnTo>
                      <a:pt x="45" y="223"/>
                    </a:lnTo>
                    <a:lnTo>
                      <a:pt x="49" y="224"/>
                    </a:lnTo>
                    <a:lnTo>
                      <a:pt x="49" y="223"/>
                    </a:lnTo>
                    <a:lnTo>
                      <a:pt x="51" y="221"/>
                    </a:lnTo>
                    <a:lnTo>
                      <a:pt x="53" y="221"/>
                    </a:lnTo>
                    <a:lnTo>
                      <a:pt x="54" y="221"/>
                    </a:lnTo>
                    <a:lnTo>
                      <a:pt x="54" y="222"/>
                    </a:lnTo>
                    <a:lnTo>
                      <a:pt x="53" y="223"/>
                    </a:lnTo>
                    <a:lnTo>
                      <a:pt x="53" y="225"/>
                    </a:lnTo>
                    <a:lnTo>
                      <a:pt x="52" y="225"/>
                    </a:lnTo>
                    <a:lnTo>
                      <a:pt x="54" y="228"/>
                    </a:lnTo>
                    <a:lnTo>
                      <a:pt x="52" y="229"/>
                    </a:lnTo>
                    <a:lnTo>
                      <a:pt x="52" y="231"/>
                    </a:lnTo>
                    <a:lnTo>
                      <a:pt x="52" y="236"/>
                    </a:lnTo>
                    <a:lnTo>
                      <a:pt x="54" y="238"/>
                    </a:lnTo>
                    <a:lnTo>
                      <a:pt x="55" y="238"/>
                    </a:lnTo>
                    <a:lnTo>
                      <a:pt x="55" y="236"/>
                    </a:lnTo>
                    <a:lnTo>
                      <a:pt x="56" y="238"/>
                    </a:lnTo>
                    <a:lnTo>
                      <a:pt x="57" y="237"/>
                    </a:lnTo>
                    <a:lnTo>
                      <a:pt x="57" y="238"/>
                    </a:lnTo>
                    <a:lnTo>
                      <a:pt x="58" y="238"/>
                    </a:lnTo>
                    <a:lnTo>
                      <a:pt x="57" y="238"/>
                    </a:lnTo>
                    <a:lnTo>
                      <a:pt x="59" y="240"/>
                    </a:lnTo>
                    <a:lnTo>
                      <a:pt x="60" y="241"/>
                    </a:lnTo>
                    <a:lnTo>
                      <a:pt x="61" y="240"/>
                    </a:lnTo>
                    <a:lnTo>
                      <a:pt x="61" y="238"/>
                    </a:lnTo>
                    <a:lnTo>
                      <a:pt x="63" y="236"/>
                    </a:lnTo>
                    <a:lnTo>
                      <a:pt x="63" y="237"/>
                    </a:lnTo>
                    <a:lnTo>
                      <a:pt x="65" y="238"/>
                    </a:lnTo>
                    <a:lnTo>
                      <a:pt x="66" y="238"/>
                    </a:lnTo>
                    <a:lnTo>
                      <a:pt x="66" y="235"/>
                    </a:lnTo>
                    <a:lnTo>
                      <a:pt x="68" y="236"/>
                    </a:lnTo>
                    <a:lnTo>
                      <a:pt x="69" y="238"/>
                    </a:lnTo>
                    <a:lnTo>
                      <a:pt x="71" y="238"/>
                    </a:lnTo>
                    <a:lnTo>
                      <a:pt x="71" y="236"/>
                    </a:lnTo>
                    <a:lnTo>
                      <a:pt x="75" y="237"/>
                    </a:lnTo>
                    <a:lnTo>
                      <a:pt x="78" y="237"/>
                    </a:lnTo>
                    <a:lnTo>
                      <a:pt x="78" y="236"/>
                    </a:lnTo>
                    <a:lnTo>
                      <a:pt x="82" y="240"/>
                    </a:lnTo>
                    <a:lnTo>
                      <a:pt x="82" y="239"/>
                    </a:lnTo>
                    <a:lnTo>
                      <a:pt x="82" y="235"/>
                    </a:lnTo>
                    <a:lnTo>
                      <a:pt x="84" y="234"/>
                    </a:lnTo>
                    <a:lnTo>
                      <a:pt x="84" y="233"/>
                    </a:lnTo>
                    <a:lnTo>
                      <a:pt x="88" y="234"/>
                    </a:lnTo>
                    <a:lnTo>
                      <a:pt x="89" y="232"/>
                    </a:lnTo>
                    <a:lnTo>
                      <a:pt x="90" y="233"/>
                    </a:lnTo>
                    <a:lnTo>
                      <a:pt x="93" y="225"/>
                    </a:lnTo>
                    <a:lnTo>
                      <a:pt x="93" y="224"/>
                    </a:lnTo>
                    <a:lnTo>
                      <a:pt x="100" y="226"/>
                    </a:lnTo>
                    <a:lnTo>
                      <a:pt x="101" y="225"/>
                    </a:lnTo>
                    <a:lnTo>
                      <a:pt x="102" y="221"/>
                    </a:lnTo>
                    <a:lnTo>
                      <a:pt x="101" y="212"/>
                    </a:lnTo>
                    <a:lnTo>
                      <a:pt x="101" y="207"/>
                    </a:lnTo>
                    <a:lnTo>
                      <a:pt x="115" y="212"/>
                    </a:lnTo>
                    <a:lnTo>
                      <a:pt x="121" y="218"/>
                    </a:lnTo>
                    <a:lnTo>
                      <a:pt x="128" y="213"/>
                    </a:lnTo>
                    <a:lnTo>
                      <a:pt x="129" y="213"/>
                    </a:lnTo>
                    <a:lnTo>
                      <a:pt x="130" y="212"/>
                    </a:lnTo>
                    <a:lnTo>
                      <a:pt x="131" y="211"/>
                    </a:lnTo>
                    <a:lnTo>
                      <a:pt x="130" y="209"/>
                    </a:lnTo>
                    <a:lnTo>
                      <a:pt x="128" y="207"/>
                    </a:lnTo>
                    <a:lnTo>
                      <a:pt x="129" y="205"/>
                    </a:lnTo>
                    <a:lnTo>
                      <a:pt x="128" y="204"/>
                    </a:lnTo>
                    <a:lnTo>
                      <a:pt x="133" y="203"/>
                    </a:lnTo>
                    <a:lnTo>
                      <a:pt x="133" y="202"/>
                    </a:lnTo>
                    <a:lnTo>
                      <a:pt x="136" y="201"/>
                    </a:lnTo>
                    <a:lnTo>
                      <a:pt x="138" y="201"/>
                    </a:lnTo>
                    <a:lnTo>
                      <a:pt x="139" y="201"/>
                    </a:lnTo>
                    <a:lnTo>
                      <a:pt x="140" y="200"/>
                    </a:lnTo>
                    <a:lnTo>
                      <a:pt x="140" y="202"/>
                    </a:lnTo>
                    <a:lnTo>
                      <a:pt x="143" y="200"/>
                    </a:lnTo>
                    <a:lnTo>
                      <a:pt x="145" y="199"/>
                    </a:lnTo>
                    <a:lnTo>
                      <a:pt x="144" y="195"/>
                    </a:lnTo>
                    <a:lnTo>
                      <a:pt x="145" y="195"/>
                    </a:lnTo>
                    <a:lnTo>
                      <a:pt x="144" y="191"/>
                    </a:lnTo>
                    <a:lnTo>
                      <a:pt x="142" y="191"/>
                    </a:lnTo>
                    <a:lnTo>
                      <a:pt x="145" y="191"/>
                    </a:lnTo>
                    <a:lnTo>
                      <a:pt x="145" y="190"/>
                    </a:lnTo>
                    <a:lnTo>
                      <a:pt x="147" y="191"/>
                    </a:lnTo>
                    <a:lnTo>
                      <a:pt x="147" y="190"/>
                    </a:lnTo>
                    <a:lnTo>
                      <a:pt x="148" y="190"/>
                    </a:lnTo>
                    <a:lnTo>
                      <a:pt x="148" y="191"/>
                    </a:lnTo>
                    <a:lnTo>
                      <a:pt x="147" y="185"/>
                    </a:lnTo>
                    <a:lnTo>
                      <a:pt x="148" y="184"/>
                    </a:lnTo>
                    <a:lnTo>
                      <a:pt x="153" y="185"/>
                    </a:lnTo>
                    <a:lnTo>
                      <a:pt x="153" y="186"/>
                    </a:lnTo>
                    <a:lnTo>
                      <a:pt x="153" y="189"/>
                    </a:lnTo>
                    <a:lnTo>
                      <a:pt x="152" y="189"/>
                    </a:lnTo>
                    <a:lnTo>
                      <a:pt x="153" y="191"/>
                    </a:lnTo>
                    <a:lnTo>
                      <a:pt x="154" y="191"/>
                    </a:lnTo>
                    <a:lnTo>
                      <a:pt x="155" y="192"/>
                    </a:lnTo>
                    <a:lnTo>
                      <a:pt x="155" y="191"/>
                    </a:lnTo>
                    <a:lnTo>
                      <a:pt x="157" y="191"/>
                    </a:lnTo>
                    <a:lnTo>
                      <a:pt x="158" y="195"/>
                    </a:lnTo>
                    <a:lnTo>
                      <a:pt x="156" y="195"/>
                    </a:lnTo>
                    <a:lnTo>
                      <a:pt x="158" y="196"/>
                    </a:lnTo>
                    <a:lnTo>
                      <a:pt x="158" y="197"/>
                    </a:lnTo>
                    <a:lnTo>
                      <a:pt x="161" y="197"/>
                    </a:lnTo>
                    <a:lnTo>
                      <a:pt x="162" y="199"/>
                    </a:lnTo>
                    <a:lnTo>
                      <a:pt x="162" y="196"/>
                    </a:lnTo>
                    <a:lnTo>
                      <a:pt x="164" y="196"/>
                    </a:lnTo>
                    <a:lnTo>
                      <a:pt x="164" y="194"/>
                    </a:lnTo>
                    <a:lnTo>
                      <a:pt x="165" y="193"/>
                    </a:lnTo>
                    <a:lnTo>
                      <a:pt x="166" y="194"/>
                    </a:lnTo>
                    <a:lnTo>
                      <a:pt x="165" y="194"/>
                    </a:lnTo>
                    <a:lnTo>
                      <a:pt x="165" y="195"/>
                    </a:lnTo>
                    <a:lnTo>
                      <a:pt x="167" y="195"/>
                    </a:lnTo>
                    <a:lnTo>
                      <a:pt x="167" y="196"/>
                    </a:lnTo>
                    <a:lnTo>
                      <a:pt x="169" y="196"/>
                    </a:lnTo>
                    <a:lnTo>
                      <a:pt x="170" y="196"/>
                    </a:lnTo>
                    <a:lnTo>
                      <a:pt x="173" y="195"/>
                    </a:lnTo>
                    <a:lnTo>
                      <a:pt x="173" y="196"/>
                    </a:lnTo>
                    <a:lnTo>
                      <a:pt x="172" y="197"/>
                    </a:lnTo>
                    <a:lnTo>
                      <a:pt x="173" y="198"/>
                    </a:lnTo>
                    <a:lnTo>
                      <a:pt x="175" y="204"/>
                    </a:lnTo>
                    <a:lnTo>
                      <a:pt x="176" y="204"/>
                    </a:lnTo>
                    <a:lnTo>
                      <a:pt x="178" y="205"/>
                    </a:lnTo>
                    <a:lnTo>
                      <a:pt x="178" y="208"/>
                    </a:lnTo>
                    <a:lnTo>
                      <a:pt x="178" y="207"/>
                    </a:lnTo>
                    <a:lnTo>
                      <a:pt x="180" y="207"/>
                    </a:lnTo>
                    <a:lnTo>
                      <a:pt x="180" y="208"/>
                    </a:lnTo>
                    <a:lnTo>
                      <a:pt x="179" y="210"/>
                    </a:lnTo>
                    <a:lnTo>
                      <a:pt x="180" y="212"/>
                    </a:lnTo>
                    <a:lnTo>
                      <a:pt x="180" y="214"/>
                    </a:lnTo>
                    <a:lnTo>
                      <a:pt x="181" y="212"/>
                    </a:lnTo>
                    <a:lnTo>
                      <a:pt x="182" y="213"/>
                    </a:lnTo>
                    <a:lnTo>
                      <a:pt x="184" y="212"/>
                    </a:lnTo>
                    <a:lnTo>
                      <a:pt x="186" y="212"/>
                    </a:lnTo>
                    <a:lnTo>
                      <a:pt x="187" y="216"/>
                    </a:lnTo>
                    <a:lnTo>
                      <a:pt x="189" y="217"/>
                    </a:lnTo>
                    <a:lnTo>
                      <a:pt x="188" y="218"/>
                    </a:lnTo>
                    <a:lnTo>
                      <a:pt x="190" y="218"/>
                    </a:lnTo>
                    <a:lnTo>
                      <a:pt x="193" y="221"/>
                    </a:lnTo>
                    <a:lnTo>
                      <a:pt x="192" y="223"/>
                    </a:lnTo>
                    <a:lnTo>
                      <a:pt x="192" y="224"/>
                    </a:lnTo>
                    <a:lnTo>
                      <a:pt x="193" y="223"/>
                    </a:lnTo>
                    <a:lnTo>
                      <a:pt x="193" y="225"/>
                    </a:lnTo>
                    <a:lnTo>
                      <a:pt x="193" y="231"/>
                    </a:lnTo>
                    <a:lnTo>
                      <a:pt x="194" y="231"/>
                    </a:lnTo>
                    <a:lnTo>
                      <a:pt x="194" y="232"/>
                    </a:lnTo>
                    <a:lnTo>
                      <a:pt x="197" y="232"/>
                    </a:lnTo>
                    <a:lnTo>
                      <a:pt x="197" y="233"/>
                    </a:lnTo>
                    <a:lnTo>
                      <a:pt x="198" y="233"/>
                    </a:lnTo>
                    <a:lnTo>
                      <a:pt x="198" y="234"/>
                    </a:lnTo>
                    <a:lnTo>
                      <a:pt x="200" y="233"/>
                    </a:lnTo>
                    <a:lnTo>
                      <a:pt x="202" y="234"/>
                    </a:lnTo>
                    <a:lnTo>
                      <a:pt x="204" y="236"/>
                    </a:lnTo>
                    <a:lnTo>
                      <a:pt x="203" y="236"/>
                    </a:lnTo>
                    <a:lnTo>
                      <a:pt x="204" y="236"/>
                    </a:lnTo>
                    <a:lnTo>
                      <a:pt x="204" y="238"/>
                    </a:lnTo>
                    <a:lnTo>
                      <a:pt x="205" y="238"/>
                    </a:lnTo>
                    <a:lnTo>
                      <a:pt x="205" y="239"/>
                    </a:lnTo>
                    <a:lnTo>
                      <a:pt x="205" y="241"/>
                    </a:lnTo>
                    <a:lnTo>
                      <a:pt x="207" y="242"/>
                    </a:lnTo>
                    <a:lnTo>
                      <a:pt x="208" y="241"/>
                    </a:lnTo>
                    <a:lnTo>
                      <a:pt x="212" y="244"/>
                    </a:lnTo>
                    <a:lnTo>
                      <a:pt x="213" y="246"/>
                    </a:lnTo>
                    <a:lnTo>
                      <a:pt x="215" y="248"/>
                    </a:lnTo>
                    <a:lnTo>
                      <a:pt x="218" y="249"/>
                    </a:lnTo>
                    <a:lnTo>
                      <a:pt x="221" y="251"/>
                    </a:lnTo>
                    <a:lnTo>
                      <a:pt x="224" y="255"/>
                    </a:lnTo>
                    <a:lnTo>
                      <a:pt x="226" y="254"/>
                    </a:lnTo>
                    <a:lnTo>
                      <a:pt x="227" y="254"/>
                    </a:lnTo>
                    <a:lnTo>
                      <a:pt x="229" y="254"/>
                    </a:lnTo>
                    <a:lnTo>
                      <a:pt x="229" y="253"/>
                    </a:lnTo>
                    <a:lnTo>
                      <a:pt x="230" y="250"/>
                    </a:lnTo>
                    <a:lnTo>
                      <a:pt x="229" y="249"/>
                    </a:lnTo>
                    <a:lnTo>
                      <a:pt x="231" y="249"/>
                    </a:lnTo>
                    <a:lnTo>
                      <a:pt x="231" y="247"/>
                    </a:lnTo>
                    <a:lnTo>
                      <a:pt x="234" y="246"/>
                    </a:lnTo>
                    <a:lnTo>
                      <a:pt x="235" y="244"/>
                    </a:lnTo>
                    <a:lnTo>
                      <a:pt x="236" y="243"/>
                    </a:lnTo>
                    <a:lnTo>
                      <a:pt x="237" y="243"/>
                    </a:lnTo>
                    <a:lnTo>
                      <a:pt x="238" y="242"/>
                    </a:lnTo>
                    <a:lnTo>
                      <a:pt x="239" y="244"/>
                    </a:lnTo>
                    <a:lnTo>
                      <a:pt x="240" y="243"/>
                    </a:lnTo>
                    <a:lnTo>
                      <a:pt x="242" y="243"/>
                    </a:lnTo>
                    <a:lnTo>
                      <a:pt x="243" y="244"/>
                    </a:lnTo>
                    <a:lnTo>
                      <a:pt x="246" y="246"/>
                    </a:lnTo>
                    <a:lnTo>
                      <a:pt x="246" y="248"/>
                    </a:lnTo>
                    <a:lnTo>
                      <a:pt x="249" y="249"/>
                    </a:lnTo>
                    <a:lnTo>
                      <a:pt x="250" y="250"/>
                    </a:lnTo>
                    <a:lnTo>
                      <a:pt x="251" y="248"/>
                    </a:lnTo>
                    <a:lnTo>
                      <a:pt x="252" y="250"/>
                    </a:lnTo>
                    <a:lnTo>
                      <a:pt x="253" y="250"/>
                    </a:lnTo>
                    <a:lnTo>
                      <a:pt x="253" y="249"/>
                    </a:lnTo>
                    <a:lnTo>
                      <a:pt x="256" y="250"/>
                    </a:lnTo>
                    <a:lnTo>
                      <a:pt x="256" y="252"/>
                    </a:lnTo>
                    <a:lnTo>
                      <a:pt x="257" y="255"/>
                    </a:lnTo>
                    <a:lnTo>
                      <a:pt x="258" y="255"/>
                    </a:lnTo>
                    <a:lnTo>
                      <a:pt x="260" y="256"/>
                    </a:lnTo>
                    <a:lnTo>
                      <a:pt x="261" y="258"/>
                    </a:lnTo>
                    <a:lnTo>
                      <a:pt x="263" y="260"/>
                    </a:lnTo>
                    <a:lnTo>
                      <a:pt x="264" y="255"/>
                    </a:lnTo>
                    <a:lnTo>
                      <a:pt x="266" y="254"/>
                    </a:lnTo>
                    <a:lnTo>
                      <a:pt x="268" y="255"/>
                    </a:lnTo>
                    <a:lnTo>
                      <a:pt x="267" y="256"/>
                    </a:lnTo>
                    <a:lnTo>
                      <a:pt x="268" y="259"/>
                    </a:lnTo>
                    <a:lnTo>
                      <a:pt x="267" y="259"/>
                    </a:lnTo>
                    <a:lnTo>
                      <a:pt x="268" y="261"/>
                    </a:lnTo>
                    <a:lnTo>
                      <a:pt x="269" y="262"/>
                    </a:lnTo>
                    <a:lnTo>
                      <a:pt x="269" y="263"/>
                    </a:lnTo>
                    <a:lnTo>
                      <a:pt x="266" y="262"/>
                    </a:lnTo>
                    <a:lnTo>
                      <a:pt x="266" y="263"/>
                    </a:lnTo>
                    <a:lnTo>
                      <a:pt x="268" y="263"/>
                    </a:lnTo>
                    <a:lnTo>
                      <a:pt x="268" y="265"/>
                    </a:lnTo>
                    <a:lnTo>
                      <a:pt x="267" y="265"/>
                    </a:lnTo>
                    <a:lnTo>
                      <a:pt x="268" y="265"/>
                    </a:lnTo>
                    <a:lnTo>
                      <a:pt x="268" y="267"/>
                    </a:lnTo>
                    <a:lnTo>
                      <a:pt x="271" y="268"/>
                    </a:lnTo>
                    <a:lnTo>
                      <a:pt x="273" y="267"/>
                    </a:lnTo>
                    <a:lnTo>
                      <a:pt x="274" y="268"/>
                    </a:lnTo>
                    <a:lnTo>
                      <a:pt x="275" y="266"/>
                    </a:lnTo>
                    <a:lnTo>
                      <a:pt x="277" y="268"/>
                    </a:lnTo>
                    <a:lnTo>
                      <a:pt x="277" y="267"/>
                    </a:lnTo>
                    <a:lnTo>
                      <a:pt x="278" y="268"/>
                    </a:lnTo>
                    <a:lnTo>
                      <a:pt x="278" y="267"/>
                    </a:lnTo>
                    <a:lnTo>
                      <a:pt x="277" y="265"/>
                    </a:lnTo>
                    <a:lnTo>
                      <a:pt x="278" y="264"/>
                    </a:lnTo>
                    <a:lnTo>
                      <a:pt x="279" y="263"/>
                    </a:lnTo>
                    <a:lnTo>
                      <a:pt x="280" y="266"/>
                    </a:lnTo>
                    <a:lnTo>
                      <a:pt x="282" y="266"/>
                    </a:lnTo>
                    <a:lnTo>
                      <a:pt x="282" y="265"/>
                    </a:lnTo>
                    <a:lnTo>
                      <a:pt x="284" y="263"/>
                    </a:lnTo>
                    <a:lnTo>
                      <a:pt x="283" y="262"/>
                    </a:lnTo>
                    <a:lnTo>
                      <a:pt x="285" y="262"/>
                    </a:lnTo>
                    <a:lnTo>
                      <a:pt x="286" y="260"/>
                    </a:lnTo>
                    <a:lnTo>
                      <a:pt x="283" y="258"/>
                    </a:lnTo>
                    <a:lnTo>
                      <a:pt x="283" y="254"/>
                    </a:lnTo>
                    <a:lnTo>
                      <a:pt x="282" y="252"/>
                    </a:lnTo>
                    <a:lnTo>
                      <a:pt x="283" y="249"/>
                    </a:lnTo>
                    <a:lnTo>
                      <a:pt x="287" y="249"/>
                    </a:lnTo>
                    <a:lnTo>
                      <a:pt x="290" y="249"/>
                    </a:lnTo>
                    <a:lnTo>
                      <a:pt x="291" y="244"/>
                    </a:lnTo>
                    <a:lnTo>
                      <a:pt x="293" y="246"/>
                    </a:lnTo>
                    <a:lnTo>
                      <a:pt x="294" y="246"/>
                    </a:lnTo>
                    <a:lnTo>
                      <a:pt x="295" y="244"/>
                    </a:lnTo>
                    <a:lnTo>
                      <a:pt x="294" y="242"/>
                    </a:lnTo>
                    <a:lnTo>
                      <a:pt x="295" y="241"/>
                    </a:lnTo>
                    <a:lnTo>
                      <a:pt x="294" y="241"/>
                    </a:lnTo>
                    <a:lnTo>
                      <a:pt x="294" y="239"/>
                    </a:lnTo>
                    <a:lnTo>
                      <a:pt x="299" y="242"/>
                    </a:lnTo>
                    <a:lnTo>
                      <a:pt x="300" y="243"/>
                    </a:lnTo>
                    <a:lnTo>
                      <a:pt x="300" y="244"/>
                    </a:lnTo>
                    <a:lnTo>
                      <a:pt x="299" y="244"/>
                    </a:lnTo>
                    <a:lnTo>
                      <a:pt x="298" y="246"/>
                    </a:lnTo>
                    <a:lnTo>
                      <a:pt x="302" y="252"/>
                    </a:lnTo>
                    <a:lnTo>
                      <a:pt x="302" y="254"/>
                    </a:lnTo>
                    <a:lnTo>
                      <a:pt x="305" y="254"/>
                    </a:lnTo>
                    <a:lnTo>
                      <a:pt x="305" y="255"/>
                    </a:lnTo>
                    <a:lnTo>
                      <a:pt x="307" y="255"/>
                    </a:lnTo>
                    <a:lnTo>
                      <a:pt x="308" y="257"/>
                    </a:lnTo>
                    <a:lnTo>
                      <a:pt x="311" y="257"/>
                    </a:lnTo>
                    <a:lnTo>
                      <a:pt x="311" y="253"/>
                    </a:lnTo>
                    <a:lnTo>
                      <a:pt x="312" y="254"/>
                    </a:lnTo>
                    <a:lnTo>
                      <a:pt x="314" y="253"/>
                    </a:lnTo>
                    <a:lnTo>
                      <a:pt x="315" y="253"/>
                    </a:lnTo>
                    <a:lnTo>
                      <a:pt x="317" y="252"/>
                    </a:lnTo>
                    <a:lnTo>
                      <a:pt x="318" y="252"/>
                    </a:lnTo>
                    <a:lnTo>
                      <a:pt x="318" y="253"/>
                    </a:lnTo>
                    <a:lnTo>
                      <a:pt x="319" y="253"/>
                    </a:lnTo>
                    <a:lnTo>
                      <a:pt x="319" y="254"/>
                    </a:lnTo>
                    <a:lnTo>
                      <a:pt x="320" y="255"/>
                    </a:lnTo>
                    <a:lnTo>
                      <a:pt x="320" y="254"/>
                    </a:lnTo>
                    <a:lnTo>
                      <a:pt x="321" y="254"/>
                    </a:lnTo>
                    <a:lnTo>
                      <a:pt x="321" y="258"/>
                    </a:lnTo>
                    <a:lnTo>
                      <a:pt x="322" y="258"/>
                    </a:lnTo>
                    <a:lnTo>
                      <a:pt x="322" y="257"/>
                    </a:lnTo>
                    <a:lnTo>
                      <a:pt x="323" y="255"/>
                    </a:lnTo>
                    <a:lnTo>
                      <a:pt x="323" y="258"/>
                    </a:lnTo>
                    <a:lnTo>
                      <a:pt x="324" y="257"/>
                    </a:lnTo>
                    <a:lnTo>
                      <a:pt x="326" y="256"/>
                    </a:lnTo>
                    <a:lnTo>
                      <a:pt x="335" y="256"/>
                    </a:lnTo>
                    <a:lnTo>
                      <a:pt x="335" y="255"/>
                    </a:lnTo>
                    <a:lnTo>
                      <a:pt x="334" y="25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5" name="Freeform 79">
                <a:extLst>
                  <a:ext uri="{FF2B5EF4-FFF2-40B4-BE49-F238E27FC236}">
                    <a16:creationId xmlns:a16="http://schemas.microsoft.com/office/drawing/2014/main" id="{79D5E2AC-E33D-A993-D89A-A17F18BD59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1" y="2725"/>
                <a:ext cx="335" cy="268"/>
              </a:xfrm>
              <a:custGeom>
                <a:avLst/>
                <a:gdLst>
                  <a:gd name="T0" fmla="*/ 328 w 335"/>
                  <a:gd name="T1" fmla="*/ 238 h 268"/>
                  <a:gd name="T2" fmla="*/ 328 w 335"/>
                  <a:gd name="T3" fmla="*/ 207 h 268"/>
                  <a:gd name="T4" fmla="*/ 325 w 335"/>
                  <a:gd name="T5" fmla="*/ 172 h 268"/>
                  <a:gd name="T6" fmla="*/ 319 w 335"/>
                  <a:gd name="T7" fmla="*/ 134 h 268"/>
                  <a:gd name="T8" fmla="*/ 289 w 335"/>
                  <a:gd name="T9" fmla="*/ 125 h 268"/>
                  <a:gd name="T10" fmla="*/ 278 w 335"/>
                  <a:gd name="T11" fmla="*/ 116 h 268"/>
                  <a:gd name="T12" fmla="*/ 276 w 335"/>
                  <a:gd name="T13" fmla="*/ 91 h 268"/>
                  <a:gd name="T14" fmla="*/ 262 w 335"/>
                  <a:gd name="T15" fmla="*/ 77 h 268"/>
                  <a:gd name="T16" fmla="*/ 266 w 335"/>
                  <a:gd name="T17" fmla="*/ 43 h 268"/>
                  <a:gd name="T18" fmla="*/ 254 w 335"/>
                  <a:gd name="T19" fmla="*/ 21 h 268"/>
                  <a:gd name="T20" fmla="*/ 238 w 335"/>
                  <a:gd name="T21" fmla="*/ 22 h 268"/>
                  <a:gd name="T22" fmla="*/ 229 w 335"/>
                  <a:gd name="T23" fmla="*/ 20 h 268"/>
                  <a:gd name="T24" fmla="*/ 213 w 335"/>
                  <a:gd name="T25" fmla="*/ 7 h 268"/>
                  <a:gd name="T26" fmla="*/ 202 w 335"/>
                  <a:gd name="T27" fmla="*/ 1 h 268"/>
                  <a:gd name="T28" fmla="*/ 188 w 335"/>
                  <a:gd name="T29" fmla="*/ 20 h 268"/>
                  <a:gd name="T30" fmla="*/ 188 w 335"/>
                  <a:gd name="T31" fmla="*/ 43 h 268"/>
                  <a:gd name="T32" fmla="*/ 186 w 335"/>
                  <a:gd name="T33" fmla="*/ 68 h 268"/>
                  <a:gd name="T34" fmla="*/ 150 w 335"/>
                  <a:gd name="T35" fmla="*/ 62 h 268"/>
                  <a:gd name="T36" fmla="*/ 130 w 335"/>
                  <a:gd name="T37" fmla="*/ 84 h 268"/>
                  <a:gd name="T38" fmla="*/ 113 w 335"/>
                  <a:gd name="T39" fmla="*/ 79 h 268"/>
                  <a:gd name="T40" fmla="*/ 87 w 335"/>
                  <a:gd name="T41" fmla="*/ 63 h 268"/>
                  <a:gd name="T42" fmla="*/ 66 w 335"/>
                  <a:gd name="T43" fmla="*/ 79 h 268"/>
                  <a:gd name="T44" fmla="*/ 51 w 335"/>
                  <a:gd name="T45" fmla="*/ 81 h 268"/>
                  <a:gd name="T46" fmla="*/ 39 w 335"/>
                  <a:gd name="T47" fmla="*/ 78 h 268"/>
                  <a:gd name="T48" fmla="*/ 36 w 335"/>
                  <a:gd name="T49" fmla="*/ 82 h 268"/>
                  <a:gd name="T50" fmla="*/ 32 w 335"/>
                  <a:gd name="T51" fmla="*/ 94 h 268"/>
                  <a:gd name="T52" fmla="*/ 23 w 335"/>
                  <a:gd name="T53" fmla="*/ 112 h 268"/>
                  <a:gd name="T54" fmla="*/ 8 w 335"/>
                  <a:gd name="T55" fmla="*/ 126 h 268"/>
                  <a:gd name="T56" fmla="*/ 3 w 335"/>
                  <a:gd name="T57" fmla="*/ 148 h 268"/>
                  <a:gd name="T58" fmla="*/ 8 w 335"/>
                  <a:gd name="T59" fmla="*/ 172 h 268"/>
                  <a:gd name="T60" fmla="*/ 14 w 335"/>
                  <a:gd name="T61" fmla="*/ 188 h 268"/>
                  <a:gd name="T62" fmla="*/ 18 w 335"/>
                  <a:gd name="T63" fmla="*/ 202 h 268"/>
                  <a:gd name="T64" fmla="*/ 23 w 335"/>
                  <a:gd name="T65" fmla="*/ 209 h 268"/>
                  <a:gd name="T66" fmla="*/ 29 w 335"/>
                  <a:gd name="T67" fmla="*/ 224 h 268"/>
                  <a:gd name="T68" fmla="*/ 41 w 335"/>
                  <a:gd name="T69" fmla="*/ 226 h 268"/>
                  <a:gd name="T70" fmla="*/ 54 w 335"/>
                  <a:gd name="T71" fmla="*/ 222 h 268"/>
                  <a:gd name="T72" fmla="*/ 55 w 335"/>
                  <a:gd name="T73" fmla="*/ 238 h 268"/>
                  <a:gd name="T74" fmla="*/ 63 w 335"/>
                  <a:gd name="T75" fmla="*/ 236 h 268"/>
                  <a:gd name="T76" fmla="*/ 78 w 335"/>
                  <a:gd name="T77" fmla="*/ 237 h 268"/>
                  <a:gd name="T78" fmla="*/ 93 w 335"/>
                  <a:gd name="T79" fmla="*/ 224 h 268"/>
                  <a:gd name="T80" fmla="*/ 131 w 335"/>
                  <a:gd name="T81" fmla="*/ 211 h 268"/>
                  <a:gd name="T82" fmla="*/ 140 w 335"/>
                  <a:gd name="T83" fmla="*/ 202 h 268"/>
                  <a:gd name="T84" fmla="*/ 148 w 335"/>
                  <a:gd name="T85" fmla="*/ 190 h 268"/>
                  <a:gd name="T86" fmla="*/ 155 w 335"/>
                  <a:gd name="T87" fmla="*/ 191 h 268"/>
                  <a:gd name="T88" fmla="*/ 165 w 335"/>
                  <a:gd name="T89" fmla="*/ 193 h 268"/>
                  <a:gd name="T90" fmla="*/ 173 w 335"/>
                  <a:gd name="T91" fmla="*/ 198 h 268"/>
                  <a:gd name="T92" fmla="*/ 180 w 335"/>
                  <a:gd name="T93" fmla="*/ 214 h 268"/>
                  <a:gd name="T94" fmla="*/ 192 w 335"/>
                  <a:gd name="T95" fmla="*/ 224 h 268"/>
                  <a:gd name="T96" fmla="*/ 202 w 335"/>
                  <a:gd name="T97" fmla="*/ 234 h 268"/>
                  <a:gd name="T98" fmla="*/ 213 w 335"/>
                  <a:gd name="T99" fmla="*/ 246 h 268"/>
                  <a:gd name="T100" fmla="*/ 231 w 335"/>
                  <a:gd name="T101" fmla="*/ 249 h 268"/>
                  <a:gd name="T102" fmla="*/ 242 w 335"/>
                  <a:gd name="T103" fmla="*/ 243 h 268"/>
                  <a:gd name="T104" fmla="*/ 256 w 335"/>
                  <a:gd name="T105" fmla="*/ 250 h 268"/>
                  <a:gd name="T106" fmla="*/ 268 w 335"/>
                  <a:gd name="T107" fmla="*/ 259 h 268"/>
                  <a:gd name="T108" fmla="*/ 268 w 335"/>
                  <a:gd name="T109" fmla="*/ 267 h 268"/>
                  <a:gd name="T110" fmla="*/ 279 w 335"/>
                  <a:gd name="T111" fmla="*/ 263 h 268"/>
                  <a:gd name="T112" fmla="*/ 282 w 335"/>
                  <a:gd name="T113" fmla="*/ 252 h 268"/>
                  <a:gd name="T114" fmla="*/ 295 w 335"/>
                  <a:gd name="T115" fmla="*/ 241 h 268"/>
                  <a:gd name="T116" fmla="*/ 305 w 335"/>
                  <a:gd name="T117" fmla="*/ 255 h 268"/>
                  <a:gd name="T118" fmla="*/ 319 w 335"/>
                  <a:gd name="T119" fmla="*/ 253 h 268"/>
                  <a:gd name="T120" fmla="*/ 326 w 335"/>
                  <a:gd name="T121" fmla="*/ 256 h 26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35"/>
                  <a:gd name="T184" fmla="*/ 0 h 268"/>
                  <a:gd name="T185" fmla="*/ 335 w 335"/>
                  <a:gd name="T186" fmla="*/ 268 h 26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35" h="268">
                    <a:moveTo>
                      <a:pt x="334" y="252"/>
                    </a:moveTo>
                    <a:lnTo>
                      <a:pt x="334" y="249"/>
                    </a:lnTo>
                    <a:lnTo>
                      <a:pt x="333" y="249"/>
                    </a:lnTo>
                    <a:lnTo>
                      <a:pt x="332" y="246"/>
                    </a:lnTo>
                    <a:lnTo>
                      <a:pt x="331" y="245"/>
                    </a:lnTo>
                    <a:lnTo>
                      <a:pt x="331" y="244"/>
                    </a:lnTo>
                    <a:lnTo>
                      <a:pt x="329" y="242"/>
                    </a:lnTo>
                    <a:lnTo>
                      <a:pt x="328" y="239"/>
                    </a:lnTo>
                    <a:lnTo>
                      <a:pt x="326" y="238"/>
                    </a:lnTo>
                    <a:lnTo>
                      <a:pt x="328" y="238"/>
                    </a:lnTo>
                    <a:lnTo>
                      <a:pt x="324" y="233"/>
                    </a:lnTo>
                    <a:lnTo>
                      <a:pt x="326" y="232"/>
                    </a:lnTo>
                    <a:lnTo>
                      <a:pt x="327" y="231"/>
                    </a:lnTo>
                    <a:lnTo>
                      <a:pt x="323" y="230"/>
                    </a:lnTo>
                    <a:lnTo>
                      <a:pt x="321" y="228"/>
                    </a:lnTo>
                    <a:lnTo>
                      <a:pt x="326" y="220"/>
                    </a:lnTo>
                    <a:lnTo>
                      <a:pt x="325" y="218"/>
                    </a:lnTo>
                    <a:lnTo>
                      <a:pt x="328" y="214"/>
                    </a:lnTo>
                    <a:lnTo>
                      <a:pt x="331" y="212"/>
                    </a:lnTo>
                    <a:lnTo>
                      <a:pt x="328" y="210"/>
                    </a:lnTo>
                    <a:lnTo>
                      <a:pt x="328" y="207"/>
                    </a:lnTo>
                    <a:lnTo>
                      <a:pt x="327" y="204"/>
                    </a:lnTo>
                    <a:lnTo>
                      <a:pt x="323" y="201"/>
                    </a:lnTo>
                    <a:lnTo>
                      <a:pt x="323" y="200"/>
                    </a:lnTo>
                    <a:lnTo>
                      <a:pt x="325" y="196"/>
                    </a:lnTo>
                    <a:lnTo>
                      <a:pt x="328" y="194"/>
                    </a:lnTo>
                    <a:lnTo>
                      <a:pt x="326" y="191"/>
                    </a:lnTo>
                    <a:lnTo>
                      <a:pt x="325" y="180"/>
                    </a:lnTo>
                    <a:lnTo>
                      <a:pt x="324" y="180"/>
                    </a:lnTo>
                    <a:lnTo>
                      <a:pt x="324" y="178"/>
                    </a:lnTo>
                    <a:lnTo>
                      <a:pt x="326" y="174"/>
                    </a:lnTo>
                    <a:lnTo>
                      <a:pt x="325" y="172"/>
                    </a:lnTo>
                    <a:lnTo>
                      <a:pt x="327" y="167"/>
                    </a:lnTo>
                    <a:lnTo>
                      <a:pt x="324" y="165"/>
                    </a:lnTo>
                    <a:lnTo>
                      <a:pt x="325" y="164"/>
                    </a:lnTo>
                    <a:lnTo>
                      <a:pt x="328" y="158"/>
                    </a:lnTo>
                    <a:lnTo>
                      <a:pt x="330" y="155"/>
                    </a:lnTo>
                    <a:lnTo>
                      <a:pt x="328" y="150"/>
                    </a:lnTo>
                    <a:lnTo>
                      <a:pt x="323" y="145"/>
                    </a:lnTo>
                    <a:lnTo>
                      <a:pt x="322" y="142"/>
                    </a:lnTo>
                    <a:lnTo>
                      <a:pt x="322" y="139"/>
                    </a:lnTo>
                    <a:lnTo>
                      <a:pt x="322" y="133"/>
                    </a:lnTo>
                    <a:lnTo>
                      <a:pt x="319" y="134"/>
                    </a:lnTo>
                    <a:lnTo>
                      <a:pt x="316" y="127"/>
                    </a:lnTo>
                    <a:lnTo>
                      <a:pt x="313" y="127"/>
                    </a:lnTo>
                    <a:lnTo>
                      <a:pt x="308" y="125"/>
                    </a:lnTo>
                    <a:lnTo>
                      <a:pt x="306" y="123"/>
                    </a:lnTo>
                    <a:lnTo>
                      <a:pt x="304" y="120"/>
                    </a:lnTo>
                    <a:lnTo>
                      <a:pt x="301" y="119"/>
                    </a:lnTo>
                    <a:lnTo>
                      <a:pt x="300" y="117"/>
                    </a:lnTo>
                    <a:lnTo>
                      <a:pt x="298" y="116"/>
                    </a:lnTo>
                    <a:lnTo>
                      <a:pt x="296" y="116"/>
                    </a:lnTo>
                    <a:lnTo>
                      <a:pt x="294" y="116"/>
                    </a:lnTo>
                    <a:lnTo>
                      <a:pt x="289" y="125"/>
                    </a:lnTo>
                    <a:lnTo>
                      <a:pt x="284" y="129"/>
                    </a:lnTo>
                    <a:lnTo>
                      <a:pt x="282" y="129"/>
                    </a:lnTo>
                    <a:lnTo>
                      <a:pt x="281" y="128"/>
                    </a:lnTo>
                    <a:lnTo>
                      <a:pt x="279" y="128"/>
                    </a:lnTo>
                    <a:lnTo>
                      <a:pt x="278" y="126"/>
                    </a:lnTo>
                    <a:lnTo>
                      <a:pt x="279" y="125"/>
                    </a:lnTo>
                    <a:lnTo>
                      <a:pt x="279" y="124"/>
                    </a:lnTo>
                    <a:lnTo>
                      <a:pt x="280" y="122"/>
                    </a:lnTo>
                    <a:lnTo>
                      <a:pt x="279" y="121"/>
                    </a:lnTo>
                    <a:lnTo>
                      <a:pt x="279" y="120"/>
                    </a:lnTo>
                    <a:lnTo>
                      <a:pt x="278" y="116"/>
                    </a:lnTo>
                    <a:lnTo>
                      <a:pt x="281" y="114"/>
                    </a:lnTo>
                    <a:lnTo>
                      <a:pt x="280" y="113"/>
                    </a:lnTo>
                    <a:lnTo>
                      <a:pt x="281" y="112"/>
                    </a:lnTo>
                    <a:lnTo>
                      <a:pt x="280" y="110"/>
                    </a:lnTo>
                    <a:lnTo>
                      <a:pt x="282" y="107"/>
                    </a:lnTo>
                    <a:lnTo>
                      <a:pt x="281" y="107"/>
                    </a:lnTo>
                    <a:lnTo>
                      <a:pt x="281" y="99"/>
                    </a:lnTo>
                    <a:lnTo>
                      <a:pt x="279" y="96"/>
                    </a:lnTo>
                    <a:lnTo>
                      <a:pt x="278" y="92"/>
                    </a:lnTo>
                    <a:lnTo>
                      <a:pt x="277" y="92"/>
                    </a:lnTo>
                    <a:lnTo>
                      <a:pt x="276" y="91"/>
                    </a:lnTo>
                    <a:lnTo>
                      <a:pt x="275" y="91"/>
                    </a:lnTo>
                    <a:lnTo>
                      <a:pt x="275" y="90"/>
                    </a:lnTo>
                    <a:lnTo>
                      <a:pt x="274" y="91"/>
                    </a:lnTo>
                    <a:lnTo>
                      <a:pt x="274" y="90"/>
                    </a:lnTo>
                    <a:lnTo>
                      <a:pt x="271" y="90"/>
                    </a:lnTo>
                    <a:lnTo>
                      <a:pt x="271" y="88"/>
                    </a:lnTo>
                    <a:lnTo>
                      <a:pt x="268" y="87"/>
                    </a:lnTo>
                    <a:lnTo>
                      <a:pt x="266" y="86"/>
                    </a:lnTo>
                    <a:lnTo>
                      <a:pt x="262" y="79"/>
                    </a:lnTo>
                    <a:lnTo>
                      <a:pt x="262" y="77"/>
                    </a:lnTo>
                    <a:lnTo>
                      <a:pt x="260" y="73"/>
                    </a:lnTo>
                    <a:lnTo>
                      <a:pt x="259" y="71"/>
                    </a:lnTo>
                    <a:lnTo>
                      <a:pt x="259" y="60"/>
                    </a:lnTo>
                    <a:lnTo>
                      <a:pt x="258" y="57"/>
                    </a:lnTo>
                    <a:lnTo>
                      <a:pt x="259" y="54"/>
                    </a:lnTo>
                    <a:lnTo>
                      <a:pt x="259" y="52"/>
                    </a:lnTo>
                    <a:lnTo>
                      <a:pt x="260" y="50"/>
                    </a:lnTo>
                    <a:lnTo>
                      <a:pt x="262" y="49"/>
                    </a:lnTo>
                    <a:lnTo>
                      <a:pt x="262" y="48"/>
                    </a:lnTo>
                    <a:lnTo>
                      <a:pt x="266" y="46"/>
                    </a:lnTo>
                    <a:lnTo>
                      <a:pt x="266" y="43"/>
                    </a:lnTo>
                    <a:lnTo>
                      <a:pt x="265" y="39"/>
                    </a:lnTo>
                    <a:lnTo>
                      <a:pt x="262" y="38"/>
                    </a:lnTo>
                    <a:lnTo>
                      <a:pt x="264" y="33"/>
                    </a:lnTo>
                    <a:lnTo>
                      <a:pt x="264" y="30"/>
                    </a:lnTo>
                    <a:lnTo>
                      <a:pt x="258" y="28"/>
                    </a:lnTo>
                    <a:lnTo>
                      <a:pt x="257" y="28"/>
                    </a:lnTo>
                    <a:lnTo>
                      <a:pt x="256" y="29"/>
                    </a:lnTo>
                    <a:lnTo>
                      <a:pt x="254" y="26"/>
                    </a:lnTo>
                    <a:lnTo>
                      <a:pt x="256" y="25"/>
                    </a:lnTo>
                    <a:lnTo>
                      <a:pt x="255" y="23"/>
                    </a:lnTo>
                    <a:lnTo>
                      <a:pt x="254" y="21"/>
                    </a:lnTo>
                    <a:lnTo>
                      <a:pt x="256" y="20"/>
                    </a:lnTo>
                    <a:lnTo>
                      <a:pt x="255" y="20"/>
                    </a:lnTo>
                    <a:lnTo>
                      <a:pt x="250" y="20"/>
                    </a:lnTo>
                    <a:lnTo>
                      <a:pt x="247" y="22"/>
                    </a:lnTo>
                    <a:lnTo>
                      <a:pt x="245" y="21"/>
                    </a:lnTo>
                    <a:lnTo>
                      <a:pt x="243" y="23"/>
                    </a:lnTo>
                    <a:lnTo>
                      <a:pt x="243" y="26"/>
                    </a:lnTo>
                    <a:lnTo>
                      <a:pt x="241" y="26"/>
                    </a:lnTo>
                    <a:lnTo>
                      <a:pt x="238" y="23"/>
                    </a:lnTo>
                    <a:lnTo>
                      <a:pt x="237" y="23"/>
                    </a:lnTo>
                    <a:lnTo>
                      <a:pt x="238" y="22"/>
                    </a:lnTo>
                    <a:lnTo>
                      <a:pt x="238" y="20"/>
                    </a:lnTo>
                    <a:lnTo>
                      <a:pt x="238" y="18"/>
                    </a:lnTo>
                    <a:lnTo>
                      <a:pt x="239" y="12"/>
                    </a:lnTo>
                    <a:lnTo>
                      <a:pt x="238" y="7"/>
                    </a:lnTo>
                    <a:lnTo>
                      <a:pt x="234" y="9"/>
                    </a:lnTo>
                    <a:lnTo>
                      <a:pt x="230" y="9"/>
                    </a:lnTo>
                    <a:lnTo>
                      <a:pt x="230" y="12"/>
                    </a:lnTo>
                    <a:lnTo>
                      <a:pt x="227" y="15"/>
                    </a:lnTo>
                    <a:lnTo>
                      <a:pt x="227" y="18"/>
                    </a:lnTo>
                    <a:lnTo>
                      <a:pt x="228" y="18"/>
                    </a:lnTo>
                    <a:lnTo>
                      <a:pt x="229" y="20"/>
                    </a:lnTo>
                    <a:lnTo>
                      <a:pt x="227" y="19"/>
                    </a:lnTo>
                    <a:lnTo>
                      <a:pt x="225" y="20"/>
                    </a:lnTo>
                    <a:lnTo>
                      <a:pt x="224" y="18"/>
                    </a:lnTo>
                    <a:lnTo>
                      <a:pt x="221" y="18"/>
                    </a:lnTo>
                    <a:lnTo>
                      <a:pt x="219" y="18"/>
                    </a:lnTo>
                    <a:lnTo>
                      <a:pt x="218" y="14"/>
                    </a:lnTo>
                    <a:lnTo>
                      <a:pt x="218" y="13"/>
                    </a:lnTo>
                    <a:lnTo>
                      <a:pt x="221" y="10"/>
                    </a:lnTo>
                    <a:lnTo>
                      <a:pt x="220" y="8"/>
                    </a:lnTo>
                    <a:lnTo>
                      <a:pt x="215" y="7"/>
                    </a:lnTo>
                    <a:lnTo>
                      <a:pt x="213" y="7"/>
                    </a:lnTo>
                    <a:lnTo>
                      <a:pt x="213" y="5"/>
                    </a:lnTo>
                    <a:lnTo>
                      <a:pt x="211" y="4"/>
                    </a:lnTo>
                    <a:lnTo>
                      <a:pt x="211" y="3"/>
                    </a:lnTo>
                    <a:lnTo>
                      <a:pt x="209" y="1"/>
                    </a:lnTo>
                    <a:lnTo>
                      <a:pt x="208" y="6"/>
                    </a:lnTo>
                    <a:lnTo>
                      <a:pt x="205" y="7"/>
                    </a:lnTo>
                    <a:lnTo>
                      <a:pt x="202" y="5"/>
                    </a:lnTo>
                    <a:lnTo>
                      <a:pt x="202" y="4"/>
                    </a:lnTo>
                    <a:lnTo>
                      <a:pt x="202" y="3"/>
                    </a:lnTo>
                    <a:lnTo>
                      <a:pt x="202" y="1"/>
                    </a:lnTo>
                    <a:lnTo>
                      <a:pt x="199" y="0"/>
                    </a:lnTo>
                    <a:lnTo>
                      <a:pt x="197" y="0"/>
                    </a:lnTo>
                    <a:lnTo>
                      <a:pt x="197" y="3"/>
                    </a:lnTo>
                    <a:lnTo>
                      <a:pt x="196" y="3"/>
                    </a:lnTo>
                    <a:lnTo>
                      <a:pt x="193" y="5"/>
                    </a:lnTo>
                    <a:lnTo>
                      <a:pt x="191" y="5"/>
                    </a:lnTo>
                    <a:lnTo>
                      <a:pt x="189" y="5"/>
                    </a:lnTo>
                    <a:lnTo>
                      <a:pt x="188" y="7"/>
                    </a:lnTo>
                    <a:lnTo>
                      <a:pt x="183" y="13"/>
                    </a:lnTo>
                    <a:lnTo>
                      <a:pt x="185" y="15"/>
                    </a:lnTo>
                    <a:lnTo>
                      <a:pt x="188" y="20"/>
                    </a:lnTo>
                    <a:lnTo>
                      <a:pt x="189" y="18"/>
                    </a:lnTo>
                    <a:lnTo>
                      <a:pt x="193" y="17"/>
                    </a:lnTo>
                    <a:lnTo>
                      <a:pt x="193" y="18"/>
                    </a:lnTo>
                    <a:lnTo>
                      <a:pt x="194" y="23"/>
                    </a:lnTo>
                    <a:lnTo>
                      <a:pt x="196" y="27"/>
                    </a:lnTo>
                    <a:lnTo>
                      <a:pt x="195" y="26"/>
                    </a:lnTo>
                    <a:lnTo>
                      <a:pt x="193" y="28"/>
                    </a:lnTo>
                    <a:lnTo>
                      <a:pt x="193" y="34"/>
                    </a:lnTo>
                    <a:lnTo>
                      <a:pt x="192" y="37"/>
                    </a:lnTo>
                    <a:lnTo>
                      <a:pt x="193" y="38"/>
                    </a:lnTo>
                    <a:lnTo>
                      <a:pt x="188" y="43"/>
                    </a:lnTo>
                    <a:lnTo>
                      <a:pt x="187" y="44"/>
                    </a:lnTo>
                    <a:lnTo>
                      <a:pt x="185" y="46"/>
                    </a:lnTo>
                    <a:lnTo>
                      <a:pt x="186" y="48"/>
                    </a:lnTo>
                    <a:lnTo>
                      <a:pt x="187" y="51"/>
                    </a:lnTo>
                    <a:lnTo>
                      <a:pt x="187" y="54"/>
                    </a:lnTo>
                    <a:lnTo>
                      <a:pt x="189" y="54"/>
                    </a:lnTo>
                    <a:lnTo>
                      <a:pt x="186" y="56"/>
                    </a:lnTo>
                    <a:lnTo>
                      <a:pt x="186" y="59"/>
                    </a:lnTo>
                    <a:lnTo>
                      <a:pt x="185" y="60"/>
                    </a:lnTo>
                    <a:lnTo>
                      <a:pt x="186" y="61"/>
                    </a:lnTo>
                    <a:lnTo>
                      <a:pt x="186" y="68"/>
                    </a:lnTo>
                    <a:lnTo>
                      <a:pt x="186" y="71"/>
                    </a:lnTo>
                    <a:lnTo>
                      <a:pt x="185" y="71"/>
                    </a:lnTo>
                    <a:lnTo>
                      <a:pt x="179" y="71"/>
                    </a:lnTo>
                    <a:lnTo>
                      <a:pt x="177" y="73"/>
                    </a:lnTo>
                    <a:lnTo>
                      <a:pt x="174" y="73"/>
                    </a:lnTo>
                    <a:lnTo>
                      <a:pt x="171" y="71"/>
                    </a:lnTo>
                    <a:lnTo>
                      <a:pt x="169" y="69"/>
                    </a:lnTo>
                    <a:lnTo>
                      <a:pt x="159" y="64"/>
                    </a:lnTo>
                    <a:lnTo>
                      <a:pt x="158" y="68"/>
                    </a:lnTo>
                    <a:lnTo>
                      <a:pt x="152" y="62"/>
                    </a:lnTo>
                    <a:lnTo>
                      <a:pt x="150" y="62"/>
                    </a:lnTo>
                    <a:lnTo>
                      <a:pt x="149" y="65"/>
                    </a:lnTo>
                    <a:lnTo>
                      <a:pt x="147" y="65"/>
                    </a:lnTo>
                    <a:lnTo>
                      <a:pt x="145" y="65"/>
                    </a:lnTo>
                    <a:lnTo>
                      <a:pt x="143" y="65"/>
                    </a:lnTo>
                    <a:lnTo>
                      <a:pt x="140" y="63"/>
                    </a:lnTo>
                    <a:lnTo>
                      <a:pt x="139" y="63"/>
                    </a:lnTo>
                    <a:lnTo>
                      <a:pt x="139" y="65"/>
                    </a:lnTo>
                    <a:lnTo>
                      <a:pt x="137" y="69"/>
                    </a:lnTo>
                    <a:lnTo>
                      <a:pt x="134" y="72"/>
                    </a:lnTo>
                    <a:lnTo>
                      <a:pt x="131" y="78"/>
                    </a:lnTo>
                    <a:lnTo>
                      <a:pt x="130" y="84"/>
                    </a:lnTo>
                    <a:lnTo>
                      <a:pt x="128" y="86"/>
                    </a:lnTo>
                    <a:lnTo>
                      <a:pt x="128" y="84"/>
                    </a:lnTo>
                    <a:lnTo>
                      <a:pt x="124" y="86"/>
                    </a:lnTo>
                    <a:lnTo>
                      <a:pt x="121" y="85"/>
                    </a:lnTo>
                    <a:lnTo>
                      <a:pt x="121" y="84"/>
                    </a:lnTo>
                    <a:lnTo>
                      <a:pt x="120" y="84"/>
                    </a:lnTo>
                    <a:lnTo>
                      <a:pt x="119" y="82"/>
                    </a:lnTo>
                    <a:lnTo>
                      <a:pt x="117" y="82"/>
                    </a:lnTo>
                    <a:lnTo>
                      <a:pt x="115" y="80"/>
                    </a:lnTo>
                    <a:lnTo>
                      <a:pt x="113" y="79"/>
                    </a:lnTo>
                    <a:lnTo>
                      <a:pt x="112" y="81"/>
                    </a:lnTo>
                    <a:lnTo>
                      <a:pt x="109" y="82"/>
                    </a:lnTo>
                    <a:lnTo>
                      <a:pt x="107" y="81"/>
                    </a:lnTo>
                    <a:lnTo>
                      <a:pt x="107" y="80"/>
                    </a:lnTo>
                    <a:lnTo>
                      <a:pt x="109" y="77"/>
                    </a:lnTo>
                    <a:lnTo>
                      <a:pt x="106" y="73"/>
                    </a:lnTo>
                    <a:lnTo>
                      <a:pt x="101" y="73"/>
                    </a:lnTo>
                    <a:lnTo>
                      <a:pt x="99" y="71"/>
                    </a:lnTo>
                    <a:lnTo>
                      <a:pt x="95" y="67"/>
                    </a:lnTo>
                    <a:lnTo>
                      <a:pt x="91" y="67"/>
                    </a:lnTo>
                    <a:lnTo>
                      <a:pt x="87" y="63"/>
                    </a:lnTo>
                    <a:lnTo>
                      <a:pt x="83" y="61"/>
                    </a:lnTo>
                    <a:lnTo>
                      <a:pt x="80" y="68"/>
                    </a:lnTo>
                    <a:lnTo>
                      <a:pt x="79" y="69"/>
                    </a:lnTo>
                    <a:lnTo>
                      <a:pt x="77" y="69"/>
                    </a:lnTo>
                    <a:lnTo>
                      <a:pt x="75" y="70"/>
                    </a:lnTo>
                    <a:lnTo>
                      <a:pt x="69" y="68"/>
                    </a:lnTo>
                    <a:lnTo>
                      <a:pt x="69" y="69"/>
                    </a:lnTo>
                    <a:lnTo>
                      <a:pt x="69" y="73"/>
                    </a:lnTo>
                    <a:lnTo>
                      <a:pt x="67" y="74"/>
                    </a:lnTo>
                    <a:lnTo>
                      <a:pt x="67" y="77"/>
                    </a:lnTo>
                    <a:lnTo>
                      <a:pt x="66" y="79"/>
                    </a:lnTo>
                    <a:lnTo>
                      <a:pt x="66" y="83"/>
                    </a:lnTo>
                    <a:lnTo>
                      <a:pt x="65" y="86"/>
                    </a:lnTo>
                    <a:lnTo>
                      <a:pt x="62" y="87"/>
                    </a:lnTo>
                    <a:lnTo>
                      <a:pt x="60" y="87"/>
                    </a:lnTo>
                    <a:lnTo>
                      <a:pt x="60" y="86"/>
                    </a:lnTo>
                    <a:lnTo>
                      <a:pt x="59" y="88"/>
                    </a:lnTo>
                    <a:lnTo>
                      <a:pt x="58" y="86"/>
                    </a:lnTo>
                    <a:lnTo>
                      <a:pt x="55" y="86"/>
                    </a:lnTo>
                    <a:lnTo>
                      <a:pt x="55" y="85"/>
                    </a:lnTo>
                    <a:lnTo>
                      <a:pt x="52" y="84"/>
                    </a:lnTo>
                    <a:lnTo>
                      <a:pt x="51" y="81"/>
                    </a:lnTo>
                    <a:lnTo>
                      <a:pt x="48" y="78"/>
                    </a:lnTo>
                    <a:lnTo>
                      <a:pt x="47" y="78"/>
                    </a:lnTo>
                    <a:lnTo>
                      <a:pt x="46" y="79"/>
                    </a:lnTo>
                    <a:lnTo>
                      <a:pt x="46" y="78"/>
                    </a:lnTo>
                    <a:lnTo>
                      <a:pt x="44" y="79"/>
                    </a:lnTo>
                    <a:lnTo>
                      <a:pt x="45" y="78"/>
                    </a:lnTo>
                    <a:lnTo>
                      <a:pt x="46" y="76"/>
                    </a:lnTo>
                    <a:lnTo>
                      <a:pt x="44" y="76"/>
                    </a:lnTo>
                    <a:lnTo>
                      <a:pt x="44" y="75"/>
                    </a:lnTo>
                    <a:lnTo>
                      <a:pt x="41" y="76"/>
                    </a:lnTo>
                    <a:lnTo>
                      <a:pt x="39" y="78"/>
                    </a:lnTo>
                    <a:lnTo>
                      <a:pt x="37" y="75"/>
                    </a:lnTo>
                    <a:lnTo>
                      <a:pt x="34" y="76"/>
                    </a:lnTo>
                    <a:lnTo>
                      <a:pt x="36" y="78"/>
                    </a:lnTo>
                    <a:lnTo>
                      <a:pt x="35" y="78"/>
                    </a:lnTo>
                    <a:lnTo>
                      <a:pt x="36" y="79"/>
                    </a:lnTo>
                    <a:lnTo>
                      <a:pt x="37" y="78"/>
                    </a:lnTo>
                    <a:lnTo>
                      <a:pt x="38" y="79"/>
                    </a:lnTo>
                    <a:lnTo>
                      <a:pt x="38" y="80"/>
                    </a:lnTo>
                    <a:lnTo>
                      <a:pt x="37" y="79"/>
                    </a:lnTo>
                    <a:lnTo>
                      <a:pt x="36" y="81"/>
                    </a:lnTo>
                    <a:lnTo>
                      <a:pt x="36" y="82"/>
                    </a:lnTo>
                    <a:lnTo>
                      <a:pt x="36" y="84"/>
                    </a:lnTo>
                    <a:lnTo>
                      <a:pt x="37" y="84"/>
                    </a:lnTo>
                    <a:lnTo>
                      <a:pt x="38" y="85"/>
                    </a:lnTo>
                    <a:lnTo>
                      <a:pt x="38" y="86"/>
                    </a:lnTo>
                    <a:lnTo>
                      <a:pt x="35" y="87"/>
                    </a:lnTo>
                    <a:lnTo>
                      <a:pt x="34" y="89"/>
                    </a:lnTo>
                    <a:lnTo>
                      <a:pt x="36" y="91"/>
                    </a:lnTo>
                    <a:lnTo>
                      <a:pt x="34" y="95"/>
                    </a:lnTo>
                    <a:lnTo>
                      <a:pt x="32" y="94"/>
                    </a:lnTo>
                    <a:lnTo>
                      <a:pt x="30" y="94"/>
                    </a:lnTo>
                    <a:lnTo>
                      <a:pt x="28" y="97"/>
                    </a:lnTo>
                    <a:lnTo>
                      <a:pt x="26" y="102"/>
                    </a:lnTo>
                    <a:lnTo>
                      <a:pt x="26" y="104"/>
                    </a:lnTo>
                    <a:lnTo>
                      <a:pt x="25" y="104"/>
                    </a:lnTo>
                    <a:lnTo>
                      <a:pt x="24" y="107"/>
                    </a:lnTo>
                    <a:lnTo>
                      <a:pt x="27" y="110"/>
                    </a:lnTo>
                    <a:lnTo>
                      <a:pt x="26" y="112"/>
                    </a:lnTo>
                    <a:lnTo>
                      <a:pt x="23" y="112"/>
                    </a:lnTo>
                    <a:lnTo>
                      <a:pt x="23" y="110"/>
                    </a:lnTo>
                    <a:lnTo>
                      <a:pt x="23" y="108"/>
                    </a:lnTo>
                    <a:lnTo>
                      <a:pt x="22" y="110"/>
                    </a:lnTo>
                    <a:lnTo>
                      <a:pt x="20" y="114"/>
                    </a:lnTo>
                    <a:lnTo>
                      <a:pt x="16" y="115"/>
                    </a:lnTo>
                    <a:lnTo>
                      <a:pt x="12" y="116"/>
                    </a:lnTo>
                    <a:lnTo>
                      <a:pt x="10" y="118"/>
                    </a:lnTo>
                    <a:lnTo>
                      <a:pt x="10" y="121"/>
                    </a:lnTo>
                    <a:lnTo>
                      <a:pt x="9" y="123"/>
                    </a:lnTo>
                    <a:lnTo>
                      <a:pt x="8" y="126"/>
                    </a:lnTo>
                    <a:lnTo>
                      <a:pt x="10" y="128"/>
                    </a:lnTo>
                    <a:lnTo>
                      <a:pt x="10" y="130"/>
                    </a:lnTo>
                    <a:lnTo>
                      <a:pt x="4" y="135"/>
                    </a:lnTo>
                    <a:lnTo>
                      <a:pt x="3" y="134"/>
                    </a:lnTo>
                    <a:lnTo>
                      <a:pt x="0" y="139"/>
                    </a:lnTo>
                    <a:lnTo>
                      <a:pt x="0" y="144"/>
                    </a:lnTo>
                    <a:lnTo>
                      <a:pt x="2" y="144"/>
                    </a:lnTo>
                    <a:lnTo>
                      <a:pt x="3" y="144"/>
                    </a:lnTo>
                    <a:lnTo>
                      <a:pt x="4" y="144"/>
                    </a:lnTo>
                    <a:lnTo>
                      <a:pt x="3" y="147"/>
                    </a:lnTo>
                    <a:lnTo>
                      <a:pt x="3" y="148"/>
                    </a:lnTo>
                    <a:lnTo>
                      <a:pt x="3" y="149"/>
                    </a:lnTo>
                    <a:lnTo>
                      <a:pt x="4" y="153"/>
                    </a:lnTo>
                    <a:lnTo>
                      <a:pt x="4" y="154"/>
                    </a:lnTo>
                    <a:lnTo>
                      <a:pt x="2" y="158"/>
                    </a:lnTo>
                    <a:lnTo>
                      <a:pt x="5" y="161"/>
                    </a:lnTo>
                    <a:lnTo>
                      <a:pt x="4" y="161"/>
                    </a:lnTo>
                    <a:lnTo>
                      <a:pt x="4" y="163"/>
                    </a:lnTo>
                    <a:lnTo>
                      <a:pt x="6" y="165"/>
                    </a:lnTo>
                    <a:lnTo>
                      <a:pt x="7" y="170"/>
                    </a:lnTo>
                    <a:lnTo>
                      <a:pt x="6" y="172"/>
                    </a:lnTo>
                    <a:lnTo>
                      <a:pt x="8" y="172"/>
                    </a:lnTo>
                    <a:lnTo>
                      <a:pt x="9" y="175"/>
                    </a:lnTo>
                    <a:lnTo>
                      <a:pt x="9" y="176"/>
                    </a:lnTo>
                    <a:lnTo>
                      <a:pt x="12" y="178"/>
                    </a:lnTo>
                    <a:lnTo>
                      <a:pt x="12" y="181"/>
                    </a:lnTo>
                    <a:lnTo>
                      <a:pt x="12" y="182"/>
                    </a:lnTo>
                    <a:lnTo>
                      <a:pt x="13" y="182"/>
                    </a:lnTo>
                    <a:lnTo>
                      <a:pt x="13" y="185"/>
                    </a:lnTo>
                    <a:lnTo>
                      <a:pt x="14" y="185"/>
                    </a:lnTo>
                    <a:lnTo>
                      <a:pt x="14" y="187"/>
                    </a:lnTo>
                    <a:lnTo>
                      <a:pt x="14" y="188"/>
                    </a:lnTo>
                    <a:lnTo>
                      <a:pt x="14" y="192"/>
                    </a:lnTo>
                    <a:lnTo>
                      <a:pt x="14" y="194"/>
                    </a:lnTo>
                    <a:lnTo>
                      <a:pt x="16" y="195"/>
                    </a:lnTo>
                    <a:lnTo>
                      <a:pt x="17" y="199"/>
                    </a:lnTo>
                    <a:lnTo>
                      <a:pt x="18" y="199"/>
                    </a:lnTo>
                    <a:lnTo>
                      <a:pt x="17" y="201"/>
                    </a:lnTo>
                    <a:lnTo>
                      <a:pt x="18" y="201"/>
                    </a:lnTo>
                    <a:lnTo>
                      <a:pt x="17" y="202"/>
                    </a:lnTo>
                    <a:lnTo>
                      <a:pt x="18" y="202"/>
                    </a:lnTo>
                    <a:lnTo>
                      <a:pt x="18" y="205"/>
                    </a:lnTo>
                    <a:lnTo>
                      <a:pt x="18" y="206"/>
                    </a:lnTo>
                    <a:lnTo>
                      <a:pt x="19" y="205"/>
                    </a:lnTo>
                    <a:lnTo>
                      <a:pt x="18" y="208"/>
                    </a:lnTo>
                    <a:lnTo>
                      <a:pt x="22" y="209"/>
                    </a:lnTo>
                    <a:lnTo>
                      <a:pt x="22" y="208"/>
                    </a:lnTo>
                    <a:lnTo>
                      <a:pt x="22" y="209"/>
                    </a:lnTo>
                    <a:lnTo>
                      <a:pt x="23" y="210"/>
                    </a:lnTo>
                    <a:lnTo>
                      <a:pt x="23" y="209"/>
                    </a:lnTo>
                    <a:lnTo>
                      <a:pt x="25" y="210"/>
                    </a:lnTo>
                    <a:lnTo>
                      <a:pt x="26" y="210"/>
                    </a:lnTo>
                    <a:lnTo>
                      <a:pt x="26" y="211"/>
                    </a:lnTo>
                    <a:lnTo>
                      <a:pt x="25" y="211"/>
                    </a:lnTo>
                    <a:lnTo>
                      <a:pt x="27" y="212"/>
                    </a:lnTo>
                    <a:lnTo>
                      <a:pt x="26" y="215"/>
                    </a:lnTo>
                    <a:lnTo>
                      <a:pt x="28" y="216"/>
                    </a:lnTo>
                    <a:lnTo>
                      <a:pt x="28" y="218"/>
                    </a:lnTo>
                    <a:lnTo>
                      <a:pt x="29" y="221"/>
                    </a:lnTo>
                    <a:lnTo>
                      <a:pt x="30" y="221"/>
                    </a:lnTo>
                    <a:lnTo>
                      <a:pt x="29" y="224"/>
                    </a:lnTo>
                    <a:lnTo>
                      <a:pt x="31" y="224"/>
                    </a:lnTo>
                    <a:lnTo>
                      <a:pt x="31" y="225"/>
                    </a:lnTo>
                    <a:lnTo>
                      <a:pt x="32" y="227"/>
                    </a:lnTo>
                    <a:lnTo>
                      <a:pt x="33" y="224"/>
                    </a:lnTo>
                    <a:lnTo>
                      <a:pt x="35" y="219"/>
                    </a:lnTo>
                    <a:lnTo>
                      <a:pt x="39" y="219"/>
                    </a:lnTo>
                    <a:lnTo>
                      <a:pt x="38" y="220"/>
                    </a:lnTo>
                    <a:lnTo>
                      <a:pt x="39" y="222"/>
                    </a:lnTo>
                    <a:lnTo>
                      <a:pt x="40" y="225"/>
                    </a:lnTo>
                    <a:lnTo>
                      <a:pt x="41" y="226"/>
                    </a:lnTo>
                    <a:lnTo>
                      <a:pt x="44" y="228"/>
                    </a:lnTo>
                    <a:lnTo>
                      <a:pt x="46" y="228"/>
                    </a:lnTo>
                    <a:lnTo>
                      <a:pt x="47" y="226"/>
                    </a:lnTo>
                    <a:lnTo>
                      <a:pt x="45" y="224"/>
                    </a:lnTo>
                    <a:lnTo>
                      <a:pt x="45" y="223"/>
                    </a:lnTo>
                    <a:lnTo>
                      <a:pt x="49" y="224"/>
                    </a:lnTo>
                    <a:lnTo>
                      <a:pt x="49" y="223"/>
                    </a:lnTo>
                    <a:lnTo>
                      <a:pt x="51" y="221"/>
                    </a:lnTo>
                    <a:lnTo>
                      <a:pt x="53" y="221"/>
                    </a:lnTo>
                    <a:lnTo>
                      <a:pt x="54" y="221"/>
                    </a:lnTo>
                    <a:lnTo>
                      <a:pt x="54" y="222"/>
                    </a:lnTo>
                    <a:lnTo>
                      <a:pt x="53" y="223"/>
                    </a:lnTo>
                    <a:lnTo>
                      <a:pt x="53" y="225"/>
                    </a:lnTo>
                    <a:lnTo>
                      <a:pt x="52" y="225"/>
                    </a:lnTo>
                    <a:lnTo>
                      <a:pt x="54" y="228"/>
                    </a:lnTo>
                    <a:lnTo>
                      <a:pt x="52" y="229"/>
                    </a:lnTo>
                    <a:lnTo>
                      <a:pt x="52" y="231"/>
                    </a:lnTo>
                    <a:lnTo>
                      <a:pt x="52" y="236"/>
                    </a:lnTo>
                    <a:lnTo>
                      <a:pt x="54" y="238"/>
                    </a:lnTo>
                    <a:lnTo>
                      <a:pt x="55" y="238"/>
                    </a:lnTo>
                    <a:lnTo>
                      <a:pt x="55" y="236"/>
                    </a:lnTo>
                    <a:lnTo>
                      <a:pt x="56" y="238"/>
                    </a:lnTo>
                    <a:lnTo>
                      <a:pt x="57" y="237"/>
                    </a:lnTo>
                    <a:lnTo>
                      <a:pt x="57" y="238"/>
                    </a:lnTo>
                    <a:lnTo>
                      <a:pt x="58" y="238"/>
                    </a:lnTo>
                    <a:lnTo>
                      <a:pt x="57" y="238"/>
                    </a:lnTo>
                    <a:lnTo>
                      <a:pt x="59" y="240"/>
                    </a:lnTo>
                    <a:lnTo>
                      <a:pt x="60" y="241"/>
                    </a:lnTo>
                    <a:lnTo>
                      <a:pt x="61" y="240"/>
                    </a:lnTo>
                    <a:lnTo>
                      <a:pt x="61" y="238"/>
                    </a:lnTo>
                    <a:lnTo>
                      <a:pt x="63" y="236"/>
                    </a:lnTo>
                    <a:lnTo>
                      <a:pt x="63" y="237"/>
                    </a:lnTo>
                    <a:lnTo>
                      <a:pt x="65" y="238"/>
                    </a:lnTo>
                    <a:lnTo>
                      <a:pt x="66" y="238"/>
                    </a:lnTo>
                    <a:lnTo>
                      <a:pt x="66" y="235"/>
                    </a:lnTo>
                    <a:lnTo>
                      <a:pt x="68" y="236"/>
                    </a:lnTo>
                    <a:lnTo>
                      <a:pt x="69" y="238"/>
                    </a:lnTo>
                    <a:lnTo>
                      <a:pt x="71" y="238"/>
                    </a:lnTo>
                    <a:lnTo>
                      <a:pt x="71" y="236"/>
                    </a:lnTo>
                    <a:lnTo>
                      <a:pt x="75" y="237"/>
                    </a:lnTo>
                    <a:lnTo>
                      <a:pt x="78" y="237"/>
                    </a:lnTo>
                    <a:lnTo>
                      <a:pt x="78" y="236"/>
                    </a:lnTo>
                    <a:lnTo>
                      <a:pt x="82" y="240"/>
                    </a:lnTo>
                    <a:lnTo>
                      <a:pt x="82" y="239"/>
                    </a:lnTo>
                    <a:lnTo>
                      <a:pt x="82" y="235"/>
                    </a:lnTo>
                    <a:lnTo>
                      <a:pt x="84" y="234"/>
                    </a:lnTo>
                    <a:lnTo>
                      <a:pt x="84" y="233"/>
                    </a:lnTo>
                    <a:lnTo>
                      <a:pt x="88" y="234"/>
                    </a:lnTo>
                    <a:lnTo>
                      <a:pt x="89" y="232"/>
                    </a:lnTo>
                    <a:lnTo>
                      <a:pt x="90" y="233"/>
                    </a:lnTo>
                    <a:lnTo>
                      <a:pt x="93" y="225"/>
                    </a:lnTo>
                    <a:lnTo>
                      <a:pt x="93" y="224"/>
                    </a:lnTo>
                    <a:lnTo>
                      <a:pt x="100" y="226"/>
                    </a:lnTo>
                    <a:lnTo>
                      <a:pt x="101" y="225"/>
                    </a:lnTo>
                    <a:lnTo>
                      <a:pt x="102" y="221"/>
                    </a:lnTo>
                    <a:lnTo>
                      <a:pt x="101" y="212"/>
                    </a:lnTo>
                    <a:lnTo>
                      <a:pt x="101" y="207"/>
                    </a:lnTo>
                    <a:lnTo>
                      <a:pt x="115" y="212"/>
                    </a:lnTo>
                    <a:lnTo>
                      <a:pt x="121" y="218"/>
                    </a:lnTo>
                    <a:lnTo>
                      <a:pt x="128" y="213"/>
                    </a:lnTo>
                    <a:lnTo>
                      <a:pt x="129" y="213"/>
                    </a:lnTo>
                    <a:lnTo>
                      <a:pt x="130" y="212"/>
                    </a:lnTo>
                    <a:lnTo>
                      <a:pt x="131" y="211"/>
                    </a:lnTo>
                    <a:lnTo>
                      <a:pt x="130" y="209"/>
                    </a:lnTo>
                    <a:lnTo>
                      <a:pt x="128" y="207"/>
                    </a:lnTo>
                    <a:lnTo>
                      <a:pt x="129" y="205"/>
                    </a:lnTo>
                    <a:lnTo>
                      <a:pt x="128" y="204"/>
                    </a:lnTo>
                    <a:lnTo>
                      <a:pt x="133" y="203"/>
                    </a:lnTo>
                    <a:lnTo>
                      <a:pt x="133" y="202"/>
                    </a:lnTo>
                    <a:lnTo>
                      <a:pt x="136" y="201"/>
                    </a:lnTo>
                    <a:lnTo>
                      <a:pt x="138" y="201"/>
                    </a:lnTo>
                    <a:lnTo>
                      <a:pt x="139" y="201"/>
                    </a:lnTo>
                    <a:lnTo>
                      <a:pt x="140" y="200"/>
                    </a:lnTo>
                    <a:lnTo>
                      <a:pt x="140" y="202"/>
                    </a:lnTo>
                    <a:lnTo>
                      <a:pt x="143" y="200"/>
                    </a:lnTo>
                    <a:lnTo>
                      <a:pt x="145" y="199"/>
                    </a:lnTo>
                    <a:lnTo>
                      <a:pt x="144" y="195"/>
                    </a:lnTo>
                    <a:lnTo>
                      <a:pt x="145" y="195"/>
                    </a:lnTo>
                    <a:lnTo>
                      <a:pt x="144" y="191"/>
                    </a:lnTo>
                    <a:lnTo>
                      <a:pt x="142" y="191"/>
                    </a:lnTo>
                    <a:lnTo>
                      <a:pt x="145" y="191"/>
                    </a:lnTo>
                    <a:lnTo>
                      <a:pt x="145" y="190"/>
                    </a:lnTo>
                    <a:lnTo>
                      <a:pt x="147" y="191"/>
                    </a:lnTo>
                    <a:lnTo>
                      <a:pt x="147" y="190"/>
                    </a:lnTo>
                    <a:lnTo>
                      <a:pt x="148" y="190"/>
                    </a:lnTo>
                    <a:lnTo>
                      <a:pt x="148" y="191"/>
                    </a:lnTo>
                    <a:lnTo>
                      <a:pt x="147" y="185"/>
                    </a:lnTo>
                    <a:lnTo>
                      <a:pt x="148" y="184"/>
                    </a:lnTo>
                    <a:lnTo>
                      <a:pt x="153" y="185"/>
                    </a:lnTo>
                    <a:lnTo>
                      <a:pt x="153" y="186"/>
                    </a:lnTo>
                    <a:lnTo>
                      <a:pt x="153" y="189"/>
                    </a:lnTo>
                    <a:lnTo>
                      <a:pt x="152" y="189"/>
                    </a:lnTo>
                    <a:lnTo>
                      <a:pt x="153" y="191"/>
                    </a:lnTo>
                    <a:lnTo>
                      <a:pt x="154" y="191"/>
                    </a:lnTo>
                    <a:lnTo>
                      <a:pt x="155" y="192"/>
                    </a:lnTo>
                    <a:lnTo>
                      <a:pt x="155" y="191"/>
                    </a:lnTo>
                    <a:lnTo>
                      <a:pt x="157" y="191"/>
                    </a:lnTo>
                    <a:lnTo>
                      <a:pt x="158" y="195"/>
                    </a:lnTo>
                    <a:lnTo>
                      <a:pt x="156" y="195"/>
                    </a:lnTo>
                    <a:lnTo>
                      <a:pt x="158" y="196"/>
                    </a:lnTo>
                    <a:lnTo>
                      <a:pt x="158" y="197"/>
                    </a:lnTo>
                    <a:lnTo>
                      <a:pt x="161" y="197"/>
                    </a:lnTo>
                    <a:lnTo>
                      <a:pt x="162" y="199"/>
                    </a:lnTo>
                    <a:lnTo>
                      <a:pt x="162" y="196"/>
                    </a:lnTo>
                    <a:lnTo>
                      <a:pt x="164" y="196"/>
                    </a:lnTo>
                    <a:lnTo>
                      <a:pt x="164" y="194"/>
                    </a:lnTo>
                    <a:lnTo>
                      <a:pt x="165" y="193"/>
                    </a:lnTo>
                    <a:lnTo>
                      <a:pt x="166" y="194"/>
                    </a:lnTo>
                    <a:lnTo>
                      <a:pt x="165" y="194"/>
                    </a:lnTo>
                    <a:lnTo>
                      <a:pt x="165" y="195"/>
                    </a:lnTo>
                    <a:lnTo>
                      <a:pt x="167" y="195"/>
                    </a:lnTo>
                    <a:lnTo>
                      <a:pt x="167" y="196"/>
                    </a:lnTo>
                    <a:lnTo>
                      <a:pt x="169" y="196"/>
                    </a:lnTo>
                    <a:lnTo>
                      <a:pt x="170" y="196"/>
                    </a:lnTo>
                    <a:lnTo>
                      <a:pt x="173" y="195"/>
                    </a:lnTo>
                    <a:lnTo>
                      <a:pt x="173" y="196"/>
                    </a:lnTo>
                    <a:lnTo>
                      <a:pt x="172" y="197"/>
                    </a:lnTo>
                    <a:lnTo>
                      <a:pt x="173" y="198"/>
                    </a:lnTo>
                    <a:lnTo>
                      <a:pt x="175" y="204"/>
                    </a:lnTo>
                    <a:lnTo>
                      <a:pt x="176" y="204"/>
                    </a:lnTo>
                    <a:lnTo>
                      <a:pt x="178" y="205"/>
                    </a:lnTo>
                    <a:lnTo>
                      <a:pt x="178" y="208"/>
                    </a:lnTo>
                    <a:lnTo>
                      <a:pt x="178" y="207"/>
                    </a:lnTo>
                    <a:lnTo>
                      <a:pt x="180" y="207"/>
                    </a:lnTo>
                    <a:lnTo>
                      <a:pt x="180" y="208"/>
                    </a:lnTo>
                    <a:lnTo>
                      <a:pt x="179" y="210"/>
                    </a:lnTo>
                    <a:lnTo>
                      <a:pt x="180" y="212"/>
                    </a:lnTo>
                    <a:lnTo>
                      <a:pt x="180" y="214"/>
                    </a:lnTo>
                    <a:lnTo>
                      <a:pt x="181" y="212"/>
                    </a:lnTo>
                    <a:lnTo>
                      <a:pt x="182" y="213"/>
                    </a:lnTo>
                    <a:lnTo>
                      <a:pt x="184" y="212"/>
                    </a:lnTo>
                    <a:lnTo>
                      <a:pt x="186" y="212"/>
                    </a:lnTo>
                    <a:lnTo>
                      <a:pt x="187" y="216"/>
                    </a:lnTo>
                    <a:lnTo>
                      <a:pt x="189" y="217"/>
                    </a:lnTo>
                    <a:lnTo>
                      <a:pt x="188" y="218"/>
                    </a:lnTo>
                    <a:lnTo>
                      <a:pt x="190" y="218"/>
                    </a:lnTo>
                    <a:lnTo>
                      <a:pt x="193" y="221"/>
                    </a:lnTo>
                    <a:lnTo>
                      <a:pt x="192" y="223"/>
                    </a:lnTo>
                    <a:lnTo>
                      <a:pt x="192" y="224"/>
                    </a:lnTo>
                    <a:lnTo>
                      <a:pt x="193" y="223"/>
                    </a:lnTo>
                    <a:lnTo>
                      <a:pt x="193" y="225"/>
                    </a:lnTo>
                    <a:lnTo>
                      <a:pt x="193" y="231"/>
                    </a:lnTo>
                    <a:lnTo>
                      <a:pt x="194" y="231"/>
                    </a:lnTo>
                    <a:lnTo>
                      <a:pt x="194" y="232"/>
                    </a:lnTo>
                    <a:lnTo>
                      <a:pt x="197" y="232"/>
                    </a:lnTo>
                    <a:lnTo>
                      <a:pt x="197" y="233"/>
                    </a:lnTo>
                    <a:lnTo>
                      <a:pt x="198" y="233"/>
                    </a:lnTo>
                    <a:lnTo>
                      <a:pt x="198" y="234"/>
                    </a:lnTo>
                    <a:lnTo>
                      <a:pt x="200" y="233"/>
                    </a:lnTo>
                    <a:lnTo>
                      <a:pt x="202" y="234"/>
                    </a:lnTo>
                    <a:lnTo>
                      <a:pt x="204" y="236"/>
                    </a:lnTo>
                    <a:lnTo>
                      <a:pt x="203" y="236"/>
                    </a:lnTo>
                    <a:lnTo>
                      <a:pt x="204" y="236"/>
                    </a:lnTo>
                    <a:lnTo>
                      <a:pt x="204" y="238"/>
                    </a:lnTo>
                    <a:lnTo>
                      <a:pt x="205" y="238"/>
                    </a:lnTo>
                    <a:lnTo>
                      <a:pt x="205" y="239"/>
                    </a:lnTo>
                    <a:lnTo>
                      <a:pt x="205" y="241"/>
                    </a:lnTo>
                    <a:lnTo>
                      <a:pt x="207" y="242"/>
                    </a:lnTo>
                    <a:lnTo>
                      <a:pt x="208" y="241"/>
                    </a:lnTo>
                    <a:lnTo>
                      <a:pt x="212" y="244"/>
                    </a:lnTo>
                    <a:lnTo>
                      <a:pt x="213" y="246"/>
                    </a:lnTo>
                    <a:lnTo>
                      <a:pt x="215" y="248"/>
                    </a:lnTo>
                    <a:lnTo>
                      <a:pt x="218" y="249"/>
                    </a:lnTo>
                    <a:lnTo>
                      <a:pt x="221" y="251"/>
                    </a:lnTo>
                    <a:lnTo>
                      <a:pt x="224" y="255"/>
                    </a:lnTo>
                    <a:lnTo>
                      <a:pt x="226" y="254"/>
                    </a:lnTo>
                    <a:lnTo>
                      <a:pt x="227" y="254"/>
                    </a:lnTo>
                    <a:lnTo>
                      <a:pt x="229" y="254"/>
                    </a:lnTo>
                    <a:lnTo>
                      <a:pt x="229" y="253"/>
                    </a:lnTo>
                    <a:lnTo>
                      <a:pt x="230" y="250"/>
                    </a:lnTo>
                    <a:lnTo>
                      <a:pt x="229" y="249"/>
                    </a:lnTo>
                    <a:lnTo>
                      <a:pt x="231" y="249"/>
                    </a:lnTo>
                    <a:lnTo>
                      <a:pt x="231" y="247"/>
                    </a:lnTo>
                    <a:lnTo>
                      <a:pt x="234" y="246"/>
                    </a:lnTo>
                    <a:lnTo>
                      <a:pt x="235" y="244"/>
                    </a:lnTo>
                    <a:lnTo>
                      <a:pt x="236" y="243"/>
                    </a:lnTo>
                    <a:lnTo>
                      <a:pt x="237" y="243"/>
                    </a:lnTo>
                    <a:lnTo>
                      <a:pt x="238" y="242"/>
                    </a:lnTo>
                    <a:lnTo>
                      <a:pt x="239" y="244"/>
                    </a:lnTo>
                    <a:lnTo>
                      <a:pt x="240" y="243"/>
                    </a:lnTo>
                    <a:lnTo>
                      <a:pt x="242" y="243"/>
                    </a:lnTo>
                    <a:lnTo>
                      <a:pt x="243" y="244"/>
                    </a:lnTo>
                    <a:lnTo>
                      <a:pt x="246" y="246"/>
                    </a:lnTo>
                    <a:lnTo>
                      <a:pt x="246" y="248"/>
                    </a:lnTo>
                    <a:lnTo>
                      <a:pt x="249" y="249"/>
                    </a:lnTo>
                    <a:lnTo>
                      <a:pt x="250" y="250"/>
                    </a:lnTo>
                    <a:lnTo>
                      <a:pt x="251" y="248"/>
                    </a:lnTo>
                    <a:lnTo>
                      <a:pt x="252" y="250"/>
                    </a:lnTo>
                    <a:lnTo>
                      <a:pt x="253" y="250"/>
                    </a:lnTo>
                    <a:lnTo>
                      <a:pt x="253" y="249"/>
                    </a:lnTo>
                    <a:lnTo>
                      <a:pt x="256" y="250"/>
                    </a:lnTo>
                    <a:lnTo>
                      <a:pt x="256" y="252"/>
                    </a:lnTo>
                    <a:lnTo>
                      <a:pt x="257" y="255"/>
                    </a:lnTo>
                    <a:lnTo>
                      <a:pt x="258" y="255"/>
                    </a:lnTo>
                    <a:lnTo>
                      <a:pt x="260" y="256"/>
                    </a:lnTo>
                    <a:lnTo>
                      <a:pt x="261" y="258"/>
                    </a:lnTo>
                    <a:lnTo>
                      <a:pt x="263" y="260"/>
                    </a:lnTo>
                    <a:lnTo>
                      <a:pt x="264" y="255"/>
                    </a:lnTo>
                    <a:lnTo>
                      <a:pt x="266" y="254"/>
                    </a:lnTo>
                    <a:lnTo>
                      <a:pt x="268" y="255"/>
                    </a:lnTo>
                    <a:lnTo>
                      <a:pt x="267" y="256"/>
                    </a:lnTo>
                    <a:lnTo>
                      <a:pt x="268" y="259"/>
                    </a:lnTo>
                    <a:lnTo>
                      <a:pt x="267" y="259"/>
                    </a:lnTo>
                    <a:lnTo>
                      <a:pt x="268" y="261"/>
                    </a:lnTo>
                    <a:lnTo>
                      <a:pt x="269" y="262"/>
                    </a:lnTo>
                    <a:lnTo>
                      <a:pt x="269" y="263"/>
                    </a:lnTo>
                    <a:lnTo>
                      <a:pt x="266" y="262"/>
                    </a:lnTo>
                    <a:lnTo>
                      <a:pt x="266" y="263"/>
                    </a:lnTo>
                    <a:lnTo>
                      <a:pt x="268" y="263"/>
                    </a:lnTo>
                    <a:lnTo>
                      <a:pt x="268" y="265"/>
                    </a:lnTo>
                    <a:lnTo>
                      <a:pt x="267" y="265"/>
                    </a:lnTo>
                    <a:lnTo>
                      <a:pt x="268" y="265"/>
                    </a:lnTo>
                    <a:lnTo>
                      <a:pt x="268" y="267"/>
                    </a:lnTo>
                    <a:lnTo>
                      <a:pt x="271" y="268"/>
                    </a:lnTo>
                    <a:lnTo>
                      <a:pt x="273" y="267"/>
                    </a:lnTo>
                    <a:lnTo>
                      <a:pt x="274" y="268"/>
                    </a:lnTo>
                    <a:lnTo>
                      <a:pt x="275" y="266"/>
                    </a:lnTo>
                    <a:lnTo>
                      <a:pt x="277" y="268"/>
                    </a:lnTo>
                    <a:lnTo>
                      <a:pt x="277" y="267"/>
                    </a:lnTo>
                    <a:lnTo>
                      <a:pt x="278" y="268"/>
                    </a:lnTo>
                    <a:lnTo>
                      <a:pt x="278" y="267"/>
                    </a:lnTo>
                    <a:lnTo>
                      <a:pt x="277" y="265"/>
                    </a:lnTo>
                    <a:lnTo>
                      <a:pt x="278" y="264"/>
                    </a:lnTo>
                    <a:lnTo>
                      <a:pt x="279" y="263"/>
                    </a:lnTo>
                    <a:lnTo>
                      <a:pt x="280" y="266"/>
                    </a:lnTo>
                    <a:lnTo>
                      <a:pt x="282" y="266"/>
                    </a:lnTo>
                    <a:lnTo>
                      <a:pt x="282" y="265"/>
                    </a:lnTo>
                    <a:lnTo>
                      <a:pt x="284" y="263"/>
                    </a:lnTo>
                    <a:lnTo>
                      <a:pt x="283" y="262"/>
                    </a:lnTo>
                    <a:lnTo>
                      <a:pt x="285" y="262"/>
                    </a:lnTo>
                    <a:lnTo>
                      <a:pt x="286" y="260"/>
                    </a:lnTo>
                    <a:lnTo>
                      <a:pt x="283" y="258"/>
                    </a:lnTo>
                    <a:lnTo>
                      <a:pt x="283" y="254"/>
                    </a:lnTo>
                    <a:lnTo>
                      <a:pt x="282" y="252"/>
                    </a:lnTo>
                    <a:lnTo>
                      <a:pt x="283" y="249"/>
                    </a:lnTo>
                    <a:lnTo>
                      <a:pt x="287" y="249"/>
                    </a:lnTo>
                    <a:lnTo>
                      <a:pt x="290" y="249"/>
                    </a:lnTo>
                    <a:lnTo>
                      <a:pt x="291" y="244"/>
                    </a:lnTo>
                    <a:lnTo>
                      <a:pt x="293" y="246"/>
                    </a:lnTo>
                    <a:lnTo>
                      <a:pt x="294" y="246"/>
                    </a:lnTo>
                    <a:lnTo>
                      <a:pt x="295" y="244"/>
                    </a:lnTo>
                    <a:lnTo>
                      <a:pt x="294" y="242"/>
                    </a:lnTo>
                    <a:lnTo>
                      <a:pt x="295" y="241"/>
                    </a:lnTo>
                    <a:lnTo>
                      <a:pt x="294" y="241"/>
                    </a:lnTo>
                    <a:lnTo>
                      <a:pt x="294" y="239"/>
                    </a:lnTo>
                    <a:lnTo>
                      <a:pt x="299" y="242"/>
                    </a:lnTo>
                    <a:lnTo>
                      <a:pt x="300" y="243"/>
                    </a:lnTo>
                    <a:lnTo>
                      <a:pt x="300" y="244"/>
                    </a:lnTo>
                    <a:lnTo>
                      <a:pt x="299" y="244"/>
                    </a:lnTo>
                    <a:lnTo>
                      <a:pt x="298" y="246"/>
                    </a:lnTo>
                    <a:lnTo>
                      <a:pt x="302" y="252"/>
                    </a:lnTo>
                    <a:lnTo>
                      <a:pt x="302" y="254"/>
                    </a:lnTo>
                    <a:lnTo>
                      <a:pt x="305" y="254"/>
                    </a:lnTo>
                    <a:lnTo>
                      <a:pt x="305" y="255"/>
                    </a:lnTo>
                    <a:lnTo>
                      <a:pt x="307" y="255"/>
                    </a:lnTo>
                    <a:lnTo>
                      <a:pt x="308" y="257"/>
                    </a:lnTo>
                    <a:lnTo>
                      <a:pt x="311" y="257"/>
                    </a:lnTo>
                    <a:lnTo>
                      <a:pt x="311" y="253"/>
                    </a:lnTo>
                    <a:lnTo>
                      <a:pt x="312" y="254"/>
                    </a:lnTo>
                    <a:lnTo>
                      <a:pt x="314" y="253"/>
                    </a:lnTo>
                    <a:lnTo>
                      <a:pt x="315" y="253"/>
                    </a:lnTo>
                    <a:lnTo>
                      <a:pt x="317" y="252"/>
                    </a:lnTo>
                    <a:lnTo>
                      <a:pt x="318" y="252"/>
                    </a:lnTo>
                    <a:lnTo>
                      <a:pt x="318" y="253"/>
                    </a:lnTo>
                    <a:lnTo>
                      <a:pt x="319" y="253"/>
                    </a:lnTo>
                    <a:lnTo>
                      <a:pt x="319" y="254"/>
                    </a:lnTo>
                    <a:lnTo>
                      <a:pt x="320" y="255"/>
                    </a:lnTo>
                    <a:lnTo>
                      <a:pt x="320" y="254"/>
                    </a:lnTo>
                    <a:lnTo>
                      <a:pt x="321" y="254"/>
                    </a:lnTo>
                    <a:lnTo>
                      <a:pt x="321" y="258"/>
                    </a:lnTo>
                    <a:lnTo>
                      <a:pt x="322" y="258"/>
                    </a:lnTo>
                    <a:lnTo>
                      <a:pt x="322" y="257"/>
                    </a:lnTo>
                    <a:lnTo>
                      <a:pt x="323" y="255"/>
                    </a:lnTo>
                    <a:lnTo>
                      <a:pt x="323" y="258"/>
                    </a:lnTo>
                    <a:lnTo>
                      <a:pt x="324" y="257"/>
                    </a:lnTo>
                    <a:lnTo>
                      <a:pt x="326" y="256"/>
                    </a:lnTo>
                    <a:lnTo>
                      <a:pt x="335" y="256"/>
                    </a:lnTo>
                    <a:lnTo>
                      <a:pt x="335" y="255"/>
                    </a:lnTo>
                    <a:lnTo>
                      <a:pt x="334" y="252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29" name="Group 83">
              <a:extLst>
                <a:ext uri="{FF2B5EF4-FFF2-40B4-BE49-F238E27FC236}">
                  <a16:creationId xmlns:a16="http://schemas.microsoft.com/office/drawing/2014/main" id="{70724448-E627-9A04-744A-D9B90F39708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91" y="2910"/>
              <a:ext cx="569" cy="509"/>
              <a:chOff x="791" y="2910"/>
              <a:chExt cx="569" cy="509"/>
            </a:xfrm>
          </p:grpSpPr>
          <p:sp>
            <p:nvSpPr>
              <p:cNvPr id="172" name="Freeform 81">
                <a:extLst>
                  <a:ext uri="{FF2B5EF4-FFF2-40B4-BE49-F238E27FC236}">
                    <a16:creationId xmlns:a16="http://schemas.microsoft.com/office/drawing/2014/main" id="{D70A3BC0-3C8F-A9D0-8B2C-4327C902B0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1" y="2910"/>
                <a:ext cx="569" cy="509"/>
              </a:xfrm>
              <a:custGeom>
                <a:avLst/>
                <a:gdLst>
                  <a:gd name="T0" fmla="*/ 128 w 569"/>
                  <a:gd name="T1" fmla="*/ 470 h 509"/>
                  <a:gd name="T2" fmla="*/ 100 w 569"/>
                  <a:gd name="T3" fmla="*/ 473 h 509"/>
                  <a:gd name="T4" fmla="*/ 79 w 569"/>
                  <a:gd name="T5" fmla="*/ 467 h 509"/>
                  <a:gd name="T6" fmla="*/ 69 w 569"/>
                  <a:gd name="T7" fmla="*/ 420 h 509"/>
                  <a:gd name="T8" fmla="*/ 60 w 569"/>
                  <a:gd name="T9" fmla="*/ 397 h 509"/>
                  <a:gd name="T10" fmla="*/ 56 w 569"/>
                  <a:gd name="T11" fmla="*/ 386 h 509"/>
                  <a:gd name="T12" fmla="*/ 81 w 569"/>
                  <a:gd name="T13" fmla="*/ 368 h 509"/>
                  <a:gd name="T14" fmla="*/ 91 w 569"/>
                  <a:gd name="T15" fmla="*/ 338 h 509"/>
                  <a:gd name="T16" fmla="*/ 106 w 569"/>
                  <a:gd name="T17" fmla="*/ 306 h 509"/>
                  <a:gd name="T18" fmla="*/ 89 w 569"/>
                  <a:gd name="T19" fmla="*/ 267 h 509"/>
                  <a:gd name="T20" fmla="*/ 60 w 569"/>
                  <a:gd name="T21" fmla="*/ 236 h 509"/>
                  <a:gd name="T22" fmla="*/ 33 w 569"/>
                  <a:gd name="T23" fmla="*/ 210 h 509"/>
                  <a:gd name="T24" fmla="*/ 6 w 569"/>
                  <a:gd name="T25" fmla="*/ 198 h 509"/>
                  <a:gd name="T26" fmla="*/ 25 w 569"/>
                  <a:gd name="T27" fmla="*/ 175 h 509"/>
                  <a:gd name="T28" fmla="*/ 41 w 569"/>
                  <a:gd name="T29" fmla="*/ 146 h 509"/>
                  <a:gd name="T30" fmla="*/ 85 w 569"/>
                  <a:gd name="T31" fmla="*/ 126 h 509"/>
                  <a:gd name="T32" fmla="*/ 128 w 569"/>
                  <a:gd name="T33" fmla="*/ 122 h 509"/>
                  <a:gd name="T34" fmla="*/ 164 w 569"/>
                  <a:gd name="T35" fmla="*/ 107 h 509"/>
                  <a:gd name="T36" fmla="*/ 188 w 569"/>
                  <a:gd name="T37" fmla="*/ 92 h 509"/>
                  <a:gd name="T38" fmla="*/ 237 w 569"/>
                  <a:gd name="T39" fmla="*/ 103 h 509"/>
                  <a:gd name="T40" fmla="*/ 273 w 569"/>
                  <a:gd name="T41" fmla="*/ 101 h 509"/>
                  <a:gd name="T42" fmla="*/ 282 w 569"/>
                  <a:gd name="T43" fmla="*/ 78 h 509"/>
                  <a:gd name="T44" fmla="*/ 295 w 569"/>
                  <a:gd name="T45" fmla="*/ 68 h 509"/>
                  <a:gd name="T46" fmla="*/ 321 w 569"/>
                  <a:gd name="T47" fmla="*/ 39 h 509"/>
                  <a:gd name="T48" fmla="*/ 343 w 569"/>
                  <a:gd name="T49" fmla="*/ 44 h 509"/>
                  <a:gd name="T50" fmla="*/ 368 w 569"/>
                  <a:gd name="T51" fmla="*/ 52 h 509"/>
                  <a:gd name="T52" fmla="*/ 423 w 569"/>
                  <a:gd name="T53" fmla="*/ 18 h 509"/>
                  <a:gd name="T54" fmla="*/ 446 w 569"/>
                  <a:gd name="T55" fmla="*/ 7 h 509"/>
                  <a:gd name="T56" fmla="*/ 468 w 569"/>
                  <a:gd name="T57" fmla="*/ 20 h 509"/>
                  <a:gd name="T58" fmla="*/ 488 w 569"/>
                  <a:gd name="T59" fmla="*/ 49 h 509"/>
                  <a:gd name="T60" fmla="*/ 491 w 569"/>
                  <a:gd name="T61" fmla="*/ 77 h 509"/>
                  <a:gd name="T62" fmla="*/ 489 w 569"/>
                  <a:gd name="T63" fmla="*/ 109 h 509"/>
                  <a:gd name="T64" fmla="*/ 483 w 569"/>
                  <a:gd name="T65" fmla="*/ 137 h 509"/>
                  <a:gd name="T66" fmla="*/ 499 w 569"/>
                  <a:gd name="T67" fmla="*/ 161 h 509"/>
                  <a:gd name="T68" fmla="*/ 528 w 569"/>
                  <a:gd name="T69" fmla="*/ 171 h 509"/>
                  <a:gd name="T70" fmla="*/ 541 w 569"/>
                  <a:gd name="T71" fmla="*/ 189 h 509"/>
                  <a:gd name="T72" fmla="*/ 539 w 569"/>
                  <a:gd name="T73" fmla="*/ 225 h 509"/>
                  <a:gd name="T74" fmla="*/ 552 w 569"/>
                  <a:gd name="T75" fmla="*/ 249 h 509"/>
                  <a:gd name="T76" fmla="*/ 542 w 569"/>
                  <a:gd name="T77" fmla="*/ 279 h 509"/>
                  <a:gd name="T78" fmla="*/ 530 w 569"/>
                  <a:gd name="T79" fmla="*/ 288 h 509"/>
                  <a:gd name="T80" fmla="*/ 548 w 569"/>
                  <a:gd name="T81" fmla="*/ 306 h 509"/>
                  <a:gd name="T82" fmla="*/ 567 w 569"/>
                  <a:gd name="T83" fmla="*/ 330 h 509"/>
                  <a:gd name="T84" fmla="*/ 557 w 569"/>
                  <a:gd name="T85" fmla="*/ 360 h 509"/>
                  <a:gd name="T86" fmla="*/ 544 w 569"/>
                  <a:gd name="T87" fmla="*/ 384 h 509"/>
                  <a:gd name="T88" fmla="*/ 524 w 569"/>
                  <a:gd name="T89" fmla="*/ 401 h 509"/>
                  <a:gd name="T90" fmla="*/ 495 w 569"/>
                  <a:gd name="T91" fmla="*/ 412 h 509"/>
                  <a:gd name="T92" fmla="*/ 475 w 569"/>
                  <a:gd name="T93" fmla="*/ 420 h 509"/>
                  <a:gd name="T94" fmla="*/ 469 w 569"/>
                  <a:gd name="T95" fmla="*/ 456 h 509"/>
                  <a:gd name="T96" fmla="*/ 457 w 569"/>
                  <a:gd name="T97" fmla="*/ 480 h 509"/>
                  <a:gd name="T98" fmla="*/ 438 w 569"/>
                  <a:gd name="T99" fmla="*/ 480 h 509"/>
                  <a:gd name="T100" fmla="*/ 411 w 569"/>
                  <a:gd name="T101" fmla="*/ 478 h 509"/>
                  <a:gd name="T102" fmla="*/ 386 w 569"/>
                  <a:gd name="T103" fmla="*/ 495 h 509"/>
                  <a:gd name="T104" fmla="*/ 372 w 569"/>
                  <a:gd name="T105" fmla="*/ 480 h 509"/>
                  <a:gd name="T106" fmla="*/ 340 w 569"/>
                  <a:gd name="T107" fmla="*/ 465 h 509"/>
                  <a:gd name="T108" fmla="*/ 330 w 569"/>
                  <a:gd name="T109" fmla="*/ 486 h 509"/>
                  <a:gd name="T110" fmla="*/ 312 w 569"/>
                  <a:gd name="T111" fmla="*/ 499 h 509"/>
                  <a:gd name="T112" fmla="*/ 291 w 569"/>
                  <a:gd name="T113" fmla="*/ 488 h 509"/>
                  <a:gd name="T114" fmla="*/ 269 w 569"/>
                  <a:gd name="T115" fmla="*/ 484 h 509"/>
                  <a:gd name="T116" fmla="*/ 243 w 569"/>
                  <a:gd name="T117" fmla="*/ 476 h 509"/>
                  <a:gd name="T118" fmla="*/ 233 w 569"/>
                  <a:gd name="T119" fmla="*/ 484 h 509"/>
                  <a:gd name="T120" fmla="*/ 216 w 569"/>
                  <a:gd name="T121" fmla="*/ 473 h 509"/>
                  <a:gd name="T122" fmla="*/ 190 w 569"/>
                  <a:gd name="T123" fmla="*/ 474 h 509"/>
                  <a:gd name="T124" fmla="*/ 158 w 569"/>
                  <a:gd name="T125" fmla="*/ 475 h 50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569"/>
                  <a:gd name="T190" fmla="*/ 0 h 509"/>
                  <a:gd name="T191" fmla="*/ 569 w 569"/>
                  <a:gd name="T192" fmla="*/ 509 h 50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569" h="509">
                    <a:moveTo>
                      <a:pt x="144" y="458"/>
                    </a:moveTo>
                    <a:lnTo>
                      <a:pt x="142" y="460"/>
                    </a:lnTo>
                    <a:lnTo>
                      <a:pt x="142" y="459"/>
                    </a:lnTo>
                    <a:lnTo>
                      <a:pt x="139" y="461"/>
                    </a:lnTo>
                    <a:lnTo>
                      <a:pt x="138" y="461"/>
                    </a:lnTo>
                    <a:lnTo>
                      <a:pt x="136" y="460"/>
                    </a:lnTo>
                    <a:lnTo>
                      <a:pt x="135" y="463"/>
                    </a:lnTo>
                    <a:lnTo>
                      <a:pt x="136" y="465"/>
                    </a:lnTo>
                    <a:lnTo>
                      <a:pt x="135" y="467"/>
                    </a:lnTo>
                    <a:lnTo>
                      <a:pt x="135" y="465"/>
                    </a:lnTo>
                    <a:lnTo>
                      <a:pt x="134" y="468"/>
                    </a:lnTo>
                    <a:lnTo>
                      <a:pt x="134" y="469"/>
                    </a:lnTo>
                    <a:lnTo>
                      <a:pt x="134" y="470"/>
                    </a:lnTo>
                    <a:lnTo>
                      <a:pt x="133" y="470"/>
                    </a:lnTo>
                    <a:lnTo>
                      <a:pt x="133" y="471"/>
                    </a:lnTo>
                    <a:lnTo>
                      <a:pt x="132" y="469"/>
                    </a:lnTo>
                    <a:lnTo>
                      <a:pt x="131" y="469"/>
                    </a:lnTo>
                    <a:lnTo>
                      <a:pt x="131" y="471"/>
                    </a:lnTo>
                    <a:lnTo>
                      <a:pt x="132" y="473"/>
                    </a:lnTo>
                    <a:lnTo>
                      <a:pt x="131" y="473"/>
                    </a:lnTo>
                    <a:lnTo>
                      <a:pt x="131" y="475"/>
                    </a:lnTo>
                    <a:lnTo>
                      <a:pt x="130" y="475"/>
                    </a:lnTo>
                    <a:lnTo>
                      <a:pt x="130" y="472"/>
                    </a:lnTo>
                    <a:lnTo>
                      <a:pt x="128" y="472"/>
                    </a:lnTo>
                    <a:lnTo>
                      <a:pt x="128" y="470"/>
                    </a:lnTo>
                    <a:lnTo>
                      <a:pt x="126" y="472"/>
                    </a:lnTo>
                    <a:lnTo>
                      <a:pt x="126" y="473"/>
                    </a:lnTo>
                    <a:lnTo>
                      <a:pt x="125" y="475"/>
                    </a:lnTo>
                    <a:lnTo>
                      <a:pt x="125" y="476"/>
                    </a:lnTo>
                    <a:lnTo>
                      <a:pt x="125" y="477"/>
                    </a:lnTo>
                    <a:lnTo>
                      <a:pt x="121" y="476"/>
                    </a:lnTo>
                    <a:lnTo>
                      <a:pt x="118" y="475"/>
                    </a:lnTo>
                    <a:lnTo>
                      <a:pt x="118" y="473"/>
                    </a:lnTo>
                    <a:lnTo>
                      <a:pt x="117" y="472"/>
                    </a:lnTo>
                    <a:lnTo>
                      <a:pt x="114" y="475"/>
                    </a:lnTo>
                    <a:lnTo>
                      <a:pt x="114" y="478"/>
                    </a:lnTo>
                    <a:lnTo>
                      <a:pt x="113" y="478"/>
                    </a:lnTo>
                    <a:lnTo>
                      <a:pt x="111" y="480"/>
                    </a:lnTo>
                    <a:lnTo>
                      <a:pt x="111" y="478"/>
                    </a:lnTo>
                    <a:lnTo>
                      <a:pt x="107" y="479"/>
                    </a:lnTo>
                    <a:lnTo>
                      <a:pt x="107" y="478"/>
                    </a:lnTo>
                    <a:lnTo>
                      <a:pt x="105" y="478"/>
                    </a:lnTo>
                    <a:lnTo>
                      <a:pt x="105" y="476"/>
                    </a:lnTo>
                    <a:lnTo>
                      <a:pt x="104" y="475"/>
                    </a:lnTo>
                    <a:lnTo>
                      <a:pt x="103" y="476"/>
                    </a:lnTo>
                    <a:lnTo>
                      <a:pt x="100" y="476"/>
                    </a:lnTo>
                    <a:lnTo>
                      <a:pt x="102" y="475"/>
                    </a:lnTo>
                    <a:lnTo>
                      <a:pt x="102" y="473"/>
                    </a:lnTo>
                    <a:lnTo>
                      <a:pt x="104" y="472"/>
                    </a:lnTo>
                    <a:lnTo>
                      <a:pt x="100" y="472"/>
                    </a:lnTo>
                    <a:lnTo>
                      <a:pt x="100" y="473"/>
                    </a:lnTo>
                    <a:lnTo>
                      <a:pt x="98" y="472"/>
                    </a:lnTo>
                    <a:lnTo>
                      <a:pt x="98" y="470"/>
                    </a:lnTo>
                    <a:lnTo>
                      <a:pt x="98" y="468"/>
                    </a:lnTo>
                    <a:lnTo>
                      <a:pt x="95" y="465"/>
                    </a:lnTo>
                    <a:lnTo>
                      <a:pt x="93" y="466"/>
                    </a:lnTo>
                    <a:lnTo>
                      <a:pt x="93" y="467"/>
                    </a:lnTo>
                    <a:lnTo>
                      <a:pt x="94" y="468"/>
                    </a:lnTo>
                    <a:lnTo>
                      <a:pt x="92" y="468"/>
                    </a:lnTo>
                    <a:lnTo>
                      <a:pt x="90" y="471"/>
                    </a:lnTo>
                    <a:lnTo>
                      <a:pt x="89" y="471"/>
                    </a:lnTo>
                    <a:lnTo>
                      <a:pt x="87" y="472"/>
                    </a:lnTo>
                    <a:lnTo>
                      <a:pt x="87" y="471"/>
                    </a:lnTo>
                    <a:lnTo>
                      <a:pt x="87" y="470"/>
                    </a:lnTo>
                    <a:lnTo>
                      <a:pt x="86" y="471"/>
                    </a:lnTo>
                    <a:lnTo>
                      <a:pt x="85" y="471"/>
                    </a:lnTo>
                    <a:lnTo>
                      <a:pt x="85" y="467"/>
                    </a:lnTo>
                    <a:lnTo>
                      <a:pt x="85" y="468"/>
                    </a:lnTo>
                    <a:lnTo>
                      <a:pt x="84" y="467"/>
                    </a:lnTo>
                    <a:lnTo>
                      <a:pt x="84" y="463"/>
                    </a:lnTo>
                    <a:lnTo>
                      <a:pt x="82" y="463"/>
                    </a:lnTo>
                    <a:lnTo>
                      <a:pt x="83" y="464"/>
                    </a:lnTo>
                    <a:lnTo>
                      <a:pt x="81" y="464"/>
                    </a:lnTo>
                    <a:lnTo>
                      <a:pt x="81" y="467"/>
                    </a:lnTo>
                    <a:lnTo>
                      <a:pt x="79" y="467"/>
                    </a:lnTo>
                    <a:lnTo>
                      <a:pt x="79" y="468"/>
                    </a:lnTo>
                    <a:lnTo>
                      <a:pt x="76" y="466"/>
                    </a:lnTo>
                    <a:lnTo>
                      <a:pt x="74" y="465"/>
                    </a:lnTo>
                    <a:lnTo>
                      <a:pt x="72" y="469"/>
                    </a:lnTo>
                    <a:lnTo>
                      <a:pt x="71" y="469"/>
                    </a:lnTo>
                    <a:lnTo>
                      <a:pt x="68" y="468"/>
                    </a:lnTo>
                    <a:lnTo>
                      <a:pt x="67" y="468"/>
                    </a:lnTo>
                    <a:lnTo>
                      <a:pt x="68" y="465"/>
                    </a:lnTo>
                    <a:lnTo>
                      <a:pt x="68" y="464"/>
                    </a:lnTo>
                    <a:lnTo>
                      <a:pt x="69" y="459"/>
                    </a:lnTo>
                    <a:lnTo>
                      <a:pt x="70" y="456"/>
                    </a:lnTo>
                    <a:lnTo>
                      <a:pt x="68" y="455"/>
                    </a:lnTo>
                    <a:lnTo>
                      <a:pt x="69" y="452"/>
                    </a:lnTo>
                    <a:lnTo>
                      <a:pt x="65" y="448"/>
                    </a:lnTo>
                    <a:lnTo>
                      <a:pt x="64" y="448"/>
                    </a:lnTo>
                    <a:lnTo>
                      <a:pt x="61" y="452"/>
                    </a:lnTo>
                    <a:lnTo>
                      <a:pt x="61" y="451"/>
                    </a:lnTo>
                    <a:lnTo>
                      <a:pt x="63" y="450"/>
                    </a:lnTo>
                    <a:lnTo>
                      <a:pt x="64" y="445"/>
                    </a:lnTo>
                    <a:lnTo>
                      <a:pt x="63" y="444"/>
                    </a:lnTo>
                    <a:lnTo>
                      <a:pt x="63" y="443"/>
                    </a:lnTo>
                    <a:lnTo>
                      <a:pt x="65" y="437"/>
                    </a:lnTo>
                    <a:lnTo>
                      <a:pt x="64" y="433"/>
                    </a:lnTo>
                    <a:lnTo>
                      <a:pt x="66" y="431"/>
                    </a:lnTo>
                    <a:lnTo>
                      <a:pt x="68" y="428"/>
                    </a:lnTo>
                    <a:lnTo>
                      <a:pt x="68" y="421"/>
                    </a:lnTo>
                    <a:lnTo>
                      <a:pt x="69" y="420"/>
                    </a:lnTo>
                    <a:lnTo>
                      <a:pt x="70" y="417"/>
                    </a:lnTo>
                    <a:lnTo>
                      <a:pt x="69" y="415"/>
                    </a:lnTo>
                    <a:lnTo>
                      <a:pt x="67" y="416"/>
                    </a:lnTo>
                    <a:lnTo>
                      <a:pt x="65" y="414"/>
                    </a:lnTo>
                    <a:lnTo>
                      <a:pt x="65" y="412"/>
                    </a:lnTo>
                    <a:lnTo>
                      <a:pt x="63" y="411"/>
                    </a:lnTo>
                    <a:lnTo>
                      <a:pt x="61" y="412"/>
                    </a:lnTo>
                    <a:lnTo>
                      <a:pt x="58" y="411"/>
                    </a:lnTo>
                    <a:lnTo>
                      <a:pt x="58" y="409"/>
                    </a:lnTo>
                    <a:lnTo>
                      <a:pt x="60" y="409"/>
                    </a:lnTo>
                    <a:lnTo>
                      <a:pt x="60" y="408"/>
                    </a:lnTo>
                    <a:lnTo>
                      <a:pt x="57" y="407"/>
                    </a:lnTo>
                    <a:lnTo>
                      <a:pt x="57" y="406"/>
                    </a:lnTo>
                    <a:lnTo>
                      <a:pt x="55" y="406"/>
                    </a:lnTo>
                    <a:lnTo>
                      <a:pt x="53" y="405"/>
                    </a:lnTo>
                    <a:lnTo>
                      <a:pt x="52" y="405"/>
                    </a:lnTo>
                    <a:lnTo>
                      <a:pt x="52" y="402"/>
                    </a:lnTo>
                    <a:lnTo>
                      <a:pt x="50" y="401"/>
                    </a:lnTo>
                    <a:lnTo>
                      <a:pt x="53" y="402"/>
                    </a:lnTo>
                    <a:lnTo>
                      <a:pt x="56" y="405"/>
                    </a:lnTo>
                    <a:lnTo>
                      <a:pt x="59" y="405"/>
                    </a:lnTo>
                    <a:lnTo>
                      <a:pt x="60" y="404"/>
                    </a:lnTo>
                    <a:lnTo>
                      <a:pt x="61" y="404"/>
                    </a:lnTo>
                    <a:lnTo>
                      <a:pt x="63" y="403"/>
                    </a:lnTo>
                    <a:lnTo>
                      <a:pt x="61" y="403"/>
                    </a:lnTo>
                    <a:lnTo>
                      <a:pt x="60" y="397"/>
                    </a:lnTo>
                    <a:lnTo>
                      <a:pt x="56" y="396"/>
                    </a:lnTo>
                    <a:lnTo>
                      <a:pt x="55" y="394"/>
                    </a:lnTo>
                    <a:lnTo>
                      <a:pt x="56" y="392"/>
                    </a:lnTo>
                    <a:lnTo>
                      <a:pt x="55" y="391"/>
                    </a:lnTo>
                    <a:lnTo>
                      <a:pt x="56" y="390"/>
                    </a:lnTo>
                    <a:lnTo>
                      <a:pt x="57" y="391"/>
                    </a:lnTo>
                    <a:lnTo>
                      <a:pt x="57" y="392"/>
                    </a:lnTo>
                    <a:lnTo>
                      <a:pt x="58" y="391"/>
                    </a:lnTo>
                    <a:lnTo>
                      <a:pt x="59" y="391"/>
                    </a:lnTo>
                    <a:lnTo>
                      <a:pt x="60" y="391"/>
                    </a:lnTo>
                    <a:lnTo>
                      <a:pt x="63" y="390"/>
                    </a:lnTo>
                    <a:lnTo>
                      <a:pt x="64" y="391"/>
                    </a:lnTo>
                    <a:lnTo>
                      <a:pt x="67" y="388"/>
                    </a:lnTo>
                    <a:lnTo>
                      <a:pt x="65" y="388"/>
                    </a:lnTo>
                    <a:lnTo>
                      <a:pt x="65" y="386"/>
                    </a:lnTo>
                    <a:lnTo>
                      <a:pt x="63" y="386"/>
                    </a:lnTo>
                    <a:lnTo>
                      <a:pt x="62" y="385"/>
                    </a:lnTo>
                    <a:lnTo>
                      <a:pt x="60" y="386"/>
                    </a:lnTo>
                    <a:lnTo>
                      <a:pt x="61" y="384"/>
                    </a:lnTo>
                    <a:lnTo>
                      <a:pt x="60" y="384"/>
                    </a:lnTo>
                    <a:lnTo>
                      <a:pt x="58" y="385"/>
                    </a:lnTo>
                    <a:lnTo>
                      <a:pt x="58" y="384"/>
                    </a:lnTo>
                    <a:lnTo>
                      <a:pt x="57" y="384"/>
                    </a:lnTo>
                    <a:lnTo>
                      <a:pt x="56" y="386"/>
                    </a:lnTo>
                    <a:lnTo>
                      <a:pt x="55" y="386"/>
                    </a:lnTo>
                    <a:lnTo>
                      <a:pt x="55" y="388"/>
                    </a:lnTo>
                    <a:lnTo>
                      <a:pt x="53" y="387"/>
                    </a:lnTo>
                    <a:lnTo>
                      <a:pt x="52" y="383"/>
                    </a:lnTo>
                    <a:lnTo>
                      <a:pt x="53" y="384"/>
                    </a:lnTo>
                    <a:lnTo>
                      <a:pt x="53" y="383"/>
                    </a:lnTo>
                    <a:lnTo>
                      <a:pt x="52" y="382"/>
                    </a:lnTo>
                    <a:lnTo>
                      <a:pt x="54" y="380"/>
                    </a:lnTo>
                    <a:lnTo>
                      <a:pt x="53" y="378"/>
                    </a:lnTo>
                    <a:lnTo>
                      <a:pt x="54" y="376"/>
                    </a:lnTo>
                    <a:lnTo>
                      <a:pt x="58" y="374"/>
                    </a:lnTo>
                    <a:lnTo>
                      <a:pt x="61" y="368"/>
                    </a:lnTo>
                    <a:lnTo>
                      <a:pt x="71" y="365"/>
                    </a:lnTo>
                    <a:lnTo>
                      <a:pt x="73" y="364"/>
                    </a:lnTo>
                    <a:lnTo>
                      <a:pt x="75" y="364"/>
                    </a:lnTo>
                    <a:lnTo>
                      <a:pt x="74" y="364"/>
                    </a:lnTo>
                    <a:lnTo>
                      <a:pt x="74" y="367"/>
                    </a:lnTo>
                    <a:lnTo>
                      <a:pt x="76" y="368"/>
                    </a:lnTo>
                    <a:lnTo>
                      <a:pt x="77" y="370"/>
                    </a:lnTo>
                    <a:lnTo>
                      <a:pt x="77" y="371"/>
                    </a:lnTo>
                    <a:lnTo>
                      <a:pt x="79" y="371"/>
                    </a:lnTo>
                    <a:lnTo>
                      <a:pt x="80" y="371"/>
                    </a:lnTo>
                    <a:lnTo>
                      <a:pt x="81" y="369"/>
                    </a:lnTo>
                    <a:lnTo>
                      <a:pt x="81" y="368"/>
                    </a:lnTo>
                    <a:lnTo>
                      <a:pt x="82" y="367"/>
                    </a:lnTo>
                    <a:lnTo>
                      <a:pt x="82" y="365"/>
                    </a:lnTo>
                    <a:lnTo>
                      <a:pt x="84" y="364"/>
                    </a:lnTo>
                    <a:lnTo>
                      <a:pt x="85" y="361"/>
                    </a:lnTo>
                    <a:lnTo>
                      <a:pt x="86" y="361"/>
                    </a:lnTo>
                    <a:lnTo>
                      <a:pt x="89" y="361"/>
                    </a:lnTo>
                    <a:lnTo>
                      <a:pt x="89" y="360"/>
                    </a:lnTo>
                    <a:lnTo>
                      <a:pt x="90" y="360"/>
                    </a:lnTo>
                    <a:lnTo>
                      <a:pt x="91" y="360"/>
                    </a:lnTo>
                    <a:lnTo>
                      <a:pt x="93" y="358"/>
                    </a:lnTo>
                    <a:lnTo>
                      <a:pt x="93" y="359"/>
                    </a:lnTo>
                    <a:lnTo>
                      <a:pt x="95" y="356"/>
                    </a:lnTo>
                    <a:lnTo>
                      <a:pt x="95" y="354"/>
                    </a:lnTo>
                    <a:lnTo>
                      <a:pt x="93" y="353"/>
                    </a:lnTo>
                    <a:lnTo>
                      <a:pt x="92" y="352"/>
                    </a:lnTo>
                    <a:lnTo>
                      <a:pt x="91" y="351"/>
                    </a:lnTo>
                    <a:lnTo>
                      <a:pt x="90" y="352"/>
                    </a:lnTo>
                    <a:lnTo>
                      <a:pt x="89" y="352"/>
                    </a:lnTo>
                    <a:lnTo>
                      <a:pt x="87" y="354"/>
                    </a:lnTo>
                    <a:lnTo>
                      <a:pt x="86" y="353"/>
                    </a:lnTo>
                    <a:lnTo>
                      <a:pt x="87" y="350"/>
                    </a:lnTo>
                    <a:lnTo>
                      <a:pt x="90" y="349"/>
                    </a:lnTo>
                    <a:lnTo>
                      <a:pt x="92" y="344"/>
                    </a:lnTo>
                    <a:lnTo>
                      <a:pt x="92" y="341"/>
                    </a:lnTo>
                    <a:lnTo>
                      <a:pt x="91" y="339"/>
                    </a:lnTo>
                    <a:lnTo>
                      <a:pt x="91" y="338"/>
                    </a:lnTo>
                    <a:lnTo>
                      <a:pt x="90" y="335"/>
                    </a:lnTo>
                    <a:lnTo>
                      <a:pt x="91" y="333"/>
                    </a:lnTo>
                    <a:lnTo>
                      <a:pt x="95" y="333"/>
                    </a:lnTo>
                    <a:lnTo>
                      <a:pt x="95" y="331"/>
                    </a:lnTo>
                    <a:lnTo>
                      <a:pt x="97" y="330"/>
                    </a:lnTo>
                    <a:lnTo>
                      <a:pt x="96" y="330"/>
                    </a:lnTo>
                    <a:lnTo>
                      <a:pt x="97" y="326"/>
                    </a:lnTo>
                    <a:lnTo>
                      <a:pt x="95" y="324"/>
                    </a:lnTo>
                    <a:lnTo>
                      <a:pt x="95" y="321"/>
                    </a:lnTo>
                    <a:lnTo>
                      <a:pt x="98" y="318"/>
                    </a:lnTo>
                    <a:lnTo>
                      <a:pt x="97" y="316"/>
                    </a:lnTo>
                    <a:lnTo>
                      <a:pt x="96" y="314"/>
                    </a:lnTo>
                    <a:lnTo>
                      <a:pt x="97" y="313"/>
                    </a:lnTo>
                    <a:lnTo>
                      <a:pt x="98" y="314"/>
                    </a:lnTo>
                    <a:lnTo>
                      <a:pt x="100" y="310"/>
                    </a:lnTo>
                    <a:lnTo>
                      <a:pt x="99" y="308"/>
                    </a:lnTo>
                    <a:lnTo>
                      <a:pt x="100" y="308"/>
                    </a:lnTo>
                    <a:lnTo>
                      <a:pt x="100" y="304"/>
                    </a:lnTo>
                    <a:lnTo>
                      <a:pt x="101" y="304"/>
                    </a:lnTo>
                    <a:lnTo>
                      <a:pt x="102" y="304"/>
                    </a:lnTo>
                    <a:lnTo>
                      <a:pt x="103" y="304"/>
                    </a:lnTo>
                    <a:lnTo>
                      <a:pt x="104" y="304"/>
                    </a:lnTo>
                    <a:lnTo>
                      <a:pt x="105" y="304"/>
                    </a:lnTo>
                    <a:lnTo>
                      <a:pt x="106" y="304"/>
                    </a:lnTo>
                    <a:lnTo>
                      <a:pt x="106" y="306"/>
                    </a:lnTo>
                    <a:lnTo>
                      <a:pt x="107" y="305"/>
                    </a:lnTo>
                    <a:lnTo>
                      <a:pt x="107" y="299"/>
                    </a:lnTo>
                    <a:lnTo>
                      <a:pt x="107" y="293"/>
                    </a:lnTo>
                    <a:lnTo>
                      <a:pt x="106" y="291"/>
                    </a:lnTo>
                    <a:lnTo>
                      <a:pt x="107" y="289"/>
                    </a:lnTo>
                    <a:lnTo>
                      <a:pt x="107" y="287"/>
                    </a:lnTo>
                    <a:lnTo>
                      <a:pt x="106" y="287"/>
                    </a:lnTo>
                    <a:lnTo>
                      <a:pt x="105" y="286"/>
                    </a:lnTo>
                    <a:lnTo>
                      <a:pt x="106" y="284"/>
                    </a:lnTo>
                    <a:lnTo>
                      <a:pt x="107" y="283"/>
                    </a:lnTo>
                    <a:lnTo>
                      <a:pt x="107" y="280"/>
                    </a:lnTo>
                    <a:lnTo>
                      <a:pt x="106" y="280"/>
                    </a:lnTo>
                    <a:lnTo>
                      <a:pt x="107" y="278"/>
                    </a:lnTo>
                    <a:lnTo>
                      <a:pt x="110" y="277"/>
                    </a:lnTo>
                    <a:lnTo>
                      <a:pt x="106" y="277"/>
                    </a:lnTo>
                    <a:lnTo>
                      <a:pt x="104" y="276"/>
                    </a:lnTo>
                    <a:lnTo>
                      <a:pt x="100" y="272"/>
                    </a:lnTo>
                    <a:lnTo>
                      <a:pt x="98" y="269"/>
                    </a:lnTo>
                    <a:lnTo>
                      <a:pt x="93" y="268"/>
                    </a:lnTo>
                    <a:lnTo>
                      <a:pt x="92" y="267"/>
                    </a:lnTo>
                    <a:lnTo>
                      <a:pt x="89" y="268"/>
                    </a:lnTo>
                    <a:lnTo>
                      <a:pt x="87" y="267"/>
                    </a:lnTo>
                    <a:lnTo>
                      <a:pt x="87" y="266"/>
                    </a:lnTo>
                    <a:lnTo>
                      <a:pt x="89" y="267"/>
                    </a:lnTo>
                    <a:lnTo>
                      <a:pt x="90" y="262"/>
                    </a:lnTo>
                    <a:lnTo>
                      <a:pt x="90" y="260"/>
                    </a:lnTo>
                    <a:lnTo>
                      <a:pt x="90" y="259"/>
                    </a:lnTo>
                    <a:lnTo>
                      <a:pt x="90" y="256"/>
                    </a:lnTo>
                    <a:lnTo>
                      <a:pt x="87" y="256"/>
                    </a:lnTo>
                    <a:lnTo>
                      <a:pt x="85" y="255"/>
                    </a:lnTo>
                    <a:lnTo>
                      <a:pt x="83" y="254"/>
                    </a:lnTo>
                    <a:lnTo>
                      <a:pt x="79" y="254"/>
                    </a:lnTo>
                    <a:lnTo>
                      <a:pt x="77" y="255"/>
                    </a:lnTo>
                    <a:lnTo>
                      <a:pt x="77" y="252"/>
                    </a:lnTo>
                    <a:lnTo>
                      <a:pt x="76" y="248"/>
                    </a:lnTo>
                    <a:lnTo>
                      <a:pt x="74" y="247"/>
                    </a:lnTo>
                    <a:lnTo>
                      <a:pt x="73" y="248"/>
                    </a:lnTo>
                    <a:lnTo>
                      <a:pt x="73" y="247"/>
                    </a:lnTo>
                    <a:lnTo>
                      <a:pt x="71" y="244"/>
                    </a:lnTo>
                    <a:lnTo>
                      <a:pt x="70" y="244"/>
                    </a:lnTo>
                    <a:lnTo>
                      <a:pt x="70" y="238"/>
                    </a:lnTo>
                    <a:lnTo>
                      <a:pt x="68" y="237"/>
                    </a:lnTo>
                    <a:lnTo>
                      <a:pt x="67" y="235"/>
                    </a:lnTo>
                    <a:lnTo>
                      <a:pt x="66" y="235"/>
                    </a:lnTo>
                    <a:lnTo>
                      <a:pt x="65" y="234"/>
                    </a:lnTo>
                    <a:lnTo>
                      <a:pt x="63" y="236"/>
                    </a:lnTo>
                    <a:lnTo>
                      <a:pt x="62" y="236"/>
                    </a:lnTo>
                    <a:lnTo>
                      <a:pt x="61" y="235"/>
                    </a:lnTo>
                    <a:lnTo>
                      <a:pt x="60" y="236"/>
                    </a:lnTo>
                    <a:lnTo>
                      <a:pt x="61" y="237"/>
                    </a:lnTo>
                    <a:lnTo>
                      <a:pt x="53" y="237"/>
                    </a:lnTo>
                    <a:lnTo>
                      <a:pt x="52" y="236"/>
                    </a:lnTo>
                    <a:lnTo>
                      <a:pt x="43" y="234"/>
                    </a:lnTo>
                    <a:lnTo>
                      <a:pt x="43" y="233"/>
                    </a:lnTo>
                    <a:lnTo>
                      <a:pt x="42" y="232"/>
                    </a:lnTo>
                    <a:lnTo>
                      <a:pt x="42" y="231"/>
                    </a:lnTo>
                    <a:lnTo>
                      <a:pt x="40" y="229"/>
                    </a:lnTo>
                    <a:lnTo>
                      <a:pt x="41" y="228"/>
                    </a:lnTo>
                    <a:lnTo>
                      <a:pt x="40" y="227"/>
                    </a:lnTo>
                    <a:lnTo>
                      <a:pt x="38" y="226"/>
                    </a:lnTo>
                    <a:lnTo>
                      <a:pt x="37" y="224"/>
                    </a:lnTo>
                    <a:lnTo>
                      <a:pt x="36" y="224"/>
                    </a:lnTo>
                    <a:lnTo>
                      <a:pt x="35" y="223"/>
                    </a:lnTo>
                    <a:lnTo>
                      <a:pt x="32" y="223"/>
                    </a:lnTo>
                    <a:lnTo>
                      <a:pt x="31" y="220"/>
                    </a:lnTo>
                    <a:lnTo>
                      <a:pt x="29" y="220"/>
                    </a:lnTo>
                    <a:lnTo>
                      <a:pt x="27" y="219"/>
                    </a:lnTo>
                    <a:lnTo>
                      <a:pt x="28" y="215"/>
                    </a:lnTo>
                    <a:lnTo>
                      <a:pt x="29" y="216"/>
                    </a:lnTo>
                    <a:lnTo>
                      <a:pt x="30" y="215"/>
                    </a:lnTo>
                    <a:lnTo>
                      <a:pt x="34" y="215"/>
                    </a:lnTo>
                    <a:lnTo>
                      <a:pt x="37" y="217"/>
                    </a:lnTo>
                    <a:lnTo>
                      <a:pt x="37" y="216"/>
                    </a:lnTo>
                    <a:lnTo>
                      <a:pt x="35" y="215"/>
                    </a:lnTo>
                    <a:lnTo>
                      <a:pt x="34" y="215"/>
                    </a:lnTo>
                    <a:lnTo>
                      <a:pt x="33" y="210"/>
                    </a:lnTo>
                    <a:lnTo>
                      <a:pt x="32" y="210"/>
                    </a:lnTo>
                    <a:lnTo>
                      <a:pt x="27" y="210"/>
                    </a:lnTo>
                    <a:lnTo>
                      <a:pt x="25" y="212"/>
                    </a:lnTo>
                    <a:lnTo>
                      <a:pt x="23" y="212"/>
                    </a:lnTo>
                    <a:lnTo>
                      <a:pt x="22" y="211"/>
                    </a:lnTo>
                    <a:lnTo>
                      <a:pt x="22" y="210"/>
                    </a:lnTo>
                    <a:lnTo>
                      <a:pt x="22" y="209"/>
                    </a:lnTo>
                    <a:lnTo>
                      <a:pt x="21" y="209"/>
                    </a:lnTo>
                    <a:lnTo>
                      <a:pt x="20" y="207"/>
                    </a:lnTo>
                    <a:lnTo>
                      <a:pt x="19" y="209"/>
                    </a:lnTo>
                    <a:lnTo>
                      <a:pt x="13" y="207"/>
                    </a:lnTo>
                    <a:lnTo>
                      <a:pt x="12" y="210"/>
                    </a:lnTo>
                    <a:lnTo>
                      <a:pt x="11" y="210"/>
                    </a:lnTo>
                    <a:lnTo>
                      <a:pt x="9" y="212"/>
                    </a:lnTo>
                    <a:lnTo>
                      <a:pt x="7" y="212"/>
                    </a:lnTo>
                    <a:lnTo>
                      <a:pt x="7" y="209"/>
                    </a:lnTo>
                    <a:lnTo>
                      <a:pt x="3" y="209"/>
                    </a:lnTo>
                    <a:lnTo>
                      <a:pt x="1" y="209"/>
                    </a:lnTo>
                    <a:lnTo>
                      <a:pt x="0" y="209"/>
                    </a:lnTo>
                    <a:lnTo>
                      <a:pt x="0" y="207"/>
                    </a:lnTo>
                    <a:lnTo>
                      <a:pt x="2" y="205"/>
                    </a:lnTo>
                    <a:lnTo>
                      <a:pt x="2" y="203"/>
                    </a:lnTo>
                    <a:lnTo>
                      <a:pt x="4" y="202"/>
                    </a:lnTo>
                    <a:lnTo>
                      <a:pt x="5" y="202"/>
                    </a:lnTo>
                    <a:lnTo>
                      <a:pt x="4" y="200"/>
                    </a:lnTo>
                    <a:lnTo>
                      <a:pt x="6" y="198"/>
                    </a:lnTo>
                    <a:lnTo>
                      <a:pt x="6" y="196"/>
                    </a:lnTo>
                    <a:lnTo>
                      <a:pt x="8" y="197"/>
                    </a:lnTo>
                    <a:lnTo>
                      <a:pt x="11" y="197"/>
                    </a:lnTo>
                    <a:lnTo>
                      <a:pt x="11" y="193"/>
                    </a:lnTo>
                    <a:lnTo>
                      <a:pt x="11" y="190"/>
                    </a:lnTo>
                    <a:lnTo>
                      <a:pt x="9" y="189"/>
                    </a:lnTo>
                    <a:lnTo>
                      <a:pt x="8" y="186"/>
                    </a:lnTo>
                    <a:lnTo>
                      <a:pt x="6" y="188"/>
                    </a:lnTo>
                    <a:lnTo>
                      <a:pt x="6" y="186"/>
                    </a:lnTo>
                    <a:lnTo>
                      <a:pt x="6" y="183"/>
                    </a:lnTo>
                    <a:lnTo>
                      <a:pt x="7" y="180"/>
                    </a:lnTo>
                    <a:lnTo>
                      <a:pt x="6" y="179"/>
                    </a:lnTo>
                    <a:lnTo>
                      <a:pt x="8" y="178"/>
                    </a:lnTo>
                    <a:lnTo>
                      <a:pt x="9" y="179"/>
                    </a:lnTo>
                    <a:lnTo>
                      <a:pt x="11" y="177"/>
                    </a:lnTo>
                    <a:lnTo>
                      <a:pt x="12" y="177"/>
                    </a:lnTo>
                    <a:lnTo>
                      <a:pt x="12" y="175"/>
                    </a:lnTo>
                    <a:lnTo>
                      <a:pt x="16" y="175"/>
                    </a:lnTo>
                    <a:lnTo>
                      <a:pt x="16" y="176"/>
                    </a:lnTo>
                    <a:lnTo>
                      <a:pt x="20" y="178"/>
                    </a:lnTo>
                    <a:lnTo>
                      <a:pt x="22" y="178"/>
                    </a:lnTo>
                    <a:lnTo>
                      <a:pt x="22" y="176"/>
                    </a:lnTo>
                    <a:lnTo>
                      <a:pt x="22" y="175"/>
                    </a:lnTo>
                    <a:lnTo>
                      <a:pt x="22" y="174"/>
                    </a:lnTo>
                    <a:lnTo>
                      <a:pt x="23" y="175"/>
                    </a:lnTo>
                    <a:lnTo>
                      <a:pt x="25" y="175"/>
                    </a:lnTo>
                    <a:lnTo>
                      <a:pt x="25" y="171"/>
                    </a:lnTo>
                    <a:lnTo>
                      <a:pt x="25" y="170"/>
                    </a:lnTo>
                    <a:lnTo>
                      <a:pt x="25" y="166"/>
                    </a:lnTo>
                    <a:lnTo>
                      <a:pt x="25" y="167"/>
                    </a:lnTo>
                    <a:lnTo>
                      <a:pt x="26" y="167"/>
                    </a:lnTo>
                    <a:lnTo>
                      <a:pt x="27" y="169"/>
                    </a:lnTo>
                    <a:lnTo>
                      <a:pt x="28" y="169"/>
                    </a:lnTo>
                    <a:lnTo>
                      <a:pt x="30" y="170"/>
                    </a:lnTo>
                    <a:lnTo>
                      <a:pt x="31" y="168"/>
                    </a:lnTo>
                    <a:lnTo>
                      <a:pt x="31" y="165"/>
                    </a:lnTo>
                    <a:lnTo>
                      <a:pt x="31" y="163"/>
                    </a:lnTo>
                    <a:lnTo>
                      <a:pt x="29" y="162"/>
                    </a:lnTo>
                    <a:lnTo>
                      <a:pt x="33" y="162"/>
                    </a:lnTo>
                    <a:lnTo>
                      <a:pt x="33" y="159"/>
                    </a:lnTo>
                    <a:lnTo>
                      <a:pt x="32" y="155"/>
                    </a:lnTo>
                    <a:lnTo>
                      <a:pt x="33" y="154"/>
                    </a:lnTo>
                    <a:lnTo>
                      <a:pt x="33" y="150"/>
                    </a:lnTo>
                    <a:lnTo>
                      <a:pt x="34" y="152"/>
                    </a:lnTo>
                    <a:lnTo>
                      <a:pt x="37" y="152"/>
                    </a:lnTo>
                    <a:lnTo>
                      <a:pt x="38" y="151"/>
                    </a:lnTo>
                    <a:lnTo>
                      <a:pt x="38" y="150"/>
                    </a:lnTo>
                    <a:lnTo>
                      <a:pt x="40" y="150"/>
                    </a:lnTo>
                    <a:lnTo>
                      <a:pt x="40" y="149"/>
                    </a:lnTo>
                    <a:lnTo>
                      <a:pt x="41" y="149"/>
                    </a:lnTo>
                    <a:lnTo>
                      <a:pt x="41" y="148"/>
                    </a:lnTo>
                    <a:lnTo>
                      <a:pt x="41" y="146"/>
                    </a:lnTo>
                    <a:lnTo>
                      <a:pt x="43" y="146"/>
                    </a:lnTo>
                    <a:lnTo>
                      <a:pt x="43" y="145"/>
                    </a:lnTo>
                    <a:lnTo>
                      <a:pt x="46" y="145"/>
                    </a:lnTo>
                    <a:lnTo>
                      <a:pt x="47" y="142"/>
                    </a:lnTo>
                    <a:lnTo>
                      <a:pt x="50" y="142"/>
                    </a:lnTo>
                    <a:lnTo>
                      <a:pt x="52" y="142"/>
                    </a:lnTo>
                    <a:lnTo>
                      <a:pt x="52" y="141"/>
                    </a:lnTo>
                    <a:lnTo>
                      <a:pt x="53" y="141"/>
                    </a:lnTo>
                    <a:lnTo>
                      <a:pt x="55" y="145"/>
                    </a:lnTo>
                    <a:lnTo>
                      <a:pt x="57" y="146"/>
                    </a:lnTo>
                    <a:lnTo>
                      <a:pt x="58" y="145"/>
                    </a:lnTo>
                    <a:lnTo>
                      <a:pt x="61" y="145"/>
                    </a:lnTo>
                    <a:lnTo>
                      <a:pt x="64" y="142"/>
                    </a:lnTo>
                    <a:lnTo>
                      <a:pt x="66" y="144"/>
                    </a:lnTo>
                    <a:lnTo>
                      <a:pt x="66" y="142"/>
                    </a:lnTo>
                    <a:lnTo>
                      <a:pt x="71" y="140"/>
                    </a:lnTo>
                    <a:lnTo>
                      <a:pt x="70" y="137"/>
                    </a:lnTo>
                    <a:lnTo>
                      <a:pt x="73" y="138"/>
                    </a:lnTo>
                    <a:lnTo>
                      <a:pt x="74" y="137"/>
                    </a:lnTo>
                    <a:lnTo>
                      <a:pt x="76" y="134"/>
                    </a:lnTo>
                    <a:lnTo>
                      <a:pt x="76" y="133"/>
                    </a:lnTo>
                    <a:lnTo>
                      <a:pt x="78" y="133"/>
                    </a:lnTo>
                    <a:lnTo>
                      <a:pt x="80" y="132"/>
                    </a:lnTo>
                    <a:lnTo>
                      <a:pt x="85" y="126"/>
                    </a:lnTo>
                    <a:lnTo>
                      <a:pt x="86" y="127"/>
                    </a:lnTo>
                    <a:lnTo>
                      <a:pt x="85" y="128"/>
                    </a:lnTo>
                    <a:lnTo>
                      <a:pt x="85" y="133"/>
                    </a:lnTo>
                    <a:lnTo>
                      <a:pt x="89" y="132"/>
                    </a:lnTo>
                    <a:lnTo>
                      <a:pt x="90" y="133"/>
                    </a:lnTo>
                    <a:lnTo>
                      <a:pt x="92" y="135"/>
                    </a:lnTo>
                    <a:lnTo>
                      <a:pt x="93" y="135"/>
                    </a:lnTo>
                    <a:lnTo>
                      <a:pt x="97" y="133"/>
                    </a:lnTo>
                    <a:lnTo>
                      <a:pt x="104" y="135"/>
                    </a:lnTo>
                    <a:lnTo>
                      <a:pt x="106" y="136"/>
                    </a:lnTo>
                    <a:lnTo>
                      <a:pt x="107" y="133"/>
                    </a:lnTo>
                    <a:lnTo>
                      <a:pt x="108" y="131"/>
                    </a:lnTo>
                    <a:lnTo>
                      <a:pt x="109" y="132"/>
                    </a:lnTo>
                    <a:lnTo>
                      <a:pt x="110" y="129"/>
                    </a:lnTo>
                    <a:lnTo>
                      <a:pt x="111" y="130"/>
                    </a:lnTo>
                    <a:lnTo>
                      <a:pt x="110" y="133"/>
                    </a:lnTo>
                    <a:lnTo>
                      <a:pt x="112" y="133"/>
                    </a:lnTo>
                    <a:lnTo>
                      <a:pt x="113" y="131"/>
                    </a:lnTo>
                    <a:lnTo>
                      <a:pt x="114" y="131"/>
                    </a:lnTo>
                    <a:lnTo>
                      <a:pt x="118" y="127"/>
                    </a:lnTo>
                    <a:lnTo>
                      <a:pt x="120" y="124"/>
                    </a:lnTo>
                    <a:lnTo>
                      <a:pt x="122" y="122"/>
                    </a:lnTo>
                    <a:lnTo>
                      <a:pt x="123" y="122"/>
                    </a:lnTo>
                    <a:lnTo>
                      <a:pt x="125" y="120"/>
                    </a:lnTo>
                    <a:lnTo>
                      <a:pt x="126" y="120"/>
                    </a:lnTo>
                    <a:lnTo>
                      <a:pt x="128" y="123"/>
                    </a:lnTo>
                    <a:lnTo>
                      <a:pt x="128" y="122"/>
                    </a:lnTo>
                    <a:lnTo>
                      <a:pt x="129" y="122"/>
                    </a:lnTo>
                    <a:lnTo>
                      <a:pt x="131" y="128"/>
                    </a:lnTo>
                    <a:lnTo>
                      <a:pt x="130" y="131"/>
                    </a:lnTo>
                    <a:lnTo>
                      <a:pt x="131" y="132"/>
                    </a:lnTo>
                    <a:lnTo>
                      <a:pt x="138" y="132"/>
                    </a:lnTo>
                    <a:lnTo>
                      <a:pt x="138" y="128"/>
                    </a:lnTo>
                    <a:lnTo>
                      <a:pt x="139" y="127"/>
                    </a:lnTo>
                    <a:lnTo>
                      <a:pt x="139" y="124"/>
                    </a:lnTo>
                    <a:lnTo>
                      <a:pt x="141" y="122"/>
                    </a:lnTo>
                    <a:lnTo>
                      <a:pt x="143" y="120"/>
                    </a:lnTo>
                    <a:lnTo>
                      <a:pt x="146" y="120"/>
                    </a:lnTo>
                    <a:lnTo>
                      <a:pt x="152" y="119"/>
                    </a:lnTo>
                    <a:lnTo>
                      <a:pt x="153" y="119"/>
                    </a:lnTo>
                    <a:lnTo>
                      <a:pt x="152" y="120"/>
                    </a:lnTo>
                    <a:lnTo>
                      <a:pt x="156" y="119"/>
                    </a:lnTo>
                    <a:lnTo>
                      <a:pt x="157" y="118"/>
                    </a:lnTo>
                    <a:lnTo>
                      <a:pt x="158" y="118"/>
                    </a:lnTo>
                    <a:lnTo>
                      <a:pt x="161" y="117"/>
                    </a:lnTo>
                    <a:lnTo>
                      <a:pt x="161" y="115"/>
                    </a:lnTo>
                    <a:lnTo>
                      <a:pt x="162" y="115"/>
                    </a:lnTo>
                    <a:lnTo>
                      <a:pt x="162" y="114"/>
                    </a:lnTo>
                    <a:lnTo>
                      <a:pt x="164" y="115"/>
                    </a:lnTo>
                    <a:lnTo>
                      <a:pt x="165" y="113"/>
                    </a:lnTo>
                    <a:lnTo>
                      <a:pt x="166" y="112"/>
                    </a:lnTo>
                    <a:lnTo>
                      <a:pt x="166" y="108"/>
                    </a:lnTo>
                    <a:lnTo>
                      <a:pt x="166" y="107"/>
                    </a:lnTo>
                    <a:lnTo>
                      <a:pt x="164" y="107"/>
                    </a:lnTo>
                    <a:lnTo>
                      <a:pt x="165" y="107"/>
                    </a:lnTo>
                    <a:lnTo>
                      <a:pt x="165" y="106"/>
                    </a:lnTo>
                    <a:lnTo>
                      <a:pt x="167" y="107"/>
                    </a:lnTo>
                    <a:lnTo>
                      <a:pt x="170" y="107"/>
                    </a:lnTo>
                    <a:lnTo>
                      <a:pt x="170" y="109"/>
                    </a:lnTo>
                    <a:lnTo>
                      <a:pt x="175" y="109"/>
                    </a:lnTo>
                    <a:lnTo>
                      <a:pt x="176" y="109"/>
                    </a:lnTo>
                    <a:lnTo>
                      <a:pt x="175" y="107"/>
                    </a:lnTo>
                    <a:lnTo>
                      <a:pt x="176" y="107"/>
                    </a:lnTo>
                    <a:lnTo>
                      <a:pt x="175" y="106"/>
                    </a:lnTo>
                    <a:lnTo>
                      <a:pt x="177" y="103"/>
                    </a:lnTo>
                    <a:lnTo>
                      <a:pt x="175" y="101"/>
                    </a:lnTo>
                    <a:lnTo>
                      <a:pt x="174" y="101"/>
                    </a:lnTo>
                    <a:lnTo>
                      <a:pt x="174" y="95"/>
                    </a:lnTo>
                    <a:lnTo>
                      <a:pt x="177" y="94"/>
                    </a:lnTo>
                    <a:lnTo>
                      <a:pt x="178" y="94"/>
                    </a:lnTo>
                    <a:lnTo>
                      <a:pt x="180" y="92"/>
                    </a:lnTo>
                    <a:lnTo>
                      <a:pt x="181" y="92"/>
                    </a:lnTo>
                    <a:lnTo>
                      <a:pt x="182" y="90"/>
                    </a:lnTo>
                    <a:lnTo>
                      <a:pt x="185" y="90"/>
                    </a:lnTo>
                    <a:lnTo>
                      <a:pt x="187" y="93"/>
                    </a:lnTo>
                    <a:lnTo>
                      <a:pt x="188" y="94"/>
                    </a:lnTo>
                    <a:lnTo>
                      <a:pt x="188" y="92"/>
                    </a:lnTo>
                    <a:lnTo>
                      <a:pt x="190" y="92"/>
                    </a:lnTo>
                    <a:lnTo>
                      <a:pt x="190" y="91"/>
                    </a:lnTo>
                    <a:lnTo>
                      <a:pt x="194" y="94"/>
                    </a:lnTo>
                    <a:lnTo>
                      <a:pt x="198" y="95"/>
                    </a:lnTo>
                    <a:lnTo>
                      <a:pt x="198" y="97"/>
                    </a:lnTo>
                    <a:lnTo>
                      <a:pt x="199" y="97"/>
                    </a:lnTo>
                    <a:lnTo>
                      <a:pt x="199" y="98"/>
                    </a:lnTo>
                    <a:lnTo>
                      <a:pt x="200" y="98"/>
                    </a:lnTo>
                    <a:lnTo>
                      <a:pt x="205" y="99"/>
                    </a:lnTo>
                    <a:lnTo>
                      <a:pt x="211" y="99"/>
                    </a:lnTo>
                    <a:lnTo>
                      <a:pt x="211" y="101"/>
                    </a:lnTo>
                    <a:lnTo>
                      <a:pt x="213" y="101"/>
                    </a:lnTo>
                    <a:lnTo>
                      <a:pt x="217" y="102"/>
                    </a:lnTo>
                    <a:lnTo>
                      <a:pt x="218" y="103"/>
                    </a:lnTo>
                    <a:lnTo>
                      <a:pt x="218" y="102"/>
                    </a:lnTo>
                    <a:lnTo>
                      <a:pt x="224" y="102"/>
                    </a:lnTo>
                    <a:lnTo>
                      <a:pt x="225" y="101"/>
                    </a:lnTo>
                    <a:lnTo>
                      <a:pt x="228" y="103"/>
                    </a:lnTo>
                    <a:lnTo>
                      <a:pt x="229" y="100"/>
                    </a:lnTo>
                    <a:lnTo>
                      <a:pt x="229" y="98"/>
                    </a:lnTo>
                    <a:lnTo>
                      <a:pt x="232" y="100"/>
                    </a:lnTo>
                    <a:lnTo>
                      <a:pt x="232" y="101"/>
                    </a:lnTo>
                    <a:lnTo>
                      <a:pt x="233" y="103"/>
                    </a:lnTo>
                    <a:lnTo>
                      <a:pt x="234" y="102"/>
                    </a:lnTo>
                    <a:lnTo>
                      <a:pt x="236" y="104"/>
                    </a:lnTo>
                    <a:lnTo>
                      <a:pt x="236" y="103"/>
                    </a:lnTo>
                    <a:lnTo>
                      <a:pt x="237" y="103"/>
                    </a:lnTo>
                    <a:lnTo>
                      <a:pt x="238" y="101"/>
                    </a:lnTo>
                    <a:lnTo>
                      <a:pt x="243" y="106"/>
                    </a:lnTo>
                    <a:lnTo>
                      <a:pt x="245" y="107"/>
                    </a:lnTo>
                    <a:lnTo>
                      <a:pt x="245" y="108"/>
                    </a:lnTo>
                    <a:lnTo>
                      <a:pt x="246" y="109"/>
                    </a:lnTo>
                    <a:lnTo>
                      <a:pt x="248" y="105"/>
                    </a:lnTo>
                    <a:lnTo>
                      <a:pt x="250" y="103"/>
                    </a:lnTo>
                    <a:lnTo>
                      <a:pt x="250" y="102"/>
                    </a:lnTo>
                    <a:lnTo>
                      <a:pt x="252" y="99"/>
                    </a:lnTo>
                    <a:lnTo>
                      <a:pt x="253" y="99"/>
                    </a:lnTo>
                    <a:lnTo>
                      <a:pt x="255" y="98"/>
                    </a:lnTo>
                    <a:lnTo>
                      <a:pt x="257" y="100"/>
                    </a:lnTo>
                    <a:lnTo>
                      <a:pt x="259" y="101"/>
                    </a:lnTo>
                    <a:lnTo>
                      <a:pt x="260" y="100"/>
                    </a:lnTo>
                    <a:lnTo>
                      <a:pt x="260" y="99"/>
                    </a:lnTo>
                    <a:lnTo>
                      <a:pt x="261" y="101"/>
                    </a:lnTo>
                    <a:lnTo>
                      <a:pt x="263" y="101"/>
                    </a:lnTo>
                    <a:lnTo>
                      <a:pt x="263" y="99"/>
                    </a:lnTo>
                    <a:lnTo>
                      <a:pt x="267" y="100"/>
                    </a:lnTo>
                    <a:lnTo>
                      <a:pt x="267" y="98"/>
                    </a:lnTo>
                    <a:lnTo>
                      <a:pt x="268" y="99"/>
                    </a:lnTo>
                    <a:lnTo>
                      <a:pt x="269" y="98"/>
                    </a:lnTo>
                    <a:lnTo>
                      <a:pt x="272" y="99"/>
                    </a:lnTo>
                    <a:lnTo>
                      <a:pt x="273" y="100"/>
                    </a:lnTo>
                    <a:lnTo>
                      <a:pt x="273" y="101"/>
                    </a:lnTo>
                    <a:lnTo>
                      <a:pt x="274" y="101"/>
                    </a:lnTo>
                    <a:lnTo>
                      <a:pt x="274" y="103"/>
                    </a:lnTo>
                    <a:lnTo>
                      <a:pt x="275" y="102"/>
                    </a:lnTo>
                    <a:lnTo>
                      <a:pt x="276" y="103"/>
                    </a:lnTo>
                    <a:lnTo>
                      <a:pt x="275" y="101"/>
                    </a:lnTo>
                    <a:lnTo>
                      <a:pt x="276" y="101"/>
                    </a:lnTo>
                    <a:lnTo>
                      <a:pt x="276" y="102"/>
                    </a:lnTo>
                    <a:lnTo>
                      <a:pt x="276" y="103"/>
                    </a:lnTo>
                    <a:lnTo>
                      <a:pt x="278" y="102"/>
                    </a:lnTo>
                    <a:lnTo>
                      <a:pt x="281" y="98"/>
                    </a:lnTo>
                    <a:lnTo>
                      <a:pt x="280" y="98"/>
                    </a:lnTo>
                    <a:lnTo>
                      <a:pt x="281" y="96"/>
                    </a:lnTo>
                    <a:lnTo>
                      <a:pt x="280" y="96"/>
                    </a:lnTo>
                    <a:lnTo>
                      <a:pt x="281" y="95"/>
                    </a:lnTo>
                    <a:lnTo>
                      <a:pt x="280" y="95"/>
                    </a:lnTo>
                    <a:lnTo>
                      <a:pt x="280" y="94"/>
                    </a:lnTo>
                    <a:lnTo>
                      <a:pt x="280" y="90"/>
                    </a:lnTo>
                    <a:lnTo>
                      <a:pt x="283" y="92"/>
                    </a:lnTo>
                    <a:lnTo>
                      <a:pt x="283" y="86"/>
                    </a:lnTo>
                    <a:lnTo>
                      <a:pt x="283" y="84"/>
                    </a:lnTo>
                    <a:lnTo>
                      <a:pt x="284" y="84"/>
                    </a:lnTo>
                    <a:lnTo>
                      <a:pt x="284" y="82"/>
                    </a:lnTo>
                    <a:lnTo>
                      <a:pt x="283" y="81"/>
                    </a:lnTo>
                    <a:lnTo>
                      <a:pt x="282" y="81"/>
                    </a:lnTo>
                    <a:lnTo>
                      <a:pt x="282" y="78"/>
                    </a:lnTo>
                    <a:lnTo>
                      <a:pt x="281" y="77"/>
                    </a:lnTo>
                    <a:lnTo>
                      <a:pt x="281" y="76"/>
                    </a:lnTo>
                    <a:lnTo>
                      <a:pt x="283" y="75"/>
                    </a:lnTo>
                    <a:lnTo>
                      <a:pt x="283" y="76"/>
                    </a:lnTo>
                    <a:lnTo>
                      <a:pt x="284" y="75"/>
                    </a:lnTo>
                    <a:lnTo>
                      <a:pt x="283" y="74"/>
                    </a:lnTo>
                    <a:lnTo>
                      <a:pt x="283" y="73"/>
                    </a:lnTo>
                    <a:lnTo>
                      <a:pt x="282" y="71"/>
                    </a:lnTo>
                    <a:lnTo>
                      <a:pt x="283" y="70"/>
                    </a:lnTo>
                    <a:lnTo>
                      <a:pt x="283" y="71"/>
                    </a:lnTo>
                    <a:lnTo>
                      <a:pt x="283" y="69"/>
                    </a:lnTo>
                    <a:lnTo>
                      <a:pt x="283" y="68"/>
                    </a:lnTo>
                    <a:lnTo>
                      <a:pt x="281" y="67"/>
                    </a:lnTo>
                    <a:lnTo>
                      <a:pt x="281" y="66"/>
                    </a:lnTo>
                    <a:lnTo>
                      <a:pt x="283" y="65"/>
                    </a:lnTo>
                    <a:lnTo>
                      <a:pt x="284" y="65"/>
                    </a:lnTo>
                    <a:lnTo>
                      <a:pt x="284" y="64"/>
                    </a:lnTo>
                    <a:lnTo>
                      <a:pt x="286" y="64"/>
                    </a:lnTo>
                    <a:lnTo>
                      <a:pt x="290" y="69"/>
                    </a:lnTo>
                    <a:lnTo>
                      <a:pt x="296" y="72"/>
                    </a:lnTo>
                    <a:lnTo>
                      <a:pt x="296" y="71"/>
                    </a:lnTo>
                    <a:lnTo>
                      <a:pt x="297" y="71"/>
                    </a:lnTo>
                    <a:lnTo>
                      <a:pt x="296" y="70"/>
                    </a:lnTo>
                    <a:lnTo>
                      <a:pt x="297" y="69"/>
                    </a:lnTo>
                    <a:lnTo>
                      <a:pt x="297" y="68"/>
                    </a:lnTo>
                    <a:lnTo>
                      <a:pt x="295" y="68"/>
                    </a:lnTo>
                    <a:lnTo>
                      <a:pt x="294" y="67"/>
                    </a:lnTo>
                    <a:lnTo>
                      <a:pt x="296" y="65"/>
                    </a:lnTo>
                    <a:lnTo>
                      <a:pt x="297" y="67"/>
                    </a:lnTo>
                    <a:lnTo>
                      <a:pt x="298" y="65"/>
                    </a:lnTo>
                    <a:lnTo>
                      <a:pt x="297" y="65"/>
                    </a:lnTo>
                    <a:lnTo>
                      <a:pt x="299" y="64"/>
                    </a:lnTo>
                    <a:lnTo>
                      <a:pt x="299" y="58"/>
                    </a:lnTo>
                    <a:lnTo>
                      <a:pt x="303" y="61"/>
                    </a:lnTo>
                    <a:lnTo>
                      <a:pt x="306" y="61"/>
                    </a:lnTo>
                    <a:lnTo>
                      <a:pt x="306" y="58"/>
                    </a:lnTo>
                    <a:lnTo>
                      <a:pt x="309" y="61"/>
                    </a:lnTo>
                    <a:lnTo>
                      <a:pt x="312" y="61"/>
                    </a:lnTo>
                    <a:lnTo>
                      <a:pt x="312" y="57"/>
                    </a:lnTo>
                    <a:lnTo>
                      <a:pt x="313" y="56"/>
                    </a:lnTo>
                    <a:lnTo>
                      <a:pt x="313" y="54"/>
                    </a:lnTo>
                    <a:lnTo>
                      <a:pt x="313" y="52"/>
                    </a:lnTo>
                    <a:lnTo>
                      <a:pt x="312" y="52"/>
                    </a:lnTo>
                    <a:lnTo>
                      <a:pt x="313" y="52"/>
                    </a:lnTo>
                    <a:lnTo>
                      <a:pt x="313" y="48"/>
                    </a:lnTo>
                    <a:lnTo>
                      <a:pt x="310" y="39"/>
                    </a:lnTo>
                    <a:lnTo>
                      <a:pt x="315" y="38"/>
                    </a:lnTo>
                    <a:lnTo>
                      <a:pt x="315" y="34"/>
                    </a:lnTo>
                    <a:lnTo>
                      <a:pt x="319" y="36"/>
                    </a:lnTo>
                    <a:lnTo>
                      <a:pt x="320" y="36"/>
                    </a:lnTo>
                    <a:lnTo>
                      <a:pt x="319" y="39"/>
                    </a:lnTo>
                    <a:lnTo>
                      <a:pt x="321" y="39"/>
                    </a:lnTo>
                    <a:lnTo>
                      <a:pt x="321" y="40"/>
                    </a:lnTo>
                    <a:lnTo>
                      <a:pt x="322" y="42"/>
                    </a:lnTo>
                    <a:lnTo>
                      <a:pt x="323" y="39"/>
                    </a:lnTo>
                    <a:lnTo>
                      <a:pt x="325" y="35"/>
                    </a:lnTo>
                    <a:lnTo>
                      <a:pt x="330" y="35"/>
                    </a:lnTo>
                    <a:lnTo>
                      <a:pt x="329" y="35"/>
                    </a:lnTo>
                    <a:lnTo>
                      <a:pt x="330" y="37"/>
                    </a:lnTo>
                    <a:lnTo>
                      <a:pt x="330" y="41"/>
                    </a:lnTo>
                    <a:lnTo>
                      <a:pt x="331" y="41"/>
                    </a:lnTo>
                    <a:lnTo>
                      <a:pt x="334" y="43"/>
                    </a:lnTo>
                    <a:lnTo>
                      <a:pt x="336" y="43"/>
                    </a:lnTo>
                    <a:lnTo>
                      <a:pt x="337" y="41"/>
                    </a:lnTo>
                    <a:lnTo>
                      <a:pt x="335" y="39"/>
                    </a:lnTo>
                    <a:lnTo>
                      <a:pt x="335" y="38"/>
                    </a:lnTo>
                    <a:lnTo>
                      <a:pt x="339" y="39"/>
                    </a:lnTo>
                    <a:lnTo>
                      <a:pt x="340" y="38"/>
                    </a:lnTo>
                    <a:lnTo>
                      <a:pt x="341" y="36"/>
                    </a:lnTo>
                    <a:lnTo>
                      <a:pt x="343" y="37"/>
                    </a:lnTo>
                    <a:lnTo>
                      <a:pt x="344" y="37"/>
                    </a:lnTo>
                    <a:lnTo>
                      <a:pt x="343" y="38"/>
                    </a:lnTo>
                    <a:lnTo>
                      <a:pt x="343" y="40"/>
                    </a:lnTo>
                    <a:lnTo>
                      <a:pt x="343" y="41"/>
                    </a:lnTo>
                    <a:lnTo>
                      <a:pt x="345" y="43"/>
                    </a:lnTo>
                    <a:lnTo>
                      <a:pt x="344" y="43"/>
                    </a:lnTo>
                    <a:lnTo>
                      <a:pt x="343" y="44"/>
                    </a:lnTo>
                    <a:lnTo>
                      <a:pt x="342" y="46"/>
                    </a:lnTo>
                    <a:lnTo>
                      <a:pt x="343" y="47"/>
                    </a:lnTo>
                    <a:lnTo>
                      <a:pt x="343" y="51"/>
                    </a:lnTo>
                    <a:lnTo>
                      <a:pt x="345" y="54"/>
                    </a:lnTo>
                    <a:lnTo>
                      <a:pt x="346" y="52"/>
                    </a:lnTo>
                    <a:lnTo>
                      <a:pt x="346" y="53"/>
                    </a:lnTo>
                    <a:lnTo>
                      <a:pt x="347" y="52"/>
                    </a:lnTo>
                    <a:lnTo>
                      <a:pt x="347" y="53"/>
                    </a:lnTo>
                    <a:lnTo>
                      <a:pt x="348" y="53"/>
                    </a:lnTo>
                    <a:lnTo>
                      <a:pt x="348" y="54"/>
                    </a:lnTo>
                    <a:lnTo>
                      <a:pt x="349" y="55"/>
                    </a:lnTo>
                    <a:lnTo>
                      <a:pt x="350" y="56"/>
                    </a:lnTo>
                    <a:lnTo>
                      <a:pt x="351" y="55"/>
                    </a:lnTo>
                    <a:lnTo>
                      <a:pt x="351" y="53"/>
                    </a:lnTo>
                    <a:lnTo>
                      <a:pt x="353" y="51"/>
                    </a:lnTo>
                    <a:lnTo>
                      <a:pt x="353" y="52"/>
                    </a:lnTo>
                    <a:lnTo>
                      <a:pt x="355" y="53"/>
                    </a:lnTo>
                    <a:lnTo>
                      <a:pt x="356" y="53"/>
                    </a:lnTo>
                    <a:lnTo>
                      <a:pt x="356" y="51"/>
                    </a:lnTo>
                    <a:lnTo>
                      <a:pt x="358" y="51"/>
                    </a:lnTo>
                    <a:lnTo>
                      <a:pt x="359" y="53"/>
                    </a:lnTo>
                    <a:lnTo>
                      <a:pt x="361" y="54"/>
                    </a:lnTo>
                    <a:lnTo>
                      <a:pt x="361" y="52"/>
                    </a:lnTo>
                    <a:lnTo>
                      <a:pt x="361" y="51"/>
                    </a:lnTo>
                    <a:lnTo>
                      <a:pt x="365" y="52"/>
                    </a:lnTo>
                    <a:lnTo>
                      <a:pt x="368" y="52"/>
                    </a:lnTo>
                    <a:lnTo>
                      <a:pt x="372" y="55"/>
                    </a:lnTo>
                    <a:lnTo>
                      <a:pt x="372" y="54"/>
                    </a:lnTo>
                    <a:lnTo>
                      <a:pt x="372" y="50"/>
                    </a:lnTo>
                    <a:lnTo>
                      <a:pt x="374" y="49"/>
                    </a:lnTo>
                    <a:lnTo>
                      <a:pt x="374" y="48"/>
                    </a:lnTo>
                    <a:lnTo>
                      <a:pt x="378" y="49"/>
                    </a:lnTo>
                    <a:lnTo>
                      <a:pt x="379" y="48"/>
                    </a:lnTo>
                    <a:lnTo>
                      <a:pt x="381" y="48"/>
                    </a:lnTo>
                    <a:lnTo>
                      <a:pt x="383" y="40"/>
                    </a:lnTo>
                    <a:lnTo>
                      <a:pt x="383" y="39"/>
                    </a:lnTo>
                    <a:lnTo>
                      <a:pt x="390" y="41"/>
                    </a:lnTo>
                    <a:lnTo>
                      <a:pt x="391" y="40"/>
                    </a:lnTo>
                    <a:lnTo>
                      <a:pt x="392" y="36"/>
                    </a:lnTo>
                    <a:lnTo>
                      <a:pt x="391" y="27"/>
                    </a:lnTo>
                    <a:lnTo>
                      <a:pt x="392" y="22"/>
                    </a:lnTo>
                    <a:lnTo>
                      <a:pt x="405" y="27"/>
                    </a:lnTo>
                    <a:lnTo>
                      <a:pt x="411" y="34"/>
                    </a:lnTo>
                    <a:lnTo>
                      <a:pt x="418" y="28"/>
                    </a:lnTo>
                    <a:lnTo>
                      <a:pt x="419" y="28"/>
                    </a:lnTo>
                    <a:lnTo>
                      <a:pt x="420" y="27"/>
                    </a:lnTo>
                    <a:lnTo>
                      <a:pt x="421" y="26"/>
                    </a:lnTo>
                    <a:lnTo>
                      <a:pt x="420" y="24"/>
                    </a:lnTo>
                    <a:lnTo>
                      <a:pt x="418" y="22"/>
                    </a:lnTo>
                    <a:lnTo>
                      <a:pt x="419" y="20"/>
                    </a:lnTo>
                    <a:lnTo>
                      <a:pt x="418" y="19"/>
                    </a:lnTo>
                    <a:lnTo>
                      <a:pt x="423" y="18"/>
                    </a:lnTo>
                    <a:lnTo>
                      <a:pt x="426" y="17"/>
                    </a:lnTo>
                    <a:lnTo>
                      <a:pt x="428" y="17"/>
                    </a:lnTo>
                    <a:lnTo>
                      <a:pt x="429" y="17"/>
                    </a:lnTo>
                    <a:lnTo>
                      <a:pt x="430" y="15"/>
                    </a:lnTo>
                    <a:lnTo>
                      <a:pt x="430" y="17"/>
                    </a:lnTo>
                    <a:lnTo>
                      <a:pt x="433" y="15"/>
                    </a:lnTo>
                    <a:lnTo>
                      <a:pt x="435" y="14"/>
                    </a:lnTo>
                    <a:lnTo>
                      <a:pt x="434" y="11"/>
                    </a:lnTo>
                    <a:lnTo>
                      <a:pt x="435" y="11"/>
                    </a:lnTo>
                    <a:lnTo>
                      <a:pt x="434" y="7"/>
                    </a:lnTo>
                    <a:lnTo>
                      <a:pt x="432" y="7"/>
                    </a:lnTo>
                    <a:lnTo>
                      <a:pt x="435" y="6"/>
                    </a:lnTo>
                    <a:lnTo>
                      <a:pt x="435" y="5"/>
                    </a:lnTo>
                    <a:lnTo>
                      <a:pt x="437" y="6"/>
                    </a:lnTo>
                    <a:lnTo>
                      <a:pt x="437" y="5"/>
                    </a:lnTo>
                    <a:lnTo>
                      <a:pt x="438" y="5"/>
                    </a:lnTo>
                    <a:lnTo>
                      <a:pt x="439" y="6"/>
                    </a:lnTo>
                    <a:lnTo>
                      <a:pt x="437" y="0"/>
                    </a:lnTo>
                    <a:lnTo>
                      <a:pt x="439" y="0"/>
                    </a:lnTo>
                    <a:lnTo>
                      <a:pt x="444" y="1"/>
                    </a:lnTo>
                    <a:lnTo>
                      <a:pt x="443" y="1"/>
                    </a:lnTo>
                    <a:lnTo>
                      <a:pt x="444" y="4"/>
                    </a:lnTo>
                    <a:lnTo>
                      <a:pt x="442" y="5"/>
                    </a:lnTo>
                    <a:lnTo>
                      <a:pt x="443" y="6"/>
                    </a:lnTo>
                    <a:lnTo>
                      <a:pt x="444" y="6"/>
                    </a:lnTo>
                    <a:lnTo>
                      <a:pt x="446" y="7"/>
                    </a:lnTo>
                    <a:lnTo>
                      <a:pt x="446" y="6"/>
                    </a:lnTo>
                    <a:lnTo>
                      <a:pt x="447" y="7"/>
                    </a:lnTo>
                    <a:lnTo>
                      <a:pt x="449" y="11"/>
                    </a:lnTo>
                    <a:lnTo>
                      <a:pt x="447" y="11"/>
                    </a:lnTo>
                    <a:lnTo>
                      <a:pt x="448" y="11"/>
                    </a:lnTo>
                    <a:lnTo>
                      <a:pt x="449" y="13"/>
                    </a:lnTo>
                    <a:lnTo>
                      <a:pt x="451" y="13"/>
                    </a:lnTo>
                    <a:lnTo>
                      <a:pt x="452" y="14"/>
                    </a:lnTo>
                    <a:lnTo>
                      <a:pt x="452" y="11"/>
                    </a:lnTo>
                    <a:lnTo>
                      <a:pt x="454" y="11"/>
                    </a:lnTo>
                    <a:lnTo>
                      <a:pt x="454" y="9"/>
                    </a:lnTo>
                    <a:lnTo>
                      <a:pt x="455" y="8"/>
                    </a:lnTo>
                    <a:lnTo>
                      <a:pt x="456" y="9"/>
                    </a:lnTo>
                    <a:lnTo>
                      <a:pt x="455" y="9"/>
                    </a:lnTo>
                    <a:lnTo>
                      <a:pt x="455" y="10"/>
                    </a:lnTo>
                    <a:lnTo>
                      <a:pt x="457" y="10"/>
                    </a:lnTo>
                    <a:lnTo>
                      <a:pt x="457" y="11"/>
                    </a:lnTo>
                    <a:lnTo>
                      <a:pt x="459" y="11"/>
                    </a:lnTo>
                    <a:lnTo>
                      <a:pt x="460" y="11"/>
                    </a:lnTo>
                    <a:lnTo>
                      <a:pt x="463" y="10"/>
                    </a:lnTo>
                    <a:lnTo>
                      <a:pt x="463" y="11"/>
                    </a:lnTo>
                    <a:lnTo>
                      <a:pt x="462" y="13"/>
                    </a:lnTo>
                    <a:lnTo>
                      <a:pt x="463" y="13"/>
                    </a:lnTo>
                    <a:lnTo>
                      <a:pt x="465" y="19"/>
                    </a:lnTo>
                    <a:lnTo>
                      <a:pt x="466" y="19"/>
                    </a:lnTo>
                    <a:lnTo>
                      <a:pt x="468" y="20"/>
                    </a:lnTo>
                    <a:lnTo>
                      <a:pt x="468" y="23"/>
                    </a:lnTo>
                    <a:lnTo>
                      <a:pt x="468" y="22"/>
                    </a:lnTo>
                    <a:lnTo>
                      <a:pt x="470" y="22"/>
                    </a:lnTo>
                    <a:lnTo>
                      <a:pt x="470" y="23"/>
                    </a:lnTo>
                    <a:lnTo>
                      <a:pt x="469" y="25"/>
                    </a:lnTo>
                    <a:lnTo>
                      <a:pt x="470" y="27"/>
                    </a:lnTo>
                    <a:lnTo>
                      <a:pt x="470" y="29"/>
                    </a:lnTo>
                    <a:lnTo>
                      <a:pt x="471" y="28"/>
                    </a:lnTo>
                    <a:lnTo>
                      <a:pt x="472" y="28"/>
                    </a:lnTo>
                    <a:lnTo>
                      <a:pt x="474" y="28"/>
                    </a:lnTo>
                    <a:lnTo>
                      <a:pt x="476" y="28"/>
                    </a:lnTo>
                    <a:lnTo>
                      <a:pt x="477" y="31"/>
                    </a:lnTo>
                    <a:lnTo>
                      <a:pt x="479" y="32"/>
                    </a:lnTo>
                    <a:lnTo>
                      <a:pt x="478" y="34"/>
                    </a:lnTo>
                    <a:lnTo>
                      <a:pt x="480" y="34"/>
                    </a:lnTo>
                    <a:lnTo>
                      <a:pt x="483" y="37"/>
                    </a:lnTo>
                    <a:lnTo>
                      <a:pt x="482" y="38"/>
                    </a:lnTo>
                    <a:lnTo>
                      <a:pt x="482" y="39"/>
                    </a:lnTo>
                    <a:lnTo>
                      <a:pt x="483" y="38"/>
                    </a:lnTo>
                    <a:lnTo>
                      <a:pt x="483" y="40"/>
                    </a:lnTo>
                    <a:lnTo>
                      <a:pt x="483" y="46"/>
                    </a:lnTo>
                    <a:lnTo>
                      <a:pt x="484" y="47"/>
                    </a:lnTo>
                    <a:lnTo>
                      <a:pt x="484" y="48"/>
                    </a:lnTo>
                    <a:lnTo>
                      <a:pt x="487" y="47"/>
                    </a:lnTo>
                    <a:lnTo>
                      <a:pt x="487" y="48"/>
                    </a:lnTo>
                    <a:lnTo>
                      <a:pt x="488" y="48"/>
                    </a:lnTo>
                    <a:lnTo>
                      <a:pt x="488" y="49"/>
                    </a:lnTo>
                    <a:lnTo>
                      <a:pt x="490" y="48"/>
                    </a:lnTo>
                    <a:lnTo>
                      <a:pt x="492" y="49"/>
                    </a:lnTo>
                    <a:lnTo>
                      <a:pt x="494" y="51"/>
                    </a:lnTo>
                    <a:lnTo>
                      <a:pt x="493" y="52"/>
                    </a:lnTo>
                    <a:lnTo>
                      <a:pt x="494" y="52"/>
                    </a:lnTo>
                    <a:lnTo>
                      <a:pt x="494" y="53"/>
                    </a:lnTo>
                    <a:lnTo>
                      <a:pt x="495" y="53"/>
                    </a:lnTo>
                    <a:lnTo>
                      <a:pt x="495" y="54"/>
                    </a:lnTo>
                    <a:lnTo>
                      <a:pt x="494" y="54"/>
                    </a:lnTo>
                    <a:lnTo>
                      <a:pt x="494" y="56"/>
                    </a:lnTo>
                    <a:lnTo>
                      <a:pt x="493" y="56"/>
                    </a:lnTo>
                    <a:lnTo>
                      <a:pt x="493" y="58"/>
                    </a:lnTo>
                    <a:lnTo>
                      <a:pt x="491" y="57"/>
                    </a:lnTo>
                    <a:lnTo>
                      <a:pt x="491" y="58"/>
                    </a:lnTo>
                    <a:lnTo>
                      <a:pt x="487" y="58"/>
                    </a:lnTo>
                    <a:lnTo>
                      <a:pt x="486" y="60"/>
                    </a:lnTo>
                    <a:lnTo>
                      <a:pt x="486" y="63"/>
                    </a:lnTo>
                    <a:lnTo>
                      <a:pt x="486" y="64"/>
                    </a:lnTo>
                    <a:lnTo>
                      <a:pt x="487" y="65"/>
                    </a:lnTo>
                    <a:lnTo>
                      <a:pt x="490" y="69"/>
                    </a:lnTo>
                    <a:lnTo>
                      <a:pt x="490" y="71"/>
                    </a:lnTo>
                    <a:lnTo>
                      <a:pt x="489" y="72"/>
                    </a:lnTo>
                    <a:lnTo>
                      <a:pt x="489" y="73"/>
                    </a:lnTo>
                    <a:lnTo>
                      <a:pt x="490" y="73"/>
                    </a:lnTo>
                    <a:lnTo>
                      <a:pt x="492" y="75"/>
                    </a:lnTo>
                    <a:lnTo>
                      <a:pt x="491" y="76"/>
                    </a:lnTo>
                    <a:lnTo>
                      <a:pt x="491" y="77"/>
                    </a:lnTo>
                    <a:lnTo>
                      <a:pt x="490" y="77"/>
                    </a:lnTo>
                    <a:lnTo>
                      <a:pt x="489" y="77"/>
                    </a:lnTo>
                    <a:lnTo>
                      <a:pt x="490" y="77"/>
                    </a:lnTo>
                    <a:lnTo>
                      <a:pt x="490" y="78"/>
                    </a:lnTo>
                    <a:lnTo>
                      <a:pt x="489" y="80"/>
                    </a:lnTo>
                    <a:lnTo>
                      <a:pt x="490" y="80"/>
                    </a:lnTo>
                    <a:lnTo>
                      <a:pt x="489" y="82"/>
                    </a:lnTo>
                    <a:lnTo>
                      <a:pt x="489" y="84"/>
                    </a:lnTo>
                    <a:lnTo>
                      <a:pt x="487" y="86"/>
                    </a:lnTo>
                    <a:lnTo>
                      <a:pt x="487" y="88"/>
                    </a:lnTo>
                    <a:lnTo>
                      <a:pt x="489" y="88"/>
                    </a:lnTo>
                    <a:lnTo>
                      <a:pt x="489" y="89"/>
                    </a:lnTo>
                    <a:lnTo>
                      <a:pt x="491" y="88"/>
                    </a:lnTo>
                    <a:lnTo>
                      <a:pt x="491" y="89"/>
                    </a:lnTo>
                    <a:lnTo>
                      <a:pt x="493" y="93"/>
                    </a:lnTo>
                    <a:lnTo>
                      <a:pt x="493" y="94"/>
                    </a:lnTo>
                    <a:lnTo>
                      <a:pt x="491" y="94"/>
                    </a:lnTo>
                    <a:lnTo>
                      <a:pt x="491" y="96"/>
                    </a:lnTo>
                    <a:lnTo>
                      <a:pt x="492" y="97"/>
                    </a:lnTo>
                    <a:lnTo>
                      <a:pt x="492" y="98"/>
                    </a:lnTo>
                    <a:lnTo>
                      <a:pt x="495" y="99"/>
                    </a:lnTo>
                    <a:lnTo>
                      <a:pt x="491" y="108"/>
                    </a:lnTo>
                    <a:lnTo>
                      <a:pt x="491" y="107"/>
                    </a:lnTo>
                    <a:lnTo>
                      <a:pt x="490" y="109"/>
                    </a:lnTo>
                    <a:lnTo>
                      <a:pt x="489" y="107"/>
                    </a:lnTo>
                    <a:lnTo>
                      <a:pt x="489" y="109"/>
                    </a:lnTo>
                    <a:lnTo>
                      <a:pt x="486" y="109"/>
                    </a:lnTo>
                    <a:lnTo>
                      <a:pt x="486" y="111"/>
                    </a:lnTo>
                    <a:lnTo>
                      <a:pt x="487" y="111"/>
                    </a:lnTo>
                    <a:lnTo>
                      <a:pt x="487" y="112"/>
                    </a:lnTo>
                    <a:lnTo>
                      <a:pt x="486" y="113"/>
                    </a:lnTo>
                    <a:lnTo>
                      <a:pt x="487" y="115"/>
                    </a:lnTo>
                    <a:lnTo>
                      <a:pt x="487" y="116"/>
                    </a:lnTo>
                    <a:lnTo>
                      <a:pt x="486" y="116"/>
                    </a:lnTo>
                    <a:lnTo>
                      <a:pt x="485" y="117"/>
                    </a:lnTo>
                    <a:lnTo>
                      <a:pt x="484" y="117"/>
                    </a:lnTo>
                    <a:lnTo>
                      <a:pt x="485" y="116"/>
                    </a:lnTo>
                    <a:lnTo>
                      <a:pt x="484" y="116"/>
                    </a:lnTo>
                    <a:lnTo>
                      <a:pt x="483" y="116"/>
                    </a:lnTo>
                    <a:lnTo>
                      <a:pt x="482" y="116"/>
                    </a:lnTo>
                    <a:lnTo>
                      <a:pt x="481" y="115"/>
                    </a:lnTo>
                    <a:lnTo>
                      <a:pt x="479" y="117"/>
                    </a:lnTo>
                    <a:lnTo>
                      <a:pt x="476" y="120"/>
                    </a:lnTo>
                    <a:lnTo>
                      <a:pt x="478" y="123"/>
                    </a:lnTo>
                    <a:lnTo>
                      <a:pt x="479" y="126"/>
                    </a:lnTo>
                    <a:lnTo>
                      <a:pt x="481" y="126"/>
                    </a:lnTo>
                    <a:lnTo>
                      <a:pt x="483" y="128"/>
                    </a:lnTo>
                    <a:lnTo>
                      <a:pt x="482" y="128"/>
                    </a:lnTo>
                    <a:lnTo>
                      <a:pt x="480" y="129"/>
                    </a:lnTo>
                    <a:lnTo>
                      <a:pt x="481" y="133"/>
                    </a:lnTo>
                    <a:lnTo>
                      <a:pt x="481" y="135"/>
                    </a:lnTo>
                    <a:lnTo>
                      <a:pt x="483" y="137"/>
                    </a:lnTo>
                    <a:lnTo>
                      <a:pt x="485" y="139"/>
                    </a:lnTo>
                    <a:lnTo>
                      <a:pt x="487" y="140"/>
                    </a:lnTo>
                    <a:lnTo>
                      <a:pt x="489" y="139"/>
                    </a:lnTo>
                    <a:lnTo>
                      <a:pt x="491" y="136"/>
                    </a:lnTo>
                    <a:lnTo>
                      <a:pt x="492" y="139"/>
                    </a:lnTo>
                    <a:lnTo>
                      <a:pt x="496" y="141"/>
                    </a:lnTo>
                    <a:lnTo>
                      <a:pt x="497" y="141"/>
                    </a:lnTo>
                    <a:lnTo>
                      <a:pt x="496" y="142"/>
                    </a:lnTo>
                    <a:lnTo>
                      <a:pt x="495" y="142"/>
                    </a:lnTo>
                    <a:lnTo>
                      <a:pt x="495" y="146"/>
                    </a:lnTo>
                    <a:lnTo>
                      <a:pt x="496" y="146"/>
                    </a:lnTo>
                    <a:lnTo>
                      <a:pt x="498" y="145"/>
                    </a:lnTo>
                    <a:lnTo>
                      <a:pt x="498" y="146"/>
                    </a:lnTo>
                    <a:lnTo>
                      <a:pt x="499" y="148"/>
                    </a:lnTo>
                    <a:lnTo>
                      <a:pt x="500" y="148"/>
                    </a:lnTo>
                    <a:lnTo>
                      <a:pt x="501" y="150"/>
                    </a:lnTo>
                    <a:lnTo>
                      <a:pt x="502" y="150"/>
                    </a:lnTo>
                    <a:lnTo>
                      <a:pt x="503" y="152"/>
                    </a:lnTo>
                    <a:lnTo>
                      <a:pt x="503" y="154"/>
                    </a:lnTo>
                    <a:lnTo>
                      <a:pt x="502" y="153"/>
                    </a:lnTo>
                    <a:lnTo>
                      <a:pt x="499" y="155"/>
                    </a:lnTo>
                    <a:lnTo>
                      <a:pt x="499" y="156"/>
                    </a:lnTo>
                    <a:lnTo>
                      <a:pt x="501" y="157"/>
                    </a:lnTo>
                    <a:lnTo>
                      <a:pt x="501" y="159"/>
                    </a:lnTo>
                    <a:lnTo>
                      <a:pt x="499" y="161"/>
                    </a:lnTo>
                    <a:lnTo>
                      <a:pt x="501" y="162"/>
                    </a:lnTo>
                    <a:lnTo>
                      <a:pt x="504" y="165"/>
                    </a:lnTo>
                    <a:lnTo>
                      <a:pt x="504" y="166"/>
                    </a:lnTo>
                    <a:lnTo>
                      <a:pt x="505" y="167"/>
                    </a:lnTo>
                    <a:lnTo>
                      <a:pt x="506" y="165"/>
                    </a:lnTo>
                    <a:lnTo>
                      <a:pt x="506" y="167"/>
                    </a:lnTo>
                    <a:lnTo>
                      <a:pt x="507" y="167"/>
                    </a:lnTo>
                    <a:lnTo>
                      <a:pt x="508" y="167"/>
                    </a:lnTo>
                    <a:lnTo>
                      <a:pt x="508" y="165"/>
                    </a:lnTo>
                    <a:lnTo>
                      <a:pt x="512" y="166"/>
                    </a:lnTo>
                    <a:lnTo>
                      <a:pt x="514" y="164"/>
                    </a:lnTo>
                    <a:lnTo>
                      <a:pt x="515" y="164"/>
                    </a:lnTo>
                    <a:lnTo>
                      <a:pt x="515" y="165"/>
                    </a:lnTo>
                    <a:lnTo>
                      <a:pt x="517" y="167"/>
                    </a:lnTo>
                    <a:lnTo>
                      <a:pt x="518" y="167"/>
                    </a:lnTo>
                    <a:lnTo>
                      <a:pt x="519" y="168"/>
                    </a:lnTo>
                    <a:lnTo>
                      <a:pt x="520" y="167"/>
                    </a:lnTo>
                    <a:lnTo>
                      <a:pt x="522" y="169"/>
                    </a:lnTo>
                    <a:lnTo>
                      <a:pt x="525" y="171"/>
                    </a:lnTo>
                    <a:lnTo>
                      <a:pt x="524" y="171"/>
                    </a:lnTo>
                    <a:lnTo>
                      <a:pt x="525" y="173"/>
                    </a:lnTo>
                    <a:lnTo>
                      <a:pt x="526" y="172"/>
                    </a:lnTo>
                    <a:lnTo>
                      <a:pt x="528" y="171"/>
                    </a:lnTo>
                    <a:lnTo>
                      <a:pt x="529" y="168"/>
                    </a:lnTo>
                    <a:lnTo>
                      <a:pt x="532" y="169"/>
                    </a:lnTo>
                    <a:lnTo>
                      <a:pt x="533" y="167"/>
                    </a:lnTo>
                    <a:lnTo>
                      <a:pt x="535" y="167"/>
                    </a:lnTo>
                    <a:lnTo>
                      <a:pt x="536" y="167"/>
                    </a:lnTo>
                    <a:lnTo>
                      <a:pt x="538" y="167"/>
                    </a:lnTo>
                    <a:lnTo>
                      <a:pt x="538" y="165"/>
                    </a:lnTo>
                    <a:lnTo>
                      <a:pt x="538" y="167"/>
                    </a:lnTo>
                    <a:lnTo>
                      <a:pt x="539" y="167"/>
                    </a:lnTo>
                    <a:lnTo>
                      <a:pt x="539" y="170"/>
                    </a:lnTo>
                    <a:lnTo>
                      <a:pt x="540" y="170"/>
                    </a:lnTo>
                    <a:lnTo>
                      <a:pt x="540" y="171"/>
                    </a:lnTo>
                    <a:lnTo>
                      <a:pt x="541" y="171"/>
                    </a:lnTo>
                    <a:lnTo>
                      <a:pt x="543" y="172"/>
                    </a:lnTo>
                    <a:lnTo>
                      <a:pt x="543" y="173"/>
                    </a:lnTo>
                    <a:lnTo>
                      <a:pt x="544" y="173"/>
                    </a:lnTo>
                    <a:lnTo>
                      <a:pt x="545" y="175"/>
                    </a:lnTo>
                    <a:lnTo>
                      <a:pt x="543" y="176"/>
                    </a:lnTo>
                    <a:lnTo>
                      <a:pt x="544" y="178"/>
                    </a:lnTo>
                    <a:lnTo>
                      <a:pt x="544" y="179"/>
                    </a:lnTo>
                    <a:lnTo>
                      <a:pt x="543" y="179"/>
                    </a:lnTo>
                    <a:lnTo>
                      <a:pt x="544" y="182"/>
                    </a:lnTo>
                    <a:lnTo>
                      <a:pt x="543" y="185"/>
                    </a:lnTo>
                    <a:lnTo>
                      <a:pt x="544" y="185"/>
                    </a:lnTo>
                    <a:lnTo>
                      <a:pt x="545" y="188"/>
                    </a:lnTo>
                    <a:lnTo>
                      <a:pt x="543" y="189"/>
                    </a:lnTo>
                    <a:lnTo>
                      <a:pt x="541" y="189"/>
                    </a:lnTo>
                    <a:lnTo>
                      <a:pt x="540" y="190"/>
                    </a:lnTo>
                    <a:lnTo>
                      <a:pt x="541" y="191"/>
                    </a:lnTo>
                    <a:lnTo>
                      <a:pt x="541" y="197"/>
                    </a:lnTo>
                    <a:lnTo>
                      <a:pt x="540" y="200"/>
                    </a:lnTo>
                    <a:lnTo>
                      <a:pt x="542" y="201"/>
                    </a:lnTo>
                    <a:lnTo>
                      <a:pt x="542" y="203"/>
                    </a:lnTo>
                    <a:lnTo>
                      <a:pt x="543" y="203"/>
                    </a:lnTo>
                    <a:lnTo>
                      <a:pt x="545" y="205"/>
                    </a:lnTo>
                    <a:lnTo>
                      <a:pt x="544" y="209"/>
                    </a:lnTo>
                    <a:lnTo>
                      <a:pt x="545" y="207"/>
                    </a:lnTo>
                    <a:lnTo>
                      <a:pt x="545" y="209"/>
                    </a:lnTo>
                    <a:lnTo>
                      <a:pt x="546" y="209"/>
                    </a:lnTo>
                    <a:lnTo>
                      <a:pt x="544" y="211"/>
                    </a:lnTo>
                    <a:lnTo>
                      <a:pt x="547" y="210"/>
                    </a:lnTo>
                    <a:lnTo>
                      <a:pt x="545" y="212"/>
                    </a:lnTo>
                    <a:lnTo>
                      <a:pt x="545" y="215"/>
                    </a:lnTo>
                    <a:lnTo>
                      <a:pt x="544" y="217"/>
                    </a:lnTo>
                    <a:lnTo>
                      <a:pt x="543" y="216"/>
                    </a:lnTo>
                    <a:lnTo>
                      <a:pt x="542" y="218"/>
                    </a:lnTo>
                    <a:lnTo>
                      <a:pt x="543" y="219"/>
                    </a:lnTo>
                    <a:lnTo>
                      <a:pt x="543" y="220"/>
                    </a:lnTo>
                    <a:lnTo>
                      <a:pt x="542" y="222"/>
                    </a:lnTo>
                    <a:lnTo>
                      <a:pt x="541" y="221"/>
                    </a:lnTo>
                    <a:lnTo>
                      <a:pt x="541" y="222"/>
                    </a:lnTo>
                    <a:lnTo>
                      <a:pt x="540" y="223"/>
                    </a:lnTo>
                    <a:lnTo>
                      <a:pt x="539" y="225"/>
                    </a:lnTo>
                    <a:lnTo>
                      <a:pt x="537" y="224"/>
                    </a:lnTo>
                    <a:lnTo>
                      <a:pt x="536" y="227"/>
                    </a:lnTo>
                    <a:lnTo>
                      <a:pt x="536" y="226"/>
                    </a:lnTo>
                    <a:lnTo>
                      <a:pt x="535" y="226"/>
                    </a:lnTo>
                    <a:lnTo>
                      <a:pt x="535" y="228"/>
                    </a:lnTo>
                    <a:lnTo>
                      <a:pt x="534" y="228"/>
                    </a:lnTo>
                    <a:lnTo>
                      <a:pt x="533" y="227"/>
                    </a:lnTo>
                    <a:lnTo>
                      <a:pt x="532" y="229"/>
                    </a:lnTo>
                    <a:lnTo>
                      <a:pt x="534" y="229"/>
                    </a:lnTo>
                    <a:lnTo>
                      <a:pt x="537" y="232"/>
                    </a:lnTo>
                    <a:lnTo>
                      <a:pt x="537" y="233"/>
                    </a:lnTo>
                    <a:lnTo>
                      <a:pt x="533" y="236"/>
                    </a:lnTo>
                    <a:lnTo>
                      <a:pt x="530" y="237"/>
                    </a:lnTo>
                    <a:lnTo>
                      <a:pt x="534" y="239"/>
                    </a:lnTo>
                    <a:lnTo>
                      <a:pt x="538" y="238"/>
                    </a:lnTo>
                    <a:lnTo>
                      <a:pt x="540" y="241"/>
                    </a:lnTo>
                    <a:lnTo>
                      <a:pt x="541" y="243"/>
                    </a:lnTo>
                    <a:lnTo>
                      <a:pt x="543" y="244"/>
                    </a:lnTo>
                    <a:lnTo>
                      <a:pt x="544" y="243"/>
                    </a:lnTo>
                    <a:lnTo>
                      <a:pt x="544" y="241"/>
                    </a:lnTo>
                    <a:lnTo>
                      <a:pt x="545" y="243"/>
                    </a:lnTo>
                    <a:lnTo>
                      <a:pt x="546" y="243"/>
                    </a:lnTo>
                    <a:lnTo>
                      <a:pt x="546" y="244"/>
                    </a:lnTo>
                    <a:lnTo>
                      <a:pt x="550" y="248"/>
                    </a:lnTo>
                    <a:lnTo>
                      <a:pt x="552" y="249"/>
                    </a:lnTo>
                    <a:lnTo>
                      <a:pt x="553" y="249"/>
                    </a:lnTo>
                    <a:lnTo>
                      <a:pt x="555" y="250"/>
                    </a:lnTo>
                    <a:lnTo>
                      <a:pt x="552" y="254"/>
                    </a:lnTo>
                    <a:lnTo>
                      <a:pt x="552" y="257"/>
                    </a:lnTo>
                    <a:lnTo>
                      <a:pt x="551" y="256"/>
                    </a:lnTo>
                    <a:lnTo>
                      <a:pt x="550" y="256"/>
                    </a:lnTo>
                    <a:lnTo>
                      <a:pt x="551" y="260"/>
                    </a:lnTo>
                    <a:lnTo>
                      <a:pt x="548" y="262"/>
                    </a:lnTo>
                    <a:lnTo>
                      <a:pt x="546" y="260"/>
                    </a:lnTo>
                    <a:lnTo>
                      <a:pt x="546" y="258"/>
                    </a:lnTo>
                    <a:lnTo>
                      <a:pt x="545" y="257"/>
                    </a:lnTo>
                    <a:lnTo>
                      <a:pt x="543" y="258"/>
                    </a:lnTo>
                    <a:lnTo>
                      <a:pt x="541" y="262"/>
                    </a:lnTo>
                    <a:lnTo>
                      <a:pt x="543" y="265"/>
                    </a:lnTo>
                    <a:lnTo>
                      <a:pt x="545" y="263"/>
                    </a:lnTo>
                    <a:lnTo>
                      <a:pt x="546" y="267"/>
                    </a:lnTo>
                    <a:lnTo>
                      <a:pt x="548" y="267"/>
                    </a:lnTo>
                    <a:lnTo>
                      <a:pt x="546" y="267"/>
                    </a:lnTo>
                    <a:lnTo>
                      <a:pt x="544" y="266"/>
                    </a:lnTo>
                    <a:lnTo>
                      <a:pt x="543" y="267"/>
                    </a:lnTo>
                    <a:lnTo>
                      <a:pt x="542" y="267"/>
                    </a:lnTo>
                    <a:lnTo>
                      <a:pt x="541" y="267"/>
                    </a:lnTo>
                    <a:lnTo>
                      <a:pt x="542" y="271"/>
                    </a:lnTo>
                    <a:lnTo>
                      <a:pt x="543" y="273"/>
                    </a:lnTo>
                    <a:lnTo>
                      <a:pt x="542" y="279"/>
                    </a:lnTo>
                    <a:lnTo>
                      <a:pt x="540" y="278"/>
                    </a:lnTo>
                    <a:lnTo>
                      <a:pt x="538" y="279"/>
                    </a:lnTo>
                    <a:lnTo>
                      <a:pt x="537" y="278"/>
                    </a:lnTo>
                    <a:lnTo>
                      <a:pt x="537" y="279"/>
                    </a:lnTo>
                    <a:lnTo>
                      <a:pt x="536" y="279"/>
                    </a:lnTo>
                    <a:lnTo>
                      <a:pt x="535" y="279"/>
                    </a:lnTo>
                    <a:lnTo>
                      <a:pt x="534" y="278"/>
                    </a:lnTo>
                    <a:lnTo>
                      <a:pt x="533" y="279"/>
                    </a:lnTo>
                    <a:lnTo>
                      <a:pt x="532" y="280"/>
                    </a:lnTo>
                    <a:lnTo>
                      <a:pt x="533" y="282"/>
                    </a:lnTo>
                    <a:lnTo>
                      <a:pt x="538" y="283"/>
                    </a:lnTo>
                    <a:lnTo>
                      <a:pt x="537" y="284"/>
                    </a:lnTo>
                    <a:lnTo>
                      <a:pt x="539" y="283"/>
                    </a:lnTo>
                    <a:lnTo>
                      <a:pt x="539" y="285"/>
                    </a:lnTo>
                    <a:lnTo>
                      <a:pt x="538" y="286"/>
                    </a:lnTo>
                    <a:lnTo>
                      <a:pt x="538" y="285"/>
                    </a:lnTo>
                    <a:lnTo>
                      <a:pt x="537" y="286"/>
                    </a:lnTo>
                    <a:lnTo>
                      <a:pt x="535" y="284"/>
                    </a:lnTo>
                    <a:lnTo>
                      <a:pt x="535" y="285"/>
                    </a:lnTo>
                    <a:lnTo>
                      <a:pt x="536" y="286"/>
                    </a:lnTo>
                    <a:lnTo>
                      <a:pt x="534" y="284"/>
                    </a:lnTo>
                    <a:lnTo>
                      <a:pt x="533" y="284"/>
                    </a:lnTo>
                    <a:lnTo>
                      <a:pt x="530" y="286"/>
                    </a:lnTo>
                    <a:lnTo>
                      <a:pt x="528" y="286"/>
                    </a:lnTo>
                    <a:lnTo>
                      <a:pt x="530" y="288"/>
                    </a:lnTo>
                    <a:lnTo>
                      <a:pt x="530" y="290"/>
                    </a:lnTo>
                    <a:lnTo>
                      <a:pt x="530" y="292"/>
                    </a:lnTo>
                    <a:lnTo>
                      <a:pt x="532" y="293"/>
                    </a:lnTo>
                    <a:lnTo>
                      <a:pt x="532" y="294"/>
                    </a:lnTo>
                    <a:lnTo>
                      <a:pt x="533" y="294"/>
                    </a:lnTo>
                    <a:lnTo>
                      <a:pt x="533" y="296"/>
                    </a:lnTo>
                    <a:lnTo>
                      <a:pt x="535" y="297"/>
                    </a:lnTo>
                    <a:lnTo>
                      <a:pt x="536" y="298"/>
                    </a:lnTo>
                    <a:lnTo>
                      <a:pt x="537" y="299"/>
                    </a:lnTo>
                    <a:lnTo>
                      <a:pt x="539" y="297"/>
                    </a:lnTo>
                    <a:lnTo>
                      <a:pt x="542" y="298"/>
                    </a:lnTo>
                    <a:lnTo>
                      <a:pt x="541" y="299"/>
                    </a:lnTo>
                    <a:lnTo>
                      <a:pt x="541" y="298"/>
                    </a:lnTo>
                    <a:lnTo>
                      <a:pt x="542" y="300"/>
                    </a:lnTo>
                    <a:lnTo>
                      <a:pt x="543" y="300"/>
                    </a:lnTo>
                    <a:lnTo>
                      <a:pt x="545" y="301"/>
                    </a:lnTo>
                    <a:lnTo>
                      <a:pt x="543" y="302"/>
                    </a:lnTo>
                    <a:lnTo>
                      <a:pt x="542" y="302"/>
                    </a:lnTo>
                    <a:lnTo>
                      <a:pt x="543" y="303"/>
                    </a:lnTo>
                    <a:lnTo>
                      <a:pt x="544" y="304"/>
                    </a:lnTo>
                    <a:lnTo>
                      <a:pt x="545" y="304"/>
                    </a:lnTo>
                    <a:lnTo>
                      <a:pt x="546" y="304"/>
                    </a:lnTo>
                    <a:lnTo>
                      <a:pt x="548" y="306"/>
                    </a:lnTo>
                    <a:lnTo>
                      <a:pt x="552" y="304"/>
                    </a:lnTo>
                    <a:lnTo>
                      <a:pt x="552" y="306"/>
                    </a:lnTo>
                    <a:lnTo>
                      <a:pt x="553" y="307"/>
                    </a:lnTo>
                    <a:lnTo>
                      <a:pt x="552" y="307"/>
                    </a:lnTo>
                    <a:lnTo>
                      <a:pt x="552" y="310"/>
                    </a:lnTo>
                    <a:lnTo>
                      <a:pt x="553" y="310"/>
                    </a:lnTo>
                    <a:lnTo>
                      <a:pt x="555" y="306"/>
                    </a:lnTo>
                    <a:lnTo>
                      <a:pt x="555" y="307"/>
                    </a:lnTo>
                    <a:lnTo>
                      <a:pt x="555" y="309"/>
                    </a:lnTo>
                    <a:lnTo>
                      <a:pt x="556" y="309"/>
                    </a:lnTo>
                    <a:lnTo>
                      <a:pt x="555" y="310"/>
                    </a:lnTo>
                    <a:lnTo>
                      <a:pt x="555" y="313"/>
                    </a:lnTo>
                    <a:lnTo>
                      <a:pt x="552" y="314"/>
                    </a:lnTo>
                    <a:lnTo>
                      <a:pt x="552" y="315"/>
                    </a:lnTo>
                    <a:lnTo>
                      <a:pt x="552" y="316"/>
                    </a:lnTo>
                    <a:lnTo>
                      <a:pt x="555" y="319"/>
                    </a:lnTo>
                    <a:lnTo>
                      <a:pt x="562" y="326"/>
                    </a:lnTo>
                    <a:lnTo>
                      <a:pt x="563" y="325"/>
                    </a:lnTo>
                    <a:lnTo>
                      <a:pt x="564" y="325"/>
                    </a:lnTo>
                    <a:lnTo>
                      <a:pt x="564" y="327"/>
                    </a:lnTo>
                    <a:lnTo>
                      <a:pt x="565" y="326"/>
                    </a:lnTo>
                    <a:lnTo>
                      <a:pt x="566" y="327"/>
                    </a:lnTo>
                    <a:lnTo>
                      <a:pt x="566" y="329"/>
                    </a:lnTo>
                    <a:lnTo>
                      <a:pt x="567" y="330"/>
                    </a:lnTo>
                    <a:lnTo>
                      <a:pt x="568" y="328"/>
                    </a:lnTo>
                    <a:lnTo>
                      <a:pt x="569" y="331"/>
                    </a:lnTo>
                    <a:lnTo>
                      <a:pt x="568" y="333"/>
                    </a:lnTo>
                    <a:lnTo>
                      <a:pt x="569" y="333"/>
                    </a:lnTo>
                    <a:lnTo>
                      <a:pt x="568" y="335"/>
                    </a:lnTo>
                    <a:lnTo>
                      <a:pt x="569" y="337"/>
                    </a:lnTo>
                    <a:lnTo>
                      <a:pt x="568" y="336"/>
                    </a:lnTo>
                    <a:lnTo>
                      <a:pt x="566" y="337"/>
                    </a:lnTo>
                    <a:lnTo>
                      <a:pt x="564" y="339"/>
                    </a:lnTo>
                    <a:lnTo>
                      <a:pt x="567" y="344"/>
                    </a:lnTo>
                    <a:lnTo>
                      <a:pt x="568" y="344"/>
                    </a:lnTo>
                    <a:lnTo>
                      <a:pt x="568" y="345"/>
                    </a:lnTo>
                    <a:lnTo>
                      <a:pt x="568" y="347"/>
                    </a:lnTo>
                    <a:lnTo>
                      <a:pt x="568" y="348"/>
                    </a:lnTo>
                    <a:lnTo>
                      <a:pt x="567" y="348"/>
                    </a:lnTo>
                    <a:lnTo>
                      <a:pt x="566" y="347"/>
                    </a:lnTo>
                    <a:lnTo>
                      <a:pt x="566" y="350"/>
                    </a:lnTo>
                    <a:lnTo>
                      <a:pt x="565" y="350"/>
                    </a:lnTo>
                    <a:lnTo>
                      <a:pt x="564" y="352"/>
                    </a:lnTo>
                    <a:lnTo>
                      <a:pt x="564" y="353"/>
                    </a:lnTo>
                    <a:lnTo>
                      <a:pt x="561" y="356"/>
                    </a:lnTo>
                    <a:lnTo>
                      <a:pt x="563" y="357"/>
                    </a:lnTo>
                    <a:lnTo>
                      <a:pt x="561" y="358"/>
                    </a:lnTo>
                    <a:lnTo>
                      <a:pt x="558" y="359"/>
                    </a:lnTo>
                    <a:lnTo>
                      <a:pt x="557" y="359"/>
                    </a:lnTo>
                    <a:lnTo>
                      <a:pt x="557" y="360"/>
                    </a:lnTo>
                    <a:lnTo>
                      <a:pt x="556" y="361"/>
                    </a:lnTo>
                    <a:lnTo>
                      <a:pt x="558" y="363"/>
                    </a:lnTo>
                    <a:lnTo>
                      <a:pt x="558" y="365"/>
                    </a:lnTo>
                    <a:lnTo>
                      <a:pt x="557" y="367"/>
                    </a:lnTo>
                    <a:lnTo>
                      <a:pt x="558" y="368"/>
                    </a:lnTo>
                    <a:lnTo>
                      <a:pt x="557" y="371"/>
                    </a:lnTo>
                    <a:lnTo>
                      <a:pt x="556" y="371"/>
                    </a:lnTo>
                    <a:lnTo>
                      <a:pt x="556" y="369"/>
                    </a:lnTo>
                    <a:lnTo>
                      <a:pt x="555" y="371"/>
                    </a:lnTo>
                    <a:lnTo>
                      <a:pt x="556" y="373"/>
                    </a:lnTo>
                    <a:lnTo>
                      <a:pt x="556" y="375"/>
                    </a:lnTo>
                    <a:lnTo>
                      <a:pt x="555" y="375"/>
                    </a:lnTo>
                    <a:lnTo>
                      <a:pt x="554" y="376"/>
                    </a:lnTo>
                    <a:lnTo>
                      <a:pt x="554" y="378"/>
                    </a:lnTo>
                    <a:lnTo>
                      <a:pt x="552" y="380"/>
                    </a:lnTo>
                    <a:lnTo>
                      <a:pt x="551" y="378"/>
                    </a:lnTo>
                    <a:lnTo>
                      <a:pt x="548" y="379"/>
                    </a:lnTo>
                    <a:lnTo>
                      <a:pt x="548" y="380"/>
                    </a:lnTo>
                    <a:lnTo>
                      <a:pt x="548" y="382"/>
                    </a:lnTo>
                    <a:lnTo>
                      <a:pt x="546" y="383"/>
                    </a:lnTo>
                    <a:lnTo>
                      <a:pt x="544" y="383"/>
                    </a:lnTo>
                    <a:lnTo>
                      <a:pt x="544" y="384"/>
                    </a:lnTo>
                    <a:lnTo>
                      <a:pt x="543" y="382"/>
                    </a:lnTo>
                    <a:lnTo>
                      <a:pt x="541" y="380"/>
                    </a:lnTo>
                    <a:lnTo>
                      <a:pt x="540" y="381"/>
                    </a:lnTo>
                    <a:lnTo>
                      <a:pt x="535" y="385"/>
                    </a:lnTo>
                    <a:lnTo>
                      <a:pt x="535" y="386"/>
                    </a:lnTo>
                    <a:lnTo>
                      <a:pt x="533" y="386"/>
                    </a:lnTo>
                    <a:lnTo>
                      <a:pt x="532" y="388"/>
                    </a:lnTo>
                    <a:lnTo>
                      <a:pt x="530" y="390"/>
                    </a:lnTo>
                    <a:lnTo>
                      <a:pt x="530" y="392"/>
                    </a:lnTo>
                    <a:lnTo>
                      <a:pt x="531" y="394"/>
                    </a:lnTo>
                    <a:lnTo>
                      <a:pt x="533" y="394"/>
                    </a:lnTo>
                    <a:lnTo>
                      <a:pt x="534" y="394"/>
                    </a:lnTo>
                    <a:lnTo>
                      <a:pt x="533" y="395"/>
                    </a:lnTo>
                    <a:lnTo>
                      <a:pt x="535" y="397"/>
                    </a:lnTo>
                    <a:lnTo>
                      <a:pt x="534" y="399"/>
                    </a:lnTo>
                    <a:lnTo>
                      <a:pt x="536" y="400"/>
                    </a:lnTo>
                    <a:lnTo>
                      <a:pt x="535" y="401"/>
                    </a:lnTo>
                    <a:lnTo>
                      <a:pt x="535" y="402"/>
                    </a:lnTo>
                    <a:lnTo>
                      <a:pt x="533" y="403"/>
                    </a:lnTo>
                    <a:lnTo>
                      <a:pt x="532" y="403"/>
                    </a:lnTo>
                    <a:lnTo>
                      <a:pt x="531" y="405"/>
                    </a:lnTo>
                    <a:lnTo>
                      <a:pt x="530" y="404"/>
                    </a:lnTo>
                    <a:lnTo>
                      <a:pt x="529" y="404"/>
                    </a:lnTo>
                    <a:lnTo>
                      <a:pt x="528" y="403"/>
                    </a:lnTo>
                    <a:lnTo>
                      <a:pt x="527" y="404"/>
                    </a:lnTo>
                    <a:lnTo>
                      <a:pt x="524" y="401"/>
                    </a:lnTo>
                    <a:lnTo>
                      <a:pt x="524" y="403"/>
                    </a:lnTo>
                    <a:lnTo>
                      <a:pt x="523" y="403"/>
                    </a:lnTo>
                    <a:lnTo>
                      <a:pt x="522" y="402"/>
                    </a:lnTo>
                    <a:lnTo>
                      <a:pt x="522" y="399"/>
                    </a:lnTo>
                    <a:lnTo>
                      <a:pt x="521" y="400"/>
                    </a:lnTo>
                    <a:lnTo>
                      <a:pt x="520" y="399"/>
                    </a:lnTo>
                    <a:lnTo>
                      <a:pt x="519" y="402"/>
                    </a:lnTo>
                    <a:lnTo>
                      <a:pt x="517" y="404"/>
                    </a:lnTo>
                    <a:lnTo>
                      <a:pt x="516" y="407"/>
                    </a:lnTo>
                    <a:lnTo>
                      <a:pt x="517" y="407"/>
                    </a:lnTo>
                    <a:lnTo>
                      <a:pt x="515" y="408"/>
                    </a:lnTo>
                    <a:lnTo>
                      <a:pt x="515" y="411"/>
                    </a:lnTo>
                    <a:lnTo>
                      <a:pt x="515" y="409"/>
                    </a:lnTo>
                    <a:lnTo>
                      <a:pt x="513" y="408"/>
                    </a:lnTo>
                    <a:lnTo>
                      <a:pt x="510" y="412"/>
                    </a:lnTo>
                    <a:lnTo>
                      <a:pt x="507" y="409"/>
                    </a:lnTo>
                    <a:lnTo>
                      <a:pt x="504" y="411"/>
                    </a:lnTo>
                    <a:lnTo>
                      <a:pt x="501" y="413"/>
                    </a:lnTo>
                    <a:lnTo>
                      <a:pt x="500" y="412"/>
                    </a:lnTo>
                    <a:lnTo>
                      <a:pt x="499" y="413"/>
                    </a:lnTo>
                    <a:lnTo>
                      <a:pt x="498" y="412"/>
                    </a:lnTo>
                    <a:lnTo>
                      <a:pt x="496" y="412"/>
                    </a:lnTo>
                    <a:lnTo>
                      <a:pt x="496" y="411"/>
                    </a:lnTo>
                    <a:lnTo>
                      <a:pt x="496" y="413"/>
                    </a:lnTo>
                    <a:lnTo>
                      <a:pt x="496" y="412"/>
                    </a:lnTo>
                    <a:lnTo>
                      <a:pt x="495" y="412"/>
                    </a:lnTo>
                    <a:lnTo>
                      <a:pt x="492" y="412"/>
                    </a:lnTo>
                    <a:lnTo>
                      <a:pt x="492" y="415"/>
                    </a:lnTo>
                    <a:lnTo>
                      <a:pt x="491" y="414"/>
                    </a:lnTo>
                    <a:lnTo>
                      <a:pt x="490" y="414"/>
                    </a:lnTo>
                    <a:lnTo>
                      <a:pt x="491" y="416"/>
                    </a:lnTo>
                    <a:lnTo>
                      <a:pt x="487" y="417"/>
                    </a:lnTo>
                    <a:lnTo>
                      <a:pt x="487" y="416"/>
                    </a:lnTo>
                    <a:lnTo>
                      <a:pt x="486" y="418"/>
                    </a:lnTo>
                    <a:lnTo>
                      <a:pt x="486" y="416"/>
                    </a:lnTo>
                    <a:lnTo>
                      <a:pt x="484" y="417"/>
                    </a:lnTo>
                    <a:lnTo>
                      <a:pt x="484" y="416"/>
                    </a:lnTo>
                    <a:lnTo>
                      <a:pt x="482" y="416"/>
                    </a:lnTo>
                    <a:lnTo>
                      <a:pt x="484" y="413"/>
                    </a:lnTo>
                    <a:lnTo>
                      <a:pt x="484" y="412"/>
                    </a:lnTo>
                    <a:lnTo>
                      <a:pt x="483" y="412"/>
                    </a:lnTo>
                    <a:lnTo>
                      <a:pt x="481" y="413"/>
                    </a:lnTo>
                    <a:lnTo>
                      <a:pt x="480" y="412"/>
                    </a:lnTo>
                    <a:lnTo>
                      <a:pt x="479" y="414"/>
                    </a:lnTo>
                    <a:lnTo>
                      <a:pt x="477" y="414"/>
                    </a:lnTo>
                    <a:lnTo>
                      <a:pt x="476" y="414"/>
                    </a:lnTo>
                    <a:lnTo>
                      <a:pt x="475" y="416"/>
                    </a:lnTo>
                    <a:lnTo>
                      <a:pt x="474" y="416"/>
                    </a:lnTo>
                    <a:lnTo>
                      <a:pt x="474" y="418"/>
                    </a:lnTo>
                    <a:lnTo>
                      <a:pt x="475" y="418"/>
                    </a:lnTo>
                    <a:lnTo>
                      <a:pt x="475" y="419"/>
                    </a:lnTo>
                    <a:lnTo>
                      <a:pt x="475" y="420"/>
                    </a:lnTo>
                    <a:lnTo>
                      <a:pt x="472" y="421"/>
                    </a:lnTo>
                    <a:lnTo>
                      <a:pt x="472" y="425"/>
                    </a:lnTo>
                    <a:lnTo>
                      <a:pt x="472" y="428"/>
                    </a:lnTo>
                    <a:lnTo>
                      <a:pt x="467" y="429"/>
                    </a:lnTo>
                    <a:lnTo>
                      <a:pt x="467" y="431"/>
                    </a:lnTo>
                    <a:lnTo>
                      <a:pt x="465" y="434"/>
                    </a:lnTo>
                    <a:lnTo>
                      <a:pt x="464" y="434"/>
                    </a:lnTo>
                    <a:lnTo>
                      <a:pt x="464" y="433"/>
                    </a:lnTo>
                    <a:lnTo>
                      <a:pt x="463" y="433"/>
                    </a:lnTo>
                    <a:lnTo>
                      <a:pt x="462" y="433"/>
                    </a:lnTo>
                    <a:lnTo>
                      <a:pt x="463" y="434"/>
                    </a:lnTo>
                    <a:lnTo>
                      <a:pt x="462" y="434"/>
                    </a:lnTo>
                    <a:lnTo>
                      <a:pt x="462" y="435"/>
                    </a:lnTo>
                    <a:lnTo>
                      <a:pt x="461" y="437"/>
                    </a:lnTo>
                    <a:lnTo>
                      <a:pt x="460" y="438"/>
                    </a:lnTo>
                    <a:lnTo>
                      <a:pt x="460" y="440"/>
                    </a:lnTo>
                    <a:lnTo>
                      <a:pt x="460" y="442"/>
                    </a:lnTo>
                    <a:lnTo>
                      <a:pt x="459" y="446"/>
                    </a:lnTo>
                    <a:lnTo>
                      <a:pt x="460" y="448"/>
                    </a:lnTo>
                    <a:lnTo>
                      <a:pt x="459" y="450"/>
                    </a:lnTo>
                    <a:lnTo>
                      <a:pt x="460" y="451"/>
                    </a:lnTo>
                    <a:lnTo>
                      <a:pt x="460" y="454"/>
                    </a:lnTo>
                    <a:lnTo>
                      <a:pt x="462" y="454"/>
                    </a:lnTo>
                    <a:lnTo>
                      <a:pt x="463" y="452"/>
                    </a:lnTo>
                    <a:lnTo>
                      <a:pt x="466" y="457"/>
                    </a:lnTo>
                    <a:lnTo>
                      <a:pt x="469" y="456"/>
                    </a:lnTo>
                    <a:lnTo>
                      <a:pt x="473" y="457"/>
                    </a:lnTo>
                    <a:lnTo>
                      <a:pt x="473" y="459"/>
                    </a:lnTo>
                    <a:lnTo>
                      <a:pt x="474" y="463"/>
                    </a:lnTo>
                    <a:lnTo>
                      <a:pt x="476" y="468"/>
                    </a:lnTo>
                    <a:lnTo>
                      <a:pt x="476" y="469"/>
                    </a:lnTo>
                    <a:lnTo>
                      <a:pt x="475" y="470"/>
                    </a:lnTo>
                    <a:lnTo>
                      <a:pt x="475" y="471"/>
                    </a:lnTo>
                    <a:lnTo>
                      <a:pt x="476" y="473"/>
                    </a:lnTo>
                    <a:lnTo>
                      <a:pt x="474" y="476"/>
                    </a:lnTo>
                    <a:lnTo>
                      <a:pt x="473" y="475"/>
                    </a:lnTo>
                    <a:lnTo>
                      <a:pt x="473" y="477"/>
                    </a:lnTo>
                    <a:lnTo>
                      <a:pt x="472" y="476"/>
                    </a:lnTo>
                    <a:lnTo>
                      <a:pt x="472" y="477"/>
                    </a:lnTo>
                    <a:lnTo>
                      <a:pt x="471" y="477"/>
                    </a:lnTo>
                    <a:lnTo>
                      <a:pt x="470" y="478"/>
                    </a:lnTo>
                    <a:lnTo>
                      <a:pt x="470" y="480"/>
                    </a:lnTo>
                    <a:lnTo>
                      <a:pt x="467" y="481"/>
                    </a:lnTo>
                    <a:lnTo>
                      <a:pt x="467" y="480"/>
                    </a:lnTo>
                    <a:lnTo>
                      <a:pt x="466" y="480"/>
                    </a:lnTo>
                    <a:lnTo>
                      <a:pt x="464" y="481"/>
                    </a:lnTo>
                    <a:lnTo>
                      <a:pt x="463" y="480"/>
                    </a:lnTo>
                    <a:lnTo>
                      <a:pt x="462" y="481"/>
                    </a:lnTo>
                    <a:lnTo>
                      <a:pt x="462" y="478"/>
                    </a:lnTo>
                    <a:lnTo>
                      <a:pt x="459" y="476"/>
                    </a:lnTo>
                    <a:lnTo>
                      <a:pt x="459" y="478"/>
                    </a:lnTo>
                    <a:lnTo>
                      <a:pt x="457" y="477"/>
                    </a:lnTo>
                    <a:lnTo>
                      <a:pt x="457" y="480"/>
                    </a:lnTo>
                    <a:lnTo>
                      <a:pt x="455" y="481"/>
                    </a:lnTo>
                    <a:lnTo>
                      <a:pt x="454" y="480"/>
                    </a:lnTo>
                    <a:lnTo>
                      <a:pt x="455" y="478"/>
                    </a:lnTo>
                    <a:lnTo>
                      <a:pt x="453" y="478"/>
                    </a:lnTo>
                    <a:lnTo>
                      <a:pt x="453" y="480"/>
                    </a:lnTo>
                    <a:lnTo>
                      <a:pt x="454" y="481"/>
                    </a:lnTo>
                    <a:lnTo>
                      <a:pt x="454" y="483"/>
                    </a:lnTo>
                    <a:lnTo>
                      <a:pt x="452" y="483"/>
                    </a:lnTo>
                    <a:lnTo>
                      <a:pt x="452" y="484"/>
                    </a:lnTo>
                    <a:lnTo>
                      <a:pt x="451" y="485"/>
                    </a:lnTo>
                    <a:lnTo>
                      <a:pt x="451" y="486"/>
                    </a:lnTo>
                    <a:lnTo>
                      <a:pt x="451" y="488"/>
                    </a:lnTo>
                    <a:lnTo>
                      <a:pt x="451" y="489"/>
                    </a:lnTo>
                    <a:lnTo>
                      <a:pt x="447" y="488"/>
                    </a:lnTo>
                    <a:lnTo>
                      <a:pt x="447" y="486"/>
                    </a:lnTo>
                    <a:lnTo>
                      <a:pt x="447" y="484"/>
                    </a:lnTo>
                    <a:lnTo>
                      <a:pt x="444" y="482"/>
                    </a:lnTo>
                    <a:lnTo>
                      <a:pt x="444" y="483"/>
                    </a:lnTo>
                    <a:lnTo>
                      <a:pt x="444" y="482"/>
                    </a:lnTo>
                    <a:lnTo>
                      <a:pt x="444" y="483"/>
                    </a:lnTo>
                    <a:lnTo>
                      <a:pt x="442" y="483"/>
                    </a:lnTo>
                    <a:lnTo>
                      <a:pt x="441" y="483"/>
                    </a:lnTo>
                    <a:lnTo>
                      <a:pt x="440" y="482"/>
                    </a:lnTo>
                    <a:lnTo>
                      <a:pt x="439" y="481"/>
                    </a:lnTo>
                    <a:lnTo>
                      <a:pt x="439" y="480"/>
                    </a:lnTo>
                    <a:lnTo>
                      <a:pt x="438" y="480"/>
                    </a:lnTo>
                    <a:lnTo>
                      <a:pt x="438" y="478"/>
                    </a:lnTo>
                    <a:lnTo>
                      <a:pt x="439" y="478"/>
                    </a:lnTo>
                    <a:lnTo>
                      <a:pt x="438" y="478"/>
                    </a:lnTo>
                    <a:lnTo>
                      <a:pt x="437" y="479"/>
                    </a:lnTo>
                    <a:lnTo>
                      <a:pt x="436" y="478"/>
                    </a:lnTo>
                    <a:lnTo>
                      <a:pt x="435" y="478"/>
                    </a:lnTo>
                    <a:lnTo>
                      <a:pt x="435" y="482"/>
                    </a:lnTo>
                    <a:lnTo>
                      <a:pt x="433" y="480"/>
                    </a:lnTo>
                    <a:lnTo>
                      <a:pt x="430" y="481"/>
                    </a:lnTo>
                    <a:lnTo>
                      <a:pt x="429" y="481"/>
                    </a:lnTo>
                    <a:lnTo>
                      <a:pt x="429" y="482"/>
                    </a:lnTo>
                    <a:lnTo>
                      <a:pt x="428" y="482"/>
                    </a:lnTo>
                    <a:lnTo>
                      <a:pt x="427" y="481"/>
                    </a:lnTo>
                    <a:lnTo>
                      <a:pt x="426" y="482"/>
                    </a:lnTo>
                    <a:lnTo>
                      <a:pt x="425" y="482"/>
                    </a:lnTo>
                    <a:lnTo>
                      <a:pt x="424" y="482"/>
                    </a:lnTo>
                    <a:lnTo>
                      <a:pt x="421" y="483"/>
                    </a:lnTo>
                    <a:lnTo>
                      <a:pt x="419" y="480"/>
                    </a:lnTo>
                    <a:lnTo>
                      <a:pt x="417" y="480"/>
                    </a:lnTo>
                    <a:lnTo>
                      <a:pt x="416" y="478"/>
                    </a:lnTo>
                    <a:lnTo>
                      <a:pt x="414" y="479"/>
                    </a:lnTo>
                    <a:lnTo>
                      <a:pt x="413" y="480"/>
                    </a:lnTo>
                    <a:lnTo>
                      <a:pt x="412" y="480"/>
                    </a:lnTo>
                    <a:lnTo>
                      <a:pt x="411" y="478"/>
                    </a:lnTo>
                    <a:lnTo>
                      <a:pt x="411" y="479"/>
                    </a:lnTo>
                    <a:lnTo>
                      <a:pt x="409" y="478"/>
                    </a:lnTo>
                    <a:lnTo>
                      <a:pt x="410" y="477"/>
                    </a:lnTo>
                    <a:lnTo>
                      <a:pt x="408" y="475"/>
                    </a:lnTo>
                    <a:lnTo>
                      <a:pt x="403" y="475"/>
                    </a:lnTo>
                    <a:lnTo>
                      <a:pt x="400" y="475"/>
                    </a:lnTo>
                    <a:lnTo>
                      <a:pt x="398" y="479"/>
                    </a:lnTo>
                    <a:lnTo>
                      <a:pt x="399" y="480"/>
                    </a:lnTo>
                    <a:lnTo>
                      <a:pt x="401" y="481"/>
                    </a:lnTo>
                    <a:lnTo>
                      <a:pt x="402" y="484"/>
                    </a:lnTo>
                    <a:lnTo>
                      <a:pt x="402" y="486"/>
                    </a:lnTo>
                    <a:lnTo>
                      <a:pt x="402" y="487"/>
                    </a:lnTo>
                    <a:lnTo>
                      <a:pt x="399" y="488"/>
                    </a:lnTo>
                    <a:lnTo>
                      <a:pt x="395" y="486"/>
                    </a:lnTo>
                    <a:lnTo>
                      <a:pt x="394" y="488"/>
                    </a:lnTo>
                    <a:lnTo>
                      <a:pt x="391" y="486"/>
                    </a:lnTo>
                    <a:lnTo>
                      <a:pt x="389" y="486"/>
                    </a:lnTo>
                    <a:lnTo>
                      <a:pt x="388" y="487"/>
                    </a:lnTo>
                    <a:lnTo>
                      <a:pt x="388" y="489"/>
                    </a:lnTo>
                    <a:lnTo>
                      <a:pt x="387" y="490"/>
                    </a:lnTo>
                    <a:lnTo>
                      <a:pt x="387" y="491"/>
                    </a:lnTo>
                    <a:lnTo>
                      <a:pt x="388" y="492"/>
                    </a:lnTo>
                    <a:lnTo>
                      <a:pt x="389" y="495"/>
                    </a:lnTo>
                    <a:lnTo>
                      <a:pt x="388" y="495"/>
                    </a:lnTo>
                    <a:lnTo>
                      <a:pt x="386" y="495"/>
                    </a:lnTo>
                    <a:lnTo>
                      <a:pt x="386" y="496"/>
                    </a:lnTo>
                    <a:lnTo>
                      <a:pt x="386" y="499"/>
                    </a:lnTo>
                    <a:lnTo>
                      <a:pt x="384" y="499"/>
                    </a:lnTo>
                    <a:lnTo>
                      <a:pt x="383" y="501"/>
                    </a:lnTo>
                    <a:lnTo>
                      <a:pt x="382" y="501"/>
                    </a:lnTo>
                    <a:lnTo>
                      <a:pt x="381" y="499"/>
                    </a:lnTo>
                    <a:lnTo>
                      <a:pt x="379" y="501"/>
                    </a:lnTo>
                    <a:lnTo>
                      <a:pt x="377" y="501"/>
                    </a:lnTo>
                    <a:lnTo>
                      <a:pt x="377" y="498"/>
                    </a:lnTo>
                    <a:lnTo>
                      <a:pt x="374" y="495"/>
                    </a:lnTo>
                    <a:lnTo>
                      <a:pt x="376" y="494"/>
                    </a:lnTo>
                    <a:lnTo>
                      <a:pt x="374" y="493"/>
                    </a:lnTo>
                    <a:lnTo>
                      <a:pt x="373" y="492"/>
                    </a:lnTo>
                    <a:lnTo>
                      <a:pt x="374" y="491"/>
                    </a:lnTo>
                    <a:lnTo>
                      <a:pt x="373" y="490"/>
                    </a:lnTo>
                    <a:lnTo>
                      <a:pt x="373" y="489"/>
                    </a:lnTo>
                    <a:lnTo>
                      <a:pt x="373" y="485"/>
                    </a:lnTo>
                    <a:lnTo>
                      <a:pt x="371" y="486"/>
                    </a:lnTo>
                    <a:lnTo>
                      <a:pt x="372" y="485"/>
                    </a:lnTo>
                    <a:lnTo>
                      <a:pt x="372" y="484"/>
                    </a:lnTo>
                    <a:lnTo>
                      <a:pt x="371" y="484"/>
                    </a:lnTo>
                    <a:lnTo>
                      <a:pt x="372" y="483"/>
                    </a:lnTo>
                    <a:lnTo>
                      <a:pt x="372" y="481"/>
                    </a:lnTo>
                    <a:lnTo>
                      <a:pt x="370" y="480"/>
                    </a:lnTo>
                    <a:lnTo>
                      <a:pt x="371" y="480"/>
                    </a:lnTo>
                    <a:lnTo>
                      <a:pt x="372" y="480"/>
                    </a:lnTo>
                    <a:lnTo>
                      <a:pt x="370" y="478"/>
                    </a:lnTo>
                    <a:lnTo>
                      <a:pt x="370" y="477"/>
                    </a:lnTo>
                    <a:lnTo>
                      <a:pt x="369" y="479"/>
                    </a:lnTo>
                    <a:lnTo>
                      <a:pt x="368" y="479"/>
                    </a:lnTo>
                    <a:lnTo>
                      <a:pt x="367" y="478"/>
                    </a:lnTo>
                    <a:lnTo>
                      <a:pt x="366" y="478"/>
                    </a:lnTo>
                    <a:lnTo>
                      <a:pt x="364" y="482"/>
                    </a:lnTo>
                    <a:lnTo>
                      <a:pt x="365" y="483"/>
                    </a:lnTo>
                    <a:lnTo>
                      <a:pt x="364" y="484"/>
                    </a:lnTo>
                    <a:lnTo>
                      <a:pt x="363" y="483"/>
                    </a:lnTo>
                    <a:lnTo>
                      <a:pt x="363" y="481"/>
                    </a:lnTo>
                    <a:lnTo>
                      <a:pt x="362" y="479"/>
                    </a:lnTo>
                    <a:lnTo>
                      <a:pt x="361" y="479"/>
                    </a:lnTo>
                    <a:lnTo>
                      <a:pt x="359" y="478"/>
                    </a:lnTo>
                    <a:lnTo>
                      <a:pt x="357" y="475"/>
                    </a:lnTo>
                    <a:lnTo>
                      <a:pt x="356" y="470"/>
                    </a:lnTo>
                    <a:lnTo>
                      <a:pt x="355" y="470"/>
                    </a:lnTo>
                    <a:lnTo>
                      <a:pt x="354" y="470"/>
                    </a:lnTo>
                    <a:lnTo>
                      <a:pt x="348" y="468"/>
                    </a:lnTo>
                    <a:lnTo>
                      <a:pt x="347" y="465"/>
                    </a:lnTo>
                    <a:lnTo>
                      <a:pt x="344" y="460"/>
                    </a:lnTo>
                    <a:lnTo>
                      <a:pt x="345" y="459"/>
                    </a:lnTo>
                    <a:lnTo>
                      <a:pt x="344" y="459"/>
                    </a:lnTo>
                    <a:lnTo>
                      <a:pt x="343" y="461"/>
                    </a:lnTo>
                    <a:lnTo>
                      <a:pt x="343" y="464"/>
                    </a:lnTo>
                    <a:lnTo>
                      <a:pt x="340" y="464"/>
                    </a:lnTo>
                    <a:lnTo>
                      <a:pt x="340" y="465"/>
                    </a:lnTo>
                    <a:lnTo>
                      <a:pt x="338" y="465"/>
                    </a:lnTo>
                    <a:lnTo>
                      <a:pt x="338" y="466"/>
                    </a:lnTo>
                    <a:lnTo>
                      <a:pt x="338" y="465"/>
                    </a:lnTo>
                    <a:lnTo>
                      <a:pt x="337" y="467"/>
                    </a:lnTo>
                    <a:lnTo>
                      <a:pt x="337" y="468"/>
                    </a:lnTo>
                    <a:lnTo>
                      <a:pt x="338" y="468"/>
                    </a:lnTo>
                    <a:lnTo>
                      <a:pt x="337" y="471"/>
                    </a:lnTo>
                    <a:lnTo>
                      <a:pt x="333" y="469"/>
                    </a:lnTo>
                    <a:lnTo>
                      <a:pt x="333" y="470"/>
                    </a:lnTo>
                    <a:lnTo>
                      <a:pt x="333" y="471"/>
                    </a:lnTo>
                    <a:lnTo>
                      <a:pt x="332" y="471"/>
                    </a:lnTo>
                    <a:lnTo>
                      <a:pt x="333" y="472"/>
                    </a:lnTo>
                    <a:lnTo>
                      <a:pt x="332" y="472"/>
                    </a:lnTo>
                    <a:lnTo>
                      <a:pt x="333" y="473"/>
                    </a:lnTo>
                    <a:lnTo>
                      <a:pt x="332" y="475"/>
                    </a:lnTo>
                    <a:lnTo>
                      <a:pt x="333" y="476"/>
                    </a:lnTo>
                    <a:lnTo>
                      <a:pt x="332" y="476"/>
                    </a:lnTo>
                    <a:lnTo>
                      <a:pt x="331" y="477"/>
                    </a:lnTo>
                    <a:lnTo>
                      <a:pt x="330" y="477"/>
                    </a:lnTo>
                    <a:lnTo>
                      <a:pt x="330" y="480"/>
                    </a:lnTo>
                    <a:lnTo>
                      <a:pt x="329" y="480"/>
                    </a:lnTo>
                    <a:lnTo>
                      <a:pt x="329" y="481"/>
                    </a:lnTo>
                    <a:lnTo>
                      <a:pt x="329" y="482"/>
                    </a:lnTo>
                    <a:lnTo>
                      <a:pt x="331" y="483"/>
                    </a:lnTo>
                    <a:lnTo>
                      <a:pt x="330" y="486"/>
                    </a:lnTo>
                    <a:lnTo>
                      <a:pt x="330" y="487"/>
                    </a:lnTo>
                    <a:lnTo>
                      <a:pt x="332" y="486"/>
                    </a:lnTo>
                    <a:lnTo>
                      <a:pt x="332" y="488"/>
                    </a:lnTo>
                    <a:lnTo>
                      <a:pt x="331" y="488"/>
                    </a:lnTo>
                    <a:lnTo>
                      <a:pt x="333" y="489"/>
                    </a:lnTo>
                    <a:lnTo>
                      <a:pt x="333" y="490"/>
                    </a:lnTo>
                    <a:lnTo>
                      <a:pt x="331" y="491"/>
                    </a:lnTo>
                    <a:lnTo>
                      <a:pt x="333" y="491"/>
                    </a:lnTo>
                    <a:lnTo>
                      <a:pt x="332" y="492"/>
                    </a:lnTo>
                    <a:lnTo>
                      <a:pt x="330" y="492"/>
                    </a:lnTo>
                    <a:lnTo>
                      <a:pt x="329" y="492"/>
                    </a:lnTo>
                    <a:lnTo>
                      <a:pt x="329" y="493"/>
                    </a:lnTo>
                    <a:lnTo>
                      <a:pt x="325" y="493"/>
                    </a:lnTo>
                    <a:lnTo>
                      <a:pt x="325" y="494"/>
                    </a:lnTo>
                    <a:lnTo>
                      <a:pt x="324" y="494"/>
                    </a:lnTo>
                    <a:lnTo>
                      <a:pt x="324" y="493"/>
                    </a:lnTo>
                    <a:lnTo>
                      <a:pt x="321" y="493"/>
                    </a:lnTo>
                    <a:lnTo>
                      <a:pt x="320" y="492"/>
                    </a:lnTo>
                    <a:lnTo>
                      <a:pt x="320" y="493"/>
                    </a:lnTo>
                    <a:lnTo>
                      <a:pt x="320" y="494"/>
                    </a:lnTo>
                    <a:lnTo>
                      <a:pt x="318" y="494"/>
                    </a:lnTo>
                    <a:lnTo>
                      <a:pt x="317" y="494"/>
                    </a:lnTo>
                    <a:lnTo>
                      <a:pt x="316" y="496"/>
                    </a:lnTo>
                    <a:lnTo>
                      <a:pt x="313" y="499"/>
                    </a:lnTo>
                    <a:lnTo>
                      <a:pt x="312" y="498"/>
                    </a:lnTo>
                    <a:lnTo>
                      <a:pt x="312" y="499"/>
                    </a:lnTo>
                    <a:lnTo>
                      <a:pt x="310" y="499"/>
                    </a:lnTo>
                    <a:lnTo>
                      <a:pt x="308" y="500"/>
                    </a:lnTo>
                    <a:lnTo>
                      <a:pt x="308" y="501"/>
                    </a:lnTo>
                    <a:lnTo>
                      <a:pt x="307" y="501"/>
                    </a:lnTo>
                    <a:lnTo>
                      <a:pt x="308" y="505"/>
                    </a:lnTo>
                    <a:lnTo>
                      <a:pt x="307" y="506"/>
                    </a:lnTo>
                    <a:lnTo>
                      <a:pt x="307" y="509"/>
                    </a:lnTo>
                    <a:lnTo>
                      <a:pt x="306" y="509"/>
                    </a:lnTo>
                    <a:lnTo>
                      <a:pt x="304" y="509"/>
                    </a:lnTo>
                    <a:lnTo>
                      <a:pt x="303" y="507"/>
                    </a:lnTo>
                    <a:lnTo>
                      <a:pt x="304" y="506"/>
                    </a:lnTo>
                    <a:lnTo>
                      <a:pt x="303" y="502"/>
                    </a:lnTo>
                    <a:lnTo>
                      <a:pt x="301" y="501"/>
                    </a:lnTo>
                    <a:lnTo>
                      <a:pt x="296" y="498"/>
                    </a:lnTo>
                    <a:lnTo>
                      <a:pt x="291" y="499"/>
                    </a:lnTo>
                    <a:lnTo>
                      <a:pt x="289" y="499"/>
                    </a:lnTo>
                    <a:lnTo>
                      <a:pt x="289" y="498"/>
                    </a:lnTo>
                    <a:lnTo>
                      <a:pt x="287" y="498"/>
                    </a:lnTo>
                    <a:lnTo>
                      <a:pt x="287" y="496"/>
                    </a:lnTo>
                    <a:lnTo>
                      <a:pt x="288" y="495"/>
                    </a:lnTo>
                    <a:lnTo>
                      <a:pt x="289" y="495"/>
                    </a:lnTo>
                    <a:lnTo>
                      <a:pt x="290" y="493"/>
                    </a:lnTo>
                    <a:lnTo>
                      <a:pt x="291" y="492"/>
                    </a:lnTo>
                    <a:lnTo>
                      <a:pt x="292" y="489"/>
                    </a:lnTo>
                    <a:lnTo>
                      <a:pt x="292" y="488"/>
                    </a:lnTo>
                    <a:lnTo>
                      <a:pt x="291" y="488"/>
                    </a:lnTo>
                    <a:lnTo>
                      <a:pt x="290" y="490"/>
                    </a:lnTo>
                    <a:lnTo>
                      <a:pt x="289" y="491"/>
                    </a:lnTo>
                    <a:lnTo>
                      <a:pt x="287" y="490"/>
                    </a:lnTo>
                    <a:lnTo>
                      <a:pt x="287" y="492"/>
                    </a:lnTo>
                    <a:lnTo>
                      <a:pt x="286" y="492"/>
                    </a:lnTo>
                    <a:lnTo>
                      <a:pt x="286" y="489"/>
                    </a:lnTo>
                    <a:lnTo>
                      <a:pt x="284" y="493"/>
                    </a:lnTo>
                    <a:lnTo>
                      <a:pt x="282" y="492"/>
                    </a:lnTo>
                    <a:lnTo>
                      <a:pt x="283" y="492"/>
                    </a:lnTo>
                    <a:lnTo>
                      <a:pt x="282" y="492"/>
                    </a:lnTo>
                    <a:lnTo>
                      <a:pt x="281" y="492"/>
                    </a:lnTo>
                    <a:lnTo>
                      <a:pt x="281" y="491"/>
                    </a:lnTo>
                    <a:lnTo>
                      <a:pt x="280" y="492"/>
                    </a:lnTo>
                    <a:lnTo>
                      <a:pt x="280" y="491"/>
                    </a:lnTo>
                    <a:lnTo>
                      <a:pt x="278" y="490"/>
                    </a:lnTo>
                    <a:lnTo>
                      <a:pt x="277" y="489"/>
                    </a:lnTo>
                    <a:lnTo>
                      <a:pt x="276" y="489"/>
                    </a:lnTo>
                    <a:lnTo>
                      <a:pt x="275" y="491"/>
                    </a:lnTo>
                    <a:lnTo>
                      <a:pt x="274" y="489"/>
                    </a:lnTo>
                    <a:lnTo>
                      <a:pt x="273" y="489"/>
                    </a:lnTo>
                    <a:lnTo>
                      <a:pt x="273" y="488"/>
                    </a:lnTo>
                    <a:lnTo>
                      <a:pt x="272" y="489"/>
                    </a:lnTo>
                    <a:lnTo>
                      <a:pt x="272" y="488"/>
                    </a:lnTo>
                    <a:lnTo>
                      <a:pt x="270" y="488"/>
                    </a:lnTo>
                    <a:lnTo>
                      <a:pt x="272" y="485"/>
                    </a:lnTo>
                    <a:lnTo>
                      <a:pt x="271" y="484"/>
                    </a:lnTo>
                    <a:lnTo>
                      <a:pt x="269" y="484"/>
                    </a:lnTo>
                    <a:lnTo>
                      <a:pt x="268" y="486"/>
                    </a:lnTo>
                    <a:lnTo>
                      <a:pt x="266" y="485"/>
                    </a:lnTo>
                    <a:lnTo>
                      <a:pt x="263" y="482"/>
                    </a:lnTo>
                    <a:lnTo>
                      <a:pt x="261" y="482"/>
                    </a:lnTo>
                    <a:lnTo>
                      <a:pt x="261" y="483"/>
                    </a:lnTo>
                    <a:lnTo>
                      <a:pt x="260" y="486"/>
                    </a:lnTo>
                    <a:lnTo>
                      <a:pt x="258" y="486"/>
                    </a:lnTo>
                    <a:lnTo>
                      <a:pt x="258" y="488"/>
                    </a:lnTo>
                    <a:lnTo>
                      <a:pt x="260" y="488"/>
                    </a:lnTo>
                    <a:lnTo>
                      <a:pt x="259" y="488"/>
                    </a:lnTo>
                    <a:lnTo>
                      <a:pt x="258" y="488"/>
                    </a:lnTo>
                    <a:lnTo>
                      <a:pt x="257" y="486"/>
                    </a:lnTo>
                    <a:lnTo>
                      <a:pt x="256" y="488"/>
                    </a:lnTo>
                    <a:lnTo>
                      <a:pt x="255" y="486"/>
                    </a:lnTo>
                    <a:lnTo>
                      <a:pt x="255" y="485"/>
                    </a:lnTo>
                    <a:lnTo>
                      <a:pt x="254" y="483"/>
                    </a:lnTo>
                    <a:lnTo>
                      <a:pt x="252" y="483"/>
                    </a:lnTo>
                    <a:lnTo>
                      <a:pt x="252" y="480"/>
                    </a:lnTo>
                    <a:lnTo>
                      <a:pt x="250" y="480"/>
                    </a:lnTo>
                    <a:lnTo>
                      <a:pt x="249" y="481"/>
                    </a:lnTo>
                    <a:lnTo>
                      <a:pt x="248" y="481"/>
                    </a:lnTo>
                    <a:lnTo>
                      <a:pt x="245" y="475"/>
                    </a:lnTo>
                    <a:lnTo>
                      <a:pt x="244" y="475"/>
                    </a:lnTo>
                    <a:lnTo>
                      <a:pt x="243" y="473"/>
                    </a:lnTo>
                    <a:lnTo>
                      <a:pt x="243" y="476"/>
                    </a:lnTo>
                    <a:lnTo>
                      <a:pt x="242" y="475"/>
                    </a:lnTo>
                    <a:lnTo>
                      <a:pt x="241" y="475"/>
                    </a:lnTo>
                    <a:lnTo>
                      <a:pt x="242" y="475"/>
                    </a:lnTo>
                    <a:lnTo>
                      <a:pt x="243" y="479"/>
                    </a:lnTo>
                    <a:lnTo>
                      <a:pt x="242" y="480"/>
                    </a:lnTo>
                    <a:lnTo>
                      <a:pt x="243" y="480"/>
                    </a:lnTo>
                    <a:lnTo>
                      <a:pt x="242" y="482"/>
                    </a:lnTo>
                    <a:lnTo>
                      <a:pt x="242" y="483"/>
                    </a:lnTo>
                    <a:lnTo>
                      <a:pt x="244" y="483"/>
                    </a:lnTo>
                    <a:lnTo>
                      <a:pt x="243" y="484"/>
                    </a:lnTo>
                    <a:lnTo>
                      <a:pt x="242" y="483"/>
                    </a:lnTo>
                    <a:lnTo>
                      <a:pt x="242" y="484"/>
                    </a:lnTo>
                    <a:lnTo>
                      <a:pt x="241" y="481"/>
                    </a:lnTo>
                    <a:lnTo>
                      <a:pt x="240" y="481"/>
                    </a:lnTo>
                    <a:lnTo>
                      <a:pt x="239" y="480"/>
                    </a:lnTo>
                    <a:lnTo>
                      <a:pt x="237" y="480"/>
                    </a:lnTo>
                    <a:lnTo>
                      <a:pt x="236" y="481"/>
                    </a:lnTo>
                    <a:lnTo>
                      <a:pt x="235" y="480"/>
                    </a:lnTo>
                    <a:lnTo>
                      <a:pt x="235" y="481"/>
                    </a:lnTo>
                    <a:lnTo>
                      <a:pt x="234" y="481"/>
                    </a:lnTo>
                    <a:lnTo>
                      <a:pt x="235" y="482"/>
                    </a:lnTo>
                    <a:lnTo>
                      <a:pt x="234" y="482"/>
                    </a:lnTo>
                    <a:lnTo>
                      <a:pt x="234" y="483"/>
                    </a:lnTo>
                    <a:lnTo>
                      <a:pt x="234" y="482"/>
                    </a:lnTo>
                    <a:lnTo>
                      <a:pt x="234" y="483"/>
                    </a:lnTo>
                    <a:lnTo>
                      <a:pt x="233" y="484"/>
                    </a:lnTo>
                    <a:lnTo>
                      <a:pt x="232" y="482"/>
                    </a:lnTo>
                    <a:lnTo>
                      <a:pt x="232" y="483"/>
                    </a:lnTo>
                    <a:lnTo>
                      <a:pt x="231" y="486"/>
                    </a:lnTo>
                    <a:lnTo>
                      <a:pt x="230" y="486"/>
                    </a:lnTo>
                    <a:lnTo>
                      <a:pt x="231" y="484"/>
                    </a:lnTo>
                    <a:lnTo>
                      <a:pt x="229" y="484"/>
                    </a:lnTo>
                    <a:lnTo>
                      <a:pt x="228" y="485"/>
                    </a:lnTo>
                    <a:lnTo>
                      <a:pt x="227" y="487"/>
                    </a:lnTo>
                    <a:lnTo>
                      <a:pt x="227" y="485"/>
                    </a:lnTo>
                    <a:lnTo>
                      <a:pt x="226" y="485"/>
                    </a:lnTo>
                    <a:lnTo>
                      <a:pt x="226" y="484"/>
                    </a:lnTo>
                    <a:lnTo>
                      <a:pt x="224" y="483"/>
                    </a:lnTo>
                    <a:lnTo>
                      <a:pt x="221" y="485"/>
                    </a:lnTo>
                    <a:lnTo>
                      <a:pt x="220" y="484"/>
                    </a:lnTo>
                    <a:lnTo>
                      <a:pt x="219" y="484"/>
                    </a:lnTo>
                    <a:lnTo>
                      <a:pt x="221" y="484"/>
                    </a:lnTo>
                    <a:lnTo>
                      <a:pt x="221" y="483"/>
                    </a:lnTo>
                    <a:lnTo>
                      <a:pt x="221" y="481"/>
                    </a:lnTo>
                    <a:lnTo>
                      <a:pt x="222" y="480"/>
                    </a:lnTo>
                    <a:lnTo>
                      <a:pt x="222" y="478"/>
                    </a:lnTo>
                    <a:lnTo>
                      <a:pt x="221" y="478"/>
                    </a:lnTo>
                    <a:lnTo>
                      <a:pt x="220" y="478"/>
                    </a:lnTo>
                    <a:lnTo>
                      <a:pt x="219" y="477"/>
                    </a:lnTo>
                    <a:lnTo>
                      <a:pt x="219" y="475"/>
                    </a:lnTo>
                    <a:lnTo>
                      <a:pt x="218" y="476"/>
                    </a:lnTo>
                    <a:lnTo>
                      <a:pt x="216" y="473"/>
                    </a:lnTo>
                    <a:lnTo>
                      <a:pt x="213" y="475"/>
                    </a:lnTo>
                    <a:lnTo>
                      <a:pt x="212" y="473"/>
                    </a:lnTo>
                    <a:lnTo>
                      <a:pt x="212" y="474"/>
                    </a:lnTo>
                    <a:lnTo>
                      <a:pt x="212" y="473"/>
                    </a:lnTo>
                    <a:lnTo>
                      <a:pt x="211" y="472"/>
                    </a:lnTo>
                    <a:lnTo>
                      <a:pt x="212" y="469"/>
                    </a:lnTo>
                    <a:lnTo>
                      <a:pt x="211" y="467"/>
                    </a:lnTo>
                    <a:lnTo>
                      <a:pt x="208" y="466"/>
                    </a:lnTo>
                    <a:lnTo>
                      <a:pt x="208" y="465"/>
                    </a:lnTo>
                    <a:lnTo>
                      <a:pt x="206" y="465"/>
                    </a:lnTo>
                    <a:lnTo>
                      <a:pt x="206" y="463"/>
                    </a:lnTo>
                    <a:lnTo>
                      <a:pt x="203" y="465"/>
                    </a:lnTo>
                    <a:lnTo>
                      <a:pt x="202" y="465"/>
                    </a:lnTo>
                    <a:lnTo>
                      <a:pt x="198" y="465"/>
                    </a:lnTo>
                    <a:lnTo>
                      <a:pt x="197" y="463"/>
                    </a:lnTo>
                    <a:lnTo>
                      <a:pt x="196" y="465"/>
                    </a:lnTo>
                    <a:lnTo>
                      <a:pt x="195" y="465"/>
                    </a:lnTo>
                    <a:lnTo>
                      <a:pt x="194" y="465"/>
                    </a:lnTo>
                    <a:lnTo>
                      <a:pt x="194" y="467"/>
                    </a:lnTo>
                    <a:lnTo>
                      <a:pt x="194" y="470"/>
                    </a:lnTo>
                    <a:lnTo>
                      <a:pt x="192" y="471"/>
                    </a:lnTo>
                    <a:lnTo>
                      <a:pt x="192" y="472"/>
                    </a:lnTo>
                    <a:lnTo>
                      <a:pt x="190" y="473"/>
                    </a:lnTo>
                    <a:lnTo>
                      <a:pt x="189" y="473"/>
                    </a:lnTo>
                    <a:lnTo>
                      <a:pt x="189" y="475"/>
                    </a:lnTo>
                    <a:lnTo>
                      <a:pt x="190" y="474"/>
                    </a:lnTo>
                    <a:lnTo>
                      <a:pt x="188" y="476"/>
                    </a:lnTo>
                    <a:lnTo>
                      <a:pt x="188" y="478"/>
                    </a:lnTo>
                    <a:lnTo>
                      <a:pt x="186" y="477"/>
                    </a:lnTo>
                    <a:lnTo>
                      <a:pt x="186" y="476"/>
                    </a:lnTo>
                    <a:lnTo>
                      <a:pt x="187" y="475"/>
                    </a:lnTo>
                    <a:lnTo>
                      <a:pt x="184" y="475"/>
                    </a:lnTo>
                    <a:lnTo>
                      <a:pt x="181" y="475"/>
                    </a:lnTo>
                    <a:lnTo>
                      <a:pt x="180" y="476"/>
                    </a:lnTo>
                    <a:lnTo>
                      <a:pt x="178" y="475"/>
                    </a:lnTo>
                    <a:lnTo>
                      <a:pt x="177" y="475"/>
                    </a:lnTo>
                    <a:lnTo>
                      <a:pt x="174" y="475"/>
                    </a:lnTo>
                    <a:lnTo>
                      <a:pt x="173" y="475"/>
                    </a:lnTo>
                    <a:lnTo>
                      <a:pt x="172" y="476"/>
                    </a:lnTo>
                    <a:lnTo>
                      <a:pt x="170" y="473"/>
                    </a:lnTo>
                    <a:lnTo>
                      <a:pt x="168" y="473"/>
                    </a:lnTo>
                    <a:lnTo>
                      <a:pt x="165" y="472"/>
                    </a:lnTo>
                    <a:lnTo>
                      <a:pt x="165" y="476"/>
                    </a:lnTo>
                    <a:lnTo>
                      <a:pt x="163" y="475"/>
                    </a:lnTo>
                    <a:lnTo>
                      <a:pt x="161" y="475"/>
                    </a:lnTo>
                    <a:lnTo>
                      <a:pt x="161" y="473"/>
                    </a:lnTo>
                    <a:lnTo>
                      <a:pt x="161" y="472"/>
                    </a:lnTo>
                    <a:lnTo>
                      <a:pt x="161" y="471"/>
                    </a:lnTo>
                    <a:lnTo>
                      <a:pt x="159" y="471"/>
                    </a:lnTo>
                    <a:lnTo>
                      <a:pt x="159" y="473"/>
                    </a:lnTo>
                    <a:lnTo>
                      <a:pt x="158" y="475"/>
                    </a:lnTo>
                    <a:lnTo>
                      <a:pt x="156" y="474"/>
                    </a:lnTo>
                    <a:lnTo>
                      <a:pt x="155" y="475"/>
                    </a:lnTo>
                    <a:lnTo>
                      <a:pt x="155" y="473"/>
                    </a:lnTo>
                    <a:lnTo>
                      <a:pt x="152" y="473"/>
                    </a:lnTo>
                    <a:lnTo>
                      <a:pt x="152" y="472"/>
                    </a:lnTo>
                    <a:lnTo>
                      <a:pt x="151" y="473"/>
                    </a:lnTo>
                    <a:lnTo>
                      <a:pt x="150" y="472"/>
                    </a:lnTo>
                    <a:lnTo>
                      <a:pt x="149" y="469"/>
                    </a:lnTo>
                    <a:lnTo>
                      <a:pt x="150" y="468"/>
                    </a:lnTo>
                    <a:lnTo>
                      <a:pt x="150" y="467"/>
                    </a:lnTo>
                    <a:lnTo>
                      <a:pt x="150" y="464"/>
                    </a:lnTo>
                    <a:lnTo>
                      <a:pt x="150" y="463"/>
                    </a:lnTo>
                    <a:lnTo>
                      <a:pt x="151" y="462"/>
                    </a:lnTo>
                    <a:lnTo>
                      <a:pt x="151" y="461"/>
                    </a:lnTo>
                    <a:lnTo>
                      <a:pt x="153" y="461"/>
                    </a:lnTo>
                    <a:lnTo>
                      <a:pt x="151" y="460"/>
                    </a:lnTo>
                    <a:lnTo>
                      <a:pt x="149" y="458"/>
                    </a:lnTo>
                    <a:lnTo>
                      <a:pt x="145" y="458"/>
                    </a:lnTo>
                    <a:lnTo>
                      <a:pt x="144" y="45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3" name="Freeform 82">
                <a:extLst>
                  <a:ext uri="{FF2B5EF4-FFF2-40B4-BE49-F238E27FC236}">
                    <a16:creationId xmlns:a16="http://schemas.microsoft.com/office/drawing/2014/main" id="{72849D75-39C6-2840-4FB5-76C265D1FA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1" y="2910"/>
                <a:ext cx="569" cy="509"/>
              </a:xfrm>
              <a:custGeom>
                <a:avLst/>
                <a:gdLst>
                  <a:gd name="T0" fmla="*/ 128 w 569"/>
                  <a:gd name="T1" fmla="*/ 470 h 509"/>
                  <a:gd name="T2" fmla="*/ 100 w 569"/>
                  <a:gd name="T3" fmla="*/ 473 h 509"/>
                  <a:gd name="T4" fmla="*/ 79 w 569"/>
                  <a:gd name="T5" fmla="*/ 467 h 509"/>
                  <a:gd name="T6" fmla="*/ 69 w 569"/>
                  <a:gd name="T7" fmla="*/ 420 h 509"/>
                  <a:gd name="T8" fmla="*/ 60 w 569"/>
                  <a:gd name="T9" fmla="*/ 397 h 509"/>
                  <a:gd name="T10" fmla="*/ 56 w 569"/>
                  <a:gd name="T11" fmla="*/ 386 h 509"/>
                  <a:gd name="T12" fmla="*/ 81 w 569"/>
                  <a:gd name="T13" fmla="*/ 368 h 509"/>
                  <a:gd name="T14" fmla="*/ 91 w 569"/>
                  <a:gd name="T15" fmla="*/ 338 h 509"/>
                  <a:gd name="T16" fmla="*/ 106 w 569"/>
                  <a:gd name="T17" fmla="*/ 306 h 509"/>
                  <a:gd name="T18" fmla="*/ 89 w 569"/>
                  <a:gd name="T19" fmla="*/ 267 h 509"/>
                  <a:gd name="T20" fmla="*/ 60 w 569"/>
                  <a:gd name="T21" fmla="*/ 236 h 509"/>
                  <a:gd name="T22" fmla="*/ 33 w 569"/>
                  <a:gd name="T23" fmla="*/ 210 h 509"/>
                  <a:gd name="T24" fmla="*/ 6 w 569"/>
                  <a:gd name="T25" fmla="*/ 198 h 509"/>
                  <a:gd name="T26" fmla="*/ 25 w 569"/>
                  <a:gd name="T27" fmla="*/ 175 h 509"/>
                  <a:gd name="T28" fmla="*/ 41 w 569"/>
                  <a:gd name="T29" fmla="*/ 146 h 509"/>
                  <a:gd name="T30" fmla="*/ 85 w 569"/>
                  <a:gd name="T31" fmla="*/ 126 h 509"/>
                  <a:gd name="T32" fmla="*/ 128 w 569"/>
                  <a:gd name="T33" fmla="*/ 122 h 509"/>
                  <a:gd name="T34" fmla="*/ 164 w 569"/>
                  <a:gd name="T35" fmla="*/ 107 h 509"/>
                  <a:gd name="T36" fmla="*/ 188 w 569"/>
                  <a:gd name="T37" fmla="*/ 92 h 509"/>
                  <a:gd name="T38" fmla="*/ 237 w 569"/>
                  <a:gd name="T39" fmla="*/ 103 h 509"/>
                  <a:gd name="T40" fmla="*/ 273 w 569"/>
                  <a:gd name="T41" fmla="*/ 101 h 509"/>
                  <a:gd name="T42" fmla="*/ 282 w 569"/>
                  <a:gd name="T43" fmla="*/ 78 h 509"/>
                  <a:gd name="T44" fmla="*/ 295 w 569"/>
                  <a:gd name="T45" fmla="*/ 68 h 509"/>
                  <a:gd name="T46" fmla="*/ 321 w 569"/>
                  <a:gd name="T47" fmla="*/ 39 h 509"/>
                  <a:gd name="T48" fmla="*/ 343 w 569"/>
                  <a:gd name="T49" fmla="*/ 44 h 509"/>
                  <a:gd name="T50" fmla="*/ 368 w 569"/>
                  <a:gd name="T51" fmla="*/ 52 h 509"/>
                  <a:gd name="T52" fmla="*/ 423 w 569"/>
                  <a:gd name="T53" fmla="*/ 18 h 509"/>
                  <a:gd name="T54" fmla="*/ 446 w 569"/>
                  <a:gd name="T55" fmla="*/ 7 h 509"/>
                  <a:gd name="T56" fmla="*/ 468 w 569"/>
                  <a:gd name="T57" fmla="*/ 20 h 509"/>
                  <a:gd name="T58" fmla="*/ 488 w 569"/>
                  <a:gd name="T59" fmla="*/ 49 h 509"/>
                  <a:gd name="T60" fmla="*/ 491 w 569"/>
                  <a:gd name="T61" fmla="*/ 77 h 509"/>
                  <a:gd name="T62" fmla="*/ 489 w 569"/>
                  <a:gd name="T63" fmla="*/ 109 h 509"/>
                  <a:gd name="T64" fmla="*/ 483 w 569"/>
                  <a:gd name="T65" fmla="*/ 137 h 509"/>
                  <a:gd name="T66" fmla="*/ 499 w 569"/>
                  <a:gd name="T67" fmla="*/ 161 h 509"/>
                  <a:gd name="T68" fmla="*/ 528 w 569"/>
                  <a:gd name="T69" fmla="*/ 171 h 509"/>
                  <a:gd name="T70" fmla="*/ 541 w 569"/>
                  <a:gd name="T71" fmla="*/ 189 h 509"/>
                  <a:gd name="T72" fmla="*/ 539 w 569"/>
                  <a:gd name="T73" fmla="*/ 225 h 509"/>
                  <a:gd name="T74" fmla="*/ 552 w 569"/>
                  <a:gd name="T75" fmla="*/ 249 h 509"/>
                  <a:gd name="T76" fmla="*/ 542 w 569"/>
                  <a:gd name="T77" fmla="*/ 279 h 509"/>
                  <a:gd name="T78" fmla="*/ 530 w 569"/>
                  <a:gd name="T79" fmla="*/ 288 h 509"/>
                  <a:gd name="T80" fmla="*/ 548 w 569"/>
                  <a:gd name="T81" fmla="*/ 306 h 509"/>
                  <a:gd name="T82" fmla="*/ 567 w 569"/>
                  <a:gd name="T83" fmla="*/ 330 h 509"/>
                  <a:gd name="T84" fmla="*/ 557 w 569"/>
                  <a:gd name="T85" fmla="*/ 360 h 509"/>
                  <a:gd name="T86" fmla="*/ 544 w 569"/>
                  <a:gd name="T87" fmla="*/ 384 h 509"/>
                  <a:gd name="T88" fmla="*/ 524 w 569"/>
                  <a:gd name="T89" fmla="*/ 401 h 509"/>
                  <a:gd name="T90" fmla="*/ 495 w 569"/>
                  <a:gd name="T91" fmla="*/ 412 h 509"/>
                  <a:gd name="T92" fmla="*/ 475 w 569"/>
                  <a:gd name="T93" fmla="*/ 420 h 509"/>
                  <a:gd name="T94" fmla="*/ 469 w 569"/>
                  <a:gd name="T95" fmla="*/ 456 h 509"/>
                  <a:gd name="T96" fmla="*/ 457 w 569"/>
                  <a:gd name="T97" fmla="*/ 480 h 509"/>
                  <a:gd name="T98" fmla="*/ 438 w 569"/>
                  <a:gd name="T99" fmla="*/ 480 h 509"/>
                  <a:gd name="T100" fmla="*/ 411 w 569"/>
                  <a:gd name="T101" fmla="*/ 478 h 509"/>
                  <a:gd name="T102" fmla="*/ 386 w 569"/>
                  <a:gd name="T103" fmla="*/ 495 h 509"/>
                  <a:gd name="T104" fmla="*/ 372 w 569"/>
                  <a:gd name="T105" fmla="*/ 480 h 509"/>
                  <a:gd name="T106" fmla="*/ 340 w 569"/>
                  <a:gd name="T107" fmla="*/ 465 h 509"/>
                  <a:gd name="T108" fmla="*/ 330 w 569"/>
                  <a:gd name="T109" fmla="*/ 486 h 509"/>
                  <a:gd name="T110" fmla="*/ 312 w 569"/>
                  <a:gd name="T111" fmla="*/ 499 h 509"/>
                  <a:gd name="T112" fmla="*/ 291 w 569"/>
                  <a:gd name="T113" fmla="*/ 488 h 509"/>
                  <a:gd name="T114" fmla="*/ 269 w 569"/>
                  <a:gd name="T115" fmla="*/ 484 h 509"/>
                  <a:gd name="T116" fmla="*/ 243 w 569"/>
                  <a:gd name="T117" fmla="*/ 476 h 509"/>
                  <a:gd name="T118" fmla="*/ 233 w 569"/>
                  <a:gd name="T119" fmla="*/ 484 h 509"/>
                  <a:gd name="T120" fmla="*/ 216 w 569"/>
                  <a:gd name="T121" fmla="*/ 473 h 509"/>
                  <a:gd name="T122" fmla="*/ 190 w 569"/>
                  <a:gd name="T123" fmla="*/ 474 h 509"/>
                  <a:gd name="T124" fmla="*/ 158 w 569"/>
                  <a:gd name="T125" fmla="*/ 475 h 50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569"/>
                  <a:gd name="T190" fmla="*/ 0 h 509"/>
                  <a:gd name="T191" fmla="*/ 569 w 569"/>
                  <a:gd name="T192" fmla="*/ 509 h 50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569" h="509">
                    <a:moveTo>
                      <a:pt x="144" y="458"/>
                    </a:moveTo>
                    <a:lnTo>
                      <a:pt x="142" y="460"/>
                    </a:lnTo>
                    <a:lnTo>
                      <a:pt x="142" y="459"/>
                    </a:lnTo>
                    <a:lnTo>
                      <a:pt x="139" y="461"/>
                    </a:lnTo>
                    <a:lnTo>
                      <a:pt x="138" y="461"/>
                    </a:lnTo>
                    <a:lnTo>
                      <a:pt x="136" y="460"/>
                    </a:lnTo>
                    <a:lnTo>
                      <a:pt x="135" y="463"/>
                    </a:lnTo>
                    <a:lnTo>
                      <a:pt x="136" y="465"/>
                    </a:lnTo>
                    <a:lnTo>
                      <a:pt x="135" y="467"/>
                    </a:lnTo>
                    <a:lnTo>
                      <a:pt x="135" y="465"/>
                    </a:lnTo>
                    <a:lnTo>
                      <a:pt x="134" y="468"/>
                    </a:lnTo>
                    <a:lnTo>
                      <a:pt x="134" y="469"/>
                    </a:lnTo>
                    <a:lnTo>
                      <a:pt x="134" y="470"/>
                    </a:lnTo>
                    <a:lnTo>
                      <a:pt x="133" y="470"/>
                    </a:lnTo>
                    <a:lnTo>
                      <a:pt x="133" y="471"/>
                    </a:lnTo>
                    <a:lnTo>
                      <a:pt x="132" y="469"/>
                    </a:lnTo>
                    <a:lnTo>
                      <a:pt x="131" y="469"/>
                    </a:lnTo>
                    <a:lnTo>
                      <a:pt x="131" y="471"/>
                    </a:lnTo>
                    <a:lnTo>
                      <a:pt x="132" y="473"/>
                    </a:lnTo>
                    <a:lnTo>
                      <a:pt x="131" y="473"/>
                    </a:lnTo>
                    <a:lnTo>
                      <a:pt x="131" y="475"/>
                    </a:lnTo>
                    <a:lnTo>
                      <a:pt x="130" y="475"/>
                    </a:lnTo>
                    <a:lnTo>
                      <a:pt x="130" y="472"/>
                    </a:lnTo>
                    <a:lnTo>
                      <a:pt x="128" y="472"/>
                    </a:lnTo>
                    <a:lnTo>
                      <a:pt x="128" y="470"/>
                    </a:lnTo>
                    <a:lnTo>
                      <a:pt x="126" y="472"/>
                    </a:lnTo>
                    <a:lnTo>
                      <a:pt x="126" y="473"/>
                    </a:lnTo>
                    <a:lnTo>
                      <a:pt x="125" y="475"/>
                    </a:lnTo>
                    <a:lnTo>
                      <a:pt x="125" y="476"/>
                    </a:lnTo>
                    <a:lnTo>
                      <a:pt x="125" y="477"/>
                    </a:lnTo>
                    <a:lnTo>
                      <a:pt x="121" y="476"/>
                    </a:lnTo>
                    <a:lnTo>
                      <a:pt x="118" y="475"/>
                    </a:lnTo>
                    <a:lnTo>
                      <a:pt x="118" y="473"/>
                    </a:lnTo>
                    <a:lnTo>
                      <a:pt x="117" y="472"/>
                    </a:lnTo>
                    <a:lnTo>
                      <a:pt x="114" y="475"/>
                    </a:lnTo>
                    <a:lnTo>
                      <a:pt x="114" y="478"/>
                    </a:lnTo>
                    <a:lnTo>
                      <a:pt x="113" y="478"/>
                    </a:lnTo>
                    <a:lnTo>
                      <a:pt x="111" y="480"/>
                    </a:lnTo>
                    <a:lnTo>
                      <a:pt x="111" y="478"/>
                    </a:lnTo>
                    <a:lnTo>
                      <a:pt x="107" y="479"/>
                    </a:lnTo>
                    <a:lnTo>
                      <a:pt x="107" y="478"/>
                    </a:lnTo>
                    <a:lnTo>
                      <a:pt x="105" y="478"/>
                    </a:lnTo>
                    <a:lnTo>
                      <a:pt x="105" y="476"/>
                    </a:lnTo>
                    <a:lnTo>
                      <a:pt x="104" y="475"/>
                    </a:lnTo>
                    <a:lnTo>
                      <a:pt x="103" y="476"/>
                    </a:lnTo>
                    <a:lnTo>
                      <a:pt x="100" y="476"/>
                    </a:lnTo>
                    <a:lnTo>
                      <a:pt x="102" y="475"/>
                    </a:lnTo>
                    <a:lnTo>
                      <a:pt x="102" y="473"/>
                    </a:lnTo>
                    <a:lnTo>
                      <a:pt x="104" y="472"/>
                    </a:lnTo>
                    <a:lnTo>
                      <a:pt x="100" y="472"/>
                    </a:lnTo>
                    <a:lnTo>
                      <a:pt x="100" y="473"/>
                    </a:lnTo>
                    <a:lnTo>
                      <a:pt x="98" y="472"/>
                    </a:lnTo>
                    <a:lnTo>
                      <a:pt x="98" y="470"/>
                    </a:lnTo>
                    <a:lnTo>
                      <a:pt x="98" y="468"/>
                    </a:lnTo>
                    <a:lnTo>
                      <a:pt x="95" y="465"/>
                    </a:lnTo>
                    <a:lnTo>
                      <a:pt x="93" y="466"/>
                    </a:lnTo>
                    <a:lnTo>
                      <a:pt x="93" y="467"/>
                    </a:lnTo>
                    <a:lnTo>
                      <a:pt x="94" y="468"/>
                    </a:lnTo>
                    <a:lnTo>
                      <a:pt x="92" y="468"/>
                    </a:lnTo>
                    <a:lnTo>
                      <a:pt x="90" y="471"/>
                    </a:lnTo>
                    <a:lnTo>
                      <a:pt x="89" y="471"/>
                    </a:lnTo>
                    <a:lnTo>
                      <a:pt x="87" y="472"/>
                    </a:lnTo>
                    <a:lnTo>
                      <a:pt x="87" y="471"/>
                    </a:lnTo>
                    <a:lnTo>
                      <a:pt x="87" y="470"/>
                    </a:lnTo>
                    <a:lnTo>
                      <a:pt x="86" y="471"/>
                    </a:lnTo>
                    <a:lnTo>
                      <a:pt x="85" y="471"/>
                    </a:lnTo>
                    <a:lnTo>
                      <a:pt x="85" y="467"/>
                    </a:lnTo>
                    <a:lnTo>
                      <a:pt x="85" y="468"/>
                    </a:lnTo>
                    <a:lnTo>
                      <a:pt x="84" y="467"/>
                    </a:lnTo>
                    <a:lnTo>
                      <a:pt x="84" y="463"/>
                    </a:lnTo>
                    <a:lnTo>
                      <a:pt x="82" y="463"/>
                    </a:lnTo>
                    <a:lnTo>
                      <a:pt x="83" y="464"/>
                    </a:lnTo>
                    <a:lnTo>
                      <a:pt x="81" y="464"/>
                    </a:lnTo>
                    <a:lnTo>
                      <a:pt x="81" y="467"/>
                    </a:lnTo>
                    <a:lnTo>
                      <a:pt x="79" y="467"/>
                    </a:lnTo>
                    <a:lnTo>
                      <a:pt x="79" y="468"/>
                    </a:lnTo>
                    <a:lnTo>
                      <a:pt x="76" y="466"/>
                    </a:lnTo>
                    <a:lnTo>
                      <a:pt x="74" y="465"/>
                    </a:lnTo>
                    <a:lnTo>
                      <a:pt x="72" y="469"/>
                    </a:lnTo>
                    <a:lnTo>
                      <a:pt x="71" y="469"/>
                    </a:lnTo>
                    <a:lnTo>
                      <a:pt x="68" y="468"/>
                    </a:lnTo>
                    <a:lnTo>
                      <a:pt x="67" y="468"/>
                    </a:lnTo>
                    <a:lnTo>
                      <a:pt x="68" y="465"/>
                    </a:lnTo>
                    <a:lnTo>
                      <a:pt x="68" y="464"/>
                    </a:lnTo>
                    <a:lnTo>
                      <a:pt x="69" y="459"/>
                    </a:lnTo>
                    <a:lnTo>
                      <a:pt x="70" y="456"/>
                    </a:lnTo>
                    <a:lnTo>
                      <a:pt x="68" y="455"/>
                    </a:lnTo>
                    <a:lnTo>
                      <a:pt x="69" y="452"/>
                    </a:lnTo>
                    <a:lnTo>
                      <a:pt x="65" y="448"/>
                    </a:lnTo>
                    <a:lnTo>
                      <a:pt x="64" y="448"/>
                    </a:lnTo>
                    <a:lnTo>
                      <a:pt x="61" y="452"/>
                    </a:lnTo>
                    <a:lnTo>
                      <a:pt x="61" y="451"/>
                    </a:lnTo>
                    <a:lnTo>
                      <a:pt x="63" y="450"/>
                    </a:lnTo>
                    <a:lnTo>
                      <a:pt x="64" y="445"/>
                    </a:lnTo>
                    <a:lnTo>
                      <a:pt x="63" y="444"/>
                    </a:lnTo>
                    <a:lnTo>
                      <a:pt x="63" y="443"/>
                    </a:lnTo>
                    <a:lnTo>
                      <a:pt x="65" y="437"/>
                    </a:lnTo>
                    <a:lnTo>
                      <a:pt x="64" y="433"/>
                    </a:lnTo>
                    <a:lnTo>
                      <a:pt x="66" y="431"/>
                    </a:lnTo>
                    <a:lnTo>
                      <a:pt x="68" y="428"/>
                    </a:lnTo>
                    <a:lnTo>
                      <a:pt x="68" y="421"/>
                    </a:lnTo>
                    <a:lnTo>
                      <a:pt x="69" y="420"/>
                    </a:lnTo>
                    <a:lnTo>
                      <a:pt x="70" y="417"/>
                    </a:lnTo>
                    <a:lnTo>
                      <a:pt x="69" y="415"/>
                    </a:lnTo>
                    <a:lnTo>
                      <a:pt x="67" y="416"/>
                    </a:lnTo>
                    <a:lnTo>
                      <a:pt x="65" y="414"/>
                    </a:lnTo>
                    <a:lnTo>
                      <a:pt x="65" y="412"/>
                    </a:lnTo>
                    <a:lnTo>
                      <a:pt x="63" y="411"/>
                    </a:lnTo>
                    <a:lnTo>
                      <a:pt x="61" y="412"/>
                    </a:lnTo>
                    <a:lnTo>
                      <a:pt x="58" y="411"/>
                    </a:lnTo>
                    <a:lnTo>
                      <a:pt x="58" y="409"/>
                    </a:lnTo>
                    <a:lnTo>
                      <a:pt x="60" y="409"/>
                    </a:lnTo>
                    <a:lnTo>
                      <a:pt x="60" y="408"/>
                    </a:lnTo>
                    <a:lnTo>
                      <a:pt x="57" y="407"/>
                    </a:lnTo>
                    <a:lnTo>
                      <a:pt x="57" y="406"/>
                    </a:lnTo>
                    <a:lnTo>
                      <a:pt x="55" y="406"/>
                    </a:lnTo>
                    <a:lnTo>
                      <a:pt x="53" y="405"/>
                    </a:lnTo>
                    <a:lnTo>
                      <a:pt x="52" y="405"/>
                    </a:lnTo>
                    <a:lnTo>
                      <a:pt x="52" y="402"/>
                    </a:lnTo>
                    <a:lnTo>
                      <a:pt x="50" y="401"/>
                    </a:lnTo>
                    <a:lnTo>
                      <a:pt x="53" y="402"/>
                    </a:lnTo>
                    <a:lnTo>
                      <a:pt x="56" y="405"/>
                    </a:lnTo>
                    <a:lnTo>
                      <a:pt x="59" y="405"/>
                    </a:lnTo>
                    <a:lnTo>
                      <a:pt x="60" y="404"/>
                    </a:lnTo>
                    <a:lnTo>
                      <a:pt x="61" y="404"/>
                    </a:lnTo>
                    <a:lnTo>
                      <a:pt x="63" y="403"/>
                    </a:lnTo>
                    <a:lnTo>
                      <a:pt x="61" y="403"/>
                    </a:lnTo>
                    <a:lnTo>
                      <a:pt x="60" y="397"/>
                    </a:lnTo>
                    <a:lnTo>
                      <a:pt x="56" y="396"/>
                    </a:lnTo>
                    <a:lnTo>
                      <a:pt x="55" y="394"/>
                    </a:lnTo>
                    <a:lnTo>
                      <a:pt x="56" y="392"/>
                    </a:lnTo>
                    <a:lnTo>
                      <a:pt x="55" y="391"/>
                    </a:lnTo>
                    <a:lnTo>
                      <a:pt x="56" y="390"/>
                    </a:lnTo>
                    <a:lnTo>
                      <a:pt x="57" y="391"/>
                    </a:lnTo>
                    <a:lnTo>
                      <a:pt x="57" y="392"/>
                    </a:lnTo>
                    <a:lnTo>
                      <a:pt x="58" y="391"/>
                    </a:lnTo>
                    <a:lnTo>
                      <a:pt x="59" y="391"/>
                    </a:lnTo>
                    <a:lnTo>
                      <a:pt x="60" y="391"/>
                    </a:lnTo>
                    <a:lnTo>
                      <a:pt x="63" y="390"/>
                    </a:lnTo>
                    <a:lnTo>
                      <a:pt x="64" y="391"/>
                    </a:lnTo>
                    <a:lnTo>
                      <a:pt x="67" y="388"/>
                    </a:lnTo>
                    <a:lnTo>
                      <a:pt x="65" y="388"/>
                    </a:lnTo>
                    <a:lnTo>
                      <a:pt x="65" y="386"/>
                    </a:lnTo>
                    <a:lnTo>
                      <a:pt x="63" y="386"/>
                    </a:lnTo>
                    <a:lnTo>
                      <a:pt x="62" y="385"/>
                    </a:lnTo>
                    <a:lnTo>
                      <a:pt x="60" y="386"/>
                    </a:lnTo>
                    <a:lnTo>
                      <a:pt x="61" y="384"/>
                    </a:lnTo>
                    <a:lnTo>
                      <a:pt x="60" y="384"/>
                    </a:lnTo>
                    <a:lnTo>
                      <a:pt x="58" y="385"/>
                    </a:lnTo>
                    <a:lnTo>
                      <a:pt x="58" y="384"/>
                    </a:lnTo>
                    <a:lnTo>
                      <a:pt x="57" y="384"/>
                    </a:lnTo>
                    <a:lnTo>
                      <a:pt x="56" y="386"/>
                    </a:lnTo>
                    <a:lnTo>
                      <a:pt x="55" y="386"/>
                    </a:lnTo>
                    <a:lnTo>
                      <a:pt x="55" y="388"/>
                    </a:lnTo>
                    <a:lnTo>
                      <a:pt x="53" y="387"/>
                    </a:lnTo>
                    <a:lnTo>
                      <a:pt x="52" y="383"/>
                    </a:lnTo>
                    <a:lnTo>
                      <a:pt x="53" y="384"/>
                    </a:lnTo>
                    <a:lnTo>
                      <a:pt x="53" y="383"/>
                    </a:lnTo>
                    <a:lnTo>
                      <a:pt x="52" y="382"/>
                    </a:lnTo>
                    <a:lnTo>
                      <a:pt x="54" y="380"/>
                    </a:lnTo>
                    <a:lnTo>
                      <a:pt x="53" y="378"/>
                    </a:lnTo>
                    <a:lnTo>
                      <a:pt x="54" y="376"/>
                    </a:lnTo>
                    <a:lnTo>
                      <a:pt x="58" y="374"/>
                    </a:lnTo>
                    <a:lnTo>
                      <a:pt x="61" y="368"/>
                    </a:lnTo>
                    <a:lnTo>
                      <a:pt x="71" y="365"/>
                    </a:lnTo>
                    <a:lnTo>
                      <a:pt x="73" y="364"/>
                    </a:lnTo>
                    <a:lnTo>
                      <a:pt x="75" y="364"/>
                    </a:lnTo>
                    <a:lnTo>
                      <a:pt x="74" y="364"/>
                    </a:lnTo>
                    <a:lnTo>
                      <a:pt x="74" y="367"/>
                    </a:lnTo>
                    <a:lnTo>
                      <a:pt x="76" y="368"/>
                    </a:lnTo>
                    <a:lnTo>
                      <a:pt x="77" y="370"/>
                    </a:lnTo>
                    <a:lnTo>
                      <a:pt x="77" y="371"/>
                    </a:lnTo>
                    <a:lnTo>
                      <a:pt x="79" y="371"/>
                    </a:lnTo>
                    <a:lnTo>
                      <a:pt x="80" y="371"/>
                    </a:lnTo>
                    <a:lnTo>
                      <a:pt x="81" y="369"/>
                    </a:lnTo>
                    <a:lnTo>
                      <a:pt x="81" y="368"/>
                    </a:lnTo>
                    <a:lnTo>
                      <a:pt x="82" y="367"/>
                    </a:lnTo>
                    <a:lnTo>
                      <a:pt x="82" y="365"/>
                    </a:lnTo>
                    <a:lnTo>
                      <a:pt x="84" y="364"/>
                    </a:lnTo>
                    <a:lnTo>
                      <a:pt x="85" y="361"/>
                    </a:lnTo>
                    <a:lnTo>
                      <a:pt x="86" y="361"/>
                    </a:lnTo>
                    <a:lnTo>
                      <a:pt x="89" y="361"/>
                    </a:lnTo>
                    <a:lnTo>
                      <a:pt x="89" y="360"/>
                    </a:lnTo>
                    <a:lnTo>
                      <a:pt x="90" y="360"/>
                    </a:lnTo>
                    <a:lnTo>
                      <a:pt x="91" y="360"/>
                    </a:lnTo>
                    <a:lnTo>
                      <a:pt x="93" y="358"/>
                    </a:lnTo>
                    <a:lnTo>
                      <a:pt x="93" y="359"/>
                    </a:lnTo>
                    <a:lnTo>
                      <a:pt x="95" y="356"/>
                    </a:lnTo>
                    <a:lnTo>
                      <a:pt x="95" y="354"/>
                    </a:lnTo>
                    <a:lnTo>
                      <a:pt x="93" y="353"/>
                    </a:lnTo>
                    <a:lnTo>
                      <a:pt x="92" y="352"/>
                    </a:lnTo>
                    <a:lnTo>
                      <a:pt x="91" y="351"/>
                    </a:lnTo>
                    <a:lnTo>
                      <a:pt x="90" y="352"/>
                    </a:lnTo>
                    <a:lnTo>
                      <a:pt x="89" y="352"/>
                    </a:lnTo>
                    <a:lnTo>
                      <a:pt x="87" y="354"/>
                    </a:lnTo>
                    <a:lnTo>
                      <a:pt x="86" y="353"/>
                    </a:lnTo>
                    <a:lnTo>
                      <a:pt x="87" y="350"/>
                    </a:lnTo>
                    <a:lnTo>
                      <a:pt x="90" y="349"/>
                    </a:lnTo>
                    <a:lnTo>
                      <a:pt x="92" y="344"/>
                    </a:lnTo>
                    <a:lnTo>
                      <a:pt x="92" y="341"/>
                    </a:lnTo>
                    <a:lnTo>
                      <a:pt x="91" y="339"/>
                    </a:lnTo>
                    <a:lnTo>
                      <a:pt x="91" y="338"/>
                    </a:lnTo>
                    <a:lnTo>
                      <a:pt x="90" y="335"/>
                    </a:lnTo>
                    <a:lnTo>
                      <a:pt x="91" y="333"/>
                    </a:lnTo>
                    <a:lnTo>
                      <a:pt x="95" y="333"/>
                    </a:lnTo>
                    <a:lnTo>
                      <a:pt x="95" y="331"/>
                    </a:lnTo>
                    <a:lnTo>
                      <a:pt x="97" y="330"/>
                    </a:lnTo>
                    <a:lnTo>
                      <a:pt x="96" y="330"/>
                    </a:lnTo>
                    <a:lnTo>
                      <a:pt x="97" y="326"/>
                    </a:lnTo>
                    <a:lnTo>
                      <a:pt x="95" y="324"/>
                    </a:lnTo>
                    <a:lnTo>
                      <a:pt x="95" y="321"/>
                    </a:lnTo>
                    <a:lnTo>
                      <a:pt x="98" y="318"/>
                    </a:lnTo>
                    <a:lnTo>
                      <a:pt x="97" y="316"/>
                    </a:lnTo>
                    <a:lnTo>
                      <a:pt x="96" y="314"/>
                    </a:lnTo>
                    <a:lnTo>
                      <a:pt x="97" y="313"/>
                    </a:lnTo>
                    <a:lnTo>
                      <a:pt x="98" y="314"/>
                    </a:lnTo>
                    <a:lnTo>
                      <a:pt x="100" y="310"/>
                    </a:lnTo>
                    <a:lnTo>
                      <a:pt x="99" y="308"/>
                    </a:lnTo>
                    <a:lnTo>
                      <a:pt x="100" y="308"/>
                    </a:lnTo>
                    <a:lnTo>
                      <a:pt x="100" y="304"/>
                    </a:lnTo>
                    <a:lnTo>
                      <a:pt x="101" y="304"/>
                    </a:lnTo>
                    <a:lnTo>
                      <a:pt x="102" y="304"/>
                    </a:lnTo>
                    <a:lnTo>
                      <a:pt x="103" y="304"/>
                    </a:lnTo>
                    <a:lnTo>
                      <a:pt x="104" y="304"/>
                    </a:lnTo>
                    <a:lnTo>
                      <a:pt x="105" y="304"/>
                    </a:lnTo>
                    <a:lnTo>
                      <a:pt x="106" y="304"/>
                    </a:lnTo>
                    <a:lnTo>
                      <a:pt x="106" y="306"/>
                    </a:lnTo>
                    <a:lnTo>
                      <a:pt x="107" y="305"/>
                    </a:lnTo>
                    <a:lnTo>
                      <a:pt x="107" y="299"/>
                    </a:lnTo>
                    <a:lnTo>
                      <a:pt x="107" y="293"/>
                    </a:lnTo>
                    <a:lnTo>
                      <a:pt x="106" y="291"/>
                    </a:lnTo>
                    <a:lnTo>
                      <a:pt x="107" y="289"/>
                    </a:lnTo>
                    <a:lnTo>
                      <a:pt x="107" y="287"/>
                    </a:lnTo>
                    <a:lnTo>
                      <a:pt x="106" y="287"/>
                    </a:lnTo>
                    <a:lnTo>
                      <a:pt x="105" y="286"/>
                    </a:lnTo>
                    <a:lnTo>
                      <a:pt x="106" y="284"/>
                    </a:lnTo>
                    <a:lnTo>
                      <a:pt x="107" y="283"/>
                    </a:lnTo>
                    <a:lnTo>
                      <a:pt x="107" y="280"/>
                    </a:lnTo>
                    <a:lnTo>
                      <a:pt x="106" y="280"/>
                    </a:lnTo>
                    <a:lnTo>
                      <a:pt x="107" y="278"/>
                    </a:lnTo>
                    <a:lnTo>
                      <a:pt x="110" y="277"/>
                    </a:lnTo>
                    <a:lnTo>
                      <a:pt x="106" y="277"/>
                    </a:lnTo>
                    <a:lnTo>
                      <a:pt x="104" y="276"/>
                    </a:lnTo>
                    <a:lnTo>
                      <a:pt x="100" y="272"/>
                    </a:lnTo>
                    <a:lnTo>
                      <a:pt x="98" y="269"/>
                    </a:lnTo>
                    <a:lnTo>
                      <a:pt x="93" y="268"/>
                    </a:lnTo>
                    <a:lnTo>
                      <a:pt x="92" y="267"/>
                    </a:lnTo>
                    <a:lnTo>
                      <a:pt x="89" y="268"/>
                    </a:lnTo>
                    <a:lnTo>
                      <a:pt x="87" y="267"/>
                    </a:lnTo>
                    <a:lnTo>
                      <a:pt x="87" y="266"/>
                    </a:lnTo>
                    <a:lnTo>
                      <a:pt x="89" y="267"/>
                    </a:lnTo>
                    <a:lnTo>
                      <a:pt x="90" y="262"/>
                    </a:lnTo>
                    <a:lnTo>
                      <a:pt x="90" y="260"/>
                    </a:lnTo>
                    <a:lnTo>
                      <a:pt x="90" y="259"/>
                    </a:lnTo>
                    <a:lnTo>
                      <a:pt x="90" y="256"/>
                    </a:lnTo>
                    <a:lnTo>
                      <a:pt x="87" y="256"/>
                    </a:lnTo>
                    <a:lnTo>
                      <a:pt x="85" y="255"/>
                    </a:lnTo>
                    <a:lnTo>
                      <a:pt x="83" y="254"/>
                    </a:lnTo>
                    <a:lnTo>
                      <a:pt x="79" y="254"/>
                    </a:lnTo>
                    <a:lnTo>
                      <a:pt x="77" y="255"/>
                    </a:lnTo>
                    <a:lnTo>
                      <a:pt x="77" y="252"/>
                    </a:lnTo>
                    <a:lnTo>
                      <a:pt x="76" y="248"/>
                    </a:lnTo>
                    <a:lnTo>
                      <a:pt x="74" y="247"/>
                    </a:lnTo>
                    <a:lnTo>
                      <a:pt x="73" y="248"/>
                    </a:lnTo>
                    <a:lnTo>
                      <a:pt x="73" y="247"/>
                    </a:lnTo>
                    <a:lnTo>
                      <a:pt x="71" y="244"/>
                    </a:lnTo>
                    <a:lnTo>
                      <a:pt x="70" y="244"/>
                    </a:lnTo>
                    <a:lnTo>
                      <a:pt x="70" y="238"/>
                    </a:lnTo>
                    <a:lnTo>
                      <a:pt x="68" y="237"/>
                    </a:lnTo>
                    <a:lnTo>
                      <a:pt x="67" y="235"/>
                    </a:lnTo>
                    <a:lnTo>
                      <a:pt x="66" y="235"/>
                    </a:lnTo>
                    <a:lnTo>
                      <a:pt x="65" y="234"/>
                    </a:lnTo>
                    <a:lnTo>
                      <a:pt x="63" y="236"/>
                    </a:lnTo>
                    <a:lnTo>
                      <a:pt x="62" y="236"/>
                    </a:lnTo>
                    <a:lnTo>
                      <a:pt x="61" y="235"/>
                    </a:lnTo>
                    <a:lnTo>
                      <a:pt x="60" y="236"/>
                    </a:lnTo>
                    <a:lnTo>
                      <a:pt x="61" y="237"/>
                    </a:lnTo>
                    <a:lnTo>
                      <a:pt x="53" y="237"/>
                    </a:lnTo>
                    <a:lnTo>
                      <a:pt x="52" y="236"/>
                    </a:lnTo>
                    <a:lnTo>
                      <a:pt x="43" y="234"/>
                    </a:lnTo>
                    <a:lnTo>
                      <a:pt x="43" y="233"/>
                    </a:lnTo>
                    <a:lnTo>
                      <a:pt x="42" y="232"/>
                    </a:lnTo>
                    <a:lnTo>
                      <a:pt x="42" y="231"/>
                    </a:lnTo>
                    <a:lnTo>
                      <a:pt x="40" y="229"/>
                    </a:lnTo>
                    <a:lnTo>
                      <a:pt x="41" y="228"/>
                    </a:lnTo>
                    <a:lnTo>
                      <a:pt x="40" y="227"/>
                    </a:lnTo>
                    <a:lnTo>
                      <a:pt x="38" y="226"/>
                    </a:lnTo>
                    <a:lnTo>
                      <a:pt x="37" y="224"/>
                    </a:lnTo>
                    <a:lnTo>
                      <a:pt x="36" y="224"/>
                    </a:lnTo>
                    <a:lnTo>
                      <a:pt x="35" y="223"/>
                    </a:lnTo>
                    <a:lnTo>
                      <a:pt x="32" y="223"/>
                    </a:lnTo>
                    <a:lnTo>
                      <a:pt x="31" y="220"/>
                    </a:lnTo>
                    <a:lnTo>
                      <a:pt x="29" y="220"/>
                    </a:lnTo>
                    <a:lnTo>
                      <a:pt x="27" y="219"/>
                    </a:lnTo>
                    <a:lnTo>
                      <a:pt x="28" y="215"/>
                    </a:lnTo>
                    <a:lnTo>
                      <a:pt x="29" y="216"/>
                    </a:lnTo>
                    <a:lnTo>
                      <a:pt x="30" y="215"/>
                    </a:lnTo>
                    <a:lnTo>
                      <a:pt x="34" y="215"/>
                    </a:lnTo>
                    <a:lnTo>
                      <a:pt x="37" y="217"/>
                    </a:lnTo>
                    <a:lnTo>
                      <a:pt x="37" y="216"/>
                    </a:lnTo>
                    <a:lnTo>
                      <a:pt x="35" y="215"/>
                    </a:lnTo>
                    <a:lnTo>
                      <a:pt x="34" y="215"/>
                    </a:lnTo>
                    <a:lnTo>
                      <a:pt x="33" y="210"/>
                    </a:lnTo>
                    <a:lnTo>
                      <a:pt x="32" y="210"/>
                    </a:lnTo>
                    <a:lnTo>
                      <a:pt x="27" y="210"/>
                    </a:lnTo>
                    <a:lnTo>
                      <a:pt x="25" y="212"/>
                    </a:lnTo>
                    <a:lnTo>
                      <a:pt x="23" y="212"/>
                    </a:lnTo>
                    <a:lnTo>
                      <a:pt x="22" y="211"/>
                    </a:lnTo>
                    <a:lnTo>
                      <a:pt x="22" y="210"/>
                    </a:lnTo>
                    <a:lnTo>
                      <a:pt x="22" y="209"/>
                    </a:lnTo>
                    <a:lnTo>
                      <a:pt x="21" y="209"/>
                    </a:lnTo>
                    <a:lnTo>
                      <a:pt x="20" y="207"/>
                    </a:lnTo>
                    <a:lnTo>
                      <a:pt x="19" y="209"/>
                    </a:lnTo>
                    <a:lnTo>
                      <a:pt x="13" y="207"/>
                    </a:lnTo>
                    <a:lnTo>
                      <a:pt x="12" y="210"/>
                    </a:lnTo>
                    <a:lnTo>
                      <a:pt x="11" y="210"/>
                    </a:lnTo>
                    <a:lnTo>
                      <a:pt x="9" y="212"/>
                    </a:lnTo>
                    <a:lnTo>
                      <a:pt x="7" y="212"/>
                    </a:lnTo>
                    <a:lnTo>
                      <a:pt x="7" y="209"/>
                    </a:lnTo>
                    <a:lnTo>
                      <a:pt x="3" y="209"/>
                    </a:lnTo>
                    <a:lnTo>
                      <a:pt x="1" y="209"/>
                    </a:lnTo>
                    <a:lnTo>
                      <a:pt x="0" y="209"/>
                    </a:lnTo>
                    <a:lnTo>
                      <a:pt x="0" y="207"/>
                    </a:lnTo>
                    <a:lnTo>
                      <a:pt x="2" y="205"/>
                    </a:lnTo>
                    <a:lnTo>
                      <a:pt x="2" y="203"/>
                    </a:lnTo>
                    <a:lnTo>
                      <a:pt x="4" y="202"/>
                    </a:lnTo>
                    <a:lnTo>
                      <a:pt x="5" y="202"/>
                    </a:lnTo>
                    <a:lnTo>
                      <a:pt x="4" y="200"/>
                    </a:lnTo>
                    <a:lnTo>
                      <a:pt x="6" y="198"/>
                    </a:lnTo>
                    <a:lnTo>
                      <a:pt x="6" y="196"/>
                    </a:lnTo>
                    <a:lnTo>
                      <a:pt x="8" y="197"/>
                    </a:lnTo>
                    <a:lnTo>
                      <a:pt x="11" y="197"/>
                    </a:lnTo>
                    <a:lnTo>
                      <a:pt x="11" y="193"/>
                    </a:lnTo>
                    <a:lnTo>
                      <a:pt x="11" y="190"/>
                    </a:lnTo>
                    <a:lnTo>
                      <a:pt x="9" y="189"/>
                    </a:lnTo>
                    <a:lnTo>
                      <a:pt x="8" y="186"/>
                    </a:lnTo>
                    <a:lnTo>
                      <a:pt x="6" y="188"/>
                    </a:lnTo>
                    <a:lnTo>
                      <a:pt x="6" y="186"/>
                    </a:lnTo>
                    <a:lnTo>
                      <a:pt x="6" y="183"/>
                    </a:lnTo>
                    <a:lnTo>
                      <a:pt x="7" y="180"/>
                    </a:lnTo>
                    <a:lnTo>
                      <a:pt x="6" y="179"/>
                    </a:lnTo>
                    <a:lnTo>
                      <a:pt x="8" y="178"/>
                    </a:lnTo>
                    <a:lnTo>
                      <a:pt x="9" y="179"/>
                    </a:lnTo>
                    <a:lnTo>
                      <a:pt x="11" y="177"/>
                    </a:lnTo>
                    <a:lnTo>
                      <a:pt x="12" y="177"/>
                    </a:lnTo>
                    <a:lnTo>
                      <a:pt x="12" y="175"/>
                    </a:lnTo>
                    <a:lnTo>
                      <a:pt x="16" y="175"/>
                    </a:lnTo>
                    <a:lnTo>
                      <a:pt x="16" y="176"/>
                    </a:lnTo>
                    <a:lnTo>
                      <a:pt x="20" y="178"/>
                    </a:lnTo>
                    <a:lnTo>
                      <a:pt x="22" y="178"/>
                    </a:lnTo>
                    <a:lnTo>
                      <a:pt x="22" y="176"/>
                    </a:lnTo>
                    <a:lnTo>
                      <a:pt x="22" y="175"/>
                    </a:lnTo>
                    <a:lnTo>
                      <a:pt x="22" y="174"/>
                    </a:lnTo>
                    <a:lnTo>
                      <a:pt x="23" y="175"/>
                    </a:lnTo>
                    <a:lnTo>
                      <a:pt x="25" y="175"/>
                    </a:lnTo>
                    <a:lnTo>
                      <a:pt x="25" y="171"/>
                    </a:lnTo>
                    <a:lnTo>
                      <a:pt x="25" y="170"/>
                    </a:lnTo>
                    <a:lnTo>
                      <a:pt x="25" y="166"/>
                    </a:lnTo>
                    <a:lnTo>
                      <a:pt x="25" y="167"/>
                    </a:lnTo>
                    <a:lnTo>
                      <a:pt x="26" y="167"/>
                    </a:lnTo>
                    <a:lnTo>
                      <a:pt x="27" y="169"/>
                    </a:lnTo>
                    <a:lnTo>
                      <a:pt x="28" y="169"/>
                    </a:lnTo>
                    <a:lnTo>
                      <a:pt x="30" y="170"/>
                    </a:lnTo>
                    <a:lnTo>
                      <a:pt x="31" y="168"/>
                    </a:lnTo>
                    <a:lnTo>
                      <a:pt x="31" y="165"/>
                    </a:lnTo>
                    <a:lnTo>
                      <a:pt x="31" y="163"/>
                    </a:lnTo>
                    <a:lnTo>
                      <a:pt x="29" y="162"/>
                    </a:lnTo>
                    <a:lnTo>
                      <a:pt x="33" y="162"/>
                    </a:lnTo>
                    <a:lnTo>
                      <a:pt x="33" y="159"/>
                    </a:lnTo>
                    <a:lnTo>
                      <a:pt x="32" y="155"/>
                    </a:lnTo>
                    <a:lnTo>
                      <a:pt x="33" y="154"/>
                    </a:lnTo>
                    <a:lnTo>
                      <a:pt x="33" y="150"/>
                    </a:lnTo>
                    <a:lnTo>
                      <a:pt x="34" y="152"/>
                    </a:lnTo>
                    <a:lnTo>
                      <a:pt x="37" y="152"/>
                    </a:lnTo>
                    <a:lnTo>
                      <a:pt x="38" y="151"/>
                    </a:lnTo>
                    <a:lnTo>
                      <a:pt x="38" y="150"/>
                    </a:lnTo>
                    <a:lnTo>
                      <a:pt x="40" y="150"/>
                    </a:lnTo>
                    <a:lnTo>
                      <a:pt x="40" y="149"/>
                    </a:lnTo>
                    <a:lnTo>
                      <a:pt x="41" y="149"/>
                    </a:lnTo>
                    <a:lnTo>
                      <a:pt x="41" y="148"/>
                    </a:lnTo>
                    <a:lnTo>
                      <a:pt x="41" y="146"/>
                    </a:lnTo>
                    <a:lnTo>
                      <a:pt x="43" y="146"/>
                    </a:lnTo>
                    <a:lnTo>
                      <a:pt x="43" y="145"/>
                    </a:lnTo>
                    <a:lnTo>
                      <a:pt x="46" y="145"/>
                    </a:lnTo>
                    <a:lnTo>
                      <a:pt x="47" y="142"/>
                    </a:lnTo>
                    <a:lnTo>
                      <a:pt x="50" y="142"/>
                    </a:lnTo>
                    <a:lnTo>
                      <a:pt x="52" y="142"/>
                    </a:lnTo>
                    <a:lnTo>
                      <a:pt x="52" y="141"/>
                    </a:lnTo>
                    <a:lnTo>
                      <a:pt x="53" y="141"/>
                    </a:lnTo>
                    <a:lnTo>
                      <a:pt x="55" y="145"/>
                    </a:lnTo>
                    <a:lnTo>
                      <a:pt x="57" y="146"/>
                    </a:lnTo>
                    <a:lnTo>
                      <a:pt x="58" y="145"/>
                    </a:lnTo>
                    <a:lnTo>
                      <a:pt x="61" y="145"/>
                    </a:lnTo>
                    <a:lnTo>
                      <a:pt x="64" y="142"/>
                    </a:lnTo>
                    <a:lnTo>
                      <a:pt x="66" y="144"/>
                    </a:lnTo>
                    <a:lnTo>
                      <a:pt x="66" y="142"/>
                    </a:lnTo>
                    <a:lnTo>
                      <a:pt x="71" y="140"/>
                    </a:lnTo>
                    <a:lnTo>
                      <a:pt x="70" y="137"/>
                    </a:lnTo>
                    <a:lnTo>
                      <a:pt x="73" y="138"/>
                    </a:lnTo>
                    <a:lnTo>
                      <a:pt x="74" y="137"/>
                    </a:lnTo>
                    <a:lnTo>
                      <a:pt x="76" y="134"/>
                    </a:lnTo>
                    <a:lnTo>
                      <a:pt x="76" y="133"/>
                    </a:lnTo>
                    <a:lnTo>
                      <a:pt x="78" y="133"/>
                    </a:lnTo>
                    <a:lnTo>
                      <a:pt x="80" y="132"/>
                    </a:lnTo>
                    <a:lnTo>
                      <a:pt x="85" y="126"/>
                    </a:lnTo>
                    <a:lnTo>
                      <a:pt x="86" y="127"/>
                    </a:lnTo>
                    <a:lnTo>
                      <a:pt x="85" y="128"/>
                    </a:lnTo>
                    <a:lnTo>
                      <a:pt x="85" y="133"/>
                    </a:lnTo>
                    <a:lnTo>
                      <a:pt x="89" y="132"/>
                    </a:lnTo>
                    <a:lnTo>
                      <a:pt x="90" y="133"/>
                    </a:lnTo>
                    <a:lnTo>
                      <a:pt x="92" y="135"/>
                    </a:lnTo>
                    <a:lnTo>
                      <a:pt x="93" y="135"/>
                    </a:lnTo>
                    <a:lnTo>
                      <a:pt x="97" y="133"/>
                    </a:lnTo>
                    <a:lnTo>
                      <a:pt x="104" y="135"/>
                    </a:lnTo>
                    <a:lnTo>
                      <a:pt x="106" y="136"/>
                    </a:lnTo>
                    <a:lnTo>
                      <a:pt x="107" y="133"/>
                    </a:lnTo>
                    <a:lnTo>
                      <a:pt x="108" y="131"/>
                    </a:lnTo>
                    <a:lnTo>
                      <a:pt x="109" y="132"/>
                    </a:lnTo>
                    <a:lnTo>
                      <a:pt x="110" y="129"/>
                    </a:lnTo>
                    <a:lnTo>
                      <a:pt x="111" y="130"/>
                    </a:lnTo>
                    <a:lnTo>
                      <a:pt x="110" y="133"/>
                    </a:lnTo>
                    <a:lnTo>
                      <a:pt x="112" y="133"/>
                    </a:lnTo>
                    <a:lnTo>
                      <a:pt x="113" y="131"/>
                    </a:lnTo>
                    <a:lnTo>
                      <a:pt x="114" y="131"/>
                    </a:lnTo>
                    <a:lnTo>
                      <a:pt x="118" y="127"/>
                    </a:lnTo>
                    <a:lnTo>
                      <a:pt x="120" y="124"/>
                    </a:lnTo>
                    <a:lnTo>
                      <a:pt x="122" y="122"/>
                    </a:lnTo>
                    <a:lnTo>
                      <a:pt x="123" y="122"/>
                    </a:lnTo>
                    <a:lnTo>
                      <a:pt x="125" y="120"/>
                    </a:lnTo>
                    <a:lnTo>
                      <a:pt x="126" y="120"/>
                    </a:lnTo>
                    <a:lnTo>
                      <a:pt x="128" y="123"/>
                    </a:lnTo>
                    <a:lnTo>
                      <a:pt x="128" y="122"/>
                    </a:lnTo>
                    <a:lnTo>
                      <a:pt x="129" y="122"/>
                    </a:lnTo>
                    <a:lnTo>
                      <a:pt x="131" y="128"/>
                    </a:lnTo>
                    <a:lnTo>
                      <a:pt x="130" y="131"/>
                    </a:lnTo>
                    <a:lnTo>
                      <a:pt x="131" y="132"/>
                    </a:lnTo>
                    <a:lnTo>
                      <a:pt x="138" y="132"/>
                    </a:lnTo>
                    <a:lnTo>
                      <a:pt x="138" y="128"/>
                    </a:lnTo>
                    <a:lnTo>
                      <a:pt x="139" y="127"/>
                    </a:lnTo>
                    <a:lnTo>
                      <a:pt x="139" y="124"/>
                    </a:lnTo>
                    <a:lnTo>
                      <a:pt x="141" y="122"/>
                    </a:lnTo>
                    <a:lnTo>
                      <a:pt x="143" y="120"/>
                    </a:lnTo>
                    <a:lnTo>
                      <a:pt x="146" y="120"/>
                    </a:lnTo>
                    <a:lnTo>
                      <a:pt x="152" y="119"/>
                    </a:lnTo>
                    <a:lnTo>
                      <a:pt x="153" y="119"/>
                    </a:lnTo>
                    <a:lnTo>
                      <a:pt x="152" y="120"/>
                    </a:lnTo>
                    <a:lnTo>
                      <a:pt x="156" y="119"/>
                    </a:lnTo>
                    <a:lnTo>
                      <a:pt x="157" y="118"/>
                    </a:lnTo>
                    <a:lnTo>
                      <a:pt x="158" y="118"/>
                    </a:lnTo>
                    <a:lnTo>
                      <a:pt x="161" y="117"/>
                    </a:lnTo>
                    <a:lnTo>
                      <a:pt x="161" y="115"/>
                    </a:lnTo>
                    <a:lnTo>
                      <a:pt x="162" y="115"/>
                    </a:lnTo>
                    <a:lnTo>
                      <a:pt x="162" y="114"/>
                    </a:lnTo>
                    <a:lnTo>
                      <a:pt x="164" y="115"/>
                    </a:lnTo>
                    <a:lnTo>
                      <a:pt x="165" y="113"/>
                    </a:lnTo>
                    <a:lnTo>
                      <a:pt x="166" y="112"/>
                    </a:lnTo>
                    <a:lnTo>
                      <a:pt x="166" y="108"/>
                    </a:lnTo>
                    <a:lnTo>
                      <a:pt x="166" y="107"/>
                    </a:lnTo>
                    <a:lnTo>
                      <a:pt x="164" y="107"/>
                    </a:lnTo>
                    <a:lnTo>
                      <a:pt x="165" y="107"/>
                    </a:lnTo>
                    <a:lnTo>
                      <a:pt x="165" y="106"/>
                    </a:lnTo>
                    <a:lnTo>
                      <a:pt x="167" y="107"/>
                    </a:lnTo>
                    <a:lnTo>
                      <a:pt x="170" y="107"/>
                    </a:lnTo>
                    <a:lnTo>
                      <a:pt x="170" y="109"/>
                    </a:lnTo>
                    <a:lnTo>
                      <a:pt x="175" y="109"/>
                    </a:lnTo>
                    <a:lnTo>
                      <a:pt x="176" y="109"/>
                    </a:lnTo>
                    <a:lnTo>
                      <a:pt x="175" y="107"/>
                    </a:lnTo>
                    <a:lnTo>
                      <a:pt x="176" y="107"/>
                    </a:lnTo>
                    <a:lnTo>
                      <a:pt x="175" y="106"/>
                    </a:lnTo>
                    <a:lnTo>
                      <a:pt x="177" y="103"/>
                    </a:lnTo>
                    <a:lnTo>
                      <a:pt x="175" y="101"/>
                    </a:lnTo>
                    <a:lnTo>
                      <a:pt x="174" y="101"/>
                    </a:lnTo>
                    <a:lnTo>
                      <a:pt x="174" y="95"/>
                    </a:lnTo>
                    <a:lnTo>
                      <a:pt x="177" y="94"/>
                    </a:lnTo>
                    <a:lnTo>
                      <a:pt x="178" y="94"/>
                    </a:lnTo>
                    <a:lnTo>
                      <a:pt x="180" y="92"/>
                    </a:lnTo>
                    <a:lnTo>
                      <a:pt x="181" y="92"/>
                    </a:lnTo>
                    <a:lnTo>
                      <a:pt x="182" y="90"/>
                    </a:lnTo>
                    <a:lnTo>
                      <a:pt x="185" y="90"/>
                    </a:lnTo>
                    <a:lnTo>
                      <a:pt x="187" y="93"/>
                    </a:lnTo>
                    <a:lnTo>
                      <a:pt x="188" y="94"/>
                    </a:lnTo>
                    <a:lnTo>
                      <a:pt x="188" y="92"/>
                    </a:lnTo>
                    <a:lnTo>
                      <a:pt x="190" y="92"/>
                    </a:lnTo>
                    <a:lnTo>
                      <a:pt x="190" y="91"/>
                    </a:lnTo>
                    <a:lnTo>
                      <a:pt x="194" y="94"/>
                    </a:lnTo>
                    <a:lnTo>
                      <a:pt x="198" y="95"/>
                    </a:lnTo>
                    <a:lnTo>
                      <a:pt x="198" y="97"/>
                    </a:lnTo>
                    <a:lnTo>
                      <a:pt x="199" y="97"/>
                    </a:lnTo>
                    <a:lnTo>
                      <a:pt x="199" y="98"/>
                    </a:lnTo>
                    <a:lnTo>
                      <a:pt x="200" y="98"/>
                    </a:lnTo>
                    <a:lnTo>
                      <a:pt x="205" y="99"/>
                    </a:lnTo>
                    <a:lnTo>
                      <a:pt x="211" y="99"/>
                    </a:lnTo>
                    <a:lnTo>
                      <a:pt x="211" y="101"/>
                    </a:lnTo>
                    <a:lnTo>
                      <a:pt x="213" y="101"/>
                    </a:lnTo>
                    <a:lnTo>
                      <a:pt x="217" y="102"/>
                    </a:lnTo>
                    <a:lnTo>
                      <a:pt x="218" y="103"/>
                    </a:lnTo>
                    <a:lnTo>
                      <a:pt x="218" y="102"/>
                    </a:lnTo>
                    <a:lnTo>
                      <a:pt x="224" y="102"/>
                    </a:lnTo>
                    <a:lnTo>
                      <a:pt x="225" y="101"/>
                    </a:lnTo>
                    <a:lnTo>
                      <a:pt x="228" y="103"/>
                    </a:lnTo>
                    <a:lnTo>
                      <a:pt x="229" y="100"/>
                    </a:lnTo>
                    <a:lnTo>
                      <a:pt x="229" y="98"/>
                    </a:lnTo>
                    <a:lnTo>
                      <a:pt x="232" y="100"/>
                    </a:lnTo>
                    <a:lnTo>
                      <a:pt x="232" y="101"/>
                    </a:lnTo>
                    <a:lnTo>
                      <a:pt x="233" y="103"/>
                    </a:lnTo>
                    <a:lnTo>
                      <a:pt x="234" y="102"/>
                    </a:lnTo>
                    <a:lnTo>
                      <a:pt x="236" y="104"/>
                    </a:lnTo>
                    <a:lnTo>
                      <a:pt x="236" y="103"/>
                    </a:lnTo>
                    <a:lnTo>
                      <a:pt x="237" y="103"/>
                    </a:lnTo>
                    <a:lnTo>
                      <a:pt x="238" y="101"/>
                    </a:lnTo>
                    <a:lnTo>
                      <a:pt x="243" y="106"/>
                    </a:lnTo>
                    <a:lnTo>
                      <a:pt x="245" y="107"/>
                    </a:lnTo>
                    <a:lnTo>
                      <a:pt x="245" y="108"/>
                    </a:lnTo>
                    <a:lnTo>
                      <a:pt x="246" y="109"/>
                    </a:lnTo>
                    <a:lnTo>
                      <a:pt x="248" y="105"/>
                    </a:lnTo>
                    <a:lnTo>
                      <a:pt x="250" y="103"/>
                    </a:lnTo>
                    <a:lnTo>
                      <a:pt x="250" y="102"/>
                    </a:lnTo>
                    <a:lnTo>
                      <a:pt x="252" y="99"/>
                    </a:lnTo>
                    <a:lnTo>
                      <a:pt x="253" y="99"/>
                    </a:lnTo>
                    <a:lnTo>
                      <a:pt x="255" y="98"/>
                    </a:lnTo>
                    <a:lnTo>
                      <a:pt x="257" y="100"/>
                    </a:lnTo>
                    <a:lnTo>
                      <a:pt x="259" y="101"/>
                    </a:lnTo>
                    <a:lnTo>
                      <a:pt x="260" y="100"/>
                    </a:lnTo>
                    <a:lnTo>
                      <a:pt x="260" y="99"/>
                    </a:lnTo>
                    <a:lnTo>
                      <a:pt x="261" y="101"/>
                    </a:lnTo>
                    <a:lnTo>
                      <a:pt x="263" y="101"/>
                    </a:lnTo>
                    <a:lnTo>
                      <a:pt x="263" y="99"/>
                    </a:lnTo>
                    <a:lnTo>
                      <a:pt x="267" y="100"/>
                    </a:lnTo>
                    <a:lnTo>
                      <a:pt x="267" y="98"/>
                    </a:lnTo>
                    <a:lnTo>
                      <a:pt x="268" y="99"/>
                    </a:lnTo>
                    <a:lnTo>
                      <a:pt x="269" y="98"/>
                    </a:lnTo>
                    <a:lnTo>
                      <a:pt x="272" y="99"/>
                    </a:lnTo>
                    <a:lnTo>
                      <a:pt x="273" y="100"/>
                    </a:lnTo>
                    <a:lnTo>
                      <a:pt x="273" y="101"/>
                    </a:lnTo>
                    <a:lnTo>
                      <a:pt x="274" y="101"/>
                    </a:lnTo>
                    <a:lnTo>
                      <a:pt x="274" y="103"/>
                    </a:lnTo>
                    <a:lnTo>
                      <a:pt x="275" y="102"/>
                    </a:lnTo>
                    <a:lnTo>
                      <a:pt x="276" y="103"/>
                    </a:lnTo>
                    <a:lnTo>
                      <a:pt x="275" y="101"/>
                    </a:lnTo>
                    <a:lnTo>
                      <a:pt x="276" y="101"/>
                    </a:lnTo>
                    <a:lnTo>
                      <a:pt x="276" y="102"/>
                    </a:lnTo>
                    <a:lnTo>
                      <a:pt x="276" y="103"/>
                    </a:lnTo>
                    <a:lnTo>
                      <a:pt x="278" y="102"/>
                    </a:lnTo>
                    <a:lnTo>
                      <a:pt x="281" y="98"/>
                    </a:lnTo>
                    <a:lnTo>
                      <a:pt x="280" y="98"/>
                    </a:lnTo>
                    <a:lnTo>
                      <a:pt x="281" y="96"/>
                    </a:lnTo>
                    <a:lnTo>
                      <a:pt x="280" y="96"/>
                    </a:lnTo>
                    <a:lnTo>
                      <a:pt x="281" y="95"/>
                    </a:lnTo>
                    <a:lnTo>
                      <a:pt x="280" y="95"/>
                    </a:lnTo>
                    <a:lnTo>
                      <a:pt x="280" y="94"/>
                    </a:lnTo>
                    <a:lnTo>
                      <a:pt x="280" y="90"/>
                    </a:lnTo>
                    <a:lnTo>
                      <a:pt x="283" y="92"/>
                    </a:lnTo>
                    <a:lnTo>
                      <a:pt x="283" y="86"/>
                    </a:lnTo>
                    <a:lnTo>
                      <a:pt x="283" y="84"/>
                    </a:lnTo>
                    <a:lnTo>
                      <a:pt x="284" y="84"/>
                    </a:lnTo>
                    <a:lnTo>
                      <a:pt x="284" y="82"/>
                    </a:lnTo>
                    <a:lnTo>
                      <a:pt x="283" y="81"/>
                    </a:lnTo>
                    <a:lnTo>
                      <a:pt x="282" y="81"/>
                    </a:lnTo>
                    <a:lnTo>
                      <a:pt x="282" y="78"/>
                    </a:lnTo>
                    <a:lnTo>
                      <a:pt x="281" y="77"/>
                    </a:lnTo>
                    <a:lnTo>
                      <a:pt x="281" y="76"/>
                    </a:lnTo>
                    <a:lnTo>
                      <a:pt x="283" y="75"/>
                    </a:lnTo>
                    <a:lnTo>
                      <a:pt x="283" y="76"/>
                    </a:lnTo>
                    <a:lnTo>
                      <a:pt x="284" y="75"/>
                    </a:lnTo>
                    <a:lnTo>
                      <a:pt x="283" y="74"/>
                    </a:lnTo>
                    <a:lnTo>
                      <a:pt x="283" y="73"/>
                    </a:lnTo>
                    <a:lnTo>
                      <a:pt x="282" y="71"/>
                    </a:lnTo>
                    <a:lnTo>
                      <a:pt x="283" y="70"/>
                    </a:lnTo>
                    <a:lnTo>
                      <a:pt x="283" y="71"/>
                    </a:lnTo>
                    <a:lnTo>
                      <a:pt x="283" y="69"/>
                    </a:lnTo>
                    <a:lnTo>
                      <a:pt x="283" y="68"/>
                    </a:lnTo>
                    <a:lnTo>
                      <a:pt x="281" y="67"/>
                    </a:lnTo>
                    <a:lnTo>
                      <a:pt x="281" y="66"/>
                    </a:lnTo>
                    <a:lnTo>
                      <a:pt x="283" y="65"/>
                    </a:lnTo>
                    <a:lnTo>
                      <a:pt x="284" y="65"/>
                    </a:lnTo>
                    <a:lnTo>
                      <a:pt x="284" y="64"/>
                    </a:lnTo>
                    <a:lnTo>
                      <a:pt x="286" y="64"/>
                    </a:lnTo>
                    <a:lnTo>
                      <a:pt x="290" y="69"/>
                    </a:lnTo>
                    <a:lnTo>
                      <a:pt x="296" y="72"/>
                    </a:lnTo>
                    <a:lnTo>
                      <a:pt x="296" y="71"/>
                    </a:lnTo>
                    <a:lnTo>
                      <a:pt x="297" y="71"/>
                    </a:lnTo>
                    <a:lnTo>
                      <a:pt x="296" y="70"/>
                    </a:lnTo>
                    <a:lnTo>
                      <a:pt x="297" y="69"/>
                    </a:lnTo>
                    <a:lnTo>
                      <a:pt x="297" y="68"/>
                    </a:lnTo>
                    <a:lnTo>
                      <a:pt x="295" y="68"/>
                    </a:lnTo>
                    <a:lnTo>
                      <a:pt x="294" y="67"/>
                    </a:lnTo>
                    <a:lnTo>
                      <a:pt x="296" y="65"/>
                    </a:lnTo>
                    <a:lnTo>
                      <a:pt x="297" y="67"/>
                    </a:lnTo>
                    <a:lnTo>
                      <a:pt x="298" y="65"/>
                    </a:lnTo>
                    <a:lnTo>
                      <a:pt x="297" y="65"/>
                    </a:lnTo>
                    <a:lnTo>
                      <a:pt x="299" y="64"/>
                    </a:lnTo>
                    <a:lnTo>
                      <a:pt x="299" y="58"/>
                    </a:lnTo>
                    <a:lnTo>
                      <a:pt x="303" y="61"/>
                    </a:lnTo>
                    <a:lnTo>
                      <a:pt x="306" y="61"/>
                    </a:lnTo>
                    <a:lnTo>
                      <a:pt x="306" y="58"/>
                    </a:lnTo>
                    <a:lnTo>
                      <a:pt x="309" y="61"/>
                    </a:lnTo>
                    <a:lnTo>
                      <a:pt x="312" y="61"/>
                    </a:lnTo>
                    <a:lnTo>
                      <a:pt x="312" y="57"/>
                    </a:lnTo>
                    <a:lnTo>
                      <a:pt x="313" y="56"/>
                    </a:lnTo>
                    <a:lnTo>
                      <a:pt x="313" y="54"/>
                    </a:lnTo>
                    <a:lnTo>
                      <a:pt x="313" y="52"/>
                    </a:lnTo>
                    <a:lnTo>
                      <a:pt x="312" y="52"/>
                    </a:lnTo>
                    <a:lnTo>
                      <a:pt x="313" y="52"/>
                    </a:lnTo>
                    <a:lnTo>
                      <a:pt x="313" y="48"/>
                    </a:lnTo>
                    <a:lnTo>
                      <a:pt x="310" y="39"/>
                    </a:lnTo>
                    <a:lnTo>
                      <a:pt x="315" y="38"/>
                    </a:lnTo>
                    <a:lnTo>
                      <a:pt x="315" y="34"/>
                    </a:lnTo>
                    <a:lnTo>
                      <a:pt x="319" y="36"/>
                    </a:lnTo>
                    <a:lnTo>
                      <a:pt x="320" y="36"/>
                    </a:lnTo>
                    <a:lnTo>
                      <a:pt x="319" y="39"/>
                    </a:lnTo>
                    <a:lnTo>
                      <a:pt x="321" y="39"/>
                    </a:lnTo>
                    <a:lnTo>
                      <a:pt x="321" y="40"/>
                    </a:lnTo>
                    <a:lnTo>
                      <a:pt x="322" y="42"/>
                    </a:lnTo>
                    <a:lnTo>
                      <a:pt x="323" y="39"/>
                    </a:lnTo>
                    <a:lnTo>
                      <a:pt x="325" y="35"/>
                    </a:lnTo>
                    <a:lnTo>
                      <a:pt x="330" y="35"/>
                    </a:lnTo>
                    <a:lnTo>
                      <a:pt x="329" y="35"/>
                    </a:lnTo>
                    <a:lnTo>
                      <a:pt x="330" y="37"/>
                    </a:lnTo>
                    <a:lnTo>
                      <a:pt x="330" y="41"/>
                    </a:lnTo>
                    <a:lnTo>
                      <a:pt x="331" y="41"/>
                    </a:lnTo>
                    <a:lnTo>
                      <a:pt x="334" y="43"/>
                    </a:lnTo>
                    <a:lnTo>
                      <a:pt x="336" y="43"/>
                    </a:lnTo>
                    <a:lnTo>
                      <a:pt x="337" y="41"/>
                    </a:lnTo>
                    <a:lnTo>
                      <a:pt x="335" y="39"/>
                    </a:lnTo>
                    <a:lnTo>
                      <a:pt x="335" y="38"/>
                    </a:lnTo>
                    <a:lnTo>
                      <a:pt x="339" y="39"/>
                    </a:lnTo>
                    <a:lnTo>
                      <a:pt x="340" y="38"/>
                    </a:lnTo>
                    <a:lnTo>
                      <a:pt x="341" y="36"/>
                    </a:lnTo>
                    <a:lnTo>
                      <a:pt x="343" y="37"/>
                    </a:lnTo>
                    <a:lnTo>
                      <a:pt x="344" y="37"/>
                    </a:lnTo>
                    <a:lnTo>
                      <a:pt x="343" y="38"/>
                    </a:lnTo>
                    <a:lnTo>
                      <a:pt x="343" y="40"/>
                    </a:lnTo>
                    <a:lnTo>
                      <a:pt x="343" y="41"/>
                    </a:lnTo>
                    <a:lnTo>
                      <a:pt x="345" y="43"/>
                    </a:lnTo>
                    <a:lnTo>
                      <a:pt x="344" y="43"/>
                    </a:lnTo>
                    <a:lnTo>
                      <a:pt x="343" y="44"/>
                    </a:lnTo>
                    <a:lnTo>
                      <a:pt x="342" y="46"/>
                    </a:lnTo>
                    <a:lnTo>
                      <a:pt x="343" y="47"/>
                    </a:lnTo>
                    <a:lnTo>
                      <a:pt x="343" y="51"/>
                    </a:lnTo>
                    <a:lnTo>
                      <a:pt x="345" y="54"/>
                    </a:lnTo>
                    <a:lnTo>
                      <a:pt x="346" y="52"/>
                    </a:lnTo>
                    <a:lnTo>
                      <a:pt x="346" y="53"/>
                    </a:lnTo>
                    <a:lnTo>
                      <a:pt x="347" y="52"/>
                    </a:lnTo>
                    <a:lnTo>
                      <a:pt x="347" y="53"/>
                    </a:lnTo>
                    <a:lnTo>
                      <a:pt x="348" y="53"/>
                    </a:lnTo>
                    <a:lnTo>
                      <a:pt x="348" y="54"/>
                    </a:lnTo>
                    <a:lnTo>
                      <a:pt x="349" y="55"/>
                    </a:lnTo>
                    <a:lnTo>
                      <a:pt x="350" y="56"/>
                    </a:lnTo>
                    <a:lnTo>
                      <a:pt x="351" y="55"/>
                    </a:lnTo>
                    <a:lnTo>
                      <a:pt x="351" y="53"/>
                    </a:lnTo>
                    <a:lnTo>
                      <a:pt x="353" y="51"/>
                    </a:lnTo>
                    <a:lnTo>
                      <a:pt x="353" y="52"/>
                    </a:lnTo>
                    <a:lnTo>
                      <a:pt x="355" y="53"/>
                    </a:lnTo>
                    <a:lnTo>
                      <a:pt x="356" y="53"/>
                    </a:lnTo>
                    <a:lnTo>
                      <a:pt x="356" y="51"/>
                    </a:lnTo>
                    <a:lnTo>
                      <a:pt x="358" y="51"/>
                    </a:lnTo>
                    <a:lnTo>
                      <a:pt x="359" y="53"/>
                    </a:lnTo>
                    <a:lnTo>
                      <a:pt x="361" y="54"/>
                    </a:lnTo>
                    <a:lnTo>
                      <a:pt x="361" y="52"/>
                    </a:lnTo>
                    <a:lnTo>
                      <a:pt x="361" y="51"/>
                    </a:lnTo>
                    <a:lnTo>
                      <a:pt x="365" y="52"/>
                    </a:lnTo>
                    <a:lnTo>
                      <a:pt x="368" y="52"/>
                    </a:lnTo>
                    <a:lnTo>
                      <a:pt x="372" y="55"/>
                    </a:lnTo>
                    <a:lnTo>
                      <a:pt x="372" y="54"/>
                    </a:lnTo>
                    <a:lnTo>
                      <a:pt x="372" y="50"/>
                    </a:lnTo>
                    <a:lnTo>
                      <a:pt x="374" y="49"/>
                    </a:lnTo>
                    <a:lnTo>
                      <a:pt x="374" y="48"/>
                    </a:lnTo>
                    <a:lnTo>
                      <a:pt x="378" y="49"/>
                    </a:lnTo>
                    <a:lnTo>
                      <a:pt x="379" y="48"/>
                    </a:lnTo>
                    <a:lnTo>
                      <a:pt x="381" y="48"/>
                    </a:lnTo>
                    <a:lnTo>
                      <a:pt x="383" y="40"/>
                    </a:lnTo>
                    <a:lnTo>
                      <a:pt x="383" y="39"/>
                    </a:lnTo>
                    <a:lnTo>
                      <a:pt x="390" y="41"/>
                    </a:lnTo>
                    <a:lnTo>
                      <a:pt x="391" y="40"/>
                    </a:lnTo>
                    <a:lnTo>
                      <a:pt x="392" y="36"/>
                    </a:lnTo>
                    <a:lnTo>
                      <a:pt x="391" y="27"/>
                    </a:lnTo>
                    <a:lnTo>
                      <a:pt x="392" y="22"/>
                    </a:lnTo>
                    <a:lnTo>
                      <a:pt x="405" y="27"/>
                    </a:lnTo>
                    <a:lnTo>
                      <a:pt x="411" y="34"/>
                    </a:lnTo>
                    <a:lnTo>
                      <a:pt x="418" y="28"/>
                    </a:lnTo>
                    <a:lnTo>
                      <a:pt x="419" y="28"/>
                    </a:lnTo>
                    <a:lnTo>
                      <a:pt x="420" y="27"/>
                    </a:lnTo>
                    <a:lnTo>
                      <a:pt x="421" y="26"/>
                    </a:lnTo>
                    <a:lnTo>
                      <a:pt x="420" y="24"/>
                    </a:lnTo>
                    <a:lnTo>
                      <a:pt x="418" y="22"/>
                    </a:lnTo>
                    <a:lnTo>
                      <a:pt x="419" y="20"/>
                    </a:lnTo>
                    <a:lnTo>
                      <a:pt x="418" y="19"/>
                    </a:lnTo>
                    <a:lnTo>
                      <a:pt x="423" y="18"/>
                    </a:lnTo>
                    <a:lnTo>
                      <a:pt x="426" y="17"/>
                    </a:lnTo>
                    <a:lnTo>
                      <a:pt x="428" y="17"/>
                    </a:lnTo>
                    <a:lnTo>
                      <a:pt x="429" y="17"/>
                    </a:lnTo>
                    <a:lnTo>
                      <a:pt x="430" y="15"/>
                    </a:lnTo>
                    <a:lnTo>
                      <a:pt x="430" y="17"/>
                    </a:lnTo>
                    <a:lnTo>
                      <a:pt x="433" y="15"/>
                    </a:lnTo>
                    <a:lnTo>
                      <a:pt x="435" y="14"/>
                    </a:lnTo>
                    <a:lnTo>
                      <a:pt x="434" y="11"/>
                    </a:lnTo>
                    <a:lnTo>
                      <a:pt x="435" y="11"/>
                    </a:lnTo>
                    <a:lnTo>
                      <a:pt x="434" y="7"/>
                    </a:lnTo>
                    <a:lnTo>
                      <a:pt x="432" y="7"/>
                    </a:lnTo>
                    <a:lnTo>
                      <a:pt x="435" y="6"/>
                    </a:lnTo>
                    <a:lnTo>
                      <a:pt x="435" y="5"/>
                    </a:lnTo>
                    <a:lnTo>
                      <a:pt x="437" y="6"/>
                    </a:lnTo>
                    <a:lnTo>
                      <a:pt x="437" y="5"/>
                    </a:lnTo>
                    <a:lnTo>
                      <a:pt x="438" y="5"/>
                    </a:lnTo>
                    <a:lnTo>
                      <a:pt x="439" y="6"/>
                    </a:lnTo>
                    <a:lnTo>
                      <a:pt x="437" y="0"/>
                    </a:lnTo>
                    <a:lnTo>
                      <a:pt x="439" y="0"/>
                    </a:lnTo>
                    <a:lnTo>
                      <a:pt x="444" y="1"/>
                    </a:lnTo>
                    <a:lnTo>
                      <a:pt x="443" y="1"/>
                    </a:lnTo>
                    <a:lnTo>
                      <a:pt x="444" y="4"/>
                    </a:lnTo>
                    <a:lnTo>
                      <a:pt x="442" y="5"/>
                    </a:lnTo>
                    <a:lnTo>
                      <a:pt x="443" y="6"/>
                    </a:lnTo>
                    <a:lnTo>
                      <a:pt x="444" y="6"/>
                    </a:lnTo>
                    <a:lnTo>
                      <a:pt x="446" y="7"/>
                    </a:lnTo>
                    <a:lnTo>
                      <a:pt x="446" y="6"/>
                    </a:lnTo>
                    <a:lnTo>
                      <a:pt x="447" y="7"/>
                    </a:lnTo>
                    <a:lnTo>
                      <a:pt x="449" y="11"/>
                    </a:lnTo>
                    <a:lnTo>
                      <a:pt x="447" y="11"/>
                    </a:lnTo>
                    <a:lnTo>
                      <a:pt x="448" y="11"/>
                    </a:lnTo>
                    <a:lnTo>
                      <a:pt x="449" y="13"/>
                    </a:lnTo>
                    <a:lnTo>
                      <a:pt x="451" y="13"/>
                    </a:lnTo>
                    <a:lnTo>
                      <a:pt x="452" y="14"/>
                    </a:lnTo>
                    <a:lnTo>
                      <a:pt x="452" y="11"/>
                    </a:lnTo>
                    <a:lnTo>
                      <a:pt x="454" y="11"/>
                    </a:lnTo>
                    <a:lnTo>
                      <a:pt x="454" y="9"/>
                    </a:lnTo>
                    <a:lnTo>
                      <a:pt x="455" y="8"/>
                    </a:lnTo>
                    <a:lnTo>
                      <a:pt x="456" y="9"/>
                    </a:lnTo>
                    <a:lnTo>
                      <a:pt x="455" y="9"/>
                    </a:lnTo>
                    <a:lnTo>
                      <a:pt x="455" y="10"/>
                    </a:lnTo>
                    <a:lnTo>
                      <a:pt x="457" y="10"/>
                    </a:lnTo>
                    <a:lnTo>
                      <a:pt x="457" y="11"/>
                    </a:lnTo>
                    <a:lnTo>
                      <a:pt x="459" y="11"/>
                    </a:lnTo>
                    <a:lnTo>
                      <a:pt x="460" y="11"/>
                    </a:lnTo>
                    <a:lnTo>
                      <a:pt x="463" y="10"/>
                    </a:lnTo>
                    <a:lnTo>
                      <a:pt x="463" y="11"/>
                    </a:lnTo>
                    <a:lnTo>
                      <a:pt x="462" y="13"/>
                    </a:lnTo>
                    <a:lnTo>
                      <a:pt x="463" y="13"/>
                    </a:lnTo>
                    <a:lnTo>
                      <a:pt x="465" y="19"/>
                    </a:lnTo>
                    <a:lnTo>
                      <a:pt x="466" y="19"/>
                    </a:lnTo>
                    <a:lnTo>
                      <a:pt x="468" y="20"/>
                    </a:lnTo>
                    <a:lnTo>
                      <a:pt x="468" y="23"/>
                    </a:lnTo>
                    <a:lnTo>
                      <a:pt x="468" y="22"/>
                    </a:lnTo>
                    <a:lnTo>
                      <a:pt x="470" y="22"/>
                    </a:lnTo>
                    <a:lnTo>
                      <a:pt x="470" y="23"/>
                    </a:lnTo>
                    <a:lnTo>
                      <a:pt x="469" y="25"/>
                    </a:lnTo>
                    <a:lnTo>
                      <a:pt x="470" y="27"/>
                    </a:lnTo>
                    <a:lnTo>
                      <a:pt x="470" y="29"/>
                    </a:lnTo>
                    <a:lnTo>
                      <a:pt x="471" y="28"/>
                    </a:lnTo>
                    <a:lnTo>
                      <a:pt x="472" y="28"/>
                    </a:lnTo>
                    <a:lnTo>
                      <a:pt x="474" y="28"/>
                    </a:lnTo>
                    <a:lnTo>
                      <a:pt x="476" y="28"/>
                    </a:lnTo>
                    <a:lnTo>
                      <a:pt x="477" y="31"/>
                    </a:lnTo>
                    <a:lnTo>
                      <a:pt x="479" y="32"/>
                    </a:lnTo>
                    <a:lnTo>
                      <a:pt x="478" y="34"/>
                    </a:lnTo>
                    <a:lnTo>
                      <a:pt x="480" y="34"/>
                    </a:lnTo>
                    <a:lnTo>
                      <a:pt x="483" y="37"/>
                    </a:lnTo>
                    <a:lnTo>
                      <a:pt x="482" y="38"/>
                    </a:lnTo>
                    <a:lnTo>
                      <a:pt x="482" y="39"/>
                    </a:lnTo>
                    <a:lnTo>
                      <a:pt x="483" y="38"/>
                    </a:lnTo>
                    <a:lnTo>
                      <a:pt x="483" y="40"/>
                    </a:lnTo>
                    <a:lnTo>
                      <a:pt x="483" y="46"/>
                    </a:lnTo>
                    <a:lnTo>
                      <a:pt x="484" y="47"/>
                    </a:lnTo>
                    <a:lnTo>
                      <a:pt x="484" y="48"/>
                    </a:lnTo>
                    <a:lnTo>
                      <a:pt x="487" y="47"/>
                    </a:lnTo>
                    <a:lnTo>
                      <a:pt x="487" y="48"/>
                    </a:lnTo>
                    <a:lnTo>
                      <a:pt x="488" y="48"/>
                    </a:lnTo>
                    <a:lnTo>
                      <a:pt x="488" y="49"/>
                    </a:lnTo>
                    <a:lnTo>
                      <a:pt x="490" y="48"/>
                    </a:lnTo>
                    <a:lnTo>
                      <a:pt x="492" y="49"/>
                    </a:lnTo>
                    <a:lnTo>
                      <a:pt x="494" y="51"/>
                    </a:lnTo>
                    <a:lnTo>
                      <a:pt x="493" y="52"/>
                    </a:lnTo>
                    <a:lnTo>
                      <a:pt x="494" y="52"/>
                    </a:lnTo>
                    <a:lnTo>
                      <a:pt x="494" y="53"/>
                    </a:lnTo>
                    <a:lnTo>
                      <a:pt x="495" y="53"/>
                    </a:lnTo>
                    <a:lnTo>
                      <a:pt x="495" y="54"/>
                    </a:lnTo>
                    <a:lnTo>
                      <a:pt x="494" y="54"/>
                    </a:lnTo>
                    <a:lnTo>
                      <a:pt x="494" y="56"/>
                    </a:lnTo>
                    <a:lnTo>
                      <a:pt x="493" y="56"/>
                    </a:lnTo>
                    <a:lnTo>
                      <a:pt x="493" y="58"/>
                    </a:lnTo>
                    <a:lnTo>
                      <a:pt x="491" y="57"/>
                    </a:lnTo>
                    <a:lnTo>
                      <a:pt x="491" y="58"/>
                    </a:lnTo>
                    <a:lnTo>
                      <a:pt x="487" y="58"/>
                    </a:lnTo>
                    <a:lnTo>
                      <a:pt x="486" y="60"/>
                    </a:lnTo>
                    <a:lnTo>
                      <a:pt x="486" y="63"/>
                    </a:lnTo>
                    <a:lnTo>
                      <a:pt x="486" y="64"/>
                    </a:lnTo>
                    <a:lnTo>
                      <a:pt x="487" y="65"/>
                    </a:lnTo>
                    <a:lnTo>
                      <a:pt x="490" y="69"/>
                    </a:lnTo>
                    <a:lnTo>
                      <a:pt x="490" y="71"/>
                    </a:lnTo>
                    <a:lnTo>
                      <a:pt x="489" y="72"/>
                    </a:lnTo>
                    <a:lnTo>
                      <a:pt x="489" y="73"/>
                    </a:lnTo>
                    <a:lnTo>
                      <a:pt x="490" y="73"/>
                    </a:lnTo>
                    <a:lnTo>
                      <a:pt x="492" y="75"/>
                    </a:lnTo>
                    <a:lnTo>
                      <a:pt x="491" y="76"/>
                    </a:lnTo>
                    <a:lnTo>
                      <a:pt x="491" y="77"/>
                    </a:lnTo>
                    <a:lnTo>
                      <a:pt x="490" y="77"/>
                    </a:lnTo>
                    <a:lnTo>
                      <a:pt x="489" y="77"/>
                    </a:lnTo>
                    <a:lnTo>
                      <a:pt x="490" y="77"/>
                    </a:lnTo>
                    <a:lnTo>
                      <a:pt x="490" y="78"/>
                    </a:lnTo>
                    <a:lnTo>
                      <a:pt x="489" y="80"/>
                    </a:lnTo>
                    <a:lnTo>
                      <a:pt x="490" y="80"/>
                    </a:lnTo>
                    <a:lnTo>
                      <a:pt x="489" y="82"/>
                    </a:lnTo>
                    <a:lnTo>
                      <a:pt x="489" y="84"/>
                    </a:lnTo>
                    <a:lnTo>
                      <a:pt x="487" y="86"/>
                    </a:lnTo>
                    <a:lnTo>
                      <a:pt x="487" y="88"/>
                    </a:lnTo>
                    <a:lnTo>
                      <a:pt x="489" y="88"/>
                    </a:lnTo>
                    <a:lnTo>
                      <a:pt x="489" y="89"/>
                    </a:lnTo>
                    <a:lnTo>
                      <a:pt x="491" y="88"/>
                    </a:lnTo>
                    <a:lnTo>
                      <a:pt x="491" y="89"/>
                    </a:lnTo>
                    <a:lnTo>
                      <a:pt x="493" y="93"/>
                    </a:lnTo>
                    <a:lnTo>
                      <a:pt x="493" y="94"/>
                    </a:lnTo>
                    <a:lnTo>
                      <a:pt x="491" y="94"/>
                    </a:lnTo>
                    <a:lnTo>
                      <a:pt x="491" y="96"/>
                    </a:lnTo>
                    <a:lnTo>
                      <a:pt x="492" y="97"/>
                    </a:lnTo>
                    <a:lnTo>
                      <a:pt x="492" y="98"/>
                    </a:lnTo>
                    <a:lnTo>
                      <a:pt x="495" y="99"/>
                    </a:lnTo>
                    <a:lnTo>
                      <a:pt x="491" y="108"/>
                    </a:lnTo>
                    <a:lnTo>
                      <a:pt x="491" y="107"/>
                    </a:lnTo>
                    <a:lnTo>
                      <a:pt x="490" y="109"/>
                    </a:lnTo>
                    <a:lnTo>
                      <a:pt x="489" y="107"/>
                    </a:lnTo>
                    <a:lnTo>
                      <a:pt x="489" y="109"/>
                    </a:lnTo>
                    <a:lnTo>
                      <a:pt x="486" y="109"/>
                    </a:lnTo>
                    <a:lnTo>
                      <a:pt x="486" y="111"/>
                    </a:lnTo>
                    <a:lnTo>
                      <a:pt x="487" y="111"/>
                    </a:lnTo>
                    <a:lnTo>
                      <a:pt x="487" y="112"/>
                    </a:lnTo>
                    <a:lnTo>
                      <a:pt x="486" y="113"/>
                    </a:lnTo>
                    <a:lnTo>
                      <a:pt x="487" y="115"/>
                    </a:lnTo>
                    <a:lnTo>
                      <a:pt x="487" y="116"/>
                    </a:lnTo>
                    <a:lnTo>
                      <a:pt x="486" y="116"/>
                    </a:lnTo>
                    <a:lnTo>
                      <a:pt x="485" y="117"/>
                    </a:lnTo>
                    <a:lnTo>
                      <a:pt x="484" y="117"/>
                    </a:lnTo>
                    <a:lnTo>
                      <a:pt x="485" y="116"/>
                    </a:lnTo>
                    <a:lnTo>
                      <a:pt x="484" y="116"/>
                    </a:lnTo>
                    <a:lnTo>
                      <a:pt x="483" y="116"/>
                    </a:lnTo>
                    <a:lnTo>
                      <a:pt x="482" y="116"/>
                    </a:lnTo>
                    <a:lnTo>
                      <a:pt x="481" y="115"/>
                    </a:lnTo>
                    <a:lnTo>
                      <a:pt x="479" y="117"/>
                    </a:lnTo>
                    <a:lnTo>
                      <a:pt x="476" y="120"/>
                    </a:lnTo>
                    <a:lnTo>
                      <a:pt x="478" y="123"/>
                    </a:lnTo>
                    <a:lnTo>
                      <a:pt x="479" y="126"/>
                    </a:lnTo>
                    <a:lnTo>
                      <a:pt x="481" y="126"/>
                    </a:lnTo>
                    <a:lnTo>
                      <a:pt x="483" y="128"/>
                    </a:lnTo>
                    <a:lnTo>
                      <a:pt x="482" y="128"/>
                    </a:lnTo>
                    <a:lnTo>
                      <a:pt x="480" y="129"/>
                    </a:lnTo>
                    <a:lnTo>
                      <a:pt x="481" y="133"/>
                    </a:lnTo>
                    <a:lnTo>
                      <a:pt x="481" y="135"/>
                    </a:lnTo>
                    <a:lnTo>
                      <a:pt x="483" y="137"/>
                    </a:lnTo>
                    <a:lnTo>
                      <a:pt x="485" y="139"/>
                    </a:lnTo>
                    <a:lnTo>
                      <a:pt x="487" y="140"/>
                    </a:lnTo>
                    <a:lnTo>
                      <a:pt x="489" y="139"/>
                    </a:lnTo>
                    <a:lnTo>
                      <a:pt x="491" y="136"/>
                    </a:lnTo>
                    <a:lnTo>
                      <a:pt x="492" y="139"/>
                    </a:lnTo>
                    <a:lnTo>
                      <a:pt x="496" y="141"/>
                    </a:lnTo>
                    <a:lnTo>
                      <a:pt x="497" y="141"/>
                    </a:lnTo>
                    <a:lnTo>
                      <a:pt x="496" y="142"/>
                    </a:lnTo>
                    <a:lnTo>
                      <a:pt x="495" y="142"/>
                    </a:lnTo>
                    <a:lnTo>
                      <a:pt x="495" y="146"/>
                    </a:lnTo>
                    <a:lnTo>
                      <a:pt x="496" y="146"/>
                    </a:lnTo>
                    <a:lnTo>
                      <a:pt x="498" y="145"/>
                    </a:lnTo>
                    <a:lnTo>
                      <a:pt x="498" y="146"/>
                    </a:lnTo>
                    <a:lnTo>
                      <a:pt x="499" y="148"/>
                    </a:lnTo>
                    <a:lnTo>
                      <a:pt x="500" y="148"/>
                    </a:lnTo>
                    <a:lnTo>
                      <a:pt x="501" y="150"/>
                    </a:lnTo>
                    <a:lnTo>
                      <a:pt x="502" y="150"/>
                    </a:lnTo>
                    <a:lnTo>
                      <a:pt x="503" y="152"/>
                    </a:lnTo>
                    <a:lnTo>
                      <a:pt x="503" y="154"/>
                    </a:lnTo>
                    <a:lnTo>
                      <a:pt x="502" y="153"/>
                    </a:lnTo>
                    <a:lnTo>
                      <a:pt x="499" y="155"/>
                    </a:lnTo>
                    <a:lnTo>
                      <a:pt x="499" y="156"/>
                    </a:lnTo>
                    <a:lnTo>
                      <a:pt x="501" y="157"/>
                    </a:lnTo>
                    <a:lnTo>
                      <a:pt x="501" y="159"/>
                    </a:lnTo>
                    <a:lnTo>
                      <a:pt x="499" y="161"/>
                    </a:lnTo>
                    <a:lnTo>
                      <a:pt x="501" y="162"/>
                    </a:lnTo>
                    <a:lnTo>
                      <a:pt x="504" y="165"/>
                    </a:lnTo>
                    <a:lnTo>
                      <a:pt x="504" y="166"/>
                    </a:lnTo>
                    <a:lnTo>
                      <a:pt x="505" y="167"/>
                    </a:lnTo>
                    <a:lnTo>
                      <a:pt x="506" y="165"/>
                    </a:lnTo>
                    <a:lnTo>
                      <a:pt x="506" y="167"/>
                    </a:lnTo>
                    <a:lnTo>
                      <a:pt x="507" y="167"/>
                    </a:lnTo>
                    <a:lnTo>
                      <a:pt x="508" y="167"/>
                    </a:lnTo>
                    <a:lnTo>
                      <a:pt x="508" y="165"/>
                    </a:lnTo>
                    <a:lnTo>
                      <a:pt x="512" y="166"/>
                    </a:lnTo>
                    <a:lnTo>
                      <a:pt x="514" y="164"/>
                    </a:lnTo>
                    <a:lnTo>
                      <a:pt x="515" y="164"/>
                    </a:lnTo>
                    <a:lnTo>
                      <a:pt x="515" y="165"/>
                    </a:lnTo>
                    <a:lnTo>
                      <a:pt x="517" y="167"/>
                    </a:lnTo>
                    <a:lnTo>
                      <a:pt x="518" y="167"/>
                    </a:lnTo>
                    <a:lnTo>
                      <a:pt x="519" y="168"/>
                    </a:lnTo>
                    <a:lnTo>
                      <a:pt x="520" y="167"/>
                    </a:lnTo>
                    <a:lnTo>
                      <a:pt x="522" y="169"/>
                    </a:lnTo>
                    <a:lnTo>
                      <a:pt x="525" y="171"/>
                    </a:lnTo>
                    <a:lnTo>
                      <a:pt x="524" y="171"/>
                    </a:lnTo>
                    <a:lnTo>
                      <a:pt x="525" y="173"/>
                    </a:lnTo>
                    <a:lnTo>
                      <a:pt x="526" y="172"/>
                    </a:lnTo>
                    <a:lnTo>
                      <a:pt x="528" y="171"/>
                    </a:lnTo>
                    <a:lnTo>
                      <a:pt x="529" y="168"/>
                    </a:lnTo>
                    <a:lnTo>
                      <a:pt x="532" y="169"/>
                    </a:lnTo>
                    <a:lnTo>
                      <a:pt x="533" y="167"/>
                    </a:lnTo>
                    <a:lnTo>
                      <a:pt x="535" y="167"/>
                    </a:lnTo>
                    <a:lnTo>
                      <a:pt x="536" y="167"/>
                    </a:lnTo>
                    <a:lnTo>
                      <a:pt x="538" y="167"/>
                    </a:lnTo>
                    <a:lnTo>
                      <a:pt x="538" y="165"/>
                    </a:lnTo>
                    <a:lnTo>
                      <a:pt x="538" y="167"/>
                    </a:lnTo>
                    <a:lnTo>
                      <a:pt x="539" y="167"/>
                    </a:lnTo>
                    <a:lnTo>
                      <a:pt x="539" y="170"/>
                    </a:lnTo>
                    <a:lnTo>
                      <a:pt x="540" y="170"/>
                    </a:lnTo>
                    <a:lnTo>
                      <a:pt x="540" y="171"/>
                    </a:lnTo>
                    <a:lnTo>
                      <a:pt x="541" y="171"/>
                    </a:lnTo>
                    <a:lnTo>
                      <a:pt x="543" y="172"/>
                    </a:lnTo>
                    <a:lnTo>
                      <a:pt x="543" y="173"/>
                    </a:lnTo>
                    <a:lnTo>
                      <a:pt x="544" y="173"/>
                    </a:lnTo>
                    <a:lnTo>
                      <a:pt x="545" y="175"/>
                    </a:lnTo>
                    <a:lnTo>
                      <a:pt x="543" y="176"/>
                    </a:lnTo>
                    <a:lnTo>
                      <a:pt x="544" y="178"/>
                    </a:lnTo>
                    <a:lnTo>
                      <a:pt x="544" y="179"/>
                    </a:lnTo>
                    <a:lnTo>
                      <a:pt x="543" y="179"/>
                    </a:lnTo>
                    <a:lnTo>
                      <a:pt x="544" y="182"/>
                    </a:lnTo>
                    <a:lnTo>
                      <a:pt x="543" y="185"/>
                    </a:lnTo>
                    <a:lnTo>
                      <a:pt x="544" y="185"/>
                    </a:lnTo>
                    <a:lnTo>
                      <a:pt x="545" y="188"/>
                    </a:lnTo>
                    <a:lnTo>
                      <a:pt x="543" y="189"/>
                    </a:lnTo>
                    <a:lnTo>
                      <a:pt x="541" y="189"/>
                    </a:lnTo>
                    <a:lnTo>
                      <a:pt x="540" y="190"/>
                    </a:lnTo>
                    <a:lnTo>
                      <a:pt x="541" y="191"/>
                    </a:lnTo>
                    <a:lnTo>
                      <a:pt x="541" y="197"/>
                    </a:lnTo>
                    <a:lnTo>
                      <a:pt x="540" y="200"/>
                    </a:lnTo>
                    <a:lnTo>
                      <a:pt x="542" y="201"/>
                    </a:lnTo>
                    <a:lnTo>
                      <a:pt x="542" y="203"/>
                    </a:lnTo>
                    <a:lnTo>
                      <a:pt x="543" y="203"/>
                    </a:lnTo>
                    <a:lnTo>
                      <a:pt x="545" y="205"/>
                    </a:lnTo>
                    <a:lnTo>
                      <a:pt x="544" y="209"/>
                    </a:lnTo>
                    <a:lnTo>
                      <a:pt x="545" y="207"/>
                    </a:lnTo>
                    <a:lnTo>
                      <a:pt x="545" y="209"/>
                    </a:lnTo>
                    <a:lnTo>
                      <a:pt x="546" y="209"/>
                    </a:lnTo>
                    <a:lnTo>
                      <a:pt x="544" y="211"/>
                    </a:lnTo>
                    <a:lnTo>
                      <a:pt x="547" y="210"/>
                    </a:lnTo>
                    <a:lnTo>
                      <a:pt x="545" y="212"/>
                    </a:lnTo>
                    <a:lnTo>
                      <a:pt x="545" y="215"/>
                    </a:lnTo>
                    <a:lnTo>
                      <a:pt x="544" y="217"/>
                    </a:lnTo>
                    <a:lnTo>
                      <a:pt x="543" y="216"/>
                    </a:lnTo>
                    <a:lnTo>
                      <a:pt x="542" y="218"/>
                    </a:lnTo>
                    <a:lnTo>
                      <a:pt x="543" y="219"/>
                    </a:lnTo>
                    <a:lnTo>
                      <a:pt x="543" y="220"/>
                    </a:lnTo>
                    <a:lnTo>
                      <a:pt x="542" y="222"/>
                    </a:lnTo>
                    <a:lnTo>
                      <a:pt x="541" y="221"/>
                    </a:lnTo>
                    <a:lnTo>
                      <a:pt x="541" y="222"/>
                    </a:lnTo>
                    <a:lnTo>
                      <a:pt x="540" y="223"/>
                    </a:lnTo>
                    <a:lnTo>
                      <a:pt x="539" y="225"/>
                    </a:lnTo>
                    <a:lnTo>
                      <a:pt x="537" y="224"/>
                    </a:lnTo>
                    <a:lnTo>
                      <a:pt x="536" y="227"/>
                    </a:lnTo>
                    <a:lnTo>
                      <a:pt x="536" y="226"/>
                    </a:lnTo>
                    <a:lnTo>
                      <a:pt x="535" y="226"/>
                    </a:lnTo>
                    <a:lnTo>
                      <a:pt x="535" y="228"/>
                    </a:lnTo>
                    <a:lnTo>
                      <a:pt x="534" y="228"/>
                    </a:lnTo>
                    <a:lnTo>
                      <a:pt x="533" y="227"/>
                    </a:lnTo>
                    <a:lnTo>
                      <a:pt x="532" y="229"/>
                    </a:lnTo>
                    <a:lnTo>
                      <a:pt x="534" y="229"/>
                    </a:lnTo>
                    <a:lnTo>
                      <a:pt x="537" y="232"/>
                    </a:lnTo>
                    <a:lnTo>
                      <a:pt x="537" y="233"/>
                    </a:lnTo>
                    <a:lnTo>
                      <a:pt x="533" y="236"/>
                    </a:lnTo>
                    <a:lnTo>
                      <a:pt x="530" y="237"/>
                    </a:lnTo>
                    <a:lnTo>
                      <a:pt x="534" y="239"/>
                    </a:lnTo>
                    <a:lnTo>
                      <a:pt x="538" y="238"/>
                    </a:lnTo>
                    <a:lnTo>
                      <a:pt x="540" y="241"/>
                    </a:lnTo>
                    <a:lnTo>
                      <a:pt x="541" y="243"/>
                    </a:lnTo>
                    <a:lnTo>
                      <a:pt x="543" y="244"/>
                    </a:lnTo>
                    <a:lnTo>
                      <a:pt x="544" y="243"/>
                    </a:lnTo>
                    <a:lnTo>
                      <a:pt x="544" y="241"/>
                    </a:lnTo>
                    <a:lnTo>
                      <a:pt x="545" y="243"/>
                    </a:lnTo>
                    <a:lnTo>
                      <a:pt x="546" y="243"/>
                    </a:lnTo>
                    <a:lnTo>
                      <a:pt x="546" y="244"/>
                    </a:lnTo>
                    <a:lnTo>
                      <a:pt x="550" y="248"/>
                    </a:lnTo>
                    <a:lnTo>
                      <a:pt x="552" y="249"/>
                    </a:lnTo>
                    <a:lnTo>
                      <a:pt x="553" y="249"/>
                    </a:lnTo>
                    <a:lnTo>
                      <a:pt x="555" y="250"/>
                    </a:lnTo>
                    <a:lnTo>
                      <a:pt x="552" y="254"/>
                    </a:lnTo>
                    <a:lnTo>
                      <a:pt x="552" y="257"/>
                    </a:lnTo>
                    <a:lnTo>
                      <a:pt x="551" y="256"/>
                    </a:lnTo>
                    <a:lnTo>
                      <a:pt x="550" y="256"/>
                    </a:lnTo>
                    <a:lnTo>
                      <a:pt x="551" y="260"/>
                    </a:lnTo>
                    <a:lnTo>
                      <a:pt x="548" y="262"/>
                    </a:lnTo>
                    <a:lnTo>
                      <a:pt x="546" y="260"/>
                    </a:lnTo>
                    <a:lnTo>
                      <a:pt x="546" y="258"/>
                    </a:lnTo>
                    <a:lnTo>
                      <a:pt x="545" y="257"/>
                    </a:lnTo>
                    <a:lnTo>
                      <a:pt x="543" y="258"/>
                    </a:lnTo>
                    <a:lnTo>
                      <a:pt x="541" y="262"/>
                    </a:lnTo>
                    <a:lnTo>
                      <a:pt x="543" y="265"/>
                    </a:lnTo>
                    <a:lnTo>
                      <a:pt x="545" y="263"/>
                    </a:lnTo>
                    <a:lnTo>
                      <a:pt x="546" y="267"/>
                    </a:lnTo>
                    <a:lnTo>
                      <a:pt x="548" y="267"/>
                    </a:lnTo>
                    <a:lnTo>
                      <a:pt x="546" y="267"/>
                    </a:lnTo>
                    <a:lnTo>
                      <a:pt x="544" y="266"/>
                    </a:lnTo>
                    <a:lnTo>
                      <a:pt x="543" y="267"/>
                    </a:lnTo>
                    <a:lnTo>
                      <a:pt x="542" y="267"/>
                    </a:lnTo>
                    <a:lnTo>
                      <a:pt x="541" y="267"/>
                    </a:lnTo>
                    <a:lnTo>
                      <a:pt x="542" y="271"/>
                    </a:lnTo>
                    <a:lnTo>
                      <a:pt x="543" y="273"/>
                    </a:lnTo>
                    <a:lnTo>
                      <a:pt x="542" y="279"/>
                    </a:lnTo>
                    <a:lnTo>
                      <a:pt x="540" y="278"/>
                    </a:lnTo>
                    <a:lnTo>
                      <a:pt x="538" y="279"/>
                    </a:lnTo>
                    <a:lnTo>
                      <a:pt x="537" y="278"/>
                    </a:lnTo>
                    <a:lnTo>
                      <a:pt x="537" y="279"/>
                    </a:lnTo>
                    <a:lnTo>
                      <a:pt x="536" y="279"/>
                    </a:lnTo>
                    <a:lnTo>
                      <a:pt x="535" y="279"/>
                    </a:lnTo>
                    <a:lnTo>
                      <a:pt x="534" y="278"/>
                    </a:lnTo>
                    <a:lnTo>
                      <a:pt x="533" y="279"/>
                    </a:lnTo>
                    <a:lnTo>
                      <a:pt x="532" y="280"/>
                    </a:lnTo>
                    <a:lnTo>
                      <a:pt x="533" y="282"/>
                    </a:lnTo>
                    <a:lnTo>
                      <a:pt x="538" y="283"/>
                    </a:lnTo>
                    <a:lnTo>
                      <a:pt x="537" y="284"/>
                    </a:lnTo>
                    <a:lnTo>
                      <a:pt x="539" y="283"/>
                    </a:lnTo>
                    <a:lnTo>
                      <a:pt x="539" y="285"/>
                    </a:lnTo>
                    <a:lnTo>
                      <a:pt x="538" y="286"/>
                    </a:lnTo>
                    <a:lnTo>
                      <a:pt x="538" y="285"/>
                    </a:lnTo>
                    <a:lnTo>
                      <a:pt x="537" y="286"/>
                    </a:lnTo>
                    <a:lnTo>
                      <a:pt x="535" y="284"/>
                    </a:lnTo>
                    <a:lnTo>
                      <a:pt x="535" y="285"/>
                    </a:lnTo>
                    <a:lnTo>
                      <a:pt x="536" y="286"/>
                    </a:lnTo>
                    <a:lnTo>
                      <a:pt x="534" y="284"/>
                    </a:lnTo>
                    <a:lnTo>
                      <a:pt x="533" y="284"/>
                    </a:lnTo>
                    <a:lnTo>
                      <a:pt x="530" y="286"/>
                    </a:lnTo>
                    <a:lnTo>
                      <a:pt x="528" y="286"/>
                    </a:lnTo>
                    <a:lnTo>
                      <a:pt x="530" y="288"/>
                    </a:lnTo>
                    <a:lnTo>
                      <a:pt x="530" y="290"/>
                    </a:lnTo>
                    <a:lnTo>
                      <a:pt x="530" y="292"/>
                    </a:lnTo>
                    <a:lnTo>
                      <a:pt x="532" y="293"/>
                    </a:lnTo>
                    <a:lnTo>
                      <a:pt x="532" y="294"/>
                    </a:lnTo>
                    <a:lnTo>
                      <a:pt x="533" y="294"/>
                    </a:lnTo>
                    <a:lnTo>
                      <a:pt x="533" y="296"/>
                    </a:lnTo>
                    <a:lnTo>
                      <a:pt x="535" y="297"/>
                    </a:lnTo>
                    <a:lnTo>
                      <a:pt x="536" y="298"/>
                    </a:lnTo>
                    <a:lnTo>
                      <a:pt x="537" y="299"/>
                    </a:lnTo>
                    <a:lnTo>
                      <a:pt x="539" y="297"/>
                    </a:lnTo>
                    <a:lnTo>
                      <a:pt x="542" y="298"/>
                    </a:lnTo>
                    <a:lnTo>
                      <a:pt x="541" y="299"/>
                    </a:lnTo>
                    <a:lnTo>
                      <a:pt x="541" y="298"/>
                    </a:lnTo>
                    <a:lnTo>
                      <a:pt x="542" y="300"/>
                    </a:lnTo>
                    <a:lnTo>
                      <a:pt x="543" y="300"/>
                    </a:lnTo>
                    <a:lnTo>
                      <a:pt x="545" y="301"/>
                    </a:lnTo>
                    <a:lnTo>
                      <a:pt x="543" y="302"/>
                    </a:lnTo>
                    <a:lnTo>
                      <a:pt x="542" y="302"/>
                    </a:lnTo>
                    <a:lnTo>
                      <a:pt x="543" y="303"/>
                    </a:lnTo>
                    <a:lnTo>
                      <a:pt x="544" y="304"/>
                    </a:lnTo>
                    <a:lnTo>
                      <a:pt x="545" y="304"/>
                    </a:lnTo>
                    <a:lnTo>
                      <a:pt x="546" y="304"/>
                    </a:lnTo>
                    <a:lnTo>
                      <a:pt x="548" y="306"/>
                    </a:lnTo>
                    <a:lnTo>
                      <a:pt x="552" y="304"/>
                    </a:lnTo>
                    <a:lnTo>
                      <a:pt x="552" y="306"/>
                    </a:lnTo>
                    <a:lnTo>
                      <a:pt x="553" y="307"/>
                    </a:lnTo>
                    <a:lnTo>
                      <a:pt x="552" y="307"/>
                    </a:lnTo>
                    <a:lnTo>
                      <a:pt x="552" y="310"/>
                    </a:lnTo>
                    <a:lnTo>
                      <a:pt x="553" y="310"/>
                    </a:lnTo>
                    <a:lnTo>
                      <a:pt x="555" y="306"/>
                    </a:lnTo>
                    <a:lnTo>
                      <a:pt x="555" y="307"/>
                    </a:lnTo>
                    <a:lnTo>
                      <a:pt x="555" y="309"/>
                    </a:lnTo>
                    <a:lnTo>
                      <a:pt x="556" y="309"/>
                    </a:lnTo>
                    <a:lnTo>
                      <a:pt x="555" y="310"/>
                    </a:lnTo>
                    <a:lnTo>
                      <a:pt x="555" y="313"/>
                    </a:lnTo>
                    <a:lnTo>
                      <a:pt x="552" y="314"/>
                    </a:lnTo>
                    <a:lnTo>
                      <a:pt x="552" y="315"/>
                    </a:lnTo>
                    <a:lnTo>
                      <a:pt x="552" y="316"/>
                    </a:lnTo>
                    <a:lnTo>
                      <a:pt x="555" y="319"/>
                    </a:lnTo>
                    <a:lnTo>
                      <a:pt x="562" y="326"/>
                    </a:lnTo>
                    <a:lnTo>
                      <a:pt x="563" y="325"/>
                    </a:lnTo>
                    <a:lnTo>
                      <a:pt x="564" y="325"/>
                    </a:lnTo>
                    <a:lnTo>
                      <a:pt x="564" y="327"/>
                    </a:lnTo>
                    <a:lnTo>
                      <a:pt x="565" y="326"/>
                    </a:lnTo>
                    <a:lnTo>
                      <a:pt x="566" y="327"/>
                    </a:lnTo>
                    <a:lnTo>
                      <a:pt x="566" y="329"/>
                    </a:lnTo>
                    <a:lnTo>
                      <a:pt x="567" y="330"/>
                    </a:lnTo>
                    <a:lnTo>
                      <a:pt x="568" y="328"/>
                    </a:lnTo>
                    <a:lnTo>
                      <a:pt x="569" y="331"/>
                    </a:lnTo>
                    <a:lnTo>
                      <a:pt x="568" y="333"/>
                    </a:lnTo>
                    <a:lnTo>
                      <a:pt x="569" y="333"/>
                    </a:lnTo>
                    <a:lnTo>
                      <a:pt x="568" y="335"/>
                    </a:lnTo>
                    <a:lnTo>
                      <a:pt x="569" y="337"/>
                    </a:lnTo>
                    <a:lnTo>
                      <a:pt x="568" y="336"/>
                    </a:lnTo>
                    <a:lnTo>
                      <a:pt x="566" y="337"/>
                    </a:lnTo>
                    <a:lnTo>
                      <a:pt x="564" y="339"/>
                    </a:lnTo>
                    <a:lnTo>
                      <a:pt x="567" y="344"/>
                    </a:lnTo>
                    <a:lnTo>
                      <a:pt x="568" y="344"/>
                    </a:lnTo>
                    <a:lnTo>
                      <a:pt x="568" y="345"/>
                    </a:lnTo>
                    <a:lnTo>
                      <a:pt x="568" y="347"/>
                    </a:lnTo>
                    <a:lnTo>
                      <a:pt x="568" y="348"/>
                    </a:lnTo>
                    <a:lnTo>
                      <a:pt x="567" y="348"/>
                    </a:lnTo>
                    <a:lnTo>
                      <a:pt x="566" y="347"/>
                    </a:lnTo>
                    <a:lnTo>
                      <a:pt x="566" y="350"/>
                    </a:lnTo>
                    <a:lnTo>
                      <a:pt x="565" y="350"/>
                    </a:lnTo>
                    <a:lnTo>
                      <a:pt x="564" y="352"/>
                    </a:lnTo>
                    <a:lnTo>
                      <a:pt x="564" y="353"/>
                    </a:lnTo>
                    <a:lnTo>
                      <a:pt x="561" y="356"/>
                    </a:lnTo>
                    <a:lnTo>
                      <a:pt x="563" y="357"/>
                    </a:lnTo>
                    <a:lnTo>
                      <a:pt x="561" y="358"/>
                    </a:lnTo>
                    <a:lnTo>
                      <a:pt x="558" y="359"/>
                    </a:lnTo>
                    <a:lnTo>
                      <a:pt x="557" y="359"/>
                    </a:lnTo>
                    <a:lnTo>
                      <a:pt x="557" y="360"/>
                    </a:lnTo>
                    <a:lnTo>
                      <a:pt x="556" y="361"/>
                    </a:lnTo>
                    <a:lnTo>
                      <a:pt x="558" y="363"/>
                    </a:lnTo>
                    <a:lnTo>
                      <a:pt x="558" y="365"/>
                    </a:lnTo>
                    <a:lnTo>
                      <a:pt x="557" y="367"/>
                    </a:lnTo>
                    <a:lnTo>
                      <a:pt x="558" y="368"/>
                    </a:lnTo>
                    <a:lnTo>
                      <a:pt x="557" y="371"/>
                    </a:lnTo>
                    <a:lnTo>
                      <a:pt x="556" y="371"/>
                    </a:lnTo>
                    <a:lnTo>
                      <a:pt x="556" y="369"/>
                    </a:lnTo>
                    <a:lnTo>
                      <a:pt x="555" y="371"/>
                    </a:lnTo>
                    <a:lnTo>
                      <a:pt x="556" y="373"/>
                    </a:lnTo>
                    <a:lnTo>
                      <a:pt x="556" y="375"/>
                    </a:lnTo>
                    <a:lnTo>
                      <a:pt x="555" y="375"/>
                    </a:lnTo>
                    <a:lnTo>
                      <a:pt x="554" y="376"/>
                    </a:lnTo>
                    <a:lnTo>
                      <a:pt x="554" y="378"/>
                    </a:lnTo>
                    <a:lnTo>
                      <a:pt x="552" y="380"/>
                    </a:lnTo>
                    <a:lnTo>
                      <a:pt x="551" y="378"/>
                    </a:lnTo>
                    <a:lnTo>
                      <a:pt x="548" y="379"/>
                    </a:lnTo>
                    <a:lnTo>
                      <a:pt x="548" y="380"/>
                    </a:lnTo>
                    <a:lnTo>
                      <a:pt x="548" y="382"/>
                    </a:lnTo>
                    <a:lnTo>
                      <a:pt x="546" y="383"/>
                    </a:lnTo>
                    <a:lnTo>
                      <a:pt x="544" y="383"/>
                    </a:lnTo>
                    <a:lnTo>
                      <a:pt x="544" y="384"/>
                    </a:lnTo>
                    <a:lnTo>
                      <a:pt x="543" y="382"/>
                    </a:lnTo>
                    <a:lnTo>
                      <a:pt x="541" y="380"/>
                    </a:lnTo>
                    <a:lnTo>
                      <a:pt x="540" y="381"/>
                    </a:lnTo>
                    <a:lnTo>
                      <a:pt x="535" y="385"/>
                    </a:lnTo>
                    <a:lnTo>
                      <a:pt x="535" y="386"/>
                    </a:lnTo>
                    <a:lnTo>
                      <a:pt x="533" y="386"/>
                    </a:lnTo>
                    <a:lnTo>
                      <a:pt x="532" y="388"/>
                    </a:lnTo>
                    <a:lnTo>
                      <a:pt x="530" y="390"/>
                    </a:lnTo>
                    <a:lnTo>
                      <a:pt x="530" y="392"/>
                    </a:lnTo>
                    <a:lnTo>
                      <a:pt x="531" y="394"/>
                    </a:lnTo>
                    <a:lnTo>
                      <a:pt x="533" y="394"/>
                    </a:lnTo>
                    <a:lnTo>
                      <a:pt x="534" y="394"/>
                    </a:lnTo>
                    <a:lnTo>
                      <a:pt x="533" y="395"/>
                    </a:lnTo>
                    <a:lnTo>
                      <a:pt x="535" y="397"/>
                    </a:lnTo>
                    <a:lnTo>
                      <a:pt x="534" y="399"/>
                    </a:lnTo>
                    <a:lnTo>
                      <a:pt x="536" y="400"/>
                    </a:lnTo>
                    <a:lnTo>
                      <a:pt x="535" y="401"/>
                    </a:lnTo>
                    <a:lnTo>
                      <a:pt x="535" y="402"/>
                    </a:lnTo>
                    <a:lnTo>
                      <a:pt x="533" y="403"/>
                    </a:lnTo>
                    <a:lnTo>
                      <a:pt x="532" y="403"/>
                    </a:lnTo>
                    <a:lnTo>
                      <a:pt x="531" y="405"/>
                    </a:lnTo>
                    <a:lnTo>
                      <a:pt x="530" y="404"/>
                    </a:lnTo>
                    <a:lnTo>
                      <a:pt x="529" y="404"/>
                    </a:lnTo>
                    <a:lnTo>
                      <a:pt x="528" y="403"/>
                    </a:lnTo>
                    <a:lnTo>
                      <a:pt x="527" y="404"/>
                    </a:lnTo>
                    <a:lnTo>
                      <a:pt x="524" y="401"/>
                    </a:lnTo>
                    <a:lnTo>
                      <a:pt x="524" y="403"/>
                    </a:lnTo>
                    <a:lnTo>
                      <a:pt x="523" y="403"/>
                    </a:lnTo>
                    <a:lnTo>
                      <a:pt x="522" y="402"/>
                    </a:lnTo>
                    <a:lnTo>
                      <a:pt x="522" y="399"/>
                    </a:lnTo>
                    <a:lnTo>
                      <a:pt x="521" y="400"/>
                    </a:lnTo>
                    <a:lnTo>
                      <a:pt x="520" y="399"/>
                    </a:lnTo>
                    <a:lnTo>
                      <a:pt x="519" y="402"/>
                    </a:lnTo>
                    <a:lnTo>
                      <a:pt x="517" y="404"/>
                    </a:lnTo>
                    <a:lnTo>
                      <a:pt x="516" y="407"/>
                    </a:lnTo>
                    <a:lnTo>
                      <a:pt x="517" y="407"/>
                    </a:lnTo>
                    <a:lnTo>
                      <a:pt x="515" y="408"/>
                    </a:lnTo>
                    <a:lnTo>
                      <a:pt x="515" y="411"/>
                    </a:lnTo>
                    <a:lnTo>
                      <a:pt x="515" y="409"/>
                    </a:lnTo>
                    <a:lnTo>
                      <a:pt x="513" y="408"/>
                    </a:lnTo>
                    <a:lnTo>
                      <a:pt x="510" y="412"/>
                    </a:lnTo>
                    <a:lnTo>
                      <a:pt x="507" y="409"/>
                    </a:lnTo>
                    <a:lnTo>
                      <a:pt x="504" y="411"/>
                    </a:lnTo>
                    <a:lnTo>
                      <a:pt x="501" y="413"/>
                    </a:lnTo>
                    <a:lnTo>
                      <a:pt x="500" y="412"/>
                    </a:lnTo>
                    <a:lnTo>
                      <a:pt x="499" y="413"/>
                    </a:lnTo>
                    <a:lnTo>
                      <a:pt x="498" y="412"/>
                    </a:lnTo>
                    <a:lnTo>
                      <a:pt x="496" y="412"/>
                    </a:lnTo>
                    <a:lnTo>
                      <a:pt x="496" y="411"/>
                    </a:lnTo>
                    <a:lnTo>
                      <a:pt x="496" y="413"/>
                    </a:lnTo>
                    <a:lnTo>
                      <a:pt x="496" y="412"/>
                    </a:lnTo>
                    <a:lnTo>
                      <a:pt x="495" y="412"/>
                    </a:lnTo>
                    <a:lnTo>
                      <a:pt x="492" y="412"/>
                    </a:lnTo>
                    <a:lnTo>
                      <a:pt x="492" y="415"/>
                    </a:lnTo>
                    <a:lnTo>
                      <a:pt x="491" y="414"/>
                    </a:lnTo>
                    <a:lnTo>
                      <a:pt x="490" y="414"/>
                    </a:lnTo>
                    <a:lnTo>
                      <a:pt x="491" y="416"/>
                    </a:lnTo>
                    <a:lnTo>
                      <a:pt x="487" y="417"/>
                    </a:lnTo>
                    <a:lnTo>
                      <a:pt x="487" y="416"/>
                    </a:lnTo>
                    <a:lnTo>
                      <a:pt x="486" y="418"/>
                    </a:lnTo>
                    <a:lnTo>
                      <a:pt x="486" y="416"/>
                    </a:lnTo>
                    <a:lnTo>
                      <a:pt x="484" y="417"/>
                    </a:lnTo>
                    <a:lnTo>
                      <a:pt x="484" y="416"/>
                    </a:lnTo>
                    <a:lnTo>
                      <a:pt x="482" y="416"/>
                    </a:lnTo>
                    <a:lnTo>
                      <a:pt x="484" y="413"/>
                    </a:lnTo>
                    <a:lnTo>
                      <a:pt x="484" y="412"/>
                    </a:lnTo>
                    <a:lnTo>
                      <a:pt x="483" y="412"/>
                    </a:lnTo>
                    <a:lnTo>
                      <a:pt x="481" y="413"/>
                    </a:lnTo>
                    <a:lnTo>
                      <a:pt x="480" y="412"/>
                    </a:lnTo>
                    <a:lnTo>
                      <a:pt x="479" y="414"/>
                    </a:lnTo>
                    <a:lnTo>
                      <a:pt x="477" y="414"/>
                    </a:lnTo>
                    <a:lnTo>
                      <a:pt x="476" y="414"/>
                    </a:lnTo>
                    <a:lnTo>
                      <a:pt x="475" y="416"/>
                    </a:lnTo>
                    <a:lnTo>
                      <a:pt x="474" y="416"/>
                    </a:lnTo>
                    <a:lnTo>
                      <a:pt x="474" y="418"/>
                    </a:lnTo>
                    <a:lnTo>
                      <a:pt x="475" y="418"/>
                    </a:lnTo>
                    <a:lnTo>
                      <a:pt x="475" y="419"/>
                    </a:lnTo>
                    <a:lnTo>
                      <a:pt x="475" y="420"/>
                    </a:lnTo>
                    <a:lnTo>
                      <a:pt x="472" y="421"/>
                    </a:lnTo>
                    <a:lnTo>
                      <a:pt x="472" y="425"/>
                    </a:lnTo>
                    <a:lnTo>
                      <a:pt x="472" y="428"/>
                    </a:lnTo>
                    <a:lnTo>
                      <a:pt x="467" y="429"/>
                    </a:lnTo>
                    <a:lnTo>
                      <a:pt x="467" y="431"/>
                    </a:lnTo>
                    <a:lnTo>
                      <a:pt x="465" y="434"/>
                    </a:lnTo>
                    <a:lnTo>
                      <a:pt x="464" y="434"/>
                    </a:lnTo>
                    <a:lnTo>
                      <a:pt x="464" y="433"/>
                    </a:lnTo>
                    <a:lnTo>
                      <a:pt x="463" y="433"/>
                    </a:lnTo>
                    <a:lnTo>
                      <a:pt x="462" y="433"/>
                    </a:lnTo>
                    <a:lnTo>
                      <a:pt x="463" y="434"/>
                    </a:lnTo>
                    <a:lnTo>
                      <a:pt x="462" y="434"/>
                    </a:lnTo>
                    <a:lnTo>
                      <a:pt x="462" y="435"/>
                    </a:lnTo>
                    <a:lnTo>
                      <a:pt x="461" y="437"/>
                    </a:lnTo>
                    <a:lnTo>
                      <a:pt x="460" y="438"/>
                    </a:lnTo>
                    <a:lnTo>
                      <a:pt x="460" y="440"/>
                    </a:lnTo>
                    <a:lnTo>
                      <a:pt x="460" y="442"/>
                    </a:lnTo>
                    <a:lnTo>
                      <a:pt x="459" y="446"/>
                    </a:lnTo>
                    <a:lnTo>
                      <a:pt x="460" y="448"/>
                    </a:lnTo>
                    <a:lnTo>
                      <a:pt x="459" y="450"/>
                    </a:lnTo>
                    <a:lnTo>
                      <a:pt x="460" y="451"/>
                    </a:lnTo>
                    <a:lnTo>
                      <a:pt x="460" y="454"/>
                    </a:lnTo>
                    <a:lnTo>
                      <a:pt x="462" y="454"/>
                    </a:lnTo>
                    <a:lnTo>
                      <a:pt x="463" y="452"/>
                    </a:lnTo>
                    <a:lnTo>
                      <a:pt x="466" y="457"/>
                    </a:lnTo>
                    <a:lnTo>
                      <a:pt x="469" y="456"/>
                    </a:lnTo>
                    <a:lnTo>
                      <a:pt x="473" y="457"/>
                    </a:lnTo>
                    <a:lnTo>
                      <a:pt x="473" y="459"/>
                    </a:lnTo>
                    <a:lnTo>
                      <a:pt x="474" y="463"/>
                    </a:lnTo>
                    <a:lnTo>
                      <a:pt x="476" y="468"/>
                    </a:lnTo>
                    <a:lnTo>
                      <a:pt x="476" y="469"/>
                    </a:lnTo>
                    <a:lnTo>
                      <a:pt x="475" y="470"/>
                    </a:lnTo>
                    <a:lnTo>
                      <a:pt x="475" y="471"/>
                    </a:lnTo>
                    <a:lnTo>
                      <a:pt x="476" y="473"/>
                    </a:lnTo>
                    <a:lnTo>
                      <a:pt x="474" y="476"/>
                    </a:lnTo>
                    <a:lnTo>
                      <a:pt x="473" y="475"/>
                    </a:lnTo>
                    <a:lnTo>
                      <a:pt x="473" y="477"/>
                    </a:lnTo>
                    <a:lnTo>
                      <a:pt x="472" y="476"/>
                    </a:lnTo>
                    <a:lnTo>
                      <a:pt x="472" y="477"/>
                    </a:lnTo>
                    <a:lnTo>
                      <a:pt x="471" y="477"/>
                    </a:lnTo>
                    <a:lnTo>
                      <a:pt x="470" y="478"/>
                    </a:lnTo>
                    <a:lnTo>
                      <a:pt x="470" y="480"/>
                    </a:lnTo>
                    <a:lnTo>
                      <a:pt x="467" y="481"/>
                    </a:lnTo>
                    <a:lnTo>
                      <a:pt x="467" y="480"/>
                    </a:lnTo>
                    <a:lnTo>
                      <a:pt x="466" y="480"/>
                    </a:lnTo>
                    <a:lnTo>
                      <a:pt x="464" y="481"/>
                    </a:lnTo>
                    <a:lnTo>
                      <a:pt x="463" y="480"/>
                    </a:lnTo>
                    <a:lnTo>
                      <a:pt x="462" y="481"/>
                    </a:lnTo>
                    <a:lnTo>
                      <a:pt x="462" y="478"/>
                    </a:lnTo>
                    <a:lnTo>
                      <a:pt x="459" y="476"/>
                    </a:lnTo>
                    <a:lnTo>
                      <a:pt x="459" y="478"/>
                    </a:lnTo>
                    <a:lnTo>
                      <a:pt x="457" y="477"/>
                    </a:lnTo>
                    <a:lnTo>
                      <a:pt x="457" y="480"/>
                    </a:lnTo>
                    <a:lnTo>
                      <a:pt x="455" y="481"/>
                    </a:lnTo>
                    <a:lnTo>
                      <a:pt x="454" y="480"/>
                    </a:lnTo>
                    <a:lnTo>
                      <a:pt x="455" y="478"/>
                    </a:lnTo>
                    <a:lnTo>
                      <a:pt x="453" y="478"/>
                    </a:lnTo>
                    <a:lnTo>
                      <a:pt x="453" y="480"/>
                    </a:lnTo>
                    <a:lnTo>
                      <a:pt x="454" y="481"/>
                    </a:lnTo>
                    <a:lnTo>
                      <a:pt x="454" y="483"/>
                    </a:lnTo>
                    <a:lnTo>
                      <a:pt x="452" y="483"/>
                    </a:lnTo>
                    <a:lnTo>
                      <a:pt x="452" y="484"/>
                    </a:lnTo>
                    <a:lnTo>
                      <a:pt x="451" y="485"/>
                    </a:lnTo>
                    <a:lnTo>
                      <a:pt x="451" y="486"/>
                    </a:lnTo>
                    <a:lnTo>
                      <a:pt x="451" y="488"/>
                    </a:lnTo>
                    <a:lnTo>
                      <a:pt x="451" y="489"/>
                    </a:lnTo>
                    <a:lnTo>
                      <a:pt x="447" y="488"/>
                    </a:lnTo>
                    <a:lnTo>
                      <a:pt x="447" y="486"/>
                    </a:lnTo>
                    <a:lnTo>
                      <a:pt x="447" y="484"/>
                    </a:lnTo>
                    <a:lnTo>
                      <a:pt x="444" y="482"/>
                    </a:lnTo>
                    <a:lnTo>
                      <a:pt x="444" y="483"/>
                    </a:lnTo>
                    <a:lnTo>
                      <a:pt x="444" y="482"/>
                    </a:lnTo>
                    <a:lnTo>
                      <a:pt x="444" y="483"/>
                    </a:lnTo>
                    <a:lnTo>
                      <a:pt x="442" y="483"/>
                    </a:lnTo>
                    <a:lnTo>
                      <a:pt x="441" y="483"/>
                    </a:lnTo>
                    <a:lnTo>
                      <a:pt x="440" y="482"/>
                    </a:lnTo>
                    <a:lnTo>
                      <a:pt x="439" y="481"/>
                    </a:lnTo>
                    <a:lnTo>
                      <a:pt x="439" y="480"/>
                    </a:lnTo>
                    <a:lnTo>
                      <a:pt x="438" y="480"/>
                    </a:lnTo>
                    <a:lnTo>
                      <a:pt x="438" y="478"/>
                    </a:lnTo>
                    <a:lnTo>
                      <a:pt x="439" y="478"/>
                    </a:lnTo>
                    <a:lnTo>
                      <a:pt x="438" y="478"/>
                    </a:lnTo>
                    <a:lnTo>
                      <a:pt x="437" y="479"/>
                    </a:lnTo>
                    <a:lnTo>
                      <a:pt x="436" y="478"/>
                    </a:lnTo>
                    <a:lnTo>
                      <a:pt x="435" y="478"/>
                    </a:lnTo>
                    <a:lnTo>
                      <a:pt x="435" y="482"/>
                    </a:lnTo>
                    <a:lnTo>
                      <a:pt x="433" y="480"/>
                    </a:lnTo>
                    <a:lnTo>
                      <a:pt x="430" y="481"/>
                    </a:lnTo>
                    <a:lnTo>
                      <a:pt x="429" y="481"/>
                    </a:lnTo>
                    <a:lnTo>
                      <a:pt x="429" y="482"/>
                    </a:lnTo>
                    <a:lnTo>
                      <a:pt x="428" y="482"/>
                    </a:lnTo>
                    <a:lnTo>
                      <a:pt x="427" y="481"/>
                    </a:lnTo>
                    <a:lnTo>
                      <a:pt x="426" y="482"/>
                    </a:lnTo>
                    <a:lnTo>
                      <a:pt x="425" y="482"/>
                    </a:lnTo>
                    <a:lnTo>
                      <a:pt x="424" y="482"/>
                    </a:lnTo>
                    <a:lnTo>
                      <a:pt x="421" y="483"/>
                    </a:lnTo>
                    <a:lnTo>
                      <a:pt x="419" y="480"/>
                    </a:lnTo>
                    <a:lnTo>
                      <a:pt x="417" y="480"/>
                    </a:lnTo>
                    <a:lnTo>
                      <a:pt x="416" y="478"/>
                    </a:lnTo>
                    <a:lnTo>
                      <a:pt x="414" y="479"/>
                    </a:lnTo>
                    <a:lnTo>
                      <a:pt x="413" y="480"/>
                    </a:lnTo>
                    <a:lnTo>
                      <a:pt x="412" y="480"/>
                    </a:lnTo>
                    <a:lnTo>
                      <a:pt x="411" y="478"/>
                    </a:lnTo>
                    <a:lnTo>
                      <a:pt x="411" y="479"/>
                    </a:lnTo>
                    <a:lnTo>
                      <a:pt x="409" y="478"/>
                    </a:lnTo>
                    <a:lnTo>
                      <a:pt x="410" y="477"/>
                    </a:lnTo>
                    <a:lnTo>
                      <a:pt x="408" y="475"/>
                    </a:lnTo>
                    <a:lnTo>
                      <a:pt x="403" y="475"/>
                    </a:lnTo>
                    <a:lnTo>
                      <a:pt x="400" y="475"/>
                    </a:lnTo>
                    <a:lnTo>
                      <a:pt x="398" y="479"/>
                    </a:lnTo>
                    <a:lnTo>
                      <a:pt x="399" y="480"/>
                    </a:lnTo>
                    <a:lnTo>
                      <a:pt x="401" y="481"/>
                    </a:lnTo>
                    <a:lnTo>
                      <a:pt x="402" y="484"/>
                    </a:lnTo>
                    <a:lnTo>
                      <a:pt x="402" y="486"/>
                    </a:lnTo>
                    <a:lnTo>
                      <a:pt x="402" y="487"/>
                    </a:lnTo>
                    <a:lnTo>
                      <a:pt x="399" y="488"/>
                    </a:lnTo>
                    <a:lnTo>
                      <a:pt x="395" y="486"/>
                    </a:lnTo>
                    <a:lnTo>
                      <a:pt x="394" y="488"/>
                    </a:lnTo>
                    <a:lnTo>
                      <a:pt x="391" y="486"/>
                    </a:lnTo>
                    <a:lnTo>
                      <a:pt x="389" y="486"/>
                    </a:lnTo>
                    <a:lnTo>
                      <a:pt x="388" y="487"/>
                    </a:lnTo>
                    <a:lnTo>
                      <a:pt x="388" y="489"/>
                    </a:lnTo>
                    <a:lnTo>
                      <a:pt x="387" y="490"/>
                    </a:lnTo>
                    <a:lnTo>
                      <a:pt x="387" y="491"/>
                    </a:lnTo>
                    <a:lnTo>
                      <a:pt x="388" y="492"/>
                    </a:lnTo>
                    <a:lnTo>
                      <a:pt x="389" y="495"/>
                    </a:lnTo>
                    <a:lnTo>
                      <a:pt x="388" y="495"/>
                    </a:lnTo>
                    <a:lnTo>
                      <a:pt x="386" y="495"/>
                    </a:lnTo>
                    <a:lnTo>
                      <a:pt x="386" y="496"/>
                    </a:lnTo>
                    <a:lnTo>
                      <a:pt x="386" y="499"/>
                    </a:lnTo>
                    <a:lnTo>
                      <a:pt x="384" y="499"/>
                    </a:lnTo>
                    <a:lnTo>
                      <a:pt x="383" y="501"/>
                    </a:lnTo>
                    <a:lnTo>
                      <a:pt x="382" y="501"/>
                    </a:lnTo>
                    <a:lnTo>
                      <a:pt x="381" y="499"/>
                    </a:lnTo>
                    <a:lnTo>
                      <a:pt x="379" y="501"/>
                    </a:lnTo>
                    <a:lnTo>
                      <a:pt x="377" y="501"/>
                    </a:lnTo>
                    <a:lnTo>
                      <a:pt x="377" y="498"/>
                    </a:lnTo>
                    <a:lnTo>
                      <a:pt x="374" y="495"/>
                    </a:lnTo>
                    <a:lnTo>
                      <a:pt x="376" y="494"/>
                    </a:lnTo>
                    <a:lnTo>
                      <a:pt x="374" y="493"/>
                    </a:lnTo>
                    <a:lnTo>
                      <a:pt x="373" y="492"/>
                    </a:lnTo>
                    <a:lnTo>
                      <a:pt x="374" y="491"/>
                    </a:lnTo>
                    <a:lnTo>
                      <a:pt x="373" y="490"/>
                    </a:lnTo>
                    <a:lnTo>
                      <a:pt x="373" y="489"/>
                    </a:lnTo>
                    <a:lnTo>
                      <a:pt x="373" y="485"/>
                    </a:lnTo>
                    <a:lnTo>
                      <a:pt x="371" y="486"/>
                    </a:lnTo>
                    <a:lnTo>
                      <a:pt x="372" y="485"/>
                    </a:lnTo>
                    <a:lnTo>
                      <a:pt x="372" y="484"/>
                    </a:lnTo>
                    <a:lnTo>
                      <a:pt x="371" y="484"/>
                    </a:lnTo>
                    <a:lnTo>
                      <a:pt x="372" y="483"/>
                    </a:lnTo>
                    <a:lnTo>
                      <a:pt x="372" y="481"/>
                    </a:lnTo>
                    <a:lnTo>
                      <a:pt x="370" y="480"/>
                    </a:lnTo>
                    <a:lnTo>
                      <a:pt x="371" y="480"/>
                    </a:lnTo>
                    <a:lnTo>
                      <a:pt x="372" y="480"/>
                    </a:lnTo>
                    <a:lnTo>
                      <a:pt x="370" y="478"/>
                    </a:lnTo>
                    <a:lnTo>
                      <a:pt x="370" y="477"/>
                    </a:lnTo>
                    <a:lnTo>
                      <a:pt x="369" y="479"/>
                    </a:lnTo>
                    <a:lnTo>
                      <a:pt x="368" y="479"/>
                    </a:lnTo>
                    <a:lnTo>
                      <a:pt x="367" y="478"/>
                    </a:lnTo>
                    <a:lnTo>
                      <a:pt x="366" y="478"/>
                    </a:lnTo>
                    <a:lnTo>
                      <a:pt x="364" y="482"/>
                    </a:lnTo>
                    <a:lnTo>
                      <a:pt x="365" y="483"/>
                    </a:lnTo>
                    <a:lnTo>
                      <a:pt x="364" y="484"/>
                    </a:lnTo>
                    <a:lnTo>
                      <a:pt x="363" y="483"/>
                    </a:lnTo>
                    <a:lnTo>
                      <a:pt x="363" y="481"/>
                    </a:lnTo>
                    <a:lnTo>
                      <a:pt x="362" y="479"/>
                    </a:lnTo>
                    <a:lnTo>
                      <a:pt x="361" y="479"/>
                    </a:lnTo>
                    <a:lnTo>
                      <a:pt x="359" y="478"/>
                    </a:lnTo>
                    <a:lnTo>
                      <a:pt x="357" y="475"/>
                    </a:lnTo>
                    <a:lnTo>
                      <a:pt x="356" y="470"/>
                    </a:lnTo>
                    <a:lnTo>
                      <a:pt x="355" y="470"/>
                    </a:lnTo>
                    <a:lnTo>
                      <a:pt x="354" y="470"/>
                    </a:lnTo>
                    <a:lnTo>
                      <a:pt x="348" y="468"/>
                    </a:lnTo>
                    <a:lnTo>
                      <a:pt x="347" y="465"/>
                    </a:lnTo>
                    <a:lnTo>
                      <a:pt x="344" y="460"/>
                    </a:lnTo>
                    <a:lnTo>
                      <a:pt x="345" y="459"/>
                    </a:lnTo>
                    <a:lnTo>
                      <a:pt x="344" y="459"/>
                    </a:lnTo>
                    <a:lnTo>
                      <a:pt x="343" y="461"/>
                    </a:lnTo>
                    <a:lnTo>
                      <a:pt x="343" y="464"/>
                    </a:lnTo>
                    <a:lnTo>
                      <a:pt x="340" y="464"/>
                    </a:lnTo>
                    <a:lnTo>
                      <a:pt x="340" y="465"/>
                    </a:lnTo>
                    <a:lnTo>
                      <a:pt x="338" y="465"/>
                    </a:lnTo>
                    <a:lnTo>
                      <a:pt x="338" y="466"/>
                    </a:lnTo>
                    <a:lnTo>
                      <a:pt x="338" y="465"/>
                    </a:lnTo>
                    <a:lnTo>
                      <a:pt x="337" y="467"/>
                    </a:lnTo>
                    <a:lnTo>
                      <a:pt x="337" y="468"/>
                    </a:lnTo>
                    <a:lnTo>
                      <a:pt x="338" y="468"/>
                    </a:lnTo>
                    <a:lnTo>
                      <a:pt x="337" y="471"/>
                    </a:lnTo>
                    <a:lnTo>
                      <a:pt x="333" y="469"/>
                    </a:lnTo>
                    <a:lnTo>
                      <a:pt x="333" y="470"/>
                    </a:lnTo>
                    <a:lnTo>
                      <a:pt x="333" y="471"/>
                    </a:lnTo>
                    <a:lnTo>
                      <a:pt x="332" y="471"/>
                    </a:lnTo>
                    <a:lnTo>
                      <a:pt x="333" y="472"/>
                    </a:lnTo>
                    <a:lnTo>
                      <a:pt x="332" y="472"/>
                    </a:lnTo>
                    <a:lnTo>
                      <a:pt x="333" y="473"/>
                    </a:lnTo>
                    <a:lnTo>
                      <a:pt x="332" y="475"/>
                    </a:lnTo>
                    <a:lnTo>
                      <a:pt x="333" y="476"/>
                    </a:lnTo>
                    <a:lnTo>
                      <a:pt x="332" y="476"/>
                    </a:lnTo>
                    <a:lnTo>
                      <a:pt x="331" y="477"/>
                    </a:lnTo>
                    <a:lnTo>
                      <a:pt x="330" y="477"/>
                    </a:lnTo>
                    <a:lnTo>
                      <a:pt x="330" y="480"/>
                    </a:lnTo>
                    <a:lnTo>
                      <a:pt x="329" y="480"/>
                    </a:lnTo>
                    <a:lnTo>
                      <a:pt x="329" y="481"/>
                    </a:lnTo>
                    <a:lnTo>
                      <a:pt x="329" y="482"/>
                    </a:lnTo>
                    <a:lnTo>
                      <a:pt x="331" y="483"/>
                    </a:lnTo>
                    <a:lnTo>
                      <a:pt x="330" y="486"/>
                    </a:lnTo>
                    <a:lnTo>
                      <a:pt x="330" y="487"/>
                    </a:lnTo>
                    <a:lnTo>
                      <a:pt x="332" y="486"/>
                    </a:lnTo>
                    <a:lnTo>
                      <a:pt x="332" y="488"/>
                    </a:lnTo>
                    <a:lnTo>
                      <a:pt x="331" y="488"/>
                    </a:lnTo>
                    <a:lnTo>
                      <a:pt x="333" y="489"/>
                    </a:lnTo>
                    <a:lnTo>
                      <a:pt x="333" y="490"/>
                    </a:lnTo>
                    <a:lnTo>
                      <a:pt x="331" y="491"/>
                    </a:lnTo>
                    <a:lnTo>
                      <a:pt x="333" y="491"/>
                    </a:lnTo>
                    <a:lnTo>
                      <a:pt x="332" y="492"/>
                    </a:lnTo>
                    <a:lnTo>
                      <a:pt x="330" y="492"/>
                    </a:lnTo>
                    <a:lnTo>
                      <a:pt x="329" y="492"/>
                    </a:lnTo>
                    <a:lnTo>
                      <a:pt x="329" y="493"/>
                    </a:lnTo>
                    <a:lnTo>
                      <a:pt x="325" y="493"/>
                    </a:lnTo>
                    <a:lnTo>
                      <a:pt x="325" y="494"/>
                    </a:lnTo>
                    <a:lnTo>
                      <a:pt x="324" y="494"/>
                    </a:lnTo>
                    <a:lnTo>
                      <a:pt x="324" y="493"/>
                    </a:lnTo>
                    <a:lnTo>
                      <a:pt x="321" y="493"/>
                    </a:lnTo>
                    <a:lnTo>
                      <a:pt x="320" y="492"/>
                    </a:lnTo>
                    <a:lnTo>
                      <a:pt x="320" y="493"/>
                    </a:lnTo>
                    <a:lnTo>
                      <a:pt x="320" y="494"/>
                    </a:lnTo>
                    <a:lnTo>
                      <a:pt x="318" y="494"/>
                    </a:lnTo>
                    <a:lnTo>
                      <a:pt x="317" y="494"/>
                    </a:lnTo>
                    <a:lnTo>
                      <a:pt x="316" y="496"/>
                    </a:lnTo>
                    <a:lnTo>
                      <a:pt x="313" y="499"/>
                    </a:lnTo>
                    <a:lnTo>
                      <a:pt x="312" y="498"/>
                    </a:lnTo>
                    <a:lnTo>
                      <a:pt x="312" y="499"/>
                    </a:lnTo>
                    <a:lnTo>
                      <a:pt x="310" y="499"/>
                    </a:lnTo>
                    <a:lnTo>
                      <a:pt x="308" y="500"/>
                    </a:lnTo>
                    <a:lnTo>
                      <a:pt x="308" y="501"/>
                    </a:lnTo>
                    <a:lnTo>
                      <a:pt x="307" y="501"/>
                    </a:lnTo>
                    <a:lnTo>
                      <a:pt x="308" y="505"/>
                    </a:lnTo>
                    <a:lnTo>
                      <a:pt x="307" y="506"/>
                    </a:lnTo>
                    <a:lnTo>
                      <a:pt x="307" y="509"/>
                    </a:lnTo>
                    <a:lnTo>
                      <a:pt x="306" y="509"/>
                    </a:lnTo>
                    <a:lnTo>
                      <a:pt x="304" y="509"/>
                    </a:lnTo>
                    <a:lnTo>
                      <a:pt x="303" y="507"/>
                    </a:lnTo>
                    <a:lnTo>
                      <a:pt x="304" y="506"/>
                    </a:lnTo>
                    <a:lnTo>
                      <a:pt x="303" y="502"/>
                    </a:lnTo>
                    <a:lnTo>
                      <a:pt x="301" y="501"/>
                    </a:lnTo>
                    <a:lnTo>
                      <a:pt x="296" y="498"/>
                    </a:lnTo>
                    <a:lnTo>
                      <a:pt x="291" y="499"/>
                    </a:lnTo>
                    <a:lnTo>
                      <a:pt x="289" y="499"/>
                    </a:lnTo>
                    <a:lnTo>
                      <a:pt x="289" y="498"/>
                    </a:lnTo>
                    <a:lnTo>
                      <a:pt x="287" y="498"/>
                    </a:lnTo>
                    <a:lnTo>
                      <a:pt x="287" y="496"/>
                    </a:lnTo>
                    <a:lnTo>
                      <a:pt x="288" y="495"/>
                    </a:lnTo>
                    <a:lnTo>
                      <a:pt x="289" y="495"/>
                    </a:lnTo>
                    <a:lnTo>
                      <a:pt x="290" y="493"/>
                    </a:lnTo>
                    <a:lnTo>
                      <a:pt x="291" y="492"/>
                    </a:lnTo>
                    <a:lnTo>
                      <a:pt x="292" y="489"/>
                    </a:lnTo>
                    <a:lnTo>
                      <a:pt x="292" y="488"/>
                    </a:lnTo>
                    <a:lnTo>
                      <a:pt x="291" y="488"/>
                    </a:lnTo>
                    <a:lnTo>
                      <a:pt x="290" y="490"/>
                    </a:lnTo>
                    <a:lnTo>
                      <a:pt x="289" y="491"/>
                    </a:lnTo>
                    <a:lnTo>
                      <a:pt x="287" y="490"/>
                    </a:lnTo>
                    <a:lnTo>
                      <a:pt x="287" y="492"/>
                    </a:lnTo>
                    <a:lnTo>
                      <a:pt x="286" y="492"/>
                    </a:lnTo>
                    <a:lnTo>
                      <a:pt x="286" y="489"/>
                    </a:lnTo>
                    <a:lnTo>
                      <a:pt x="284" y="493"/>
                    </a:lnTo>
                    <a:lnTo>
                      <a:pt x="282" y="492"/>
                    </a:lnTo>
                    <a:lnTo>
                      <a:pt x="283" y="492"/>
                    </a:lnTo>
                    <a:lnTo>
                      <a:pt x="282" y="492"/>
                    </a:lnTo>
                    <a:lnTo>
                      <a:pt x="281" y="492"/>
                    </a:lnTo>
                    <a:lnTo>
                      <a:pt x="281" y="491"/>
                    </a:lnTo>
                    <a:lnTo>
                      <a:pt x="280" y="492"/>
                    </a:lnTo>
                    <a:lnTo>
                      <a:pt x="280" y="491"/>
                    </a:lnTo>
                    <a:lnTo>
                      <a:pt x="278" y="490"/>
                    </a:lnTo>
                    <a:lnTo>
                      <a:pt x="277" y="489"/>
                    </a:lnTo>
                    <a:lnTo>
                      <a:pt x="276" y="489"/>
                    </a:lnTo>
                    <a:lnTo>
                      <a:pt x="275" y="491"/>
                    </a:lnTo>
                    <a:lnTo>
                      <a:pt x="274" y="489"/>
                    </a:lnTo>
                    <a:lnTo>
                      <a:pt x="273" y="489"/>
                    </a:lnTo>
                    <a:lnTo>
                      <a:pt x="273" y="488"/>
                    </a:lnTo>
                    <a:lnTo>
                      <a:pt x="272" y="489"/>
                    </a:lnTo>
                    <a:lnTo>
                      <a:pt x="272" y="488"/>
                    </a:lnTo>
                    <a:lnTo>
                      <a:pt x="270" y="488"/>
                    </a:lnTo>
                    <a:lnTo>
                      <a:pt x="272" y="485"/>
                    </a:lnTo>
                    <a:lnTo>
                      <a:pt x="271" y="484"/>
                    </a:lnTo>
                    <a:lnTo>
                      <a:pt x="269" y="484"/>
                    </a:lnTo>
                    <a:lnTo>
                      <a:pt x="268" y="486"/>
                    </a:lnTo>
                    <a:lnTo>
                      <a:pt x="266" y="485"/>
                    </a:lnTo>
                    <a:lnTo>
                      <a:pt x="263" y="482"/>
                    </a:lnTo>
                    <a:lnTo>
                      <a:pt x="261" y="482"/>
                    </a:lnTo>
                    <a:lnTo>
                      <a:pt x="261" y="483"/>
                    </a:lnTo>
                    <a:lnTo>
                      <a:pt x="260" y="486"/>
                    </a:lnTo>
                    <a:lnTo>
                      <a:pt x="258" y="486"/>
                    </a:lnTo>
                    <a:lnTo>
                      <a:pt x="258" y="488"/>
                    </a:lnTo>
                    <a:lnTo>
                      <a:pt x="260" y="488"/>
                    </a:lnTo>
                    <a:lnTo>
                      <a:pt x="259" y="488"/>
                    </a:lnTo>
                    <a:lnTo>
                      <a:pt x="258" y="488"/>
                    </a:lnTo>
                    <a:lnTo>
                      <a:pt x="257" y="486"/>
                    </a:lnTo>
                    <a:lnTo>
                      <a:pt x="256" y="488"/>
                    </a:lnTo>
                    <a:lnTo>
                      <a:pt x="255" y="486"/>
                    </a:lnTo>
                    <a:lnTo>
                      <a:pt x="255" y="485"/>
                    </a:lnTo>
                    <a:lnTo>
                      <a:pt x="254" y="483"/>
                    </a:lnTo>
                    <a:lnTo>
                      <a:pt x="252" y="483"/>
                    </a:lnTo>
                    <a:lnTo>
                      <a:pt x="252" y="480"/>
                    </a:lnTo>
                    <a:lnTo>
                      <a:pt x="250" y="480"/>
                    </a:lnTo>
                    <a:lnTo>
                      <a:pt x="249" y="481"/>
                    </a:lnTo>
                    <a:lnTo>
                      <a:pt x="248" y="481"/>
                    </a:lnTo>
                    <a:lnTo>
                      <a:pt x="245" y="475"/>
                    </a:lnTo>
                    <a:lnTo>
                      <a:pt x="244" y="475"/>
                    </a:lnTo>
                    <a:lnTo>
                      <a:pt x="243" y="473"/>
                    </a:lnTo>
                    <a:lnTo>
                      <a:pt x="243" y="476"/>
                    </a:lnTo>
                    <a:lnTo>
                      <a:pt x="242" y="475"/>
                    </a:lnTo>
                    <a:lnTo>
                      <a:pt x="241" y="475"/>
                    </a:lnTo>
                    <a:lnTo>
                      <a:pt x="242" y="475"/>
                    </a:lnTo>
                    <a:lnTo>
                      <a:pt x="243" y="479"/>
                    </a:lnTo>
                    <a:lnTo>
                      <a:pt x="242" y="480"/>
                    </a:lnTo>
                    <a:lnTo>
                      <a:pt x="243" y="480"/>
                    </a:lnTo>
                    <a:lnTo>
                      <a:pt x="242" y="482"/>
                    </a:lnTo>
                    <a:lnTo>
                      <a:pt x="242" y="483"/>
                    </a:lnTo>
                    <a:lnTo>
                      <a:pt x="244" y="483"/>
                    </a:lnTo>
                    <a:lnTo>
                      <a:pt x="243" y="484"/>
                    </a:lnTo>
                    <a:lnTo>
                      <a:pt x="242" y="483"/>
                    </a:lnTo>
                    <a:lnTo>
                      <a:pt x="242" y="484"/>
                    </a:lnTo>
                    <a:lnTo>
                      <a:pt x="241" y="481"/>
                    </a:lnTo>
                    <a:lnTo>
                      <a:pt x="240" y="481"/>
                    </a:lnTo>
                    <a:lnTo>
                      <a:pt x="239" y="480"/>
                    </a:lnTo>
                    <a:lnTo>
                      <a:pt x="237" y="480"/>
                    </a:lnTo>
                    <a:lnTo>
                      <a:pt x="236" y="481"/>
                    </a:lnTo>
                    <a:lnTo>
                      <a:pt x="235" y="480"/>
                    </a:lnTo>
                    <a:lnTo>
                      <a:pt x="235" y="481"/>
                    </a:lnTo>
                    <a:lnTo>
                      <a:pt x="234" y="481"/>
                    </a:lnTo>
                    <a:lnTo>
                      <a:pt x="235" y="482"/>
                    </a:lnTo>
                    <a:lnTo>
                      <a:pt x="234" y="482"/>
                    </a:lnTo>
                    <a:lnTo>
                      <a:pt x="234" y="483"/>
                    </a:lnTo>
                    <a:lnTo>
                      <a:pt x="234" y="482"/>
                    </a:lnTo>
                    <a:lnTo>
                      <a:pt x="234" y="483"/>
                    </a:lnTo>
                    <a:lnTo>
                      <a:pt x="233" y="484"/>
                    </a:lnTo>
                    <a:lnTo>
                      <a:pt x="232" y="482"/>
                    </a:lnTo>
                    <a:lnTo>
                      <a:pt x="232" y="483"/>
                    </a:lnTo>
                    <a:lnTo>
                      <a:pt x="231" y="486"/>
                    </a:lnTo>
                    <a:lnTo>
                      <a:pt x="230" y="486"/>
                    </a:lnTo>
                    <a:lnTo>
                      <a:pt x="231" y="484"/>
                    </a:lnTo>
                    <a:lnTo>
                      <a:pt x="229" y="484"/>
                    </a:lnTo>
                    <a:lnTo>
                      <a:pt x="228" y="485"/>
                    </a:lnTo>
                    <a:lnTo>
                      <a:pt x="227" y="487"/>
                    </a:lnTo>
                    <a:lnTo>
                      <a:pt x="227" y="485"/>
                    </a:lnTo>
                    <a:lnTo>
                      <a:pt x="226" y="485"/>
                    </a:lnTo>
                    <a:lnTo>
                      <a:pt x="226" y="484"/>
                    </a:lnTo>
                    <a:lnTo>
                      <a:pt x="224" y="483"/>
                    </a:lnTo>
                    <a:lnTo>
                      <a:pt x="221" y="485"/>
                    </a:lnTo>
                    <a:lnTo>
                      <a:pt x="220" y="484"/>
                    </a:lnTo>
                    <a:lnTo>
                      <a:pt x="219" y="484"/>
                    </a:lnTo>
                    <a:lnTo>
                      <a:pt x="221" y="484"/>
                    </a:lnTo>
                    <a:lnTo>
                      <a:pt x="221" y="483"/>
                    </a:lnTo>
                    <a:lnTo>
                      <a:pt x="221" y="481"/>
                    </a:lnTo>
                    <a:lnTo>
                      <a:pt x="222" y="480"/>
                    </a:lnTo>
                    <a:lnTo>
                      <a:pt x="222" y="478"/>
                    </a:lnTo>
                    <a:lnTo>
                      <a:pt x="221" y="478"/>
                    </a:lnTo>
                    <a:lnTo>
                      <a:pt x="220" y="478"/>
                    </a:lnTo>
                    <a:lnTo>
                      <a:pt x="219" y="477"/>
                    </a:lnTo>
                    <a:lnTo>
                      <a:pt x="219" y="475"/>
                    </a:lnTo>
                    <a:lnTo>
                      <a:pt x="218" y="476"/>
                    </a:lnTo>
                    <a:lnTo>
                      <a:pt x="216" y="473"/>
                    </a:lnTo>
                    <a:lnTo>
                      <a:pt x="213" y="475"/>
                    </a:lnTo>
                    <a:lnTo>
                      <a:pt x="212" y="473"/>
                    </a:lnTo>
                    <a:lnTo>
                      <a:pt x="212" y="474"/>
                    </a:lnTo>
                    <a:lnTo>
                      <a:pt x="212" y="473"/>
                    </a:lnTo>
                    <a:lnTo>
                      <a:pt x="211" y="472"/>
                    </a:lnTo>
                    <a:lnTo>
                      <a:pt x="212" y="469"/>
                    </a:lnTo>
                    <a:lnTo>
                      <a:pt x="211" y="467"/>
                    </a:lnTo>
                    <a:lnTo>
                      <a:pt x="208" y="466"/>
                    </a:lnTo>
                    <a:lnTo>
                      <a:pt x="208" y="465"/>
                    </a:lnTo>
                    <a:lnTo>
                      <a:pt x="206" y="465"/>
                    </a:lnTo>
                    <a:lnTo>
                      <a:pt x="206" y="463"/>
                    </a:lnTo>
                    <a:lnTo>
                      <a:pt x="203" y="465"/>
                    </a:lnTo>
                    <a:lnTo>
                      <a:pt x="202" y="465"/>
                    </a:lnTo>
                    <a:lnTo>
                      <a:pt x="198" y="465"/>
                    </a:lnTo>
                    <a:lnTo>
                      <a:pt x="197" y="463"/>
                    </a:lnTo>
                    <a:lnTo>
                      <a:pt x="196" y="465"/>
                    </a:lnTo>
                    <a:lnTo>
                      <a:pt x="195" y="465"/>
                    </a:lnTo>
                    <a:lnTo>
                      <a:pt x="194" y="465"/>
                    </a:lnTo>
                    <a:lnTo>
                      <a:pt x="194" y="467"/>
                    </a:lnTo>
                    <a:lnTo>
                      <a:pt x="194" y="470"/>
                    </a:lnTo>
                    <a:lnTo>
                      <a:pt x="192" y="471"/>
                    </a:lnTo>
                    <a:lnTo>
                      <a:pt x="192" y="472"/>
                    </a:lnTo>
                    <a:lnTo>
                      <a:pt x="190" y="473"/>
                    </a:lnTo>
                    <a:lnTo>
                      <a:pt x="189" y="473"/>
                    </a:lnTo>
                    <a:lnTo>
                      <a:pt x="189" y="475"/>
                    </a:lnTo>
                    <a:lnTo>
                      <a:pt x="190" y="474"/>
                    </a:lnTo>
                    <a:lnTo>
                      <a:pt x="188" y="476"/>
                    </a:lnTo>
                    <a:lnTo>
                      <a:pt x="188" y="478"/>
                    </a:lnTo>
                    <a:lnTo>
                      <a:pt x="186" y="477"/>
                    </a:lnTo>
                    <a:lnTo>
                      <a:pt x="186" y="476"/>
                    </a:lnTo>
                    <a:lnTo>
                      <a:pt x="187" y="475"/>
                    </a:lnTo>
                    <a:lnTo>
                      <a:pt x="184" y="475"/>
                    </a:lnTo>
                    <a:lnTo>
                      <a:pt x="181" y="475"/>
                    </a:lnTo>
                    <a:lnTo>
                      <a:pt x="180" y="476"/>
                    </a:lnTo>
                    <a:lnTo>
                      <a:pt x="178" y="475"/>
                    </a:lnTo>
                    <a:lnTo>
                      <a:pt x="177" y="475"/>
                    </a:lnTo>
                    <a:lnTo>
                      <a:pt x="174" y="475"/>
                    </a:lnTo>
                    <a:lnTo>
                      <a:pt x="173" y="475"/>
                    </a:lnTo>
                    <a:lnTo>
                      <a:pt x="172" y="476"/>
                    </a:lnTo>
                    <a:lnTo>
                      <a:pt x="170" y="473"/>
                    </a:lnTo>
                    <a:lnTo>
                      <a:pt x="168" y="473"/>
                    </a:lnTo>
                    <a:lnTo>
                      <a:pt x="165" y="472"/>
                    </a:lnTo>
                    <a:lnTo>
                      <a:pt x="165" y="476"/>
                    </a:lnTo>
                    <a:lnTo>
                      <a:pt x="163" y="475"/>
                    </a:lnTo>
                    <a:lnTo>
                      <a:pt x="161" y="475"/>
                    </a:lnTo>
                    <a:lnTo>
                      <a:pt x="161" y="473"/>
                    </a:lnTo>
                    <a:lnTo>
                      <a:pt x="161" y="472"/>
                    </a:lnTo>
                    <a:lnTo>
                      <a:pt x="161" y="471"/>
                    </a:lnTo>
                    <a:lnTo>
                      <a:pt x="159" y="471"/>
                    </a:lnTo>
                    <a:lnTo>
                      <a:pt x="159" y="473"/>
                    </a:lnTo>
                    <a:lnTo>
                      <a:pt x="158" y="475"/>
                    </a:lnTo>
                    <a:lnTo>
                      <a:pt x="156" y="474"/>
                    </a:lnTo>
                    <a:lnTo>
                      <a:pt x="155" y="475"/>
                    </a:lnTo>
                    <a:lnTo>
                      <a:pt x="155" y="473"/>
                    </a:lnTo>
                    <a:lnTo>
                      <a:pt x="152" y="473"/>
                    </a:lnTo>
                    <a:lnTo>
                      <a:pt x="152" y="472"/>
                    </a:lnTo>
                    <a:lnTo>
                      <a:pt x="151" y="473"/>
                    </a:lnTo>
                    <a:lnTo>
                      <a:pt x="150" y="472"/>
                    </a:lnTo>
                    <a:lnTo>
                      <a:pt x="149" y="469"/>
                    </a:lnTo>
                    <a:lnTo>
                      <a:pt x="150" y="468"/>
                    </a:lnTo>
                    <a:lnTo>
                      <a:pt x="150" y="467"/>
                    </a:lnTo>
                    <a:lnTo>
                      <a:pt x="150" y="464"/>
                    </a:lnTo>
                    <a:lnTo>
                      <a:pt x="150" y="463"/>
                    </a:lnTo>
                    <a:lnTo>
                      <a:pt x="151" y="462"/>
                    </a:lnTo>
                    <a:lnTo>
                      <a:pt x="151" y="461"/>
                    </a:lnTo>
                    <a:lnTo>
                      <a:pt x="153" y="461"/>
                    </a:lnTo>
                    <a:lnTo>
                      <a:pt x="151" y="460"/>
                    </a:lnTo>
                    <a:lnTo>
                      <a:pt x="149" y="458"/>
                    </a:lnTo>
                    <a:lnTo>
                      <a:pt x="145" y="458"/>
                    </a:lnTo>
                    <a:lnTo>
                      <a:pt x="144" y="458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0" name="Group 86">
              <a:extLst>
                <a:ext uri="{FF2B5EF4-FFF2-40B4-BE49-F238E27FC236}">
                  <a16:creationId xmlns:a16="http://schemas.microsoft.com/office/drawing/2014/main" id="{96426BC7-4AF4-14E2-636A-FB2310B5E80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91" y="2910"/>
              <a:ext cx="569" cy="509"/>
              <a:chOff x="791" y="2910"/>
              <a:chExt cx="569" cy="509"/>
            </a:xfrm>
          </p:grpSpPr>
          <p:sp>
            <p:nvSpPr>
              <p:cNvPr id="170" name="Freeform 84">
                <a:extLst>
                  <a:ext uri="{FF2B5EF4-FFF2-40B4-BE49-F238E27FC236}">
                    <a16:creationId xmlns:a16="http://schemas.microsoft.com/office/drawing/2014/main" id="{382461AD-7B3F-6670-8B52-C952345425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1" y="2910"/>
                <a:ext cx="569" cy="509"/>
              </a:xfrm>
              <a:custGeom>
                <a:avLst/>
                <a:gdLst>
                  <a:gd name="T0" fmla="*/ 128 w 569"/>
                  <a:gd name="T1" fmla="*/ 470 h 509"/>
                  <a:gd name="T2" fmla="*/ 100 w 569"/>
                  <a:gd name="T3" fmla="*/ 473 h 509"/>
                  <a:gd name="T4" fmla="*/ 79 w 569"/>
                  <a:gd name="T5" fmla="*/ 467 h 509"/>
                  <a:gd name="T6" fmla="*/ 69 w 569"/>
                  <a:gd name="T7" fmla="*/ 420 h 509"/>
                  <a:gd name="T8" fmla="*/ 60 w 569"/>
                  <a:gd name="T9" fmla="*/ 397 h 509"/>
                  <a:gd name="T10" fmla="*/ 56 w 569"/>
                  <a:gd name="T11" fmla="*/ 386 h 509"/>
                  <a:gd name="T12" fmla="*/ 81 w 569"/>
                  <a:gd name="T13" fmla="*/ 368 h 509"/>
                  <a:gd name="T14" fmla="*/ 91 w 569"/>
                  <a:gd name="T15" fmla="*/ 338 h 509"/>
                  <a:gd name="T16" fmla="*/ 106 w 569"/>
                  <a:gd name="T17" fmla="*/ 306 h 509"/>
                  <a:gd name="T18" fmla="*/ 89 w 569"/>
                  <a:gd name="T19" fmla="*/ 267 h 509"/>
                  <a:gd name="T20" fmla="*/ 60 w 569"/>
                  <a:gd name="T21" fmla="*/ 236 h 509"/>
                  <a:gd name="T22" fmla="*/ 33 w 569"/>
                  <a:gd name="T23" fmla="*/ 210 h 509"/>
                  <a:gd name="T24" fmla="*/ 6 w 569"/>
                  <a:gd name="T25" fmla="*/ 198 h 509"/>
                  <a:gd name="T26" fmla="*/ 25 w 569"/>
                  <a:gd name="T27" fmla="*/ 175 h 509"/>
                  <a:gd name="T28" fmla="*/ 41 w 569"/>
                  <a:gd name="T29" fmla="*/ 146 h 509"/>
                  <a:gd name="T30" fmla="*/ 85 w 569"/>
                  <a:gd name="T31" fmla="*/ 126 h 509"/>
                  <a:gd name="T32" fmla="*/ 128 w 569"/>
                  <a:gd name="T33" fmla="*/ 122 h 509"/>
                  <a:gd name="T34" fmla="*/ 164 w 569"/>
                  <a:gd name="T35" fmla="*/ 107 h 509"/>
                  <a:gd name="T36" fmla="*/ 188 w 569"/>
                  <a:gd name="T37" fmla="*/ 92 h 509"/>
                  <a:gd name="T38" fmla="*/ 237 w 569"/>
                  <a:gd name="T39" fmla="*/ 103 h 509"/>
                  <a:gd name="T40" fmla="*/ 273 w 569"/>
                  <a:gd name="T41" fmla="*/ 101 h 509"/>
                  <a:gd name="T42" fmla="*/ 282 w 569"/>
                  <a:gd name="T43" fmla="*/ 78 h 509"/>
                  <a:gd name="T44" fmla="*/ 295 w 569"/>
                  <a:gd name="T45" fmla="*/ 68 h 509"/>
                  <a:gd name="T46" fmla="*/ 321 w 569"/>
                  <a:gd name="T47" fmla="*/ 39 h 509"/>
                  <a:gd name="T48" fmla="*/ 343 w 569"/>
                  <a:gd name="T49" fmla="*/ 44 h 509"/>
                  <a:gd name="T50" fmla="*/ 368 w 569"/>
                  <a:gd name="T51" fmla="*/ 52 h 509"/>
                  <a:gd name="T52" fmla="*/ 423 w 569"/>
                  <a:gd name="T53" fmla="*/ 18 h 509"/>
                  <a:gd name="T54" fmla="*/ 446 w 569"/>
                  <a:gd name="T55" fmla="*/ 7 h 509"/>
                  <a:gd name="T56" fmla="*/ 468 w 569"/>
                  <a:gd name="T57" fmla="*/ 20 h 509"/>
                  <a:gd name="T58" fmla="*/ 488 w 569"/>
                  <a:gd name="T59" fmla="*/ 49 h 509"/>
                  <a:gd name="T60" fmla="*/ 491 w 569"/>
                  <a:gd name="T61" fmla="*/ 77 h 509"/>
                  <a:gd name="T62" fmla="*/ 489 w 569"/>
                  <a:gd name="T63" fmla="*/ 109 h 509"/>
                  <a:gd name="T64" fmla="*/ 483 w 569"/>
                  <a:gd name="T65" fmla="*/ 137 h 509"/>
                  <a:gd name="T66" fmla="*/ 499 w 569"/>
                  <a:gd name="T67" fmla="*/ 161 h 509"/>
                  <a:gd name="T68" fmla="*/ 528 w 569"/>
                  <a:gd name="T69" fmla="*/ 171 h 509"/>
                  <a:gd name="T70" fmla="*/ 541 w 569"/>
                  <a:gd name="T71" fmla="*/ 189 h 509"/>
                  <a:gd name="T72" fmla="*/ 539 w 569"/>
                  <a:gd name="T73" fmla="*/ 225 h 509"/>
                  <a:gd name="T74" fmla="*/ 552 w 569"/>
                  <a:gd name="T75" fmla="*/ 249 h 509"/>
                  <a:gd name="T76" fmla="*/ 542 w 569"/>
                  <a:gd name="T77" fmla="*/ 279 h 509"/>
                  <a:gd name="T78" fmla="*/ 530 w 569"/>
                  <a:gd name="T79" fmla="*/ 288 h 509"/>
                  <a:gd name="T80" fmla="*/ 548 w 569"/>
                  <a:gd name="T81" fmla="*/ 306 h 509"/>
                  <a:gd name="T82" fmla="*/ 567 w 569"/>
                  <a:gd name="T83" fmla="*/ 330 h 509"/>
                  <a:gd name="T84" fmla="*/ 557 w 569"/>
                  <a:gd name="T85" fmla="*/ 360 h 509"/>
                  <a:gd name="T86" fmla="*/ 544 w 569"/>
                  <a:gd name="T87" fmla="*/ 384 h 509"/>
                  <a:gd name="T88" fmla="*/ 524 w 569"/>
                  <a:gd name="T89" fmla="*/ 401 h 509"/>
                  <a:gd name="T90" fmla="*/ 495 w 569"/>
                  <a:gd name="T91" fmla="*/ 412 h 509"/>
                  <a:gd name="T92" fmla="*/ 475 w 569"/>
                  <a:gd name="T93" fmla="*/ 420 h 509"/>
                  <a:gd name="T94" fmla="*/ 469 w 569"/>
                  <a:gd name="T95" fmla="*/ 456 h 509"/>
                  <a:gd name="T96" fmla="*/ 457 w 569"/>
                  <a:gd name="T97" fmla="*/ 480 h 509"/>
                  <a:gd name="T98" fmla="*/ 438 w 569"/>
                  <a:gd name="T99" fmla="*/ 480 h 509"/>
                  <a:gd name="T100" fmla="*/ 411 w 569"/>
                  <a:gd name="T101" fmla="*/ 478 h 509"/>
                  <a:gd name="T102" fmla="*/ 386 w 569"/>
                  <a:gd name="T103" fmla="*/ 495 h 509"/>
                  <a:gd name="T104" fmla="*/ 372 w 569"/>
                  <a:gd name="T105" fmla="*/ 480 h 509"/>
                  <a:gd name="T106" fmla="*/ 340 w 569"/>
                  <a:gd name="T107" fmla="*/ 465 h 509"/>
                  <a:gd name="T108" fmla="*/ 330 w 569"/>
                  <a:gd name="T109" fmla="*/ 486 h 509"/>
                  <a:gd name="T110" fmla="*/ 312 w 569"/>
                  <a:gd name="T111" fmla="*/ 499 h 509"/>
                  <a:gd name="T112" fmla="*/ 291 w 569"/>
                  <a:gd name="T113" fmla="*/ 488 h 509"/>
                  <a:gd name="T114" fmla="*/ 269 w 569"/>
                  <a:gd name="T115" fmla="*/ 484 h 509"/>
                  <a:gd name="T116" fmla="*/ 243 w 569"/>
                  <a:gd name="T117" fmla="*/ 476 h 509"/>
                  <a:gd name="T118" fmla="*/ 233 w 569"/>
                  <a:gd name="T119" fmla="*/ 484 h 509"/>
                  <a:gd name="T120" fmla="*/ 216 w 569"/>
                  <a:gd name="T121" fmla="*/ 473 h 509"/>
                  <a:gd name="T122" fmla="*/ 190 w 569"/>
                  <a:gd name="T123" fmla="*/ 474 h 509"/>
                  <a:gd name="T124" fmla="*/ 158 w 569"/>
                  <a:gd name="T125" fmla="*/ 475 h 50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569"/>
                  <a:gd name="T190" fmla="*/ 0 h 509"/>
                  <a:gd name="T191" fmla="*/ 569 w 569"/>
                  <a:gd name="T192" fmla="*/ 509 h 50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569" h="509">
                    <a:moveTo>
                      <a:pt x="144" y="458"/>
                    </a:moveTo>
                    <a:lnTo>
                      <a:pt x="142" y="460"/>
                    </a:lnTo>
                    <a:lnTo>
                      <a:pt x="142" y="459"/>
                    </a:lnTo>
                    <a:lnTo>
                      <a:pt x="139" y="461"/>
                    </a:lnTo>
                    <a:lnTo>
                      <a:pt x="138" y="461"/>
                    </a:lnTo>
                    <a:lnTo>
                      <a:pt x="136" y="460"/>
                    </a:lnTo>
                    <a:lnTo>
                      <a:pt x="135" y="463"/>
                    </a:lnTo>
                    <a:lnTo>
                      <a:pt x="136" y="465"/>
                    </a:lnTo>
                    <a:lnTo>
                      <a:pt x="135" y="467"/>
                    </a:lnTo>
                    <a:lnTo>
                      <a:pt x="135" y="465"/>
                    </a:lnTo>
                    <a:lnTo>
                      <a:pt x="134" y="468"/>
                    </a:lnTo>
                    <a:lnTo>
                      <a:pt x="134" y="469"/>
                    </a:lnTo>
                    <a:lnTo>
                      <a:pt x="134" y="470"/>
                    </a:lnTo>
                    <a:lnTo>
                      <a:pt x="133" y="470"/>
                    </a:lnTo>
                    <a:lnTo>
                      <a:pt x="133" y="471"/>
                    </a:lnTo>
                    <a:lnTo>
                      <a:pt x="132" y="469"/>
                    </a:lnTo>
                    <a:lnTo>
                      <a:pt x="131" y="469"/>
                    </a:lnTo>
                    <a:lnTo>
                      <a:pt x="131" y="471"/>
                    </a:lnTo>
                    <a:lnTo>
                      <a:pt x="132" y="473"/>
                    </a:lnTo>
                    <a:lnTo>
                      <a:pt x="131" y="473"/>
                    </a:lnTo>
                    <a:lnTo>
                      <a:pt x="131" y="475"/>
                    </a:lnTo>
                    <a:lnTo>
                      <a:pt x="130" y="475"/>
                    </a:lnTo>
                    <a:lnTo>
                      <a:pt x="130" y="472"/>
                    </a:lnTo>
                    <a:lnTo>
                      <a:pt x="128" y="472"/>
                    </a:lnTo>
                    <a:lnTo>
                      <a:pt x="128" y="470"/>
                    </a:lnTo>
                    <a:lnTo>
                      <a:pt x="126" y="472"/>
                    </a:lnTo>
                    <a:lnTo>
                      <a:pt x="126" y="473"/>
                    </a:lnTo>
                    <a:lnTo>
                      <a:pt x="125" y="475"/>
                    </a:lnTo>
                    <a:lnTo>
                      <a:pt x="125" y="476"/>
                    </a:lnTo>
                    <a:lnTo>
                      <a:pt x="125" y="477"/>
                    </a:lnTo>
                    <a:lnTo>
                      <a:pt x="121" y="476"/>
                    </a:lnTo>
                    <a:lnTo>
                      <a:pt x="118" y="475"/>
                    </a:lnTo>
                    <a:lnTo>
                      <a:pt x="118" y="473"/>
                    </a:lnTo>
                    <a:lnTo>
                      <a:pt x="117" y="472"/>
                    </a:lnTo>
                    <a:lnTo>
                      <a:pt x="114" y="475"/>
                    </a:lnTo>
                    <a:lnTo>
                      <a:pt x="114" y="478"/>
                    </a:lnTo>
                    <a:lnTo>
                      <a:pt x="113" y="478"/>
                    </a:lnTo>
                    <a:lnTo>
                      <a:pt x="111" y="480"/>
                    </a:lnTo>
                    <a:lnTo>
                      <a:pt x="111" y="478"/>
                    </a:lnTo>
                    <a:lnTo>
                      <a:pt x="107" y="479"/>
                    </a:lnTo>
                    <a:lnTo>
                      <a:pt x="107" y="478"/>
                    </a:lnTo>
                    <a:lnTo>
                      <a:pt x="105" y="478"/>
                    </a:lnTo>
                    <a:lnTo>
                      <a:pt x="105" y="476"/>
                    </a:lnTo>
                    <a:lnTo>
                      <a:pt x="104" y="475"/>
                    </a:lnTo>
                    <a:lnTo>
                      <a:pt x="103" y="476"/>
                    </a:lnTo>
                    <a:lnTo>
                      <a:pt x="100" y="476"/>
                    </a:lnTo>
                    <a:lnTo>
                      <a:pt x="102" y="475"/>
                    </a:lnTo>
                    <a:lnTo>
                      <a:pt x="102" y="473"/>
                    </a:lnTo>
                    <a:lnTo>
                      <a:pt x="104" y="472"/>
                    </a:lnTo>
                    <a:lnTo>
                      <a:pt x="100" y="472"/>
                    </a:lnTo>
                    <a:lnTo>
                      <a:pt x="100" y="473"/>
                    </a:lnTo>
                    <a:lnTo>
                      <a:pt x="98" y="472"/>
                    </a:lnTo>
                    <a:lnTo>
                      <a:pt x="98" y="470"/>
                    </a:lnTo>
                    <a:lnTo>
                      <a:pt x="98" y="468"/>
                    </a:lnTo>
                    <a:lnTo>
                      <a:pt x="95" y="465"/>
                    </a:lnTo>
                    <a:lnTo>
                      <a:pt x="93" y="466"/>
                    </a:lnTo>
                    <a:lnTo>
                      <a:pt x="93" y="467"/>
                    </a:lnTo>
                    <a:lnTo>
                      <a:pt x="94" y="468"/>
                    </a:lnTo>
                    <a:lnTo>
                      <a:pt x="92" y="468"/>
                    </a:lnTo>
                    <a:lnTo>
                      <a:pt x="90" y="471"/>
                    </a:lnTo>
                    <a:lnTo>
                      <a:pt x="89" y="471"/>
                    </a:lnTo>
                    <a:lnTo>
                      <a:pt x="87" y="472"/>
                    </a:lnTo>
                    <a:lnTo>
                      <a:pt x="87" y="471"/>
                    </a:lnTo>
                    <a:lnTo>
                      <a:pt x="87" y="470"/>
                    </a:lnTo>
                    <a:lnTo>
                      <a:pt x="86" y="471"/>
                    </a:lnTo>
                    <a:lnTo>
                      <a:pt x="85" y="471"/>
                    </a:lnTo>
                    <a:lnTo>
                      <a:pt x="85" y="467"/>
                    </a:lnTo>
                    <a:lnTo>
                      <a:pt x="85" y="468"/>
                    </a:lnTo>
                    <a:lnTo>
                      <a:pt x="84" y="467"/>
                    </a:lnTo>
                    <a:lnTo>
                      <a:pt x="84" y="463"/>
                    </a:lnTo>
                    <a:lnTo>
                      <a:pt x="82" y="463"/>
                    </a:lnTo>
                    <a:lnTo>
                      <a:pt x="83" y="464"/>
                    </a:lnTo>
                    <a:lnTo>
                      <a:pt x="81" y="464"/>
                    </a:lnTo>
                    <a:lnTo>
                      <a:pt x="81" y="467"/>
                    </a:lnTo>
                    <a:lnTo>
                      <a:pt x="79" y="467"/>
                    </a:lnTo>
                    <a:lnTo>
                      <a:pt x="79" y="468"/>
                    </a:lnTo>
                    <a:lnTo>
                      <a:pt x="76" y="466"/>
                    </a:lnTo>
                    <a:lnTo>
                      <a:pt x="74" y="465"/>
                    </a:lnTo>
                    <a:lnTo>
                      <a:pt x="72" y="469"/>
                    </a:lnTo>
                    <a:lnTo>
                      <a:pt x="71" y="469"/>
                    </a:lnTo>
                    <a:lnTo>
                      <a:pt x="68" y="468"/>
                    </a:lnTo>
                    <a:lnTo>
                      <a:pt x="67" y="468"/>
                    </a:lnTo>
                    <a:lnTo>
                      <a:pt x="68" y="465"/>
                    </a:lnTo>
                    <a:lnTo>
                      <a:pt x="68" y="464"/>
                    </a:lnTo>
                    <a:lnTo>
                      <a:pt x="69" y="459"/>
                    </a:lnTo>
                    <a:lnTo>
                      <a:pt x="70" y="456"/>
                    </a:lnTo>
                    <a:lnTo>
                      <a:pt x="68" y="455"/>
                    </a:lnTo>
                    <a:lnTo>
                      <a:pt x="69" y="452"/>
                    </a:lnTo>
                    <a:lnTo>
                      <a:pt x="65" y="448"/>
                    </a:lnTo>
                    <a:lnTo>
                      <a:pt x="64" y="448"/>
                    </a:lnTo>
                    <a:lnTo>
                      <a:pt x="61" y="452"/>
                    </a:lnTo>
                    <a:lnTo>
                      <a:pt x="61" y="451"/>
                    </a:lnTo>
                    <a:lnTo>
                      <a:pt x="63" y="450"/>
                    </a:lnTo>
                    <a:lnTo>
                      <a:pt x="64" y="445"/>
                    </a:lnTo>
                    <a:lnTo>
                      <a:pt x="63" y="444"/>
                    </a:lnTo>
                    <a:lnTo>
                      <a:pt x="63" y="443"/>
                    </a:lnTo>
                    <a:lnTo>
                      <a:pt x="65" y="437"/>
                    </a:lnTo>
                    <a:lnTo>
                      <a:pt x="64" y="433"/>
                    </a:lnTo>
                    <a:lnTo>
                      <a:pt x="66" y="431"/>
                    </a:lnTo>
                    <a:lnTo>
                      <a:pt x="68" y="428"/>
                    </a:lnTo>
                    <a:lnTo>
                      <a:pt x="68" y="421"/>
                    </a:lnTo>
                    <a:lnTo>
                      <a:pt x="69" y="420"/>
                    </a:lnTo>
                    <a:lnTo>
                      <a:pt x="70" y="417"/>
                    </a:lnTo>
                    <a:lnTo>
                      <a:pt x="69" y="415"/>
                    </a:lnTo>
                    <a:lnTo>
                      <a:pt x="67" y="416"/>
                    </a:lnTo>
                    <a:lnTo>
                      <a:pt x="65" y="414"/>
                    </a:lnTo>
                    <a:lnTo>
                      <a:pt x="65" y="412"/>
                    </a:lnTo>
                    <a:lnTo>
                      <a:pt x="63" y="411"/>
                    </a:lnTo>
                    <a:lnTo>
                      <a:pt x="61" y="412"/>
                    </a:lnTo>
                    <a:lnTo>
                      <a:pt x="58" y="411"/>
                    </a:lnTo>
                    <a:lnTo>
                      <a:pt x="58" y="409"/>
                    </a:lnTo>
                    <a:lnTo>
                      <a:pt x="60" y="409"/>
                    </a:lnTo>
                    <a:lnTo>
                      <a:pt x="60" y="408"/>
                    </a:lnTo>
                    <a:lnTo>
                      <a:pt x="57" y="407"/>
                    </a:lnTo>
                    <a:lnTo>
                      <a:pt x="57" y="406"/>
                    </a:lnTo>
                    <a:lnTo>
                      <a:pt x="55" y="406"/>
                    </a:lnTo>
                    <a:lnTo>
                      <a:pt x="53" y="405"/>
                    </a:lnTo>
                    <a:lnTo>
                      <a:pt x="52" y="405"/>
                    </a:lnTo>
                    <a:lnTo>
                      <a:pt x="52" y="402"/>
                    </a:lnTo>
                    <a:lnTo>
                      <a:pt x="50" y="401"/>
                    </a:lnTo>
                    <a:lnTo>
                      <a:pt x="53" y="402"/>
                    </a:lnTo>
                    <a:lnTo>
                      <a:pt x="56" y="405"/>
                    </a:lnTo>
                    <a:lnTo>
                      <a:pt x="59" y="405"/>
                    </a:lnTo>
                    <a:lnTo>
                      <a:pt x="60" y="404"/>
                    </a:lnTo>
                    <a:lnTo>
                      <a:pt x="61" y="404"/>
                    </a:lnTo>
                    <a:lnTo>
                      <a:pt x="63" y="403"/>
                    </a:lnTo>
                    <a:lnTo>
                      <a:pt x="61" y="403"/>
                    </a:lnTo>
                    <a:lnTo>
                      <a:pt x="60" y="397"/>
                    </a:lnTo>
                    <a:lnTo>
                      <a:pt x="56" y="396"/>
                    </a:lnTo>
                    <a:lnTo>
                      <a:pt x="55" y="394"/>
                    </a:lnTo>
                    <a:lnTo>
                      <a:pt x="56" y="392"/>
                    </a:lnTo>
                    <a:lnTo>
                      <a:pt x="55" y="391"/>
                    </a:lnTo>
                    <a:lnTo>
                      <a:pt x="56" y="390"/>
                    </a:lnTo>
                    <a:lnTo>
                      <a:pt x="57" y="391"/>
                    </a:lnTo>
                    <a:lnTo>
                      <a:pt x="57" y="392"/>
                    </a:lnTo>
                    <a:lnTo>
                      <a:pt x="58" y="391"/>
                    </a:lnTo>
                    <a:lnTo>
                      <a:pt x="59" y="391"/>
                    </a:lnTo>
                    <a:lnTo>
                      <a:pt x="60" y="391"/>
                    </a:lnTo>
                    <a:lnTo>
                      <a:pt x="63" y="390"/>
                    </a:lnTo>
                    <a:lnTo>
                      <a:pt x="64" y="391"/>
                    </a:lnTo>
                    <a:lnTo>
                      <a:pt x="67" y="388"/>
                    </a:lnTo>
                    <a:lnTo>
                      <a:pt x="65" y="388"/>
                    </a:lnTo>
                    <a:lnTo>
                      <a:pt x="65" y="386"/>
                    </a:lnTo>
                    <a:lnTo>
                      <a:pt x="63" y="386"/>
                    </a:lnTo>
                    <a:lnTo>
                      <a:pt x="62" y="385"/>
                    </a:lnTo>
                    <a:lnTo>
                      <a:pt x="60" y="386"/>
                    </a:lnTo>
                    <a:lnTo>
                      <a:pt x="61" y="384"/>
                    </a:lnTo>
                    <a:lnTo>
                      <a:pt x="60" y="384"/>
                    </a:lnTo>
                    <a:lnTo>
                      <a:pt x="58" y="385"/>
                    </a:lnTo>
                    <a:lnTo>
                      <a:pt x="58" y="384"/>
                    </a:lnTo>
                    <a:lnTo>
                      <a:pt x="57" y="384"/>
                    </a:lnTo>
                    <a:lnTo>
                      <a:pt x="56" y="386"/>
                    </a:lnTo>
                    <a:lnTo>
                      <a:pt x="55" y="386"/>
                    </a:lnTo>
                    <a:lnTo>
                      <a:pt x="55" y="388"/>
                    </a:lnTo>
                    <a:lnTo>
                      <a:pt x="53" y="387"/>
                    </a:lnTo>
                    <a:lnTo>
                      <a:pt x="52" y="383"/>
                    </a:lnTo>
                    <a:lnTo>
                      <a:pt x="53" y="384"/>
                    </a:lnTo>
                    <a:lnTo>
                      <a:pt x="53" y="383"/>
                    </a:lnTo>
                    <a:lnTo>
                      <a:pt x="52" y="382"/>
                    </a:lnTo>
                    <a:lnTo>
                      <a:pt x="54" y="380"/>
                    </a:lnTo>
                    <a:lnTo>
                      <a:pt x="53" y="378"/>
                    </a:lnTo>
                    <a:lnTo>
                      <a:pt x="54" y="376"/>
                    </a:lnTo>
                    <a:lnTo>
                      <a:pt x="58" y="374"/>
                    </a:lnTo>
                    <a:lnTo>
                      <a:pt x="61" y="368"/>
                    </a:lnTo>
                    <a:lnTo>
                      <a:pt x="71" y="365"/>
                    </a:lnTo>
                    <a:lnTo>
                      <a:pt x="73" y="364"/>
                    </a:lnTo>
                    <a:lnTo>
                      <a:pt x="75" y="364"/>
                    </a:lnTo>
                    <a:lnTo>
                      <a:pt x="74" y="364"/>
                    </a:lnTo>
                    <a:lnTo>
                      <a:pt x="74" y="367"/>
                    </a:lnTo>
                    <a:lnTo>
                      <a:pt x="76" y="368"/>
                    </a:lnTo>
                    <a:lnTo>
                      <a:pt x="77" y="370"/>
                    </a:lnTo>
                    <a:lnTo>
                      <a:pt x="77" y="371"/>
                    </a:lnTo>
                    <a:lnTo>
                      <a:pt x="79" y="371"/>
                    </a:lnTo>
                    <a:lnTo>
                      <a:pt x="80" y="371"/>
                    </a:lnTo>
                    <a:lnTo>
                      <a:pt x="81" y="369"/>
                    </a:lnTo>
                    <a:lnTo>
                      <a:pt x="81" y="368"/>
                    </a:lnTo>
                    <a:lnTo>
                      <a:pt x="82" y="367"/>
                    </a:lnTo>
                    <a:lnTo>
                      <a:pt x="82" y="365"/>
                    </a:lnTo>
                    <a:lnTo>
                      <a:pt x="84" y="364"/>
                    </a:lnTo>
                    <a:lnTo>
                      <a:pt x="85" y="361"/>
                    </a:lnTo>
                    <a:lnTo>
                      <a:pt x="86" y="361"/>
                    </a:lnTo>
                    <a:lnTo>
                      <a:pt x="89" y="361"/>
                    </a:lnTo>
                    <a:lnTo>
                      <a:pt x="89" y="360"/>
                    </a:lnTo>
                    <a:lnTo>
                      <a:pt x="90" y="360"/>
                    </a:lnTo>
                    <a:lnTo>
                      <a:pt x="91" y="360"/>
                    </a:lnTo>
                    <a:lnTo>
                      <a:pt x="93" y="358"/>
                    </a:lnTo>
                    <a:lnTo>
                      <a:pt x="93" y="359"/>
                    </a:lnTo>
                    <a:lnTo>
                      <a:pt x="95" y="356"/>
                    </a:lnTo>
                    <a:lnTo>
                      <a:pt x="95" y="354"/>
                    </a:lnTo>
                    <a:lnTo>
                      <a:pt x="93" y="353"/>
                    </a:lnTo>
                    <a:lnTo>
                      <a:pt x="92" y="352"/>
                    </a:lnTo>
                    <a:lnTo>
                      <a:pt x="91" y="351"/>
                    </a:lnTo>
                    <a:lnTo>
                      <a:pt x="90" y="352"/>
                    </a:lnTo>
                    <a:lnTo>
                      <a:pt x="89" y="352"/>
                    </a:lnTo>
                    <a:lnTo>
                      <a:pt x="87" y="354"/>
                    </a:lnTo>
                    <a:lnTo>
                      <a:pt x="86" y="353"/>
                    </a:lnTo>
                    <a:lnTo>
                      <a:pt x="87" y="350"/>
                    </a:lnTo>
                    <a:lnTo>
                      <a:pt x="90" y="349"/>
                    </a:lnTo>
                    <a:lnTo>
                      <a:pt x="92" y="344"/>
                    </a:lnTo>
                    <a:lnTo>
                      <a:pt x="92" y="341"/>
                    </a:lnTo>
                    <a:lnTo>
                      <a:pt x="91" y="339"/>
                    </a:lnTo>
                    <a:lnTo>
                      <a:pt x="91" y="338"/>
                    </a:lnTo>
                    <a:lnTo>
                      <a:pt x="90" y="335"/>
                    </a:lnTo>
                    <a:lnTo>
                      <a:pt x="91" y="333"/>
                    </a:lnTo>
                    <a:lnTo>
                      <a:pt x="95" y="333"/>
                    </a:lnTo>
                    <a:lnTo>
                      <a:pt x="95" y="331"/>
                    </a:lnTo>
                    <a:lnTo>
                      <a:pt x="97" y="330"/>
                    </a:lnTo>
                    <a:lnTo>
                      <a:pt x="96" y="330"/>
                    </a:lnTo>
                    <a:lnTo>
                      <a:pt x="97" y="326"/>
                    </a:lnTo>
                    <a:lnTo>
                      <a:pt x="95" y="324"/>
                    </a:lnTo>
                    <a:lnTo>
                      <a:pt x="95" y="321"/>
                    </a:lnTo>
                    <a:lnTo>
                      <a:pt x="98" y="318"/>
                    </a:lnTo>
                    <a:lnTo>
                      <a:pt x="97" y="316"/>
                    </a:lnTo>
                    <a:lnTo>
                      <a:pt x="96" y="314"/>
                    </a:lnTo>
                    <a:lnTo>
                      <a:pt x="97" y="313"/>
                    </a:lnTo>
                    <a:lnTo>
                      <a:pt x="98" y="314"/>
                    </a:lnTo>
                    <a:lnTo>
                      <a:pt x="100" y="310"/>
                    </a:lnTo>
                    <a:lnTo>
                      <a:pt x="99" y="308"/>
                    </a:lnTo>
                    <a:lnTo>
                      <a:pt x="100" y="308"/>
                    </a:lnTo>
                    <a:lnTo>
                      <a:pt x="100" y="304"/>
                    </a:lnTo>
                    <a:lnTo>
                      <a:pt x="101" y="304"/>
                    </a:lnTo>
                    <a:lnTo>
                      <a:pt x="102" y="304"/>
                    </a:lnTo>
                    <a:lnTo>
                      <a:pt x="103" y="304"/>
                    </a:lnTo>
                    <a:lnTo>
                      <a:pt x="104" y="304"/>
                    </a:lnTo>
                    <a:lnTo>
                      <a:pt x="105" y="304"/>
                    </a:lnTo>
                    <a:lnTo>
                      <a:pt x="106" y="304"/>
                    </a:lnTo>
                    <a:lnTo>
                      <a:pt x="106" y="306"/>
                    </a:lnTo>
                    <a:lnTo>
                      <a:pt x="107" y="305"/>
                    </a:lnTo>
                    <a:lnTo>
                      <a:pt x="107" y="299"/>
                    </a:lnTo>
                    <a:lnTo>
                      <a:pt x="107" y="293"/>
                    </a:lnTo>
                    <a:lnTo>
                      <a:pt x="106" y="291"/>
                    </a:lnTo>
                    <a:lnTo>
                      <a:pt x="107" y="289"/>
                    </a:lnTo>
                    <a:lnTo>
                      <a:pt x="107" y="287"/>
                    </a:lnTo>
                    <a:lnTo>
                      <a:pt x="106" y="287"/>
                    </a:lnTo>
                    <a:lnTo>
                      <a:pt x="105" y="286"/>
                    </a:lnTo>
                    <a:lnTo>
                      <a:pt x="106" y="284"/>
                    </a:lnTo>
                    <a:lnTo>
                      <a:pt x="107" y="283"/>
                    </a:lnTo>
                    <a:lnTo>
                      <a:pt x="107" y="280"/>
                    </a:lnTo>
                    <a:lnTo>
                      <a:pt x="106" y="280"/>
                    </a:lnTo>
                    <a:lnTo>
                      <a:pt x="107" y="278"/>
                    </a:lnTo>
                    <a:lnTo>
                      <a:pt x="110" y="277"/>
                    </a:lnTo>
                    <a:lnTo>
                      <a:pt x="106" y="277"/>
                    </a:lnTo>
                    <a:lnTo>
                      <a:pt x="104" y="276"/>
                    </a:lnTo>
                    <a:lnTo>
                      <a:pt x="100" y="272"/>
                    </a:lnTo>
                    <a:lnTo>
                      <a:pt x="98" y="269"/>
                    </a:lnTo>
                    <a:lnTo>
                      <a:pt x="93" y="268"/>
                    </a:lnTo>
                    <a:lnTo>
                      <a:pt x="92" y="267"/>
                    </a:lnTo>
                    <a:lnTo>
                      <a:pt x="89" y="268"/>
                    </a:lnTo>
                    <a:lnTo>
                      <a:pt x="87" y="267"/>
                    </a:lnTo>
                    <a:lnTo>
                      <a:pt x="87" y="266"/>
                    </a:lnTo>
                    <a:lnTo>
                      <a:pt x="89" y="267"/>
                    </a:lnTo>
                    <a:lnTo>
                      <a:pt x="90" y="262"/>
                    </a:lnTo>
                    <a:lnTo>
                      <a:pt x="90" y="260"/>
                    </a:lnTo>
                    <a:lnTo>
                      <a:pt x="90" y="259"/>
                    </a:lnTo>
                    <a:lnTo>
                      <a:pt x="90" y="256"/>
                    </a:lnTo>
                    <a:lnTo>
                      <a:pt x="87" y="256"/>
                    </a:lnTo>
                    <a:lnTo>
                      <a:pt x="85" y="255"/>
                    </a:lnTo>
                    <a:lnTo>
                      <a:pt x="83" y="254"/>
                    </a:lnTo>
                    <a:lnTo>
                      <a:pt x="79" y="254"/>
                    </a:lnTo>
                    <a:lnTo>
                      <a:pt x="77" y="255"/>
                    </a:lnTo>
                    <a:lnTo>
                      <a:pt x="77" y="252"/>
                    </a:lnTo>
                    <a:lnTo>
                      <a:pt x="76" y="248"/>
                    </a:lnTo>
                    <a:lnTo>
                      <a:pt x="74" y="247"/>
                    </a:lnTo>
                    <a:lnTo>
                      <a:pt x="73" y="248"/>
                    </a:lnTo>
                    <a:lnTo>
                      <a:pt x="73" y="247"/>
                    </a:lnTo>
                    <a:lnTo>
                      <a:pt x="71" y="244"/>
                    </a:lnTo>
                    <a:lnTo>
                      <a:pt x="70" y="244"/>
                    </a:lnTo>
                    <a:lnTo>
                      <a:pt x="70" y="238"/>
                    </a:lnTo>
                    <a:lnTo>
                      <a:pt x="68" y="237"/>
                    </a:lnTo>
                    <a:lnTo>
                      <a:pt x="67" y="235"/>
                    </a:lnTo>
                    <a:lnTo>
                      <a:pt x="66" y="235"/>
                    </a:lnTo>
                    <a:lnTo>
                      <a:pt x="65" y="234"/>
                    </a:lnTo>
                    <a:lnTo>
                      <a:pt x="63" y="236"/>
                    </a:lnTo>
                    <a:lnTo>
                      <a:pt x="62" y="236"/>
                    </a:lnTo>
                    <a:lnTo>
                      <a:pt x="61" y="235"/>
                    </a:lnTo>
                    <a:lnTo>
                      <a:pt x="60" y="236"/>
                    </a:lnTo>
                    <a:lnTo>
                      <a:pt x="61" y="237"/>
                    </a:lnTo>
                    <a:lnTo>
                      <a:pt x="53" y="237"/>
                    </a:lnTo>
                    <a:lnTo>
                      <a:pt x="52" y="236"/>
                    </a:lnTo>
                    <a:lnTo>
                      <a:pt x="43" y="234"/>
                    </a:lnTo>
                    <a:lnTo>
                      <a:pt x="43" y="233"/>
                    </a:lnTo>
                    <a:lnTo>
                      <a:pt x="42" y="232"/>
                    </a:lnTo>
                    <a:lnTo>
                      <a:pt x="42" y="231"/>
                    </a:lnTo>
                    <a:lnTo>
                      <a:pt x="40" y="229"/>
                    </a:lnTo>
                    <a:lnTo>
                      <a:pt x="41" y="228"/>
                    </a:lnTo>
                    <a:lnTo>
                      <a:pt x="40" y="227"/>
                    </a:lnTo>
                    <a:lnTo>
                      <a:pt x="38" y="226"/>
                    </a:lnTo>
                    <a:lnTo>
                      <a:pt x="37" y="224"/>
                    </a:lnTo>
                    <a:lnTo>
                      <a:pt x="36" y="224"/>
                    </a:lnTo>
                    <a:lnTo>
                      <a:pt x="35" y="223"/>
                    </a:lnTo>
                    <a:lnTo>
                      <a:pt x="32" y="223"/>
                    </a:lnTo>
                    <a:lnTo>
                      <a:pt x="31" y="220"/>
                    </a:lnTo>
                    <a:lnTo>
                      <a:pt x="29" y="220"/>
                    </a:lnTo>
                    <a:lnTo>
                      <a:pt x="27" y="219"/>
                    </a:lnTo>
                    <a:lnTo>
                      <a:pt x="28" y="215"/>
                    </a:lnTo>
                    <a:lnTo>
                      <a:pt x="29" y="216"/>
                    </a:lnTo>
                    <a:lnTo>
                      <a:pt x="30" y="215"/>
                    </a:lnTo>
                    <a:lnTo>
                      <a:pt x="34" y="215"/>
                    </a:lnTo>
                    <a:lnTo>
                      <a:pt x="37" y="217"/>
                    </a:lnTo>
                    <a:lnTo>
                      <a:pt x="37" y="216"/>
                    </a:lnTo>
                    <a:lnTo>
                      <a:pt x="35" y="215"/>
                    </a:lnTo>
                    <a:lnTo>
                      <a:pt x="34" y="215"/>
                    </a:lnTo>
                    <a:lnTo>
                      <a:pt x="33" y="210"/>
                    </a:lnTo>
                    <a:lnTo>
                      <a:pt x="32" y="210"/>
                    </a:lnTo>
                    <a:lnTo>
                      <a:pt x="27" y="210"/>
                    </a:lnTo>
                    <a:lnTo>
                      <a:pt x="25" y="212"/>
                    </a:lnTo>
                    <a:lnTo>
                      <a:pt x="23" y="212"/>
                    </a:lnTo>
                    <a:lnTo>
                      <a:pt x="22" y="211"/>
                    </a:lnTo>
                    <a:lnTo>
                      <a:pt x="22" y="210"/>
                    </a:lnTo>
                    <a:lnTo>
                      <a:pt x="22" y="209"/>
                    </a:lnTo>
                    <a:lnTo>
                      <a:pt x="21" y="209"/>
                    </a:lnTo>
                    <a:lnTo>
                      <a:pt x="20" y="207"/>
                    </a:lnTo>
                    <a:lnTo>
                      <a:pt x="19" y="209"/>
                    </a:lnTo>
                    <a:lnTo>
                      <a:pt x="13" y="207"/>
                    </a:lnTo>
                    <a:lnTo>
                      <a:pt x="12" y="210"/>
                    </a:lnTo>
                    <a:lnTo>
                      <a:pt x="11" y="210"/>
                    </a:lnTo>
                    <a:lnTo>
                      <a:pt x="9" y="212"/>
                    </a:lnTo>
                    <a:lnTo>
                      <a:pt x="7" y="212"/>
                    </a:lnTo>
                    <a:lnTo>
                      <a:pt x="7" y="209"/>
                    </a:lnTo>
                    <a:lnTo>
                      <a:pt x="3" y="209"/>
                    </a:lnTo>
                    <a:lnTo>
                      <a:pt x="1" y="209"/>
                    </a:lnTo>
                    <a:lnTo>
                      <a:pt x="0" y="209"/>
                    </a:lnTo>
                    <a:lnTo>
                      <a:pt x="0" y="207"/>
                    </a:lnTo>
                    <a:lnTo>
                      <a:pt x="2" y="205"/>
                    </a:lnTo>
                    <a:lnTo>
                      <a:pt x="2" y="203"/>
                    </a:lnTo>
                    <a:lnTo>
                      <a:pt x="4" y="202"/>
                    </a:lnTo>
                    <a:lnTo>
                      <a:pt x="5" y="202"/>
                    </a:lnTo>
                    <a:lnTo>
                      <a:pt x="4" y="200"/>
                    </a:lnTo>
                    <a:lnTo>
                      <a:pt x="6" y="198"/>
                    </a:lnTo>
                    <a:lnTo>
                      <a:pt x="6" y="196"/>
                    </a:lnTo>
                    <a:lnTo>
                      <a:pt x="8" y="197"/>
                    </a:lnTo>
                    <a:lnTo>
                      <a:pt x="11" y="197"/>
                    </a:lnTo>
                    <a:lnTo>
                      <a:pt x="11" y="193"/>
                    </a:lnTo>
                    <a:lnTo>
                      <a:pt x="11" y="190"/>
                    </a:lnTo>
                    <a:lnTo>
                      <a:pt x="9" y="189"/>
                    </a:lnTo>
                    <a:lnTo>
                      <a:pt x="8" y="186"/>
                    </a:lnTo>
                    <a:lnTo>
                      <a:pt x="6" y="188"/>
                    </a:lnTo>
                    <a:lnTo>
                      <a:pt x="6" y="186"/>
                    </a:lnTo>
                    <a:lnTo>
                      <a:pt x="6" y="183"/>
                    </a:lnTo>
                    <a:lnTo>
                      <a:pt x="7" y="180"/>
                    </a:lnTo>
                    <a:lnTo>
                      <a:pt x="6" y="179"/>
                    </a:lnTo>
                    <a:lnTo>
                      <a:pt x="8" y="178"/>
                    </a:lnTo>
                    <a:lnTo>
                      <a:pt x="9" y="179"/>
                    </a:lnTo>
                    <a:lnTo>
                      <a:pt x="11" y="177"/>
                    </a:lnTo>
                    <a:lnTo>
                      <a:pt x="12" y="177"/>
                    </a:lnTo>
                    <a:lnTo>
                      <a:pt x="12" y="175"/>
                    </a:lnTo>
                    <a:lnTo>
                      <a:pt x="16" y="175"/>
                    </a:lnTo>
                    <a:lnTo>
                      <a:pt x="16" y="176"/>
                    </a:lnTo>
                    <a:lnTo>
                      <a:pt x="20" y="178"/>
                    </a:lnTo>
                    <a:lnTo>
                      <a:pt x="22" y="178"/>
                    </a:lnTo>
                    <a:lnTo>
                      <a:pt x="22" y="176"/>
                    </a:lnTo>
                    <a:lnTo>
                      <a:pt x="22" y="175"/>
                    </a:lnTo>
                    <a:lnTo>
                      <a:pt x="22" y="174"/>
                    </a:lnTo>
                    <a:lnTo>
                      <a:pt x="23" y="175"/>
                    </a:lnTo>
                    <a:lnTo>
                      <a:pt x="25" y="175"/>
                    </a:lnTo>
                    <a:lnTo>
                      <a:pt x="25" y="171"/>
                    </a:lnTo>
                    <a:lnTo>
                      <a:pt x="25" y="170"/>
                    </a:lnTo>
                    <a:lnTo>
                      <a:pt x="25" y="166"/>
                    </a:lnTo>
                    <a:lnTo>
                      <a:pt x="25" y="167"/>
                    </a:lnTo>
                    <a:lnTo>
                      <a:pt x="26" y="167"/>
                    </a:lnTo>
                    <a:lnTo>
                      <a:pt x="27" y="169"/>
                    </a:lnTo>
                    <a:lnTo>
                      <a:pt x="28" y="169"/>
                    </a:lnTo>
                    <a:lnTo>
                      <a:pt x="30" y="170"/>
                    </a:lnTo>
                    <a:lnTo>
                      <a:pt x="31" y="168"/>
                    </a:lnTo>
                    <a:lnTo>
                      <a:pt x="31" y="165"/>
                    </a:lnTo>
                    <a:lnTo>
                      <a:pt x="31" y="163"/>
                    </a:lnTo>
                    <a:lnTo>
                      <a:pt x="29" y="162"/>
                    </a:lnTo>
                    <a:lnTo>
                      <a:pt x="33" y="162"/>
                    </a:lnTo>
                    <a:lnTo>
                      <a:pt x="33" y="159"/>
                    </a:lnTo>
                    <a:lnTo>
                      <a:pt x="32" y="155"/>
                    </a:lnTo>
                    <a:lnTo>
                      <a:pt x="33" y="154"/>
                    </a:lnTo>
                    <a:lnTo>
                      <a:pt x="33" y="150"/>
                    </a:lnTo>
                    <a:lnTo>
                      <a:pt x="34" y="152"/>
                    </a:lnTo>
                    <a:lnTo>
                      <a:pt x="37" y="152"/>
                    </a:lnTo>
                    <a:lnTo>
                      <a:pt x="38" y="151"/>
                    </a:lnTo>
                    <a:lnTo>
                      <a:pt x="38" y="150"/>
                    </a:lnTo>
                    <a:lnTo>
                      <a:pt x="40" y="150"/>
                    </a:lnTo>
                    <a:lnTo>
                      <a:pt x="40" y="149"/>
                    </a:lnTo>
                    <a:lnTo>
                      <a:pt x="41" y="149"/>
                    </a:lnTo>
                    <a:lnTo>
                      <a:pt x="41" y="148"/>
                    </a:lnTo>
                    <a:lnTo>
                      <a:pt x="41" y="146"/>
                    </a:lnTo>
                    <a:lnTo>
                      <a:pt x="43" y="146"/>
                    </a:lnTo>
                    <a:lnTo>
                      <a:pt x="43" y="145"/>
                    </a:lnTo>
                    <a:lnTo>
                      <a:pt x="46" y="145"/>
                    </a:lnTo>
                    <a:lnTo>
                      <a:pt x="47" y="142"/>
                    </a:lnTo>
                    <a:lnTo>
                      <a:pt x="50" y="142"/>
                    </a:lnTo>
                    <a:lnTo>
                      <a:pt x="52" y="142"/>
                    </a:lnTo>
                    <a:lnTo>
                      <a:pt x="52" y="141"/>
                    </a:lnTo>
                    <a:lnTo>
                      <a:pt x="53" y="141"/>
                    </a:lnTo>
                    <a:lnTo>
                      <a:pt x="55" y="145"/>
                    </a:lnTo>
                    <a:lnTo>
                      <a:pt x="57" y="146"/>
                    </a:lnTo>
                    <a:lnTo>
                      <a:pt x="58" y="145"/>
                    </a:lnTo>
                    <a:lnTo>
                      <a:pt x="61" y="145"/>
                    </a:lnTo>
                    <a:lnTo>
                      <a:pt x="64" y="142"/>
                    </a:lnTo>
                    <a:lnTo>
                      <a:pt x="66" y="144"/>
                    </a:lnTo>
                    <a:lnTo>
                      <a:pt x="66" y="142"/>
                    </a:lnTo>
                    <a:lnTo>
                      <a:pt x="71" y="140"/>
                    </a:lnTo>
                    <a:lnTo>
                      <a:pt x="70" y="137"/>
                    </a:lnTo>
                    <a:lnTo>
                      <a:pt x="73" y="138"/>
                    </a:lnTo>
                    <a:lnTo>
                      <a:pt x="74" y="137"/>
                    </a:lnTo>
                    <a:lnTo>
                      <a:pt x="76" y="134"/>
                    </a:lnTo>
                    <a:lnTo>
                      <a:pt x="76" y="133"/>
                    </a:lnTo>
                    <a:lnTo>
                      <a:pt x="78" y="133"/>
                    </a:lnTo>
                    <a:lnTo>
                      <a:pt x="80" y="132"/>
                    </a:lnTo>
                    <a:lnTo>
                      <a:pt x="85" y="126"/>
                    </a:lnTo>
                    <a:lnTo>
                      <a:pt x="86" y="127"/>
                    </a:lnTo>
                    <a:lnTo>
                      <a:pt x="85" y="128"/>
                    </a:lnTo>
                    <a:lnTo>
                      <a:pt x="85" y="133"/>
                    </a:lnTo>
                    <a:lnTo>
                      <a:pt x="89" y="132"/>
                    </a:lnTo>
                    <a:lnTo>
                      <a:pt x="90" y="133"/>
                    </a:lnTo>
                    <a:lnTo>
                      <a:pt x="92" y="135"/>
                    </a:lnTo>
                    <a:lnTo>
                      <a:pt x="93" y="135"/>
                    </a:lnTo>
                    <a:lnTo>
                      <a:pt x="97" y="133"/>
                    </a:lnTo>
                    <a:lnTo>
                      <a:pt x="104" y="135"/>
                    </a:lnTo>
                    <a:lnTo>
                      <a:pt x="106" y="136"/>
                    </a:lnTo>
                    <a:lnTo>
                      <a:pt x="107" y="133"/>
                    </a:lnTo>
                    <a:lnTo>
                      <a:pt x="108" y="131"/>
                    </a:lnTo>
                    <a:lnTo>
                      <a:pt x="109" y="132"/>
                    </a:lnTo>
                    <a:lnTo>
                      <a:pt x="110" y="129"/>
                    </a:lnTo>
                    <a:lnTo>
                      <a:pt x="111" y="130"/>
                    </a:lnTo>
                    <a:lnTo>
                      <a:pt x="110" y="133"/>
                    </a:lnTo>
                    <a:lnTo>
                      <a:pt x="112" y="133"/>
                    </a:lnTo>
                    <a:lnTo>
                      <a:pt x="113" y="131"/>
                    </a:lnTo>
                    <a:lnTo>
                      <a:pt x="114" y="131"/>
                    </a:lnTo>
                    <a:lnTo>
                      <a:pt x="118" y="127"/>
                    </a:lnTo>
                    <a:lnTo>
                      <a:pt x="120" y="124"/>
                    </a:lnTo>
                    <a:lnTo>
                      <a:pt x="122" y="122"/>
                    </a:lnTo>
                    <a:lnTo>
                      <a:pt x="123" y="122"/>
                    </a:lnTo>
                    <a:lnTo>
                      <a:pt x="125" y="120"/>
                    </a:lnTo>
                    <a:lnTo>
                      <a:pt x="126" y="120"/>
                    </a:lnTo>
                    <a:lnTo>
                      <a:pt x="128" y="123"/>
                    </a:lnTo>
                    <a:lnTo>
                      <a:pt x="128" y="122"/>
                    </a:lnTo>
                    <a:lnTo>
                      <a:pt x="129" y="122"/>
                    </a:lnTo>
                    <a:lnTo>
                      <a:pt x="131" y="128"/>
                    </a:lnTo>
                    <a:lnTo>
                      <a:pt x="130" y="131"/>
                    </a:lnTo>
                    <a:lnTo>
                      <a:pt x="131" y="132"/>
                    </a:lnTo>
                    <a:lnTo>
                      <a:pt x="138" y="132"/>
                    </a:lnTo>
                    <a:lnTo>
                      <a:pt x="138" y="128"/>
                    </a:lnTo>
                    <a:lnTo>
                      <a:pt x="139" y="127"/>
                    </a:lnTo>
                    <a:lnTo>
                      <a:pt x="139" y="124"/>
                    </a:lnTo>
                    <a:lnTo>
                      <a:pt x="141" y="122"/>
                    </a:lnTo>
                    <a:lnTo>
                      <a:pt x="143" y="120"/>
                    </a:lnTo>
                    <a:lnTo>
                      <a:pt x="146" y="120"/>
                    </a:lnTo>
                    <a:lnTo>
                      <a:pt x="152" y="119"/>
                    </a:lnTo>
                    <a:lnTo>
                      <a:pt x="153" y="119"/>
                    </a:lnTo>
                    <a:lnTo>
                      <a:pt x="152" y="120"/>
                    </a:lnTo>
                    <a:lnTo>
                      <a:pt x="156" y="119"/>
                    </a:lnTo>
                    <a:lnTo>
                      <a:pt x="157" y="118"/>
                    </a:lnTo>
                    <a:lnTo>
                      <a:pt x="158" y="118"/>
                    </a:lnTo>
                    <a:lnTo>
                      <a:pt x="161" y="117"/>
                    </a:lnTo>
                    <a:lnTo>
                      <a:pt x="161" y="115"/>
                    </a:lnTo>
                    <a:lnTo>
                      <a:pt x="162" y="115"/>
                    </a:lnTo>
                    <a:lnTo>
                      <a:pt x="162" y="114"/>
                    </a:lnTo>
                    <a:lnTo>
                      <a:pt x="164" y="115"/>
                    </a:lnTo>
                    <a:lnTo>
                      <a:pt x="165" y="113"/>
                    </a:lnTo>
                    <a:lnTo>
                      <a:pt x="166" y="112"/>
                    </a:lnTo>
                    <a:lnTo>
                      <a:pt x="166" y="108"/>
                    </a:lnTo>
                    <a:lnTo>
                      <a:pt x="166" y="107"/>
                    </a:lnTo>
                    <a:lnTo>
                      <a:pt x="164" y="107"/>
                    </a:lnTo>
                    <a:lnTo>
                      <a:pt x="165" y="107"/>
                    </a:lnTo>
                    <a:lnTo>
                      <a:pt x="165" y="106"/>
                    </a:lnTo>
                    <a:lnTo>
                      <a:pt x="167" y="107"/>
                    </a:lnTo>
                    <a:lnTo>
                      <a:pt x="170" y="107"/>
                    </a:lnTo>
                    <a:lnTo>
                      <a:pt x="170" y="109"/>
                    </a:lnTo>
                    <a:lnTo>
                      <a:pt x="175" y="109"/>
                    </a:lnTo>
                    <a:lnTo>
                      <a:pt x="176" y="109"/>
                    </a:lnTo>
                    <a:lnTo>
                      <a:pt x="175" y="107"/>
                    </a:lnTo>
                    <a:lnTo>
                      <a:pt x="176" y="107"/>
                    </a:lnTo>
                    <a:lnTo>
                      <a:pt x="175" y="106"/>
                    </a:lnTo>
                    <a:lnTo>
                      <a:pt x="177" y="103"/>
                    </a:lnTo>
                    <a:lnTo>
                      <a:pt x="175" y="101"/>
                    </a:lnTo>
                    <a:lnTo>
                      <a:pt x="174" y="101"/>
                    </a:lnTo>
                    <a:lnTo>
                      <a:pt x="174" y="95"/>
                    </a:lnTo>
                    <a:lnTo>
                      <a:pt x="177" y="94"/>
                    </a:lnTo>
                    <a:lnTo>
                      <a:pt x="178" y="94"/>
                    </a:lnTo>
                    <a:lnTo>
                      <a:pt x="180" y="92"/>
                    </a:lnTo>
                    <a:lnTo>
                      <a:pt x="181" y="92"/>
                    </a:lnTo>
                    <a:lnTo>
                      <a:pt x="182" y="90"/>
                    </a:lnTo>
                    <a:lnTo>
                      <a:pt x="185" y="90"/>
                    </a:lnTo>
                    <a:lnTo>
                      <a:pt x="187" y="93"/>
                    </a:lnTo>
                    <a:lnTo>
                      <a:pt x="188" y="94"/>
                    </a:lnTo>
                    <a:lnTo>
                      <a:pt x="188" y="92"/>
                    </a:lnTo>
                    <a:lnTo>
                      <a:pt x="190" y="92"/>
                    </a:lnTo>
                    <a:lnTo>
                      <a:pt x="190" y="91"/>
                    </a:lnTo>
                    <a:lnTo>
                      <a:pt x="194" y="94"/>
                    </a:lnTo>
                    <a:lnTo>
                      <a:pt x="198" y="95"/>
                    </a:lnTo>
                    <a:lnTo>
                      <a:pt x="198" y="97"/>
                    </a:lnTo>
                    <a:lnTo>
                      <a:pt x="199" y="97"/>
                    </a:lnTo>
                    <a:lnTo>
                      <a:pt x="199" y="98"/>
                    </a:lnTo>
                    <a:lnTo>
                      <a:pt x="200" y="98"/>
                    </a:lnTo>
                    <a:lnTo>
                      <a:pt x="205" y="99"/>
                    </a:lnTo>
                    <a:lnTo>
                      <a:pt x="211" y="99"/>
                    </a:lnTo>
                    <a:lnTo>
                      <a:pt x="211" y="101"/>
                    </a:lnTo>
                    <a:lnTo>
                      <a:pt x="213" y="101"/>
                    </a:lnTo>
                    <a:lnTo>
                      <a:pt x="217" y="102"/>
                    </a:lnTo>
                    <a:lnTo>
                      <a:pt x="218" y="103"/>
                    </a:lnTo>
                    <a:lnTo>
                      <a:pt x="218" y="102"/>
                    </a:lnTo>
                    <a:lnTo>
                      <a:pt x="224" y="102"/>
                    </a:lnTo>
                    <a:lnTo>
                      <a:pt x="225" y="101"/>
                    </a:lnTo>
                    <a:lnTo>
                      <a:pt x="228" y="103"/>
                    </a:lnTo>
                    <a:lnTo>
                      <a:pt x="229" y="100"/>
                    </a:lnTo>
                    <a:lnTo>
                      <a:pt x="229" y="98"/>
                    </a:lnTo>
                    <a:lnTo>
                      <a:pt x="232" y="100"/>
                    </a:lnTo>
                    <a:lnTo>
                      <a:pt x="232" y="101"/>
                    </a:lnTo>
                    <a:lnTo>
                      <a:pt x="233" y="103"/>
                    </a:lnTo>
                    <a:lnTo>
                      <a:pt x="234" y="102"/>
                    </a:lnTo>
                    <a:lnTo>
                      <a:pt x="236" y="104"/>
                    </a:lnTo>
                    <a:lnTo>
                      <a:pt x="236" y="103"/>
                    </a:lnTo>
                    <a:lnTo>
                      <a:pt x="237" y="103"/>
                    </a:lnTo>
                    <a:lnTo>
                      <a:pt x="238" y="101"/>
                    </a:lnTo>
                    <a:lnTo>
                      <a:pt x="243" y="106"/>
                    </a:lnTo>
                    <a:lnTo>
                      <a:pt x="245" y="107"/>
                    </a:lnTo>
                    <a:lnTo>
                      <a:pt x="245" y="108"/>
                    </a:lnTo>
                    <a:lnTo>
                      <a:pt x="246" y="109"/>
                    </a:lnTo>
                    <a:lnTo>
                      <a:pt x="248" y="105"/>
                    </a:lnTo>
                    <a:lnTo>
                      <a:pt x="250" y="103"/>
                    </a:lnTo>
                    <a:lnTo>
                      <a:pt x="250" y="102"/>
                    </a:lnTo>
                    <a:lnTo>
                      <a:pt x="252" y="99"/>
                    </a:lnTo>
                    <a:lnTo>
                      <a:pt x="253" y="99"/>
                    </a:lnTo>
                    <a:lnTo>
                      <a:pt x="255" y="98"/>
                    </a:lnTo>
                    <a:lnTo>
                      <a:pt x="257" y="100"/>
                    </a:lnTo>
                    <a:lnTo>
                      <a:pt x="259" y="101"/>
                    </a:lnTo>
                    <a:lnTo>
                      <a:pt x="260" y="100"/>
                    </a:lnTo>
                    <a:lnTo>
                      <a:pt x="260" y="99"/>
                    </a:lnTo>
                    <a:lnTo>
                      <a:pt x="261" y="101"/>
                    </a:lnTo>
                    <a:lnTo>
                      <a:pt x="263" y="101"/>
                    </a:lnTo>
                    <a:lnTo>
                      <a:pt x="263" y="99"/>
                    </a:lnTo>
                    <a:lnTo>
                      <a:pt x="267" y="100"/>
                    </a:lnTo>
                    <a:lnTo>
                      <a:pt x="267" y="98"/>
                    </a:lnTo>
                    <a:lnTo>
                      <a:pt x="268" y="99"/>
                    </a:lnTo>
                    <a:lnTo>
                      <a:pt x="269" y="98"/>
                    </a:lnTo>
                    <a:lnTo>
                      <a:pt x="272" y="99"/>
                    </a:lnTo>
                    <a:lnTo>
                      <a:pt x="273" y="100"/>
                    </a:lnTo>
                    <a:lnTo>
                      <a:pt x="273" y="101"/>
                    </a:lnTo>
                    <a:lnTo>
                      <a:pt x="274" y="101"/>
                    </a:lnTo>
                    <a:lnTo>
                      <a:pt x="274" y="103"/>
                    </a:lnTo>
                    <a:lnTo>
                      <a:pt x="275" y="102"/>
                    </a:lnTo>
                    <a:lnTo>
                      <a:pt x="276" y="103"/>
                    </a:lnTo>
                    <a:lnTo>
                      <a:pt x="275" y="101"/>
                    </a:lnTo>
                    <a:lnTo>
                      <a:pt x="276" y="101"/>
                    </a:lnTo>
                    <a:lnTo>
                      <a:pt x="276" y="102"/>
                    </a:lnTo>
                    <a:lnTo>
                      <a:pt x="276" y="103"/>
                    </a:lnTo>
                    <a:lnTo>
                      <a:pt x="278" y="102"/>
                    </a:lnTo>
                    <a:lnTo>
                      <a:pt x="281" y="98"/>
                    </a:lnTo>
                    <a:lnTo>
                      <a:pt x="280" y="98"/>
                    </a:lnTo>
                    <a:lnTo>
                      <a:pt x="281" y="96"/>
                    </a:lnTo>
                    <a:lnTo>
                      <a:pt x="280" y="96"/>
                    </a:lnTo>
                    <a:lnTo>
                      <a:pt x="281" y="95"/>
                    </a:lnTo>
                    <a:lnTo>
                      <a:pt x="280" y="95"/>
                    </a:lnTo>
                    <a:lnTo>
                      <a:pt x="280" y="94"/>
                    </a:lnTo>
                    <a:lnTo>
                      <a:pt x="280" y="90"/>
                    </a:lnTo>
                    <a:lnTo>
                      <a:pt x="283" y="92"/>
                    </a:lnTo>
                    <a:lnTo>
                      <a:pt x="283" y="86"/>
                    </a:lnTo>
                    <a:lnTo>
                      <a:pt x="283" y="84"/>
                    </a:lnTo>
                    <a:lnTo>
                      <a:pt x="284" y="84"/>
                    </a:lnTo>
                    <a:lnTo>
                      <a:pt x="284" y="82"/>
                    </a:lnTo>
                    <a:lnTo>
                      <a:pt x="283" y="81"/>
                    </a:lnTo>
                    <a:lnTo>
                      <a:pt x="282" y="81"/>
                    </a:lnTo>
                    <a:lnTo>
                      <a:pt x="282" y="78"/>
                    </a:lnTo>
                    <a:lnTo>
                      <a:pt x="281" y="77"/>
                    </a:lnTo>
                    <a:lnTo>
                      <a:pt x="281" y="76"/>
                    </a:lnTo>
                    <a:lnTo>
                      <a:pt x="283" y="75"/>
                    </a:lnTo>
                    <a:lnTo>
                      <a:pt x="283" y="76"/>
                    </a:lnTo>
                    <a:lnTo>
                      <a:pt x="284" y="75"/>
                    </a:lnTo>
                    <a:lnTo>
                      <a:pt x="283" y="74"/>
                    </a:lnTo>
                    <a:lnTo>
                      <a:pt x="283" y="73"/>
                    </a:lnTo>
                    <a:lnTo>
                      <a:pt x="282" y="71"/>
                    </a:lnTo>
                    <a:lnTo>
                      <a:pt x="283" y="70"/>
                    </a:lnTo>
                    <a:lnTo>
                      <a:pt x="283" y="71"/>
                    </a:lnTo>
                    <a:lnTo>
                      <a:pt x="283" y="69"/>
                    </a:lnTo>
                    <a:lnTo>
                      <a:pt x="283" y="68"/>
                    </a:lnTo>
                    <a:lnTo>
                      <a:pt x="281" y="67"/>
                    </a:lnTo>
                    <a:lnTo>
                      <a:pt x="281" y="66"/>
                    </a:lnTo>
                    <a:lnTo>
                      <a:pt x="283" y="65"/>
                    </a:lnTo>
                    <a:lnTo>
                      <a:pt x="284" y="65"/>
                    </a:lnTo>
                    <a:lnTo>
                      <a:pt x="284" y="64"/>
                    </a:lnTo>
                    <a:lnTo>
                      <a:pt x="286" y="64"/>
                    </a:lnTo>
                    <a:lnTo>
                      <a:pt x="290" y="69"/>
                    </a:lnTo>
                    <a:lnTo>
                      <a:pt x="296" y="72"/>
                    </a:lnTo>
                    <a:lnTo>
                      <a:pt x="296" y="71"/>
                    </a:lnTo>
                    <a:lnTo>
                      <a:pt x="297" y="71"/>
                    </a:lnTo>
                    <a:lnTo>
                      <a:pt x="296" y="70"/>
                    </a:lnTo>
                    <a:lnTo>
                      <a:pt x="297" y="69"/>
                    </a:lnTo>
                    <a:lnTo>
                      <a:pt x="297" y="68"/>
                    </a:lnTo>
                    <a:lnTo>
                      <a:pt x="295" y="68"/>
                    </a:lnTo>
                    <a:lnTo>
                      <a:pt x="294" y="67"/>
                    </a:lnTo>
                    <a:lnTo>
                      <a:pt x="296" y="65"/>
                    </a:lnTo>
                    <a:lnTo>
                      <a:pt x="297" y="67"/>
                    </a:lnTo>
                    <a:lnTo>
                      <a:pt x="298" y="65"/>
                    </a:lnTo>
                    <a:lnTo>
                      <a:pt x="297" y="65"/>
                    </a:lnTo>
                    <a:lnTo>
                      <a:pt x="299" y="64"/>
                    </a:lnTo>
                    <a:lnTo>
                      <a:pt x="299" y="58"/>
                    </a:lnTo>
                    <a:lnTo>
                      <a:pt x="303" y="61"/>
                    </a:lnTo>
                    <a:lnTo>
                      <a:pt x="306" y="61"/>
                    </a:lnTo>
                    <a:lnTo>
                      <a:pt x="306" y="58"/>
                    </a:lnTo>
                    <a:lnTo>
                      <a:pt x="309" y="61"/>
                    </a:lnTo>
                    <a:lnTo>
                      <a:pt x="312" y="61"/>
                    </a:lnTo>
                    <a:lnTo>
                      <a:pt x="312" y="57"/>
                    </a:lnTo>
                    <a:lnTo>
                      <a:pt x="313" y="56"/>
                    </a:lnTo>
                    <a:lnTo>
                      <a:pt x="313" y="54"/>
                    </a:lnTo>
                    <a:lnTo>
                      <a:pt x="313" y="52"/>
                    </a:lnTo>
                    <a:lnTo>
                      <a:pt x="312" y="52"/>
                    </a:lnTo>
                    <a:lnTo>
                      <a:pt x="313" y="52"/>
                    </a:lnTo>
                    <a:lnTo>
                      <a:pt x="313" y="48"/>
                    </a:lnTo>
                    <a:lnTo>
                      <a:pt x="310" y="39"/>
                    </a:lnTo>
                    <a:lnTo>
                      <a:pt x="315" y="38"/>
                    </a:lnTo>
                    <a:lnTo>
                      <a:pt x="315" y="34"/>
                    </a:lnTo>
                    <a:lnTo>
                      <a:pt x="319" y="36"/>
                    </a:lnTo>
                    <a:lnTo>
                      <a:pt x="320" y="36"/>
                    </a:lnTo>
                    <a:lnTo>
                      <a:pt x="319" y="39"/>
                    </a:lnTo>
                    <a:lnTo>
                      <a:pt x="321" y="39"/>
                    </a:lnTo>
                    <a:lnTo>
                      <a:pt x="321" y="40"/>
                    </a:lnTo>
                    <a:lnTo>
                      <a:pt x="322" y="42"/>
                    </a:lnTo>
                    <a:lnTo>
                      <a:pt x="323" y="39"/>
                    </a:lnTo>
                    <a:lnTo>
                      <a:pt x="325" y="35"/>
                    </a:lnTo>
                    <a:lnTo>
                      <a:pt x="330" y="35"/>
                    </a:lnTo>
                    <a:lnTo>
                      <a:pt x="329" y="35"/>
                    </a:lnTo>
                    <a:lnTo>
                      <a:pt x="330" y="37"/>
                    </a:lnTo>
                    <a:lnTo>
                      <a:pt x="330" y="41"/>
                    </a:lnTo>
                    <a:lnTo>
                      <a:pt x="331" y="41"/>
                    </a:lnTo>
                    <a:lnTo>
                      <a:pt x="334" y="43"/>
                    </a:lnTo>
                    <a:lnTo>
                      <a:pt x="336" y="43"/>
                    </a:lnTo>
                    <a:lnTo>
                      <a:pt x="337" y="41"/>
                    </a:lnTo>
                    <a:lnTo>
                      <a:pt x="335" y="39"/>
                    </a:lnTo>
                    <a:lnTo>
                      <a:pt x="335" y="38"/>
                    </a:lnTo>
                    <a:lnTo>
                      <a:pt x="339" y="39"/>
                    </a:lnTo>
                    <a:lnTo>
                      <a:pt x="340" y="38"/>
                    </a:lnTo>
                    <a:lnTo>
                      <a:pt x="341" y="36"/>
                    </a:lnTo>
                    <a:lnTo>
                      <a:pt x="343" y="37"/>
                    </a:lnTo>
                    <a:lnTo>
                      <a:pt x="344" y="37"/>
                    </a:lnTo>
                    <a:lnTo>
                      <a:pt x="343" y="38"/>
                    </a:lnTo>
                    <a:lnTo>
                      <a:pt x="343" y="40"/>
                    </a:lnTo>
                    <a:lnTo>
                      <a:pt x="343" y="41"/>
                    </a:lnTo>
                    <a:lnTo>
                      <a:pt x="345" y="43"/>
                    </a:lnTo>
                    <a:lnTo>
                      <a:pt x="344" y="43"/>
                    </a:lnTo>
                    <a:lnTo>
                      <a:pt x="343" y="44"/>
                    </a:lnTo>
                    <a:lnTo>
                      <a:pt x="342" y="46"/>
                    </a:lnTo>
                    <a:lnTo>
                      <a:pt x="343" y="47"/>
                    </a:lnTo>
                    <a:lnTo>
                      <a:pt x="343" y="51"/>
                    </a:lnTo>
                    <a:lnTo>
                      <a:pt x="345" y="54"/>
                    </a:lnTo>
                    <a:lnTo>
                      <a:pt x="346" y="52"/>
                    </a:lnTo>
                    <a:lnTo>
                      <a:pt x="346" y="53"/>
                    </a:lnTo>
                    <a:lnTo>
                      <a:pt x="347" y="52"/>
                    </a:lnTo>
                    <a:lnTo>
                      <a:pt x="347" y="53"/>
                    </a:lnTo>
                    <a:lnTo>
                      <a:pt x="348" y="53"/>
                    </a:lnTo>
                    <a:lnTo>
                      <a:pt x="348" y="54"/>
                    </a:lnTo>
                    <a:lnTo>
                      <a:pt x="349" y="55"/>
                    </a:lnTo>
                    <a:lnTo>
                      <a:pt x="350" y="56"/>
                    </a:lnTo>
                    <a:lnTo>
                      <a:pt x="351" y="55"/>
                    </a:lnTo>
                    <a:lnTo>
                      <a:pt x="351" y="53"/>
                    </a:lnTo>
                    <a:lnTo>
                      <a:pt x="353" y="51"/>
                    </a:lnTo>
                    <a:lnTo>
                      <a:pt x="353" y="52"/>
                    </a:lnTo>
                    <a:lnTo>
                      <a:pt x="355" y="53"/>
                    </a:lnTo>
                    <a:lnTo>
                      <a:pt x="356" y="53"/>
                    </a:lnTo>
                    <a:lnTo>
                      <a:pt x="356" y="51"/>
                    </a:lnTo>
                    <a:lnTo>
                      <a:pt x="358" y="51"/>
                    </a:lnTo>
                    <a:lnTo>
                      <a:pt x="359" y="53"/>
                    </a:lnTo>
                    <a:lnTo>
                      <a:pt x="361" y="54"/>
                    </a:lnTo>
                    <a:lnTo>
                      <a:pt x="361" y="52"/>
                    </a:lnTo>
                    <a:lnTo>
                      <a:pt x="361" y="51"/>
                    </a:lnTo>
                    <a:lnTo>
                      <a:pt x="365" y="52"/>
                    </a:lnTo>
                    <a:lnTo>
                      <a:pt x="368" y="52"/>
                    </a:lnTo>
                    <a:lnTo>
                      <a:pt x="372" y="55"/>
                    </a:lnTo>
                    <a:lnTo>
                      <a:pt x="372" y="54"/>
                    </a:lnTo>
                    <a:lnTo>
                      <a:pt x="372" y="50"/>
                    </a:lnTo>
                    <a:lnTo>
                      <a:pt x="374" y="49"/>
                    </a:lnTo>
                    <a:lnTo>
                      <a:pt x="374" y="48"/>
                    </a:lnTo>
                    <a:lnTo>
                      <a:pt x="378" y="49"/>
                    </a:lnTo>
                    <a:lnTo>
                      <a:pt x="379" y="48"/>
                    </a:lnTo>
                    <a:lnTo>
                      <a:pt x="381" y="48"/>
                    </a:lnTo>
                    <a:lnTo>
                      <a:pt x="383" y="40"/>
                    </a:lnTo>
                    <a:lnTo>
                      <a:pt x="383" y="39"/>
                    </a:lnTo>
                    <a:lnTo>
                      <a:pt x="390" y="41"/>
                    </a:lnTo>
                    <a:lnTo>
                      <a:pt x="391" y="40"/>
                    </a:lnTo>
                    <a:lnTo>
                      <a:pt x="392" y="36"/>
                    </a:lnTo>
                    <a:lnTo>
                      <a:pt x="391" y="27"/>
                    </a:lnTo>
                    <a:lnTo>
                      <a:pt x="392" y="22"/>
                    </a:lnTo>
                    <a:lnTo>
                      <a:pt x="405" y="27"/>
                    </a:lnTo>
                    <a:lnTo>
                      <a:pt x="411" y="34"/>
                    </a:lnTo>
                    <a:lnTo>
                      <a:pt x="418" y="28"/>
                    </a:lnTo>
                    <a:lnTo>
                      <a:pt x="419" y="28"/>
                    </a:lnTo>
                    <a:lnTo>
                      <a:pt x="420" y="27"/>
                    </a:lnTo>
                    <a:lnTo>
                      <a:pt x="421" y="26"/>
                    </a:lnTo>
                    <a:lnTo>
                      <a:pt x="420" y="24"/>
                    </a:lnTo>
                    <a:lnTo>
                      <a:pt x="418" y="22"/>
                    </a:lnTo>
                    <a:lnTo>
                      <a:pt x="419" y="20"/>
                    </a:lnTo>
                    <a:lnTo>
                      <a:pt x="418" y="19"/>
                    </a:lnTo>
                    <a:lnTo>
                      <a:pt x="423" y="18"/>
                    </a:lnTo>
                    <a:lnTo>
                      <a:pt x="426" y="17"/>
                    </a:lnTo>
                    <a:lnTo>
                      <a:pt x="428" y="17"/>
                    </a:lnTo>
                    <a:lnTo>
                      <a:pt x="429" y="17"/>
                    </a:lnTo>
                    <a:lnTo>
                      <a:pt x="430" y="15"/>
                    </a:lnTo>
                    <a:lnTo>
                      <a:pt x="430" y="17"/>
                    </a:lnTo>
                    <a:lnTo>
                      <a:pt x="433" y="15"/>
                    </a:lnTo>
                    <a:lnTo>
                      <a:pt x="435" y="14"/>
                    </a:lnTo>
                    <a:lnTo>
                      <a:pt x="434" y="11"/>
                    </a:lnTo>
                    <a:lnTo>
                      <a:pt x="435" y="11"/>
                    </a:lnTo>
                    <a:lnTo>
                      <a:pt x="434" y="7"/>
                    </a:lnTo>
                    <a:lnTo>
                      <a:pt x="432" y="7"/>
                    </a:lnTo>
                    <a:lnTo>
                      <a:pt x="435" y="6"/>
                    </a:lnTo>
                    <a:lnTo>
                      <a:pt x="435" y="5"/>
                    </a:lnTo>
                    <a:lnTo>
                      <a:pt x="437" y="6"/>
                    </a:lnTo>
                    <a:lnTo>
                      <a:pt x="437" y="5"/>
                    </a:lnTo>
                    <a:lnTo>
                      <a:pt x="438" y="5"/>
                    </a:lnTo>
                    <a:lnTo>
                      <a:pt x="439" y="6"/>
                    </a:lnTo>
                    <a:lnTo>
                      <a:pt x="437" y="0"/>
                    </a:lnTo>
                    <a:lnTo>
                      <a:pt x="439" y="0"/>
                    </a:lnTo>
                    <a:lnTo>
                      <a:pt x="444" y="1"/>
                    </a:lnTo>
                    <a:lnTo>
                      <a:pt x="443" y="1"/>
                    </a:lnTo>
                    <a:lnTo>
                      <a:pt x="444" y="4"/>
                    </a:lnTo>
                    <a:lnTo>
                      <a:pt x="442" y="5"/>
                    </a:lnTo>
                    <a:lnTo>
                      <a:pt x="443" y="6"/>
                    </a:lnTo>
                    <a:lnTo>
                      <a:pt x="444" y="6"/>
                    </a:lnTo>
                    <a:lnTo>
                      <a:pt x="446" y="7"/>
                    </a:lnTo>
                    <a:lnTo>
                      <a:pt x="446" y="6"/>
                    </a:lnTo>
                    <a:lnTo>
                      <a:pt x="447" y="7"/>
                    </a:lnTo>
                    <a:lnTo>
                      <a:pt x="449" y="11"/>
                    </a:lnTo>
                    <a:lnTo>
                      <a:pt x="447" y="11"/>
                    </a:lnTo>
                    <a:lnTo>
                      <a:pt x="448" y="11"/>
                    </a:lnTo>
                    <a:lnTo>
                      <a:pt x="449" y="13"/>
                    </a:lnTo>
                    <a:lnTo>
                      <a:pt x="451" y="13"/>
                    </a:lnTo>
                    <a:lnTo>
                      <a:pt x="452" y="14"/>
                    </a:lnTo>
                    <a:lnTo>
                      <a:pt x="452" y="11"/>
                    </a:lnTo>
                    <a:lnTo>
                      <a:pt x="454" y="11"/>
                    </a:lnTo>
                    <a:lnTo>
                      <a:pt x="454" y="9"/>
                    </a:lnTo>
                    <a:lnTo>
                      <a:pt x="455" y="8"/>
                    </a:lnTo>
                    <a:lnTo>
                      <a:pt x="456" y="9"/>
                    </a:lnTo>
                    <a:lnTo>
                      <a:pt x="455" y="9"/>
                    </a:lnTo>
                    <a:lnTo>
                      <a:pt x="455" y="10"/>
                    </a:lnTo>
                    <a:lnTo>
                      <a:pt x="457" y="10"/>
                    </a:lnTo>
                    <a:lnTo>
                      <a:pt x="457" y="11"/>
                    </a:lnTo>
                    <a:lnTo>
                      <a:pt x="459" y="11"/>
                    </a:lnTo>
                    <a:lnTo>
                      <a:pt x="460" y="11"/>
                    </a:lnTo>
                    <a:lnTo>
                      <a:pt x="463" y="10"/>
                    </a:lnTo>
                    <a:lnTo>
                      <a:pt x="463" y="11"/>
                    </a:lnTo>
                    <a:lnTo>
                      <a:pt x="462" y="13"/>
                    </a:lnTo>
                    <a:lnTo>
                      <a:pt x="463" y="13"/>
                    </a:lnTo>
                    <a:lnTo>
                      <a:pt x="465" y="19"/>
                    </a:lnTo>
                    <a:lnTo>
                      <a:pt x="466" y="19"/>
                    </a:lnTo>
                    <a:lnTo>
                      <a:pt x="468" y="20"/>
                    </a:lnTo>
                    <a:lnTo>
                      <a:pt x="468" y="23"/>
                    </a:lnTo>
                    <a:lnTo>
                      <a:pt x="468" y="22"/>
                    </a:lnTo>
                    <a:lnTo>
                      <a:pt x="470" y="22"/>
                    </a:lnTo>
                    <a:lnTo>
                      <a:pt x="470" y="23"/>
                    </a:lnTo>
                    <a:lnTo>
                      <a:pt x="469" y="25"/>
                    </a:lnTo>
                    <a:lnTo>
                      <a:pt x="470" y="27"/>
                    </a:lnTo>
                    <a:lnTo>
                      <a:pt x="470" y="29"/>
                    </a:lnTo>
                    <a:lnTo>
                      <a:pt x="471" y="28"/>
                    </a:lnTo>
                    <a:lnTo>
                      <a:pt x="472" y="28"/>
                    </a:lnTo>
                    <a:lnTo>
                      <a:pt x="474" y="28"/>
                    </a:lnTo>
                    <a:lnTo>
                      <a:pt x="476" y="28"/>
                    </a:lnTo>
                    <a:lnTo>
                      <a:pt x="477" y="31"/>
                    </a:lnTo>
                    <a:lnTo>
                      <a:pt x="479" y="32"/>
                    </a:lnTo>
                    <a:lnTo>
                      <a:pt x="478" y="34"/>
                    </a:lnTo>
                    <a:lnTo>
                      <a:pt x="480" y="34"/>
                    </a:lnTo>
                    <a:lnTo>
                      <a:pt x="483" y="37"/>
                    </a:lnTo>
                    <a:lnTo>
                      <a:pt x="482" y="38"/>
                    </a:lnTo>
                    <a:lnTo>
                      <a:pt x="482" y="39"/>
                    </a:lnTo>
                    <a:lnTo>
                      <a:pt x="483" y="38"/>
                    </a:lnTo>
                    <a:lnTo>
                      <a:pt x="483" y="40"/>
                    </a:lnTo>
                    <a:lnTo>
                      <a:pt x="483" y="46"/>
                    </a:lnTo>
                    <a:lnTo>
                      <a:pt x="484" y="47"/>
                    </a:lnTo>
                    <a:lnTo>
                      <a:pt x="484" y="48"/>
                    </a:lnTo>
                    <a:lnTo>
                      <a:pt x="487" y="47"/>
                    </a:lnTo>
                    <a:lnTo>
                      <a:pt x="487" y="48"/>
                    </a:lnTo>
                    <a:lnTo>
                      <a:pt x="488" y="48"/>
                    </a:lnTo>
                    <a:lnTo>
                      <a:pt x="488" y="49"/>
                    </a:lnTo>
                    <a:lnTo>
                      <a:pt x="490" y="48"/>
                    </a:lnTo>
                    <a:lnTo>
                      <a:pt x="492" y="49"/>
                    </a:lnTo>
                    <a:lnTo>
                      <a:pt x="494" y="51"/>
                    </a:lnTo>
                    <a:lnTo>
                      <a:pt x="493" y="52"/>
                    </a:lnTo>
                    <a:lnTo>
                      <a:pt x="494" y="52"/>
                    </a:lnTo>
                    <a:lnTo>
                      <a:pt x="494" y="53"/>
                    </a:lnTo>
                    <a:lnTo>
                      <a:pt x="495" y="53"/>
                    </a:lnTo>
                    <a:lnTo>
                      <a:pt x="495" y="54"/>
                    </a:lnTo>
                    <a:lnTo>
                      <a:pt x="494" y="54"/>
                    </a:lnTo>
                    <a:lnTo>
                      <a:pt x="494" y="56"/>
                    </a:lnTo>
                    <a:lnTo>
                      <a:pt x="493" y="56"/>
                    </a:lnTo>
                    <a:lnTo>
                      <a:pt x="493" y="58"/>
                    </a:lnTo>
                    <a:lnTo>
                      <a:pt x="491" y="57"/>
                    </a:lnTo>
                    <a:lnTo>
                      <a:pt x="491" y="58"/>
                    </a:lnTo>
                    <a:lnTo>
                      <a:pt x="487" y="58"/>
                    </a:lnTo>
                    <a:lnTo>
                      <a:pt x="486" y="60"/>
                    </a:lnTo>
                    <a:lnTo>
                      <a:pt x="486" y="63"/>
                    </a:lnTo>
                    <a:lnTo>
                      <a:pt x="486" y="64"/>
                    </a:lnTo>
                    <a:lnTo>
                      <a:pt x="487" y="65"/>
                    </a:lnTo>
                    <a:lnTo>
                      <a:pt x="490" y="69"/>
                    </a:lnTo>
                    <a:lnTo>
                      <a:pt x="490" y="71"/>
                    </a:lnTo>
                    <a:lnTo>
                      <a:pt x="489" y="72"/>
                    </a:lnTo>
                    <a:lnTo>
                      <a:pt x="489" y="73"/>
                    </a:lnTo>
                    <a:lnTo>
                      <a:pt x="490" y="73"/>
                    </a:lnTo>
                    <a:lnTo>
                      <a:pt x="492" y="75"/>
                    </a:lnTo>
                    <a:lnTo>
                      <a:pt x="491" y="76"/>
                    </a:lnTo>
                    <a:lnTo>
                      <a:pt x="491" y="77"/>
                    </a:lnTo>
                    <a:lnTo>
                      <a:pt x="490" y="77"/>
                    </a:lnTo>
                    <a:lnTo>
                      <a:pt x="489" y="77"/>
                    </a:lnTo>
                    <a:lnTo>
                      <a:pt x="490" y="77"/>
                    </a:lnTo>
                    <a:lnTo>
                      <a:pt x="490" y="78"/>
                    </a:lnTo>
                    <a:lnTo>
                      <a:pt x="489" y="80"/>
                    </a:lnTo>
                    <a:lnTo>
                      <a:pt x="490" y="80"/>
                    </a:lnTo>
                    <a:lnTo>
                      <a:pt x="489" y="82"/>
                    </a:lnTo>
                    <a:lnTo>
                      <a:pt x="489" y="84"/>
                    </a:lnTo>
                    <a:lnTo>
                      <a:pt x="487" y="86"/>
                    </a:lnTo>
                    <a:lnTo>
                      <a:pt x="487" y="88"/>
                    </a:lnTo>
                    <a:lnTo>
                      <a:pt x="489" y="88"/>
                    </a:lnTo>
                    <a:lnTo>
                      <a:pt x="489" y="89"/>
                    </a:lnTo>
                    <a:lnTo>
                      <a:pt x="491" y="88"/>
                    </a:lnTo>
                    <a:lnTo>
                      <a:pt x="491" y="89"/>
                    </a:lnTo>
                    <a:lnTo>
                      <a:pt x="493" y="93"/>
                    </a:lnTo>
                    <a:lnTo>
                      <a:pt x="493" y="94"/>
                    </a:lnTo>
                    <a:lnTo>
                      <a:pt x="491" y="94"/>
                    </a:lnTo>
                    <a:lnTo>
                      <a:pt x="491" y="96"/>
                    </a:lnTo>
                    <a:lnTo>
                      <a:pt x="492" y="97"/>
                    </a:lnTo>
                    <a:lnTo>
                      <a:pt x="492" y="98"/>
                    </a:lnTo>
                    <a:lnTo>
                      <a:pt x="495" y="99"/>
                    </a:lnTo>
                    <a:lnTo>
                      <a:pt x="491" y="108"/>
                    </a:lnTo>
                    <a:lnTo>
                      <a:pt x="491" y="107"/>
                    </a:lnTo>
                    <a:lnTo>
                      <a:pt x="490" y="109"/>
                    </a:lnTo>
                    <a:lnTo>
                      <a:pt x="489" y="107"/>
                    </a:lnTo>
                    <a:lnTo>
                      <a:pt x="489" y="109"/>
                    </a:lnTo>
                    <a:lnTo>
                      <a:pt x="486" y="109"/>
                    </a:lnTo>
                    <a:lnTo>
                      <a:pt x="486" y="111"/>
                    </a:lnTo>
                    <a:lnTo>
                      <a:pt x="487" y="111"/>
                    </a:lnTo>
                    <a:lnTo>
                      <a:pt x="487" y="112"/>
                    </a:lnTo>
                    <a:lnTo>
                      <a:pt x="486" y="113"/>
                    </a:lnTo>
                    <a:lnTo>
                      <a:pt x="487" y="115"/>
                    </a:lnTo>
                    <a:lnTo>
                      <a:pt x="487" y="116"/>
                    </a:lnTo>
                    <a:lnTo>
                      <a:pt x="486" y="116"/>
                    </a:lnTo>
                    <a:lnTo>
                      <a:pt x="485" y="117"/>
                    </a:lnTo>
                    <a:lnTo>
                      <a:pt x="484" y="117"/>
                    </a:lnTo>
                    <a:lnTo>
                      <a:pt x="485" y="116"/>
                    </a:lnTo>
                    <a:lnTo>
                      <a:pt x="484" y="116"/>
                    </a:lnTo>
                    <a:lnTo>
                      <a:pt x="483" y="116"/>
                    </a:lnTo>
                    <a:lnTo>
                      <a:pt x="482" y="116"/>
                    </a:lnTo>
                    <a:lnTo>
                      <a:pt x="481" y="115"/>
                    </a:lnTo>
                    <a:lnTo>
                      <a:pt x="479" y="117"/>
                    </a:lnTo>
                    <a:lnTo>
                      <a:pt x="476" y="120"/>
                    </a:lnTo>
                    <a:lnTo>
                      <a:pt x="478" y="123"/>
                    </a:lnTo>
                    <a:lnTo>
                      <a:pt x="479" y="126"/>
                    </a:lnTo>
                    <a:lnTo>
                      <a:pt x="481" y="126"/>
                    </a:lnTo>
                    <a:lnTo>
                      <a:pt x="483" y="128"/>
                    </a:lnTo>
                    <a:lnTo>
                      <a:pt x="482" y="128"/>
                    </a:lnTo>
                    <a:lnTo>
                      <a:pt x="480" y="129"/>
                    </a:lnTo>
                    <a:lnTo>
                      <a:pt x="481" y="133"/>
                    </a:lnTo>
                    <a:lnTo>
                      <a:pt x="481" y="135"/>
                    </a:lnTo>
                    <a:lnTo>
                      <a:pt x="483" y="137"/>
                    </a:lnTo>
                    <a:lnTo>
                      <a:pt x="485" y="139"/>
                    </a:lnTo>
                    <a:lnTo>
                      <a:pt x="487" y="140"/>
                    </a:lnTo>
                    <a:lnTo>
                      <a:pt x="489" y="139"/>
                    </a:lnTo>
                    <a:lnTo>
                      <a:pt x="491" y="136"/>
                    </a:lnTo>
                    <a:lnTo>
                      <a:pt x="492" y="139"/>
                    </a:lnTo>
                    <a:lnTo>
                      <a:pt x="496" y="141"/>
                    </a:lnTo>
                    <a:lnTo>
                      <a:pt x="497" y="141"/>
                    </a:lnTo>
                    <a:lnTo>
                      <a:pt x="496" y="142"/>
                    </a:lnTo>
                    <a:lnTo>
                      <a:pt x="495" y="142"/>
                    </a:lnTo>
                    <a:lnTo>
                      <a:pt x="495" y="146"/>
                    </a:lnTo>
                    <a:lnTo>
                      <a:pt x="496" y="146"/>
                    </a:lnTo>
                    <a:lnTo>
                      <a:pt x="498" y="145"/>
                    </a:lnTo>
                    <a:lnTo>
                      <a:pt x="498" y="146"/>
                    </a:lnTo>
                    <a:lnTo>
                      <a:pt x="499" y="148"/>
                    </a:lnTo>
                    <a:lnTo>
                      <a:pt x="500" y="148"/>
                    </a:lnTo>
                    <a:lnTo>
                      <a:pt x="501" y="150"/>
                    </a:lnTo>
                    <a:lnTo>
                      <a:pt x="502" y="150"/>
                    </a:lnTo>
                    <a:lnTo>
                      <a:pt x="503" y="152"/>
                    </a:lnTo>
                    <a:lnTo>
                      <a:pt x="503" y="154"/>
                    </a:lnTo>
                    <a:lnTo>
                      <a:pt x="502" y="153"/>
                    </a:lnTo>
                    <a:lnTo>
                      <a:pt x="499" y="155"/>
                    </a:lnTo>
                    <a:lnTo>
                      <a:pt x="499" y="156"/>
                    </a:lnTo>
                    <a:lnTo>
                      <a:pt x="501" y="157"/>
                    </a:lnTo>
                    <a:lnTo>
                      <a:pt x="501" y="159"/>
                    </a:lnTo>
                    <a:lnTo>
                      <a:pt x="499" y="161"/>
                    </a:lnTo>
                    <a:lnTo>
                      <a:pt x="501" y="162"/>
                    </a:lnTo>
                    <a:lnTo>
                      <a:pt x="504" y="165"/>
                    </a:lnTo>
                    <a:lnTo>
                      <a:pt x="504" y="166"/>
                    </a:lnTo>
                    <a:lnTo>
                      <a:pt x="505" y="167"/>
                    </a:lnTo>
                    <a:lnTo>
                      <a:pt x="506" y="165"/>
                    </a:lnTo>
                    <a:lnTo>
                      <a:pt x="506" y="167"/>
                    </a:lnTo>
                    <a:lnTo>
                      <a:pt x="507" y="167"/>
                    </a:lnTo>
                    <a:lnTo>
                      <a:pt x="508" y="167"/>
                    </a:lnTo>
                    <a:lnTo>
                      <a:pt x="508" y="165"/>
                    </a:lnTo>
                    <a:lnTo>
                      <a:pt x="512" y="166"/>
                    </a:lnTo>
                    <a:lnTo>
                      <a:pt x="514" y="164"/>
                    </a:lnTo>
                    <a:lnTo>
                      <a:pt x="515" y="164"/>
                    </a:lnTo>
                    <a:lnTo>
                      <a:pt x="515" y="165"/>
                    </a:lnTo>
                    <a:lnTo>
                      <a:pt x="517" y="167"/>
                    </a:lnTo>
                    <a:lnTo>
                      <a:pt x="518" y="167"/>
                    </a:lnTo>
                    <a:lnTo>
                      <a:pt x="519" y="168"/>
                    </a:lnTo>
                    <a:lnTo>
                      <a:pt x="520" y="167"/>
                    </a:lnTo>
                    <a:lnTo>
                      <a:pt x="522" y="169"/>
                    </a:lnTo>
                    <a:lnTo>
                      <a:pt x="525" y="171"/>
                    </a:lnTo>
                    <a:lnTo>
                      <a:pt x="524" y="171"/>
                    </a:lnTo>
                    <a:lnTo>
                      <a:pt x="525" y="173"/>
                    </a:lnTo>
                    <a:lnTo>
                      <a:pt x="526" y="172"/>
                    </a:lnTo>
                    <a:lnTo>
                      <a:pt x="528" y="171"/>
                    </a:lnTo>
                    <a:lnTo>
                      <a:pt x="529" y="168"/>
                    </a:lnTo>
                    <a:lnTo>
                      <a:pt x="532" y="169"/>
                    </a:lnTo>
                    <a:lnTo>
                      <a:pt x="533" y="167"/>
                    </a:lnTo>
                    <a:lnTo>
                      <a:pt x="535" y="167"/>
                    </a:lnTo>
                    <a:lnTo>
                      <a:pt x="536" y="167"/>
                    </a:lnTo>
                    <a:lnTo>
                      <a:pt x="538" y="167"/>
                    </a:lnTo>
                    <a:lnTo>
                      <a:pt x="538" y="165"/>
                    </a:lnTo>
                    <a:lnTo>
                      <a:pt x="538" y="167"/>
                    </a:lnTo>
                    <a:lnTo>
                      <a:pt x="539" y="167"/>
                    </a:lnTo>
                    <a:lnTo>
                      <a:pt x="539" y="170"/>
                    </a:lnTo>
                    <a:lnTo>
                      <a:pt x="540" y="170"/>
                    </a:lnTo>
                    <a:lnTo>
                      <a:pt x="540" y="171"/>
                    </a:lnTo>
                    <a:lnTo>
                      <a:pt x="541" y="171"/>
                    </a:lnTo>
                    <a:lnTo>
                      <a:pt x="543" y="172"/>
                    </a:lnTo>
                    <a:lnTo>
                      <a:pt x="543" y="173"/>
                    </a:lnTo>
                    <a:lnTo>
                      <a:pt x="544" y="173"/>
                    </a:lnTo>
                    <a:lnTo>
                      <a:pt x="545" y="175"/>
                    </a:lnTo>
                    <a:lnTo>
                      <a:pt x="543" y="176"/>
                    </a:lnTo>
                    <a:lnTo>
                      <a:pt x="544" y="178"/>
                    </a:lnTo>
                    <a:lnTo>
                      <a:pt x="544" y="179"/>
                    </a:lnTo>
                    <a:lnTo>
                      <a:pt x="543" y="179"/>
                    </a:lnTo>
                    <a:lnTo>
                      <a:pt x="544" y="182"/>
                    </a:lnTo>
                    <a:lnTo>
                      <a:pt x="543" y="185"/>
                    </a:lnTo>
                    <a:lnTo>
                      <a:pt x="544" y="185"/>
                    </a:lnTo>
                    <a:lnTo>
                      <a:pt x="545" y="188"/>
                    </a:lnTo>
                    <a:lnTo>
                      <a:pt x="543" y="189"/>
                    </a:lnTo>
                    <a:lnTo>
                      <a:pt x="541" y="189"/>
                    </a:lnTo>
                    <a:lnTo>
                      <a:pt x="540" y="190"/>
                    </a:lnTo>
                    <a:lnTo>
                      <a:pt x="541" y="191"/>
                    </a:lnTo>
                    <a:lnTo>
                      <a:pt x="541" y="197"/>
                    </a:lnTo>
                    <a:lnTo>
                      <a:pt x="540" y="200"/>
                    </a:lnTo>
                    <a:lnTo>
                      <a:pt x="542" y="201"/>
                    </a:lnTo>
                    <a:lnTo>
                      <a:pt x="542" y="203"/>
                    </a:lnTo>
                    <a:lnTo>
                      <a:pt x="543" y="203"/>
                    </a:lnTo>
                    <a:lnTo>
                      <a:pt x="545" y="205"/>
                    </a:lnTo>
                    <a:lnTo>
                      <a:pt x="544" y="209"/>
                    </a:lnTo>
                    <a:lnTo>
                      <a:pt x="545" y="207"/>
                    </a:lnTo>
                    <a:lnTo>
                      <a:pt x="545" y="209"/>
                    </a:lnTo>
                    <a:lnTo>
                      <a:pt x="546" y="209"/>
                    </a:lnTo>
                    <a:lnTo>
                      <a:pt x="544" y="211"/>
                    </a:lnTo>
                    <a:lnTo>
                      <a:pt x="547" y="210"/>
                    </a:lnTo>
                    <a:lnTo>
                      <a:pt x="545" y="212"/>
                    </a:lnTo>
                    <a:lnTo>
                      <a:pt x="545" y="215"/>
                    </a:lnTo>
                    <a:lnTo>
                      <a:pt x="544" y="217"/>
                    </a:lnTo>
                    <a:lnTo>
                      <a:pt x="543" y="216"/>
                    </a:lnTo>
                    <a:lnTo>
                      <a:pt x="542" y="218"/>
                    </a:lnTo>
                    <a:lnTo>
                      <a:pt x="543" y="219"/>
                    </a:lnTo>
                    <a:lnTo>
                      <a:pt x="543" y="220"/>
                    </a:lnTo>
                    <a:lnTo>
                      <a:pt x="542" y="222"/>
                    </a:lnTo>
                    <a:lnTo>
                      <a:pt x="541" y="221"/>
                    </a:lnTo>
                    <a:lnTo>
                      <a:pt x="541" y="222"/>
                    </a:lnTo>
                    <a:lnTo>
                      <a:pt x="540" y="223"/>
                    </a:lnTo>
                    <a:lnTo>
                      <a:pt x="539" y="225"/>
                    </a:lnTo>
                    <a:lnTo>
                      <a:pt x="537" y="224"/>
                    </a:lnTo>
                    <a:lnTo>
                      <a:pt x="536" y="227"/>
                    </a:lnTo>
                    <a:lnTo>
                      <a:pt x="536" y="226"/>
                    </a:lnTo>
                    <a:lnTo>
                      <a:pt x="535" y="226"/>
                    </a:lnTo>
                    <a:lnTo>
                      <a:pt x="535" y="228"/>
                    </a:lnTo>
                    <a:lnTo>
                      <a:pt x="534" y="228"/>
                    </a:lnTo>
                    <a:lnTo>
                      <a:pt x="533" y="227"/>
                    </a:lnTo>
                    <a:lnTo>
                      <a:pt x="532" y="229"/>
                    </a:lnTo>
                    <a:lnTo>
                      <a:pt x="534" y="229"/>
                    </a:lnTo>
                    <a:lnTo>
                      <a:pt x="537" y="232"/>
                    </a:lnTo>
                    <a:lnTo>
                      <a:pt x="537" y="233"/>
                    </a:lnTo>
                    <a:lnTo>
                      <a:pt x="533" y="236"/>
                    </a:lnTo>
                    <a:lnTo>
                      <a:pt x="530" y="237"/>
                    </a:lnTo>
                    <a:lnTo>
                      <a:pt x="534" y="239"/>
                    </a:lnTo>
                    <a:lnTo>
                      <a:pt x="538" y="238"/>
                    </a:lnTo>
                    <a:lnTo>
                      <a:pt x="540" y="241"/>
                    </a:lnTo>
                    <a:lnTo>
                      <a:pt x="541" y="243"/>
                    </a:lnTo>
                    <a:lnTo>
                      <a:pt x="543" y="244"/>
                    </a:lnTo>
                    <a:lnTo>
                      <a:pt x="544" y="243"/>
                    </a:lnTo>
                    <a:lnTo>
                      <a:pt x="544" y="241"/>
                    </a:lnTo>
                    <a:lnTo>
                      <a:pt x="545" y="243"/>
                    </a:lnTo>
                    <a:lnTo>
                      <a:pt x="546" y="243"/>
                    </a:lnTo>
                    <a:lnTo>
                      <a:pt x="546" y="244"/>
                    </a:lnTo>
                    <a:lnTo>
                      <a:pt x="550" y="248"/>
                    </a:lnTo>
                    <a:lnTo>
                      <a:pt x="552" y="249"/>
                    </a:lnTo>
                    <a:lnTo>
                      <a:pt x="553" y="249"/>
                    </a:lnTo>
                    <a:lnTo>
                      <a:pt x="555" y="250"/>
                    </a:lnTo>
                    <a:lnTo>
                      <a:pt x="552" y="254"/>
                    </a:lnTo>
                    <a:lnTo>
                      <a:pt x="552" y="257"/>
                    </a:lnTo>
                    <a:lnTo>
                      <a:pt x="551" y="256"/>
                    </a:lnTo>
                    <a:lnTo>
                      <a:pt x="550" y="256"/>
                    </a:lnTo>
                    <a:lnTo>
                      <a:pt x="551" y="260"/>
                    </a:lnTo>
                    <a:lnTo>
                      <a:pt x="548" y="262"/>
                    </a:lnTo>
                    <a:lnTo>
                      <a:pt x="546" y="260"/>
                    </a:lnTo>
                    <a:lnTo>
                      <a:pt x="546" y="258"/>
                    </a:lnTo>
                    <a:lnTo>
                      <a:pt x="545" y="257"/>
                    </a:lnTo>
                    <a:lnTo>
                      <a:pt x="543" y="258"/>
                    </a:lnTo>
                    <a:lnTo>
                      <a:pt x="541" y="262"/>
                    </a:lnTo>
                    <a:lnTo>
                      <a:pt x="543" y="265"/>
                    </a:lnTo>
                    <a:lnTo>
                      <a:pt x="545" y="263"/>
                    </a:lnTo>
                    <a:lnTo>
                      <a:pt x="546" y="267"/>
                    </a:lnTo>
                    <a:lnTo>
                      <a:pt x="548" y="267"/>
                    </a:lnTo>
                    <a:lnTo>
                      <a:pt x="546" y="267"/>
                    </a:lnTo>
                    <a:lnTo>
                      <a:pt x="544" y="266"/>
                    </a:lnTo>
                    <a:lnTo>
                      <a:pt x="543" y="267"/>
                    </a:lnTo>
                    <a:lnTo>
                      <a:pt x="542" y="267"/>
                    </a:lnTo>
                    <a:lnTo>
                      <a:pt x="541" y="267"/>
                    </a:lnTo>
                    <a:lnTo>
                      <a:pt x="542" y="271"/>
                    </a:lnTo>
                    <a:lnTo>
                      <a:pt x="543" y="273"/>
                    </a:lnTo>
                    <a:lnTo>
                      <a:pt x="542" y="279"/>
                    </a:lnTo>
                    <a:lnTo>
                      <a:pt x="540" y="278"/>
                    </a:lnTo>
                    <a:lnTo>
                      <a:pt x="538" y="279"/>
                    </a:lnTo>
                    <a:lnTo>
                      <a:pt x="537" y="278"/>
                    </a:lnTo>
                    <a:lnTo>
                      <a:pt x="537" y="279"/>
                    </a:lnTo>
                    <a:lnTo>
                      <a:pt x="536" y="279"/>
                    </a:lnTo>
                    <a:lnTo>
                      <a:pt x="535" y="279"/>
                    </a:lnTo>
                    <a:lnTo>
                      <a:pt x="534" y="278"/>
                    </a:lnTo>
                    <a:lnTo>
                      <a:pt x="533" y="279"/>
                    </a:lnTo>
                    <a:lnTo>
                      <a:pt x="532" y="280"/>
                    </a:lnTo>
                    <a:lnTo>
                      <a:pt x="533" y="282"/>
                    </a:lnTo>
                    <a:lnTo>
                      <a:pt x="538" y="283"/>
                    </a:lnTo>
                    <a:lnTo>
                      <a:pt x="537" y="284"/>
                    </a:lnTo>
                    <a:lnTo>
                      <a:pt x="539" y="283"/>
                    </a:lnTo>
                    <a:lnTo>
                      <a:pt x="539" y="285"/>
                    </a:lnTo>
                    <a:lnTo>
                      <a:pt x="538" y="286"/>
                    </a:lnTo>
                    <a:lnTo>
                      <a:pt x="538" y="285"/>
                    </a:lnTo>
                    <a:lnTo>
                      <a:pt x="537" y="286"/>
                    </a:lnTo>
                    <a:lnTo>
                      <a:pt x="535" y="284"/>
                    </a:lnTo>
                    <a:lnTo>
                      <a:pt x="535" y="285"/>
                    </a:lnTo>
                    <a:lnTo>
                      <a:pt x="536" y="286"/>
                    </a:lnTo>
                    <a:lnTo>
                      <a:pt x="534" y="284"/>
                    </a:lnTo>
                    <a:lnTo>
                      <a:pt x="533" y="284"/>
                    </a:lnTo>
                    <a:lnTo>
                      <a:pt x="530" y="286"/>
                    </a:lnTo>
                    <a:lnTo>
                      <a:pt x="528" y="286"/>
                    </a:lnTo>
                    <a:lnTo>
                      <a:pt x="530" y="288"/>
                    </a:lnTo>
                    <a:lnTo>
                      <a:pt x="530" y="290"/>
                    </a:lnTo>
                    <a:lnTo>
                      <a:pt x="530" y="292"/>
                    </a:lnTo>
                    <a:lnTo>
                      <a:pt x="532" y="293"/>
                    </a:lnTo>
                    <a:lnTo>
                      <a:pt x="532" y="294"/>
                    </a:lnTo>
                    <a:lnTo>
                      <a:pt x="533" y="294"/>
                    </a:lnTo>
                    <a:lnTo>
                      <a:pt x="533" y="296"/>
                    </a:lnTo>
                    <a:lnTo>
                      <a:pt x="535" y="297"/>
                    </a:lnTo>
                    <a:lnTo>
                      <a:pt x="536" y="298"/>
                    </a:lnTo>
                    <a:lnTo>
                      <a:pt x="537" y="299"/>
                    </a:lnTo>
                    <a:lnTo>
                      <a:pt x="539" y="297"/>
                    </a:lnTo>
                    <a:lnTo>
                      <a:pt x="542" y="298"/>
                    </a:lnTo>
                    <a:lnTo>
                      <a:pt x="541" y="299"/>
                    </a:lnTo>
                    <a:lnTo>
                      <a:pt x="541" y="298"/>
                    </a:lnTo>
                    <a:lnTo>
                      <a:pt x="542" y="300"/>
                    </a:lnTo>
                    <a:lnTo>
                      <a:pt x="543" y="300"/>
                    </a:lnTo>
                    <a:lnTo>
                      <a:pt x="545" y="301"/>
                    </a:lnTo>
                    <a:lnTo>
                      <a:pt x="543" y="302"/>
                    </a:lnTo>
                    <a:lnTo>
                      <a:pt x="542" y="302"/>
                    </a:lnTo>
                    <a:lnTo>
                      <a:pt x="543" y="303"/>
                    </a:lnTo>
                    <a:lnTo>
                      <a:pt x="544" y="304"/>
                    </a:lnTo>
                    <a:lnTo>
                      <a:pt x="545" y="304"/>
                    </a:lnTo>
                    <a:lnTo>
                      <a:pt x="546" y="304"/>
                    </a:lnTo>
                    <a:lnTo>
                      <a:pt x="548" y="306"/>
                    </a:lnTo>
                    <a:lnTo>
                      <a:pt x="552" y="304"/>
                    </a:lnTo>
                    <a:lnTo>
                      <a:pt x="552" y="306"/>
                    </a:lnTo>
                    <a:lnTo>
                      <a:pt x="553" y="307"/>
                    </a:lnTo>
                    <a:lnTo>
                      <a:pt x="552" y="307"/>
                    </a:lnTo>
                    <a:lnTo>
                      <a:pt x="552" y="310"/>
                    </a:lnTo>
                    <a:lnTo>
                      <a:pt x="553" y="310"/>
                    </a:lnTo>
                    <a:lnTo>
                      <a:pt x="555" y="306"/>
                    </a:lnTo>
                    <a:lnTo>
                      <a:pt x="555" y="307"/>
                    </a:lnTo>
                    <a:lnTo>
                      <a:pt x="555" y="309"/>
                    </a:lnTo>
                    <a:lnTo>
                      <a:pt x="556" y="309"/>
                    </a:lnTo>
                    <a:lnTo>
                      <a:pt x="555" y="310"/>
                    </a:lnTo>
                    <a:lnTo>
                      <a:pt x="555" y="313"/>
                    </a:lnTo>
                    <a:lnTo>
                      <a:pt x="552" y="314"/>
                    </a:lnTo>
                    <a:lnTo>
                      <a:pt x="552" y="315"/>
                    </a:lnTo>
                    <a:lnTo>
                      <a:pt x="552" y="316"/>
                    </a:lnTo>
                    <a:lnTo>
                      <a:pt x="555" y="319"/>
                    </a:lnTo>
                    <a:lnTo>
                      <a:pt x="562" y="326"/>
                    </a:lnTo>
                    <a:lnTo>
                      <a:pt x="563" y="325"/>
                    </a:lnTo>
                    <a:lnTo>
                      <a:pt x="564" y="325"/>
                    </a:lnTo>
                    <a:lnTo>
                      <a:pt x="564" y="327"/>
                    </a:lnTo>
                    <a:lnTo>
                      <a:pt x="565" y="326"/>
                    </a:lnTo>
                    <a:lnTo>
                      <a:pt x="566" y="327"/>
                    </a:lnTo>
                    <a:lnTo>
                      <a:pt x="566" y="329"/>
                    </a:lnTo>
                    <a:lnTo>
                      <a:pt x="567" y="330"/>
                    </a:lnTo>
                    <a:lnTo>
                      <a:pt x="568" y="328"/>
                    </a:lnTo>
                    <a:lnTo>
                      <a:pt x="569" y="331"/>
                    </a:lnTo>
                    <a:lnTo>
                      <a:pt x="568" y="333"/>
                    </a:lnTo>
                    <a:lnTo>
                      <a:pt x="569" y="333"/>
                    </a:lnTo>
                    <a:lnTo>
                      <a:pt x="568" y="335"/>
                    </a:lnTo>
                    <a:lnTo>
                      <a:pt x="569" y="337"/>
                    </a:lnTo>
                    <a:lnTo>
                      <a:pt x="568" y="336"/>
                    </a:lnTo>
                    <a:lnTo>
                      <a:pt x="566" y="337"/>
                    </a:lnTo>
                    <a:lnTo>
                      <a:pt x="564" y="339"/>
                    </a:lnTo>
                    <a:lnTo>
                      <a:pt x="567" y="344"/>
                    </a:lnTo>
                    <a:lnTo>
                      <a:pt x="568" y="344"/>
                    </a:lnTo>
                    <a:lnTo>
                      <a:pt x="568" y="345"/>
                    </a:lnTo>
                    <a:lnTo>
                      <a:pt x="568" y="347"/>
                    </a:lnTo>
                    <a:lnTo>
                      <a:pt x="568" y="348"/>
                    </a:lnTo>
                    <a:lnTo>
                      <a:pt x="567" y="348"/>
                    </a:lnTo>
                    <a:lnTo>
                      <a:pt x="566" y="347"/>
                    </a:lnTo>
                    <a:lnTo>
                      <a:pt x="566" y="350"/>
                    </a:lnTo>
                    <a:lnTo>
                      <a:pt x="565" y="350"/>
                    </a:lnTo>
                    <a:lnTo>
                      <a:pt x="564" y="352"/>
                    </a:lnTo>
                    <a:lnTo>
                      <a:pt x="564" y="353"/>
                    </a:lnTo>
                    <a:lnTo>
                      <a:pt x="561" y="356"/>
                    </a:lnTo>
                    <a:lnTo>
                      <a:pt x="563" y="357"/>
                    </a:lnTo>
                    <a:lnTo>
                      <a:pt x="561" y="358"/>
                    </a:lnTo>
                    <a:lnTo>
                      <a:pt x="558" y="359"/>
                    </a:lnTo>
                    <a:lnTo>
                      <a:pt x="557" y="359"/>
                    </a:lnTo>
                    <a:lnTo>
                      <a:pt x="557" y="360"/>
                    </a:lnTo>
                    <a:lnTo>
                      <a:pt x="556" y="361"/>
                    </a:lnTo>
                    <a:lnTo>
                      <a:pt x="558" y="363"/>
                    </a:lnTo>
                    <a:lnTo>
                      <a:pt x="558" y="365"/>
                    </a:lnTo>
                    <a:lnTo>
                      <a:pt x="557" y="367"/>
                    </a:lnTo>
                    <a:lnTo>
                      <a:pt x="558" y="368"/>
                    </a:lnTo>
                    <a:lnTo>
                      <a:pt x="557" y="371"/>
                    </a:lnTo>
                    <a:lnTo>
                      <a:pt x="556" y="371"/>
                    </a:lnTo>
                    <a:lnTo>
                      <a:pt x="556" y="369"/>
                    </a:lnTo>
                    <a:lnTo>
                      <a:pt x="555" y="371"/>
                    </a:lnTo>
                    <a:lnTo>
                      <a:pt x="556" y="373"/>
                    </a:lnTo>
                    <a:lnTo>
                      <a:pt x="556" y="375"/>
                    </a:lnTo>
                    <a:lnTo>
                      <a:pt x="555" y="375"/>
                    </a:lnTo>
                    <a:lnTo>
                      <a:pt x="554" y="376"/>
                    </a:lnTo>
                    <a:lnTo>
                      <a:pt x="554" y="378"/>
                    </a:lnTo>
                    <a:lnTo>
                      <a:pt x="552" y="380"/>
                    </a:lnTo>
                    <a:lnTo>
                      <a:pt x="551" y="378"/>
                    </a:lnTo>
                    <a:lnTo>
                      <a:pt x="548" y="379"/>
                    </a:lnTo>
                    <a:lnTo>
                      <a:pt x="548" y="380"/>
                    </a:lnTo>
                    <a:lnTo>
                      <a:pt x="548" y="382"/>
                    </a:lnTo>
                    <a:lnTo>
                      <a:pt x="546" y="383"/>
                    </a:lnTo>
                    <a:lnTo>
                      <a:pt x="544" y="383"/>
                    </a:lnTo>
                    <a:lnTo>
                      <a:pt x="544" y="384"/>
                    </a:lnTo>
                    <a:lnTo>
                      <a:pt x="543" y="382"/>
                    </a:lnTo>
                    <a:lnTo>
                      <a:pt x="541" y="380"/>
                    </a:lnTo>
                    <a:lnTo>
                      <a:pt x="540" y="381"/>
                    </a:lnTo>
                    <a:lnTo>
                      <a:pt x="535" y="385"/>
                    </a:lnTo>
                    <a:lnTo>
                      <a:pt x="535" y="386"/>
                    </a:lnTo>
                    <a:lnTo>
                      <a:pt x="533" y="386"/>
                    </a:lnTo>
                    <a:lnTo>
                      <a:pt x="532" y="388"/>
                    </a:lnTo>
                    <a:lnTo>
                      <a:pt x="530" y="390"/>
                    </a:lnTo>
                    <a:lnTo>
                      <a:pt x="530" y="392"/>
                    </a:lnTo>
                    <a:lnTo>
                      <a:pt x="531" y="394"/>
                    </a:lnTo>
                    <a:lnTo>
                      <a:pt x="533" y="394"/>
                    </a:lnTo>
                    <a:lnTo>
                      <a:pt x="534" y="394"/>
                    </a:lnTo>
                    <a:lnTo>
                      <a:pt x="533" y="395"/>
                    </a:lnTo>
                    <a:lnTo>
                      <a:pt x="535" y="397"/>
                    </a:lnTo>
                    <a:lnTo>
                      <a:pt x="534" y="399"/>
                    </a:lnTo>
                    <a:lnTo>
                      <a:pt x="536" y="400"/>
                    </a:lnTo>
                    <a:lnTo>
                      <a:pt x="535" y="401"/>
                    </a:lnTo>
                    <a:lnTo>
                      <a:pt x="535" y="402"/>
                    </a:lnTo>
                    <a:lnTo>
                      <a:pt x="533" y="403"/>
                    </a:lnTo>
                    <a:lnTo>
                      <a:pt x="532" y="403"/>
                    </a:lnTo>
                    <a:lnTo>
                      <a:pt x="531" y="405"/>
                    </a:lnTo>
                    <a:lnTo>
                      <a:pt x="530" y="404"/>
                    </a:lnTo>
                    <a:lnTo>
                      <a:pt x="529" y="404"/>
                    </a:lnTo>
                    <a:lnTo>
                      <a:pt x="528" y="403"/>
                    </a:lnTo>
                    <a:lnTo>
                      <a:pt x="527" y="404"/>
                    </a:lnTo>
                    <a:lnTo>
                      <a:pt x="524" y="401"/>
                    </a:lnTo>
                    <a:lnTo>
                      <a:pt x="524" y="403"/>
                    </a:lnTo>
                    <a:lnTo>
                      <a:pt x="523" y="403"/>
                    </a:lnTo>
                    <a:lnTo>
                      <a:pt x="522" y="402"/>
                    </a:lnTo>
                    <a:lnTo>
                      <a:pt x="522" y="399"/>
                    </a:lnTo>
                    <a:lnTo>
                      <a:pt x="521" y="400"/>
                    </a:lnTo>
                    <a:lnTo>
                      <a:pt x="520" y="399"/>
                    </a:lnTo>
                    <a:lnTo>
                      <a:pt x="519" y="402"/>
                    </a:lnTo>
                    <a:lnTo>
                      <a:pt x="517" y="404"/>
                    </a:lnTo>
                    <a:lnTo>
                      <a:pt x="516" y="407"/>
                    </a:lnTo>
                    <a:lnTo>
                      <a:pt x="517" y="407"/>
                    </a:lnTo>
                    <a:lnTo>
                      <a:pt x="515" y="408"/>
                    </a:lnTo>
                    <a:lnTo>
                      <a:pt x="515" y="411"/>
                    </a:lnTo>
                    <a:lnTo>
                      <a:pt x="515" y="409"/>
                    </a:lnTo>
                    <a:lnTo>
                      <a:pt x="513" y="408"/>
                    </a:lnTo>
                    <a:lnTo>
                      <a:pt x="510" y="412"/>
                    </a:lnTo>
                    <a:lnTo>
                      <a:pt x="507" y="409"/>
                    </a:lnTo>
                    <a:lnTo>
                      <a:pt x="504" y="411"/>
                    </a:lnTo>
                    <a:lnTo>
                      <a:pt x="501" y="413"/>
                    </a:lnTo>
                    <a:lnTo>
                      <a:pt x="500" y="412"/>
                    </a:lnTo>
                    <a:lnTo>
                      <a:pt x="499" y="413"/>
                    </a:lnTo>
                    <a:lnTo>
                      <a:pt x="498" y="412"/>
                    </a:lnTo>
                    <a:lnTo>
                      <a:pt x="496" y="412"/>
                    </a:lnTo>
                    <a:lnTo>
                      <a:pt x="496" y="411"/>
                    </a:lnTo>
                    <a:lnTo>
                      <a:pt x="496" y="413"/>
                    </a:lnTo>
                    <a:lnTo>
                      <a:pt x="496" y="412"/>
                    </a:lnTo>
                    <a:lnTo>
                      <a:pt x="495" y="412"/>
                    </a:lnTo>
                    <a:lnTo>
                      <a:pt x="492" y="412"/>
                    </a:lnTo>
                    <a:lnTo>
                      <a:pt x="492" y="415"/>
                    </a:lnTo>
                    <a:lnTo>
                      <a:pt x="491" y="414"/>
                    </a:lnTo>
                    <a:lnTo>
                      <a:pt x="490" y="414"/>
                    </a:lnTo>
                    <a:lnTo>
                      <a:pt x="491" y="416"/>
                    </a:lnTo>
                    <a:lnTo>
                      <a:pt x="487" y="417"/>
                    </a:lnTo>
                    <a:lnTo>
                      <a:pt x="487" y="416"/>
                    </a:lnTo>
                    <a:lnTo>
                      <a:pt x="486" y="418"/>
                    </a:lnTo>
                    <a:lnTo>
                      <a:pt x="486" y="416"/>
                    </a:lnTo>
                    <a:lnTo>
                      <a:pt x="484" y="417"/>
                    </a:lnTo>
                    <a:lnTo>
                      <a:pt x="484" y="416"/>
                    </a:lnTo>
                    <a:lnTo>
                      <a:pt x="482" y="416"/>
                    </a:lnTo>
                    <a:lnTo>
                      <a:pt x="484" y="413"/>
                    </a:lnTo>
                    <a:lnTo>
                      <a:pt x="484" y="412"/>
                    </a:lnTo>
                    <a:lnTo>
                      <a:pt x="483" y="412"/>
                    </a:lnTo>
                    <a:lnTo>
                      <a:pt x="481" y="413"/>
                    </a:lnTo>
                    <a:lnTo>
                      <a:pt x="480" y="412"/>
                    </a:lnTo>
                    <a:lnTo>
                      <a:pt x="479" y="414"/>
                    </a:lnTo>
                    <a:lnTo>
                      <a:pt x="477" y="414"/>
                    </a:lnTo>
                    <a:lnTo>
                      <a:pt x="476" y="414"/>
                    </a:lnTo>
                    <a:lnTo>
                      <a:pt x="475" y="416"/>
                    </a:lnTo>
                    <a:lnTo>
                      <a:pt x="474" y="416"/>
                    </a:lnTo>
                    <a:lnTo>
                      <a:pt x="474" y="418"/>
                    </a:lnTo>
                    <a:lnTo>
                      <a:pt x="475" y="418"/>
                    </a:lnTo>
                    <a:lnTo>
                      <a:pt x="475" y="419"/>
                    </a:lnTo>
                    <a:lnTo>
                      <a:pt x="475" y="420"/>
                    </a:lnTo>
                    <a:lnTo>
                      <a:pt x="472" y="421"/>
                    </a:lnTo>
                    <a:lnTo>
                      <a:pt x="472" y="425"/>
                    </a:lnTo>
                    <a:lnTo>
                      <a:pt x="472" y="428"/>
                    </a:lnTo>
                    <a:lnTo>
                      <a:pt x="467" y="429"/>
                    </a:lnTo>
                    <a:lnTo>
                      <a:pt x="467" y="431"/>
                    </a:lnTo>
                    <a:lnTo>
                      <a:pt x="465" y="434"/>
                    </a:lnTo>
                    <a:lnTo>
                      <a:pt x="464" y="434"/>
                    </a:lnTo>
                    <a:lnTo>
                      <a:pt x="464" y="433"/>
                    </a:lnTo>
                    <a:lnTo>
                      <a:pt x="463" y="433"/>
                    </a:lnTo>
                    <a:lnTo>
                      <a:pt x="462" y="433"/>
                    </a:lnTo>
                    <a:lnTo>
                      <a:pt x="463" y="434"/>
                    </a:lnTo>
                    <a:lnTo>
                      <a:pt x="462" y="434"/>
                    </a:lnTo>
                    <a:lnTo>
                      <a:pt x="462" y="435"/>
                    </a:lnTo>
                    <a:lnTo>
                      <a:pt x="461" y="437"/>
                    </a:lnTo>
                    <a:lnTo>
                      <a:pt x="460" y="438"/>
                    </a:lnTo>
                    <a:lnTo>
                      <a:pt x="460" y="440"/>
                    </a:lnTo>
                    <a:lnTo>
                      <a:pt x="460" y="442"/>
                    </a:lnTo>
                    <a:lnTo>
                      <a:pt x="459" y="446"/>
                    </a:lnTo>
                    <a:lnTo>
                      <a:pt x="460" y="448"/>
                    </a:lnTo>
                    <a:lnTo>
                      <a:pt x="459" y="450"/>
                    </a:lnTo>
                    <a:lnTo>
                      <a:pt x="460" y="451"/>
                    </a:lnTo>
                    <a:lnTo>
                      <a:pt x="460" y="454"/>
                    </a:lnTo>
                    <a:lnTo>
                      <a:pt x="462" y="454"/>
                    </a:lnTo>
                    <a:lnTo>
                      <a:pt x="463" y="452"/>
                    </a:lnTo>
                    <a:lnTo>
                      <a:pt x="466" y="457"/>
                    </a:lnTo>
                    <a:lnTo>
                      <a:pt x="469" y="456"/>
                    </a:lnTo>
                    <a:lnTo>
                      <a:pt x="473" y="457"/>
                    </a:lnTo>
                    <a:lnTo>
                      <a:pt x="473" y="459"/>
                    </a:lnTo>
                    <a:lnTo>
                      <a:pt x="474" y="463"/>
                    </a:lnTo>
                    <a:lnTo>
                      <a:pt x="476" y="468"/>
                    </a:lnTo>
                    <a:lnTo>
                      <a:pt x="476" y="469"/>
                    </a:lnTo>
                    <a:lnTo>
                      <a:pt x="475" y="470"/>
                    </a:lnTo>
                    <a:lnTo>
                      <a:pt x="475" y="471"/>
                    </a:lnTo>
                    <a:lnTo>
                      <a:pt x="476" y="473"/>
                    </a:lnTo>
                    <a:lnTo>
                      <a:pt x="474" y="476"/>
                    </a:lnTo>
                    <a:lnTo>
                      <a:pt x="473" y="475"/>
                    </a:lnTo>
                    <a:lnTo>
                      <a:pt x="473" y="477"/>
                    </a:lnTo>
                    <a:lnTo>
                      <a:pt x="472" y="476"/>
                    </a:lnTo>
                    <a:lnTo>
                      <a:pt x="472" y="477"/>
                    </a:lnTo>
                    <a:lnTo>
                      <a:pt x="471" y="477"/>
                    </a:lnTo>
                    <a:lnTo>
                      <a:pt x="470" y="478"/>
                    </a:lnTo>
                    <a:lnTo>
                      <a:pt x="470" y="480"/>
                    </a:lnTo>
                    <a:lnTo>
                      <a:pt x="467" y="481"/>
                    </a:lnTo>
                    <a:lnTo>
                      <a:pt x="467" y="480"/>
                    </a:lnTo>
                    <a:lnTo>
                      <a:pt x="466" y="480"/>
                    </a:lnTo>
                    <a:lnTo>
                      <a:pt x="464" y="481"/>
                    </a:lnTo>
                    <a:lnTo>
                      <a:pt x="463" y="480"/>
                    </a:lnTo>
                    <a:lnTo>
                      <a:pt x="462" y="481"/>
                    </a:lnTo>
                    <a:lnTo>
                      <a:pt x="462" y="478"/>
                    </a:lnTo>
                    <a:lnTo>
                      <a:pt x="459" y="476"/>
                    </a:lnTo>
                    <a:lnTo>
                      <a:pt x="459" y="478"/>
                    </a:lnTo>
                    <a:lnTo>
                      <a:pt x="457" y="477"/>
                    </a:lnTo>
                    <a:lnTo>
                      <a:pt x="457" y="480"/>
                    </a:lnTo>
                    <a:lnTo>
                      <a:pt x="455" y="481"/>
                    </a:lnTo>
                    <a:lnTo>
                      <a:pt x="454" y="480"/>
                    </a:lnTo>
                    <a:lnTo>
                      <a:pt x="455" y="478"/>
                    </a:lnTo>
                    <a:lnTo>
                      <a:pt x="453" y="478"/>
                    </a:lnTo>
                    <a:lnTo>
                      <a:pt x="453" y="480"/>
                    </a:lnTo>
                    <a:lnTo>
                      <a:pt x="454" y="481"/>
                    </a:lnTo>
                    <a:lnTo>
                      <a:pt x="454" y="483"/>
                    </a:lnTo>
                    <a:lnTo>
                      <a:pt x="452" y="483"/>
                    </a:lnTo>
                    <a:lnTo>
                      <a:pt x="452" y="484"/>
                    </a:lnTo>
                    <a:lnTo>
                      <a:pt x="451" y="485"/>
                    </a:lnTo>
                    <a:lnTo>
                      <a:pt x="451" y="486"/>
                    </a:lnTo>
                    <a:lnTo>
                      <a:pt x="451" y="488"/>
                    </a:lnTo>
                    <a:lnTo>
                      <a:pt x="451" y="489"/>
                    </a:lnTo>
                    <a:lnTo>
                      <a:pt x="447" y="488"/>
                    </a:lnTo>
                    <a:lnTo>
                      <a:pt x="447" y="486"/>
                    </a:lnTo>
                    <a:lnTo>
                      <a:pt x="447" y="484"/>
                    </a:lnTo>
                    <a:lnTo>
                      <a:pt x="444" y="482"/>
                    </a:lnTo>
                    <a:lnTo>
                      <a:pt x="444" y="483"/>
                    </a:lnTo>
                    <a:lnTo>
                      <a:pt x="444" y="482"/>
                    </a:lnTo>
                    <a:lnTo>
                      <a:pt x="444" y="483"/>
                    </a:lnTo>
                    <a:lnTo>
                      <a:pt x="442" y="483"/>
                    </a:lnTo>
                    <a:lnTo>
                      <a:pt x="441" y="483"/>
                    </a:lnTo>
                    <a:lnTo>
                      <a:pt x="440" y="482"/>
                    </a:lnTo>
                    <a:lnTo>
                      <a:pt x="439" y="481"/>
                    </a:lnTo>
                    <a:lnTo>
                      <a:pt x="439" y="480"/>
                    </a:lnTo>
                    <a:lnTo>
                      <a:pt x="438" y="480"/>
                    </a:lnTo>
                    <a:lnTo>
                      <a:pt x="438" y="478"/>
                    </a:lnTo>
                    <a:lnTo>
                      <a:pt x="439" y="478"/>
                    </a:lnTo>
                    <a:lnTo>
                      <a:pt x="438" y="478"/>
                    </a:lnTo>
                    <a:lnTo>
                      <a:pt x="437" y="479"/>
                    </a:lnTo>
                    <a:lnTo>
                      <a:pt x="436" y="478"/>
                    </a:lnTo>
                    <a:lnTo>
                      <a:pt x="435" y="478"/>
                    </a:lnTo>
                    <a:lnTo>
                      <a:pt x="435" y="482"/>
                    </a:lnTo>
                    <a:lnTo>
                      <a:pt x="433" y="480"/>
                    </a:lnTo>
                    <a:lnTo>
                      <a:pt x="430" y="481"/>
                    </a:lnTo>
                    <a:lnTo>
                      <a:pt x="429" y="481"/>
                    </a:lnTo>
                    <a:lnTo>
                      <a:pt x="429" y="482"/>
                    </a:lnTo>
                    <a:lnTo>
                      <a:pt x="428" y="482"/>
                    </a:lnTo>
                    <a:lnTo>
                      <a:pt x="427" y="481"/>
                    </a:lnTo>
                    <a:lnTo>
                      <a:pt x="426" y="482"/>
                    </a:lnTo>
                    <a:lnTo>
                      <a:pt x="425" y="482"/>
                    </a:lnTo>
                    <a:lnTo>
                      <a:pt x="424" y="482"/>
                    </a:lnTo>
                    <a:lnTo>
                      <a:pt x="421" y="483"/>
                    </a:lnTo>
                    <a:lnTo>
                      <a:pt x="419" y="480"/>
                    </a:lnTo>
                    <a:lnTo>
                      <a:pt x="417" y="480"/>
                    </a:lnTo>
                    <a:lnTo>
                      <a:pt x="416" y="478"/>
                    </a:lnTo>
                    <a:lnTo>
                      <a:pt x="414" y="479"/>
                    </a:lnTo>
                    <a:lnTo>
                      <a:pt x="413" y="480"/>
                    </a:lnTo>
                    <a:lnTo>
                      <a:pt x="412" y="480"/>
                    </a:lnTo>
                    <a:lnTo>
                      <a:pt x="411" y="478"/>
                    </a:lnTo>
                    <a:lnTo>
                      <a:pt x="411" y="479"/>
                    </a:lnTo>
                    <a:lnTo>
                      <a:pt x="409" y="478"/>
                    </a:lnTo>
                    <a:lnTo>
                      <a:pt x="410" y="477"/>
                    </a:lnTo>
                    <a:lnTo>
                      <a:pt x="408" y="475"/>
                    </a:lnTo>
                    <a:lnTo>
                      <a:pt x="403" y="475"/>
                    </a:lnTo>
                    <a:lnTo>
                      <a:pt x="400" y="475"/>
                    </a:lnTo>
                    <a:lnTo>
                      <a:pt x="398" y="479"/>
                    </a:lnTo>
                    <a:lnTo>
                      <a:pt x="399" y="480"/>
                    </a:lnTo>
                    <a:lnTo>
                      <a:pt x="401" y="481"/>
                    </a:lnTo>
                    <a:lnTo>
                      <a:pt x="402" y="484"/>
                    </a:lnTo>
                    <a:lnTo>
                      <a:pt x="402" y="486"/>
                    </a:lnTo>
                    <a:lnTo>
                      <a:pt x="402" y="487"/>
                    </a:lnTo>
                    <a:lnTo>
                      <a:pt x="399" y="488"/>
                    </a:lnTo>
                    <a:lnTo>
                      <a:pt x="395" y="486"/>
                    </a:lnTo>
                    <a:lnTo>
                      <a:pt x="394" y="488"/>
                    </a:lnTo>
                    <a:lnTo>
                      <a:pt x="391" y="486"/>
                    </a:lnTo>
                    <a:lnTo>
                      <a:pt x="389" y="486"/>
                    </a:lnTo>
                    <a:lnTo>
                      <a:pt x="388" y="487"/>
                    </a:lnTo>
                    <a:lnTo>
                      <a:pt x="388" y="489"/>
                    </a:lnTo>
                    <a:lnTo>
                      <a:pt x="387" y="490"/>
                    </a:lnTo>
                    <a:lnTo>
                      <a:pt x="387" y="491"/>
                    </a:lnTo>
                    <a:lnTo>
                      <a:pt x="388" y="492"/>
                    </a:lnTo>
                    <a:lnTo>
                      <a:pt x="389" y="495"/>
                    </a:lnTo>
                    <a:lnTo>
                      <a:pt x="388" y="495"/>
                    </a:lnTo>
                    <a:lnTo>
                      <a:pt x="386" y="495"/>
                    </a:lnTo>
                    <a:lnTo>
                      <a:pt x="386" y="496"/>
                    </a:lnTo>
                    <a:lnTo>
                      <a:pt x="386" y="499"/>
                    </a:lnTo>
                    <a:lnTo>
                      <a:pt x="384" y="499"/>
                    </a:lnTo>
                    <a:lnTo>
                      <a:pt x="383" y="501"/>
                    </a:lnTo>
                    <a:lnTo>
                      <a:pt x="382" y="501"/>
                    </a:lnTo>
                    <a:lnTo>
                      <a:pt x="381" y="499"/>
                    </a:lnTo>
                    <a:lnTo>
                      <a:pt x="379" y="501"/>
                    </a:lnTo>
                    <a:lnTo>
                      <a:pt x="377" y="501"/>
                    </a:lnTo>
                    <a:lnTo>
                      <a:pt x="377" y="498"/>
                    </a:lnTo>
                    <a:lnTo>
                      <a:pt x="374" y="495"/>
                    </a:lnTo>
                    <a:lnTo>
                      <a:pt x="376" y="494"/>
                    </a:lnTo>
                    <a:lnTo>
                      <a:pt x="374" y="493"/>
                    </a:lnTo>
                    <a:lnTo>
                      <a:pt x="373" y="492"/>
                    </a:lnTo>
                    <a:lnTo>
                      <a:pt x="374" y="491"/>
                    </a:lnTo>
                    <a:lnTo>
                      <a:pt x="373" y="490"/>
                    </a:lnTo>
                    <a:lnTo>
                      <a:pt x="373" y="489"/>
                    </a:lnTo>
                    <a:lnTo>
                      <a:pt x="373" y="485"/>
                    </a:lnTo>
                    <a:lnTo>
                      <a:pt x="371" y="486"/>
                    </a:lnTo>
                    <a:lnTo>
                      <a:pt x="372" y="485"/>
                    </a:lnTo>
                    <a:lnTo>
                      <a:pt x="372" y="484"/>
                    </a:lnTo>
                    <a:lnTo>
                      <a:pt x="371" y="484"/>
                    </a:lnTo>
                    <a:lnTo>
                      <a:pt x="372" y="483"/>
                    </a:lnTo>
                    <a:lnTo>
                      <a:pt x="372" y="481"/>
                    </a:lnTo>
                    <a:lnTo>
                      <a:pt x="370" y="480"/>
                    </a:lnTo>
                    <a:lnTo>
                      <a:pt x="371" y="480"/>
                    </a:lnTo>
                    <a:lnTo>
                      <a:pt x="372" y="480"/>
                    </a:lnTo>
                    <a:lnTo>
                      <a:pt x="370" y="478"/>
                    </a:lnTo>
                    <a:lnTo>
                      <a:pt x="370" y="477"/>
                    </a:lnTo>
                    <a:lnTo>
                      <a:pt x="369" y="479"/>
                    </a:lnTo>
                    <a:lnTo>
                      <a:pt x="368" y="479"/>
                    </a:lnTo>
                    <a:lnTo>
                      <a:pt x="367" y="478"/>
                    </a:lnTo>
                    <a:lnTo>
                      <a:pt x="366" y="478"/>
                    </a:lnTo>
                    <a:lnTo>
                      <a:pt x="364" y="482"/>
                    </a:lnTo>
                    <a:lnTo>
                      <a:pt x="365" y="483"/>
                    </a:lnTo>
                    <a:lnTo>
                      <a:pt x="364" y="484"/>
                    </a:lnTo>
                    <a:lnTo>
                      <a:pt x="363" y="483"/>
                    </a:lnTo>
                    <a:lnTo>
                      <a:pt x="363" y="481"/>
                    </a:lnTo>
                    <a:lnTo>
                      <a:pt x="362" y="479"/>
                    </a:lnTo>
                    <a:lnTo>
                      <a:pt x="361" y="479"/>
                    </a:lnTo>
                    <a:lnTo>
                      <a:pt x="359" y="478"/>
                    </a:lnTo>
                    <a:lnTo>
                      <a:pt x="357" y="475"/>
                    </a:lnTo>
                    <a:lnTo>
                      <a:pt x="356" y="470"/>
                    </a:lnTo>
                    <a:lnTo>
                      <a:pt x="355" y="470"/>
                    </a:lnTo>
                    <a:lnTo>
                      <a:pt x="354" y="470"/>
                    </a:lnTo>
                    <a:lnTo>
                      <a:pt x="348" y="468"/>
                    </a:lnTo>
                    <a:lnTo>
                      <a:pt x="347" y="465"/>
                    </a:lnTo>
                    <a:lnTo>
                      <a:pt x="344" y="460"/>
                    </a:lnTo>
                    <a:lnTo>
                      <a:pt x="345" y="459"/>
                    </a:lnTo>
                    <a:lnTo>
                      <a:pt x="344" y="459"/>
                    </a:lnTo>
                    <a:lnTo>
                      <a:pt x="343" y="461"/>
                    </a:lnTo>
                    <a:lnTo>
                      <a:pt x="343" y="464"/>
                    </a:lnTo>
                    <a:lnTo>
                      <a:pt x="340" y="464"/>
                    </a:lnTo>
                    <a:lnTo>
                      <a:pt x="340" y="465"/>
                    </a:lnTo>
                    <a:lnTo>
                      <a:pt x="338" y="465"/>
                    </a:lnTo>
                    <a:lnTo>
                      <a:pt x="338" y="466"/>
                    </a:lnTo>
                    <a:lnTo>
                      <a:pt x="338" y="465"/>
                    </a:lnTo>
                    <a:lnTo>
                      <a:pt x="337" y="467"/>
                    </a:lnTo>
                    <a:lnTo>
                      <a:pt x="337" y="468"/>
                    </a:lnTo>
                    <a:lnTo>
                      <a:pt x="338" y="468"/>
                    </a:lnTo>
                    <a:lnTo>
                      <a:pt x="337" y="471"/>
                    </a:lnTo>
                    <a:lnTo>
                      <a:pt x="333" y="469"/>
                    </a:lnTo>
                    <a:lnTo>
                      <a:pt x="333" y="470"/>
                    </a:lnTo>
                    <a:lnTo>
                      <a:pt x="333" y="471"/>
                    </a:lnTo>
                    <a:lnTo>
                      <a:pt x="332" y="471"/>
                    </a:lnTo>
                    <a:lnTo>
                      <a:pt x="333" y="472"/>
                    </a:lnTo>
                    <a:lnTo>
                      <a:pt x="332" y="472"/>
                    </a:lnTo>
                    <a:lnTo>
                      <a:pt x="333" y="473"/>
                    </a:lnTo>
                    <a:lnTo>
                      <a:pt x="332" y="475"/>
                    </a:lnTo>
                    <a:lnTo>
                      <a:pt x="333" y="476"/>
                    </a:lnTo>
                    <a:lnTo>
                      <a:pt x="332" y="476"/>
                    </a:lnTo>
                    <a:lnTo>
                      <a:pt x="331" y="477"/>
                    </a:lnTo>
                    <a:lnTo>
                      <a:pt x="330" y="477"/>
                    </a:lnTo>
                    <a:lnTo>
                      <a:pt x="330" y="480"/>
                    </a:lnTo>
                    <a:lnTo>
                      <a:pt x="329" y="480"/>
                    </a:lnTo>
                    <a:lnTo>
                      <a:pt x="329" y="481"/>
                    </a:lnTo>
                    <a:lnTo>
                      <a:pt x="329" y="482"/>
                    </a:lnTo>
                    <a:lnTo>
                      <a:pt x="331" y="483"/>
                    </a:lnTo>
                    <a:lnTo>
                      <a:pt x="330" y="486"/>
                    </a:lnTo>
                    <a:lnTo>
                      <a:pt x="330" y="487"/>
                    </a:lnTo>
                    <a:lnTo>
                      <a:pt x="332" y="486"/>
                    </a:lnTo>
                    <a:lnTo>
                      <a:pt x="332" y="488"/>
                    </a:lnTo>
                    <a:lnTo>
                      <a:pt x="331" y="488"/>
                    </a:lnTo>
                    <a:lnTo>
                      <a:pt x="333" y="489"/>
                    </a:lnTo>
                    <a:lnTo>
                      <a:pt x="333" y="490"/>
                    </a:lnTo>
                    <a:lnTo>
                      <a:pt x="331" y="491"/>
                    </a:lnTo>
                    <a:lnTo>
                      <a:pt x="333" y="491"/>
                    </a:lnTo>
                    <a:lnTo>
                      <a:pt x="332" y="492"/>
                    </a:lnTo>
                    <a:lnTo>
                      <a:pt x="330" y="492"/>
                    </a:lnTo>
                    <a:lnTo>
                      <a:pt x="329" y="492"/>
                    </a:lnTo>
                    <a:lnTo>
                      <a:pt x="329" y="493"/>
                    </a:lnTo>
                    <a:lnTo>
                      <a:pt x="325" y="493"/>
                    </a:lnTo>
                    <a:lnTo>
                      <a:pt x="325" y="494"/>
                    </a:lnTo>
                    <a:lnTo>
                      <a:pt x="324" y="494"/>
                    </a:lnTo>
                    <a:lnTo>
                      <a:pt x="324" y="493"/>
                    </a:lnTo>
                    <a:lnTo>
                      <a:pt x="321" y="493"/>
                    </a:lnTo>
                    <a:lnTo>
                      <a:pt x="320" y="492"/>
                    </a:lnTo>
                    <a:lnTo>
                      <a:pt x="320" y="493"/>
                    </a:lnTo>
                    <a:lnTo>
                      <a:pt x="320" y="494"/>
                    </a:lnTo>
                    <a:lnTo>
                      <a:pt x="318" y="494"/>
                    </a:lnTo>
                    <a:lnTo>
                      <a:pt x="317" y="494"/>
                    </a:lnTo>
                    <a:lnTo>
                      <a:pt x="316" y="496"/>
                    </a:lnTo>
                    <a:lnTo>
                      <a:pt x="313" y="499"/>
                    </a:lnTo>
                    <a:lnTo>
                      <a:pt x="312" y="498"/>
                    </a:lnTo>
                    <a:lnTo>
                      <a:pt x="312" y="499"/>
                    </a:lnTo>
                    <a:lnTo>
                      <a:pt x="310" y="499"/>
                    </a:lnTo>
                    <a:lnTo>
                      <a:pt x="308" y="500"/>
                    </a:lnTo>
                    <a:lnTo>
                      <a:pt x="308" y="501"/>
                    </a:lnTo>
                    <a:lnTo>
                      <a:pt x="307" y="501"/>
                    </a:lnTo>
                    <a:lnTo>
                      <a:pt x="308" y="505"/>
                    </a:lnTo>
                    <a:lnTo>
                      <a:pt x="307" y="506"/>
                    </a:lnTo>
                    <a:lnTo>
                      <a:pt x="307" y="509"/>
                    </a:lnTo>
                    <a:lnTo>
                      <a:pt x="306" y="509"/>
                    </a:lnTo>
                    <a:lnTo>
                      <a:pt x="304" y="509"/>
                    </a:lnTo>
                    <a:lnTo>
                      <a:pt x="303" y="507"/>
                    </a:lnTo>
                    <a:lnTo>
                      <a:pt x="304" y="506"/>
                    </a:lnTo>
                    <a:lnTo>
                      <a:pt x="303" y="502"/>
                    </a:lnTo>
                    <a:lnTo>
                      <a:pt x="301" y="501"/>
                    </a:lnTo>
                    <a:lnTo>
                      <a:pt x="296" y="498"/>
                    </a:lnTo>
                    <a:lnTo>
                      <a:pt x="291" y="499"/>
                    </a:lnTo>
                    <a:lnTo>
                      <a:pt x="289" y="499"/>
                    </a:lnTo>
                    <a:lnTo>
                      <a:pt x="289" y="498"/>
                    </a:lnTo>
                    <a:lnTo>
                      <a:pt x="287" y="498"/>
                    </a:lnTo>
                    <a:lnTo>
                      <a:pt x="287" y="496"/>
                    </a:lnTo>
                    <a:lnTo>
                      <a:pt x="288" y="495"/>
                    </a:lnTo>
                    <a:lnTo>
                      <a:pt x="289" y="495"/>
                    </a:lnTo>
                    <a:lnTo>
                      <a:pt x="290" y="493"/>
                    </a:lnTo>
                    <a:lnTo>
                      <a:pt x="291" y="492"/>
                    </a:lnTo>
                    <a:lnTo>
                      <a:pt x="292" y="489"/>
                    </a:lnTo>
                    <a:lnTo>
                      <a:pt x="292" y="488"/>
                    </a:lnTo>
                    <a:lnTo>
                      <a:pt x="291" y="488"/>
                    </a:lnTo>
                    <a:lnTo>
                      <a:pt x="290" y="490"/>
                    </a:lnTo>
                    <a:lnTo>
                      <a:pt x="289" y="491"/>
                    </a:lnTo>
                    <a:lnTo>
                      <a:pt x="287" y="490"/>
                    </a:lnTo>
                    <a:lnTo>
                      <a:pt x="287" y="492"/>
                    </a:lnTo>
                    <a:lnTo>
                      <a:pt x="286" y="492"/>
                    </a:lnTo>
                    <a:lnTo>
                      <a:pt x="286" y="489"/>
                    </a:lnTo>
                    <a:lnTo>
                      <a:pt x="284" y="493"/>
                    </a:lnTo>
                    <a:lnTo>
                      <a:pt x="282" y="492"/>
                    </a:lnTo>
                    <a:lnTo>
                      <a:pt x="283" y="492"/>
                    </a:lnTo>
                    <a:lnTo>
                      <a:pt x="282" y="492"/>
                    </a:lnTo>
                    <a:lnTo>
                      <a:pt x="281" y="492"/>
                    </a:lnTo>
                    <a:lnTo>
                      <a:pt x="281" y="491"/>
                    </a:lnTo>
                    <a:lnTo>
                      <a:pt x="280" y="492"/>
                    </a:lnTo>
                    <a:lnTo>
                      <a:pt x="280" y="491"/>
                    </a:lnTo>
                    <a:lnTo>
                      <a:pt x="278" y="490"/>
                    </a:lnTo>
                    <a:lnTo>
                      <a:pt x="277" y="489"/>
                    </a:lnTo>
                    <a:lnTo>
                      <a:pt x="276" y="489"/>
                    </a:lnTo>
                    <a:lnTo>
                      <a:pt x="275" y="491"/>
                    </a:lnTo>
                    <a:lnTo>
                      <a:pt x="274" y="489"/>
                    </a:lnTo>
                    <a:lnTo>
                      <a:pt x="273" y="489"/>
                    </a:lnTo>
                    <a:lnTo>
                      <a:pt x="273" y="488"/>
                    </a:lnTo>
                    <a:lnTo>
                      <a:pt x="272" y="489"/>
                    </a:lnTo>
                    <a:lnTo>
                      <a:pt x="272" y="488"/>
                    </a:lnTo>
                    <a:lnTo>
                      <a:pt x="270" y="488"/>
                    </a:lnTo>
                    <a:lnTo>
                      <a:pt x="272" y="485"/>
                    </a:lnTo>
                    <a:lnTo>
                      <a:pt x="271" y="484"/>
                    </a:lnTo>
                    <a:lnTo>
                      <a:pt x="269" y="484"/>
                    </a:lnTo>
                    <a:lnTo>
                      <a:pt x="268" y="486"/>
                    </a:lnTo>
                    <a:lnTo>
                      <a:pt x="266" y="485"/>
                    </a:lnTo>
                    <a:lnTo>
                      <a:pt x="263" y="482"/>
                    </a:lnTo>
                    <a:lnTo>
                      <a:pt x="261" y="482"/>
                    </a:lnTo>
                    <a:lnTo>
                      <a:pt x="261" y="483"/>
                    </a:lnTo>
                    <a:lnTo>
                      <a:pt x="260" y="486"/>
                    </a:lnTo>
                    <a:lnTo>
                      <a:pt x="258" y="486"/>
                    </a:lnTo>
                    <a:lnTo>
                      <a:pt x="258" y="488"/>
                    </a:lnTo>
                    <a:lnTo>
                      <a:pt x="260" y="488"/>
                    </a:lnTo>
                    <a:lnTo>
                      <a:pt x="259" y="488"/>
                    </a:lnTo>
                    <a:lnTo>
                      <a:pt x="258" y="488"/>
                    </a:lnTo>
                    <a:lnTo>
                      <a:pt x="257" y="486"/>
                    </a:lnTo>
                    <a:lnTo>
                      <a:pt x="256" y="488"/>
                    </a:lnTo>
                    <a:lnTo>
                      <a:pt x="255" y="486"/>
                    </a:lnTo>
                    <a:lnTo>
                      <a:pt x="255" y="485"/>
                    </a:lnTo>
                    <a:lnTo>
                      <a:pt x="254" y="483"/>
                    </a:lnTo>
                    <a:lnTo>
                      <a:pt x="252" y="483"/>
                    </a:lnTo>
                    <a:lnTo>
                      <a:pt x="252" y="480"/>
                    </a:lnTo>
                    <a:lnTo>
                      <a:pt x="250" y="480"/>
                    </a:lnTo>
                    <a:lnTo>
                      <a:pt x="249" y="481"/>
                    </a:lnTo>
                    <a:lnTo>
                      <a:pt x="248" y="481"/>
                    </a:lnTo>
                    <a:lnTo>
                      <a:pt x="245" y="475"/>
                    </a:lnTo>
                    <a:lnTo>
                      <a:pt x="244" y="475"/>
                    </a:lnTo>
                    <a:lnTo>
                      <a:pt x="243" y="473"/>
                    </a:lnTo>
                    <a:lnTo>
                      <a:pt x="243" y="476"/>
                    </a:lnTo>
                    <a:lnTo>
                      <a:pt x="242" y="475"/>
                    </a:lnTo>
                    <a:lnTo>
                      <a:pt x="241" y="475"/>
                    </a:lnTo>
                    <a:lnTo>
                      <a:pt x="242" y="475"/>
                    </a:lnTo>
                    <a:lnTo>
                      <a:pt x="243" y="479"/>
                    </a:lnTo>
                    <a:lnTo>
                      <a:pt x="242" y="480"/>
                    </a:lnTo>
                    <a:lnTo>
                      <a:pt x="243" y="480"/>
                    </a:lnTo>
                    <a:lnTo>
                      <a:pt x="242" y="482"/>
                    </a:lnTo>
                    <a:lnTo>
                      <a:pt x="242" y="483"/>
                    </a:lnTo>
                    <a:lnTo>
                      <a:pt x="244" y="483"/>
                    </a:lnTo>
                    <a:lnTo>
                      <a:pt x="243" y="484"/>
                    </a:lnTo>
                    <a:lnTo>
                      <a:pt x="242" y="483"/>
                    </a:lnTo>
                    <a:lnTo>
                      <a:pt x="242" y="484"/>
                    </a:lnTo>
                    <a:lnTo>
                      <a:pt x="241" y="481"/>
                    </a:lnTo>
                    <a:lnTo>
                      <a:pt x="240" y="481"/>
                    </a:lnTo>
                    <a:lnTo>
                      <a:pt x="239" y="480"/>
                    </a:lnTo>
                    <a:lnTo>
                      <a:pt x="237" y="480"/>
                    </a:lnTo>
                    <a:lnTo>
                      <a:pt x="236" y="481"/>
                    </a:lnTo>
                    <a:lnTo>
                      <a:pt x="235" y="480"/>
                    </a:lnTo>
                    <a:lnTo>
                      <a:pt x="235" y="481"/>
                    </a:lnTo>
                    <a:lnTo>
                      <a:pt x="234" y="481"/>
                    </a:lnTo>
                    <a:lnTo>
                      <a:pt x="235" y="482"/>
                    </a:lnTo>
                    <a:lnTo>
                      <a:pt x="234" y="482"/>
                    </a:lnTo>
                    <a:lnTo>
                      <a:pt x="234" y="483"/>
                    </a:lnTo>
                    <a:lnTo>
                      <a:pt x="234" y="482"/>
                    </a:lnTo>
                    <a:lnTo>
                      <a:pt x="234" y="483"/>
                    </a:lnTo>
                    <a:lnTo>
                      <a:pt x="233" y="484"/>
                    </a:lnTo>
                    <a:lnTo>
                      <a:pt x="232" y="482"/>
                    </a:lnTo>
                    <a:lnTo>
                      <a:pt x="232" y="483"/>
                    </a:lnTo>
                    <a:lnTo>
                      <a:pt x="231" y="486"/>
                    </a:lnTo>
                    <a:lnTo>
                      <a:pt x="230" y="486"/>
                    </a:lnTo>
                    <a:lnTo>
                      <a:pt x="231" y="484"/>
                    </a:lnTo>
                    <a:lnTo>
                      <a:pt x="229" y="484"/>
                    </a:lnTo>
                    <a:lnTo>
                      <a:pt x="228" y="485"/>
                    </a:lnTo>
                    <a:lnTo>
                      <a:pt x="227" y="487"/>
                    </a:lnTo>
                    <a:lnTo>
                      <a:pt x="227" y="485"/>
                    </a:lnTo>
                    <a:lnTo>
                      <a:pt x="226" y="485"/>
                    </a:lnTo>
                    <a:lnTo>
                      <a:pt x="226" y="484"/>
                    </a:lnTo>
                    <a:lnTo>
                      <a:pt x="224" y="483"/>
                    </a:lnTo>
                    <a:lnTo>
                      <a:pt x="221" y="485"/>
                    </a:lnTo>
                    <a:lnTo>
                      <a:pt x="220" y="484"/>
                    </a:lnTo>
                    <a:lnTo>
                      <a:pt x="219" y="484"/>
                    </a:lnTo>
                    <a:lnTo>
                      <a:pt x="221" y="484"/>
                    </a:lnTo>
                    <a:lnTo>
                      <a:pt x="221" y="483"/>
                    </a:lnTo>
                    <a:lnTo>
                      <a:pt x="221" y="481"/>
                    </a:lnTo>
                    <a:lnTo>
                      <a:pt x="222" y="480"/>
                    </a:lnTo>
                    <a:lnTo>
                      <a:pt x="222" y="478"/>
                    </a:lnTo>
                    <a:lnTo>
                      <a:pt x="221" y="478"/>
                    </a:lnTo>
                    <a:lnTo>
                      <a:pt x="220" y="478"/>
                    </a:lnTo>
                    <a:lnTo>
                      <a:pt x="219" y="477"/>
                    </a:lnTo>
                    <a:lnTo>
                      <a:pt x="219" y="475"/>
                    </a:lnTo>
                    <a:lnTo>
                      <a:pt x="218" y="476"/>
                    </a:lnTo>
                    <a:lnTo>
                      <a:pt x="216" y="473"/>
                    </a:lnTo>
                    <a:lnTo>
                      <a:pt x="213" y="475"/>
                    </a:lnTo>
                    <a:lnTo>
                      <a:pt x="212" y="473"/>
                    </a:lnTo>
                    <a:lnTo>
                      <a:pt x="212" y="474"/>
                    </a:lnTo>
                    <a:lnTo>
                      <a:pt x="212" y="473"/>
                    </a:lnTo>
                    <a:lnTo>
                      <a:pt x="211" y="472"/>
                    </a:lnTo>
                    <a:lnTo>
                      <a:pt x="212" y="469"/>
                    </a:lnTo>
                    <a:lnTo>
                      <a:pt x="211" y="467"/>
                    </a:lnTo>
                    <a:lnTo>
                      <a:pt x="208" y="466"/>
                    </a:lnTo>
                    <a:lnTo>
                      <a:pt x="208" y="465"/>
                    </a:lnTo>
                    <a:lnTo>
                      <a:pt x="206" y="465"/>
                    </a:lnTo>
                    <a:lnTo>
                      <a:pt x="206" y="463"/>
                    </a:lnTo>
                    <a:lnTo>
                      <a:pt x="203" y="465"/>
                    </a:lnTo>
                    <a:lnTo>
                      <a:pt x="202" y="465"/>
                    </a:lnTo>
                    <a:lnTo>
                      <a:pt x="198" y="465"/>
                    </a:lnTo>
                    <a:lnTo>
                      <a:pt x="197" y="463"/>
                    </a:lnTo>
                    <a:lnTo>
                      <a:pt x="196" y="465"/>
                    </a:lnTo>
                    <a:lnTo>
                      <a:pt x="195" y="465"/>
                    </a:lnTo>
                    <a:lnTo>
                      <a:pt x="194" y="465"/>
                    </a:lnTo>
                    <a:lnTo>
                      <a:pt x="194" y="467"/>
                    </a:lnTo>
                    <a:lnTo>
                      <a:pt x="194" y="470"/>
                    </a:lnTo>
                    <a:lnTo>
                      <a:pt x="192" y="471"/>
                    </a:lnTo>
                    <a:lnTo>
                      <a:pt x="192" y="472"/>
                    </a:lnTo>
                    <a:lnTo>
                      <a:pt x="190" y="473"/>
                    </a:lnTo>
                    <a:lnTo>
                      <a:pt x="189" y="473"/>
                    </a:lnTo>
                    <a:lnTo>
                      <a:pt x="189" y="475"/>
                    </a:lnTo>
                    <a:lnTo>
                      <a:pt x="190" y="474"/>
                    </a:lnTo>
                    <a:lnTo>
                      <a:pt x="188" y="476"/>
                    </a:lnTo>
                    <a:lnTo>
                      <a:pt x="188" y="478"/>
                    </a:lnTo>
                    <a:lnTo>
                      <a:pt x="186" y="477"/>
                    </a:lnTo>
                    <a:lnTo>
                      <a:pt x="186" y="476"/>
                    </a:lnTo>
                    <a:lnTo>
                      <a:pt x="187" y="475"/>
                    </a:lnTo>
                    <a:lnTo>
                      <a:pt x="184" y="475"/>
                    </a:lnTo>
                    <a:lnTo>
                      <a:pt x="181" y="475"/>
                    </a:lnTo>
                    <a:lnTo>
                      <a:pt x="180" y="476"/>
                    </a:lnTo>
                    <a:lnTo>
                      <a:pt x="178" y="475"/>
                    </a:lnTo>
                    <a:lnTo>
                      <a:pt x="177" y="475"/>
                    </a:lnTo>
                    <a:lnTo>
                      <a:pt x="174" y="475"/>
                    </a:lnTo>
                    <a:lnTo>
                      <a:pt x="173" y="475"/>
                    </a:lnTo>
                    <a:lnTo>
                      <a:pt x="172" y="476"/>
                    </a:lnTo>
                    <a:lnTo>
                      <a:pt x="170" y="473"/>
                    </a:lnTo>
                    <a:lnTo>
                      <a:pt x="168" y="473"/>
                    </a:lnTo>
                    <a:lnTo>
                      <a:pt x="165" y="472"/>
                    </a:lnTo>
                    <a:lnTo>
                      <a:pt x="165" y="476"/>
                    </a:lnTo>
                    <a:lnTo>
                      <a:pt x="163" y="475"/>
                    </a:lnTo>
                    <a:lnTo>
                      <a:pt x="161" y="475"/>
                    </a:lnTo>
                    <a:lnTo>
                      <a:pt x="161" y="473"/>
                    </a:lnTo>
                    <a:lnTo>
                      <a:pt x="161" y="472"/>
                    </a:lnTo>
                    <a:lnTo>
                      <a:pt x="161" y="471"/>
                    </a:lnTo>
                    <a:lnTo>
                      <a:pt x="159" y="471"/>
                    </a:lnTo>
                    <a:lnTo>
                      <a:pt x="159" y="473"/>
                    </a:lnTo>
                    <a:lnTo>
                      <a:pt x="158" y="475"/>
                    </a:lnTo>
                    <a:lnTo>
                      <a:pt x="156" y="474"/>
                    </a:lnTo>
                    <a:lnTo>
                      <a:pt x="155" y="475"/>
                    </a:lnTo>
                    <a:lnTo>
                      <a:pt x="155" y="473"/>
                    </a:lnTo>
                    <a:lnTo>
                      <a:pt x="152" y="473"/>
                    </a:lnTo>
                    <a:lnTo>
                      <a:pt x="152" y="472"/>
                    </a:lnTo>
                    <a:lnTo>
                      <a:pt x="151" y="473"/>
                    </a:lnTo>
                    <a:lnTo>
                      <a:pt x="150" y="472"/>
                    </a:lnTo>
                    <a:lnTo>
                      <a:pt x="149" y="469"/>
                    </a:lnTo>
                    <a:lnTo>
                      <a:pt x="150" y="468"/>
                    </a:lnTo>
                    <a:lnTo>
                      <a:pt x="150" y="467"/>
                    </a:lnTo>
                    <a:lnTo>
                      <a:pt x="150" y="464"/>
                    </a:lnTo>
                    <a:lnTo>
                      <a:pt x="150" y="463"/>
                    </a:lnTo>
                    <a:lnTo>
                      <a:pt x="151" y="462"/>
                    </a:lnTo>
                    <a:lnTo>
                      <a:pt x="151" y="461"/>
                    </a:lnTo>
                    <a:lnTo>
                      <a:pt x="153" y="461"/>
                    </a:lnTo>
                    <a:lnTo>
                      <a:pt x="151" y="460"/>
                    </a:lnTo>
                    <a:lnTo>
                      <a:pt x="149" y="458"/>
                    </a:lnTo>
                    <a:lnTo>
                      <a:pt x="145" y="458"/>
                    </a:lnTo>
                    <a:lnTo>
                      <a:pt x="144" y="45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1" name="Freeform 85">
                <a:extLst>
                  <a:ext uri="{FF2B5EF4-FFF2-40B4-BE49-F238E27FC236}">
                    <a16:creationId xmlns:a16="http://schemas.microsoft.com/office/drawing/2014/main" id="{E5685066-65CC-BBEA-7AC2-9C365182AC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1" y="2910"/>
                <a:ext cx="569" cy="509"/>
              </a:xfrm>
              <a:custGeom>
                <a:avLst/>
                <a:gdLst>
                  <a:gd name="T0" fmla="*/ 128 w 569"/>
                  <a:gd name="T1" fmla="*/ 470 h 509"/>
                  <a:gd name="T2" fmla="*/ 100 w 569"/>
                  <a:gd name="T3" fmla="*/ 473 h 509"/>
                  <a:gd name="T4" fmla="*/ 79 w 569"/>
                  <a:gd name="T5" fmla="*/ 467 h 509"/>
                  <a:gd name="T6" fmla="*/ 69 w 569"/>
                  <a:gd name="T7" fmla="*/ 420 h 509"/>
                  <a:gd name="T8" fmla="*/ 60 w 569"/>
                  <a:gd name="T9" fmla="*/ 397 h 509"/>
                  <a:gd name="T10" fmla="*/ 56 w 569"/>
                  <a:gd name="T11" fmla="*/ 386 h 509"/>
                  <a:gd name="T12" fmla="*/ 81 w 569"/>
                  <a:gd name="T13" fmla="*/ 368 h 509"/>
                  <a:gd name="T14" fmla="*/ 91 w 569"/>
                  <a:gd name="T15" fmla="*/ 338 h 509"/>
                  <a:gd name="T16" fmla="*/ 106 w 569"/>
                  <a:gd name="T17" fmla="*/ 306 h 509"/>
                  <a:gd name="T18" fmla="*/ 89 w 569"/>
                  <a:gd name="T19" fmla="*/ 267 h 509"/>
                  <a:gd name="T20" fmla="*/ 60 w 569"/>
                  <a:gd name="T21" fmla="*/ 236 h 509"/>
                  <a:gd name="T22" fmla="*/ 33 w 569"/>
                  <a:gd name="T23" fmla="*/ 210 h 509"/>
                  <a:gd name="T24" fmla="*/ 6 w 569"/>
                  <a:gd name="T25" fmla="*/ 198 h 509"/>
                  <a:gd name="T26" fmla="*/ 25 w 569"/>
                  <a:gd name="T27" fmla="*/ 175 h 509"/>
                  <a:gd name="T28" fmla="*/ 41 w 569"/>
                  <a:gd name="T29" fmla="*/ 146 h 509"/>
                  <a:gd name="T30" fmla="*/ 85 w 569"/>
                  <a:gd name="T31" fmla="*/ 126 h 509"/>
                  <a:gd name="T32" fmla="*/ 128 w 569"/>
                  <a:gd name="T33" fmla="*/ 122 h 509"/>
                  <a:gd name="T34" fmla="*/ 164 w 569"/>
                  <a:gd name="T35" fmla="*/ 107 h 509"/>
                  <a:gd name="T36" fmla="*/ 188 w 569"/>
                  <a:gd name="T37" fmla="*/ 92 h 509"/>
                  <a:gd name="T38" fmla="*/ 237 w 569"/>
                  <a:gd name="T39" fmla="*/ 103 h 509"/>
                  <a:gd name="T40" fmla="*/ 273 w 569"/>
                  <a:gd name="T41" fmla="*/ 101 h 509"/>
                  <a:gd name="T42" fmla="*/ 282 w 569"/>
                  <a:gd name="T43" fmla="*/ 78 h 509"/>
                  <a:gd name="T44" fmla="*/ 295 w 569"/>
                  <a:gd name="T45" fmla="*/ 68 h 509"/>
                  <a:gd name="T46" fmla="*/ 321 w 569"/>
                  <a:gd name="T47" fmla="*/ 39 h 509"/>
                  <a:gd name="T48" fmla="*/ 343 w 569"/>
                  <a:gd name="T49" fmla="*/ 44 h 509"/>
                  <a:gd name="T50" fmla="*/ 368 w 569"/>
                  <a:gd name="T51" fmla="*/ 52 h 509"/>
                  <a:gd name="T52" fmla="*/ 423 w 569"/>
                  <a:gd name="T53" fmla="*/ 18 h 509"/>
                  <a:gd name="T54" fmla="*/ 446 w 569"/>
                  <a:gd name="T55" fmla="*/ 7 h 509"/>
                  <a:gd name="T56" fmla="*/ 468 w 569"/>
                  <a:gd name="T57" fmla="*/ 20 h 509"/>
                  <a:gd name="T58" fmla="*/ 488 w 569"/>
                  <a:gd name="T59" fmla="*/ 49 h 509"/>
                  <a:gd name="T60" fmla="*/ 491 w 569"/>
                  <a:gd name="T61" fmla="*/ 77 h 509"/>
                  <a:gd name="T62" fmla="*/ 489 w 569"/>
                  <a:gd name="T63" fmla="*/ 109 h 509"/>
                  <a:gd name="T64" fmla="*/ 483 w 569"/>
                  <a:gd name="T65" fmla="*/ 137 h 509"/>
                  <a:gd name="T66" fmla="*/ 499 w 569"/>
                  <a:gd name="T67" fmla="*/ 161 h 509"/>
                  <a:gd name="T68" fmla="*/ 528 w 569"/>
                  <a:gd name="T69" fmla="*/ 171 h 509"/>
                  <a:gd name="T70" fmla="*/ 541 w 569"/>
                  <a:gd name="T71" fmla="*/ 189 h 509"/>
                  <a:gd name="T72" fmla="*/ 539 w 569"/>
                  <a:gd name="T73" fmla="*/ 225 h 509"/>
                  <a:gd name="T74" fmla="*/ 552 w 569"/>
                  <a:gd name="T75" fmla="*/ 249 h 509"/>
                  <a:gd name="T76" fmla="*/ 542 w 569"/>
                  <a:gd name="T77" fmla="*/ 279 h 509"/>
                  <a:gd name="T78" fmla="*/ 530 w 569"/>
                  <a:gd name="T79" fmla="*/ 288 h 509"/>
                  <a:gd name="T80" fmla="*/ 548 w 569"/>
                  <a:gd name="T81" fmla="*/ 306 h 509"/>
                  <a:gd name="T82" fmla="*/ 567 w 569"/>
                  <a:gd name="T83" fmla="*/ 330 h 509"/>
                  <a:gd name="T84" fmla="*/ 557 w 569"/>
                  <a:gd name="T85" fmla="*/ 360 h 509"/>
                  <a:gd name="T86" fmla="*/ 544 w 569"/>
                  <a:gd name="T87" fmla="*/ 384 h 509"/>
                  <a:gd name="T88" fmla="*/ 524 w 569"/>
                  <a:gd name="T89" fmla="*/ 401 h 509"/>
                  <a:gd name="T90" fmla="*/ 495 w 569"/>
                  <a:gd name="T91" fmla="*/ 412 h 509"/>
                  <a:gd name="T92" fmla="*/ 475 w 569"/>
                  <a:gd name="T93" fmla="*/ 420 h 509"/>
                  <a:gd name="T94" fmla="*/ 469 w 569"/>
                  <a:gd name="T95" fmla="*/ 456 h 509"/>
                  <a:gd name="T96" fmla="*/ 457 w 569"/>
                  <a:gd name="T97" fmla="*/ 480 h 509"/>
                  <a:gd name="T98" fmla="*/ 438 w 569"/>
                  <a:gd name="T99" fmla="*/ 480 h 509"/>
                  <a:gd name="T100" fmla="*/ 411 w 569"/>
                  <a:gd name="T101" fmla="*/ 478 h 509"/>
                  <a:gd name="T102" fmla="*/ 386 w 569"/>
                  <a:gd name="T103" fmla="*/ 495 h 509"/>
                  <a:gd name="T104" fmla="*/ 372 w 569"/>
                  <a:gd name="T105" fmla="*/ 480 h 509"/>
                  <a:gd name="T106" fmla="*/ 340 w 569"/>
                  <a:gd name="T107" fmla="*/ 465 h 509"/>
                  <a:gd name="T108" fmla="*/ 330 w 569"/>
                  <a:gd name="T109" fmla="*/ 486 h 509"/>
                  <a:gd name="T110" fmla="*/ 312 w 569"/>
                  <a:gd name="T111" fmla="*/ 499 h 509"/>
                  <a:gd name="T112" fmla="*/ 291 w 569"/>
                  <a:gd name="T113" fmla="*/ 488 h 509"/>
                  <a:gd name="T114" fmla="*/ 269 w 569"/>
                  <a:gd name="T115" fmla="*/ 484 h 509"/>
                  <a:gd name="T116" fmla="*/ 243 w 569"/>
                  <a:gd name="T117" fmla="*/ 476 h 509"/>
                  <a:gd name="T118" fmla="*/ 233 w 569"/>
                  <a:gd name="T119" fmla="*/ 484 h 509"/>
                  <a:gd name="T120" fmla="*/ 216 w 569"/>
                  <a:gd name="T121" fmla="*/ 473 h 509"/>
                  <a:gd name="T122" fmla="*/ 190 w 569"/>
                  <a:gd name="T123" fmla="*/ 474 h 509"/>
                  <a:gd name="T124" fmla="*/ 158 w 569"/>
                  <a:gd name="T125" fmla="*/ 475 h 50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569"/>
                  <a:gd name="T190" fmla="*/ 0 h 509"/>
                  <a:gd name="T191" fmla="*/ 569 w 569"/>
                  <a:gd name="T192" fmla="*/ 509 h 50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569" h="509">
                    <a:moveTo>
                      <a:pt x="144" y="458"/>
                    </a:moveTo>
                    <a:lnTo>
                      <a:pt x="142" y="460"/>
                    </a:lnTo>
                    <a:lnTo>
                      <a:pt x="142" y="459"/>
                    </a:lnTo>
                    <a:lnTo>
                      <a:pt x="139" y="461"/>
                    </a:lnTo>
                    <a:lnTo>
                      <a:pt x="138" y="461"/>
                    </a:lnTo>
                    <a:lnTo>
                      <a:pt x="136" y="460"/>
                    </a:lnTo>
                    <a:lnTo>
                      <a:pt x="135" y="463"/>
                    </a:lnTo>
                    <a:lnTo>
                      <a:pt x="136" y="465"/>
                    </a:lnTo>
                    <a:lnTo>
                      <a:pt x="135" y="467"/>
                    </a:lnTo>
                    <a:lnTo>
                      <a:pt x="135" y="465"/>
                    </a:lnTo>
                    <a:lnTo>
                      <a:pt x="134" y="468"/>
                    </a:lnTo>
                    <a:lnTo>
                      <a:pt x="134" y="469"/>
                    </a:lnTo>
                    <a:lnTo>
                      <a:pt x="134" y="470"/>
                    </a:lnTo>
                    <a:lnTo>
                      <a:pt x="133" y="470"/>
                    </a:lnTo>
                    <a:lnTo>
                      <a:pt x="133" y="471"/>
                    </a:lnTo>
                    <a:lnTo>
                      <a:pt x="132" y="469"/>
                    </a:lnTo>
                    <a:lnTo>
                      <a:pt x="131" y="469"/>
                    </a:lnTo>
                    <a:lnTo>
                      <a:pt x="131" y="471"/>
                    </a:lnTo>
                    <a:lnTo>
                      <a:pt x="132" y="473"/>
                    </a:lnTo>
                    <a:lnTo>
                      <a:pt x="131" y="473"/>
                    </a:lnTo>
                    <a:lnTo>
                      <a:pt x="131" y="475"/>
                    </a:lnTo>
                    <a:lnTo>
                      <a:pt x="130" y="475"/>
                    </a:lnTo>
                    <a:lnTo>
                      <a:pt x="130" y="472"/>
                    </a:lnTo>
                    <a:lnTo>
                      <a:pt x="128" y="472"/>
                    </a:lnTo>
                    <a:lnTo>
                      <a:pt x="128" y="470"/>
                    </a:lnTo>
                    <a:lnTo>
                      <a:pt x="126" y="472"/>
                    </a:lnTo>
                    <a:lnTo>
                      <a:pt x="126" y="473"/>
                    </a:lnTo>
                    <a:lnTo>
                      <a:pt x="125" y="475"/>
                    </a:lnTo>
                    <a:lnTo>
                      <a:pt x="125" y="476"/>
                    </a:lnTo>
                    <a:lnTo>
                      <a:pt x="125" y="477"/>
                    </a:lnTo>
                    <a:lnTo>
                      <a:pt x="121" y="476"/>
                    </a:lnTo>
                    <a:lnTo>
                      <a:pt x="118" y="475"/>
                    </a:lnTo>
                    <a:lnTo>
                      <a:pt x="118" y="473"/>
                    </a:lnTo>
                    <a:lnTo>
                      <a:pt x="117" y="472"/>
                    </a:lnTo>
                    <a:lnTo>
                      <a:pt x="114" y="475"/>
                    </a:lnTo>
                    <a:lnTo>
                      <a:pt x="114" y="478"/>
                    </a:lnTo>
                    <a:lnTo>
                      <a:pt x="113" y="478"/>
                    </a:lnTo>
                    <a:lnTo>
                      <a:pt x="111" y="480"/>
                    </a:lnTo>
                    <a:lnTo>
                      <a:pt x="111" y="478"/>
                    </a:lnTo>
                    <a:lnTo>
                      <a:pt x="107" y="479"/>
                    </a:lnTo>
                    <a:lnTo>
                      <a:pt x="107" y="478"/>
                    </a:lnTo>
                    <a:lnTo>
                      <a:pt x="105" y="478"/>
                    </a:lnTo>
                    <a:lnTo>
                      <a:pt x="105" y="476"/>
                    </a:lnTo>
                    <a:lnTo>
                      <a:pt x="104" y="475"/>
                    </a:lnTo>
                    <a:lnTo>
                      <a:pt x="103" y="476"/>
                    </a:lnTo>
                    <a:lnTo>
                      <a:pt x="100" y="476"/>
                    </a:lnTo>
                    <a:lnTo>
                      <a:pt x="102" y="475"/>
                    </a:lnTo>
                    <a:lnTo>
                      <a:pt x="102" y="473"/>
                    </a:lnTo>
                    <a:lnTo>
                      <a:pt x="104" y="472"/>
                    </a:lnTo>
                    <a:lnTo>
                      <a:pt x="100" y="472"/>
                    </a:lnTo>
                    <a:lnTo>
                      <a:pt x="100" y="473"/>
                    </a:lnTo>
                    <a:lnTo>
                      <a:pt x="98" y="472"/>
                    </a:lnTo>
                    <a:lnTo>
                      <a:pt x="98" y="470"/>
                    </a:lnTo>
                    <a:lnTo>
                      <a:pt x="98" y="468"/>
                    </a:lnTo>
                    <a:lnTo>
                      <a:pt x="95" y="465"/>
                    </a:lnTo>
                    <a:lnTo>
                      <a:pt x="93" y="466"/>
                    </a:lnTo>
                    <a:lnTo>
                      <a:pt x="93" y="467"/>
                    </a:lnTo>
                    <a:lnTo>
                      <a:pt x="94" y="468"/>
                    </a:lnTo>
                    <a:lnTo>
                      <a:pt x="92" y="468"/>
                    </a:lnTo>
                    <a:lnTo>
                      <a:pt x="90" y="471"/>
                    </a:lnTo>
                    <a:lnTo>
                      <a:pt x="89" y="471"/>
                    </a:lnTo>
                    <a:lnTo>
                      <a:pt x="87" y="472"/>
                    </a:lnTo>
                    <a:lnTo>
                      <a:pt x="87" y="471"/>
                    </a:lnTo>
                    <a:lnTo>
                      <a:pt x="87" y="470"/>
                    </a:lnTo>
                    <a:lnTo>
                      <a:pt x="86" y="471"/>
                    </a:lnTo>
                    <a:lnTo>
                      <a:pt x="85" y="471"/>
                    </a:lnTo>
                    <a:lnTo>
                      <a:pt x="85" y="467"/>
                    </a:lnTo>
                    <a:lnTo>
                      <a:pt x="85" y="468"/>
                    </a:lnTo>
                    <a:lnTo>
                      <a:pt x="84" y="467"/>
                    </a:lnTo>
                    <a:lnTo>
                      <a:pt x="84" y="463"/>
                    </a:lnTo>
                    <a:lnTo>
                      <a:pt x="82" y="463"/>
                    </a:lnTo>
                    <a:lnTo>
                      <a:pt x="83" y="464"/>
                    </a:lnTo>
                    <a:lnTo>
                      <a:pt x="81" y="464"/>
                    </a:lnTo>
                    <a:lnTo>
                      <a:pt x="81" y="467"/>
                    </a:lnTo>
                    <a:lnTo>
                      <a:pt x="79" y="467"/>
                    </a:lnTo>
                    <a:lnTo>
                      <a:pt x="79" y="468"/>
                    </a:lnTo>
                    <a:lnTo>
                      <a:pt x="76" y="466"/>
                    </a:lnTo>
                    <a:lnTo>
                      <a:pt x="74" y="465"/>
                    </a:lnTo>
                    <a:lnTo>
                      <a:pt x="72" y="469"/>
                    </a:lnTo>
                    <a:lnTo>
                      <a:pt x="71" y="469"/>
                    </a:lnTo>
                    <a:lnTo>
                      <a:pt x="68" y="468"/>
                    </a:lnTo>
                    <a:lnTo>
                      <a:pt x="67" y="468"/>
                    </a:lnTo>
                    <a:lnTo>
                      <a:pt x="68" y="465"/>
                    </a:lnTo>
                    <a:lnTo>
                      <a:pt x="68" y="464"/>
                    </a:lnTo>
                    <a:lnTo>
                      <a:pt x="69" y="459"/>
                    </a:lnTo>
                    <a:lnTo>
                      <a:pt x="70" y="456"/>
                    </a:lnTo>
                    <a:lnTo>
                      <a:pt x="68" y="455"/>
                    </a:lnTo>
                    <a:lnTo>
                      <a:pt x="69" y="452"/>
                    </a:lnTo>
                    <a:lnTo>
                      <a:pt x="65" y="448"/>
                    </a:lnTo>
                    <a:lnTo>
                      <a:pt x="64" y="448"/>
                    </a:lnTo>
                    <a:lnTo>
                      <a:pt x="61" y="452"/>
                    </a:lnTo>
                    <a:lnTo>
                      <a:pt x="61" y="451"/>
                    </a:lnTo>
                    <a:lnTo>
                      <a:pt x="63" y="450"/>
                    </a:lnTo>
                    <a:lnTo>
                      <a:pt x="64" y="445"/>
                    </a:lnTo>
                    <a:lnTo>
                      <a:pt x="63" y="444"/>
                    </a:lnTo>
                    <a:lnTo>
                      <a:pt x="63" y="443"/>
                    </a:lnTo>
                    <a:lnTo>
                      <a:pt x="65" y="437"/>
                    </a:lnTo>
                    <a:lnTo>
                      <a:pt x="64" y="433"/>
                    </a:lnTo>
                    <a:lnTo>
                      <a:pt x="66" y="431"/>
                    </a:lnTo>
                    <a:lnTo>
                      <a:pt x="68" y="428"/>
                    </a:lnTo>
                    <a:lnTo>
                      <a:pt x="68" y="421"/>
                    </a:lnTo>
                    <a:lnTo>
                      <a:pt x="69" y="420"/>
                    </a:lnTo>
                    <a:lnTo>
                      <a:pt x="70" y="417"/>
                    </a:lnTo>
                    <a:lnTo>
                      <a:pt x="69" y="415"/>
                    </a:lnTo>
                    <a:lnTo>
                      <a:pt x="67" y="416"/>
                    </a:lnTo>
                    <a:lnTo>
                      <a:pt x="65" y="414"/>
                    </a:lnTo>
                    <a:lnTo>
                      <a:pt x="65" y="412"/>
                    </a:lnTo>
                    <a:lnTo>
                      <a:pt x="63" y="411"/>
                    </a:lnTo>
                    <a:lnTo>
                      <a:pt x="61" y="412"/>
                    </a:lnTo>
                    <a:lnTo>
                      <a:pt x="58" y="411"/>
                    </a:lnTo>
                    <a:lnTo>
                      <a:pt x="58" y="409"/>
                    </a:lnTo>
                    <a:lnTo>
                      <a:pt x="60" y="409"/>
                    </a:lnTo>
                    <a:lnTo>
                      <a:pt x="60" y="408"/>
                    </a:lnTo>
                    <a:lnTo>
                      <a:pt x="57" y="407"/>
                    </a:lnTo>
                    <a:lnTo>
                      <a:pt x="57" y="406"/>
                    </a:lnTo>
                    <a:lnTo>
                      <a:pt x="55" y="406"/>
                    </a:lnTo>
                    <a:lnTo>
                      <a:pt x="53" y="405"/>
                    </a:lnTo>
                    <a:lnTo>
                      <a:pt x="52" y="405"/>
                    </a:lnTo>
                    <a:lnTo>
                      <a:pt x="52" y="402"/>
                    </a:lnTo>
                    <a:lnTo>
                      <a:pt x="50" y="401"/>
                    </a:lnTo>
                    <a:lnTo>
                      <a:pt x="53" y="402"/>
                    </a:lnTo>
                    <a:lnTo>
                      <a:pt x="56" y="405"/>
                    </a:lnTo>
                    <a:lnTo>
                      <a:pt x="59" y="405"/>
                    </a:lnTo>
                    <a:lnTo>
                      <a:pt x="60" y="404"/>
                    </a:lnTo>
                    <a:lnTo>
                      <a:pt x="61" y="404"/>
                    </a:lnTo>
                    <a:lnTo>
                      <a:pt x="63" y="403"/>
                    </a:lnTo>
                    <a:lnTo>
                      <a:pt x="61" y="403"/>
                    </a:lnTo>
                    <a:lnTo>
                      <a:pt x="60" y="397"/>
                    </a:lnTo>
                    <a:lnTo>
                      <a:pt x="56" y="396"/>
                    </a:lnTo>
                    <a:lnTo>
                      <a:pt x="55" y="394"/>
                    </a:lnTo>
                    <a:lnTo>
                      <a:pt x="56" y="392"/>
                    </a:lnTo>
                    <a:lnTo>
                      <a:pt x="55" y="391"/>
                    </a:lnTo>
                    <a:lnTo>
                      <a:pt x="56" y="390"/>
                    </a:lnTo>
                    <a:lnTo>
                      <a:pt x="57" y="391"/>
                    </a:lnTo>
                    <a:lnTo>
                      <a:pt x="57" y="392"/>
                    </a:lnTo>
                    <a:lnTo>
                      <a:pt x="58" y="391"/>
                    </a:lnTo>
                    <a:lnTo>
                      <a:pt x="59" y="391"/>
                    </a:lnTo>
                    <a:lnTo>
                      <a:pt x="60" y="391"/>
                    </a:lnTo>
                    <a:lnTo>
                      <a:pt x="63" y="390"/>
                    </a:lnTo>
                    <a:lnTo>
                      <a:pt x="64" y="391"/>
                    </a:lnTo>
                    <a:lnTo>
                      <a:pt x="67" y="388"/>
                    </a:lnTo>
                    <a:lnTo>
                      <a:pt x="65" y="388"/>
                    </a:lnTo>
                    <a:lnTo>
                      <a:pt x="65" y="386"/>
                    </a:lnTo>
                    <a:lnTo>
                      <a:pt x="63" y="386"/>
                    </a:lnTo>
                    <a:lnTo>
                      <a:pt x="62" y="385"/>
                    </a:lnTo>
                    <a:lnTo>
                      <a:pt x="60" y="386"/>
                    </a:lnTo>
                    <a:lnTo>
                      <a:pt x="61" y="384"/>
                    </a:lnTo>
                    <a:lnTo>
                      <a:pt x="60" y="384"/>
                    </a:lnTo>
                    <a:lnTo>
                      <a:pt x="58" y="385"/>
                    </a:lnTo>
                    <a:lnTo>
                      <a:pt x="58" y="384"/>
                    </a:lnTo>
                    <a:lnTo>
                      <a:pt x="57" y="384"/>
                    </a:lnTo>
                    <a:lnTo>
                      <a:pt x="56" y="386"/>
                    </a:lnTo>
                    <a:lnTo>
                      <a:pt x="55" y="386"/>
                    </a:lnTo>
                    <a:lnTo>
                      <a:pt x="55" y="388"/>
                    </a:lnTo>
                    <a:lnTo>
                      <a:pt x="53" y="387"/>
                    </a:lnTo>
                    <a:lnTo>
                      <a:pt x="52" y="383"/>
                    </a:lnTo>
                    <a:lnTo>
                      <a:pt x="53" y="384"/>
                    </a:lnTo>
                    <a:lnTo>
                      <a:pt x="53" y="383"/>
                    </a:lnTo>
                    <a:lnTo>
                      <a:pt x="52" y="382"/>
                    </a:lnTo>
                    <a:lnTo>
                      <a:pt x="54" y="380"/>
                    </a:lnTo>
                    <a:lnTo>
                      <a:pt x="53" y="378"/>
                    </a:lnTo>
                    <a:lnTo>
                      <a:pt x="54" y="376"/>
                    </a:lnTo>
                    <a:lnTo>
                      <a:pt x="58" y="374"/>
                    </a:lnTo>
                    <a:lnTo>
                      <a:pt x="61" y="368"/>
                    </a:lnTo>
                    <a:lnTo>
                      <a:pt x="71" y="365"/>
                    </a:lnTo>
                    <a:lnTo>
                      <a:pt x="73" y="364"/>
                    </a:lnTo>
                    <a:lnTo>
                      <a:pt x="75" y="364"/>
                    </a:lnTo>
                    <a:lnTo>
                      <a:pt x="74" y="364"/>
                    </a:lnTo>
                    <a:lnTo>
                      <a:pt x="74" y="367"/>
                    </a:lnTo>
                    <a:lnTo>
                      <a:pt x="76" y="368"/>
                    </a:lnTo>
                    <a:lnTo>
                      <a:pt x="77" y="370"/>
                    </a:lnTo>
                    <a:lnTo>
                      <a:pt x="77" y="371"/>
                    </a:lnTo>
                    <a:lnTo>
                      <a:pt x="79" y="371"/>
                    </a:lnTo>
                    <a:lnTo>
                      <a:pt x="80" y="371"/>
                    </a:lnTo>
                    <a:lnTo>
                      <a:pt x="81" y="369"/>
                    </a:lnTo>
                    <a:lnTo>
                      <a:pt x="81" y="368"/>
                    </a:lnTo>
                    <a:lnTo>
                      <a:pt x="82" y="367"/>
                    </a:lnTo>
                    <a:lnTo>
                      <a:pt x="82" y="365"/>
                    </a:lnTo>
                    <a:lnTo>
                      <a:pt x="84" y="364"/>
                    </a:lnTo>
                    <a:lnTo>
                      <a:pt x="85" y="361"/>
                    </a:lnTo>
                    <a:lnTo>
                      <a:pt x="86" y="361"/>
                    </a:lnTo>
                    <a:lnTo>
                      <a:pt x="89" y="361"/>
                    </a:lnTo>
                    <a:lnTo>
                      <a:pt x="89" y="360"/>
                    </a:lnTo>
                    <a:lnTo>
                      <a:pt x="90" y="360"/>
                    </a:lnTo>
                    <a:lnTo>
                      <a:pt x="91" y="360"/>
                    </a:lnTo>
                    <a:lnTo>
                      <a:pt x="93" y="358"/>
                    </a:lnTo>
                    <a:lnTo>
                      <a:pt x="93" y="359"/>
                    </a:lnTo>
                    <a:lnTo>
                      <a:pt x="95" y="356"/>
                    </a:lnTo>
                    <a:lnTo>
                      <a:pt x="95" y="354"/>
                    </a:lnTo>
                    <a:lnTo>
                      <a:pt x="93" y="353"/>
                    </a:lnTo>
                    <a:lnTo>
                      <a:pt x="92" y="352"/>
                    </a:lnTo>
                    <a:lnTo>
                      <a:pt x="91" y="351"/>
                    </a:lnTo>
                    <a:lnTo>
                      <a:pt x="90" y="352"/>
                    </a:lnTo>
                    <a:lnTo>
                      <a:pt x="89" y="352"/>
                    </a:lnTo>
                    <a:lnTo>
                      <a:pt x="87" y="354"/>
                    </a:lnTo>
                    <a:lnTo>
                      <a:pt x="86" y="353"/>
                    </a:lnTo>
                    <a:lnTo>
                      <a:pt x="87" y="350"/>
                    </a:lnTo>
                    <a:lnTo>
                      <a:pt x="90" y="349"/>
                    </a:lnTo>
                    <a:lnTo>
                      <a:pt x="92" y="344"/>
                    </a:lnTo>
                    <a:lnTo>
                      <a:pt x="92" y="341"/>
                    </a:lnTo>
                    <a:lnTo>
                      <a:pt x="91" y="339"/>
                    </a:lnTo>
                    <a:lnTo>
                      <a:pt x="91" y="338"/>
                    </a:lnTo>
                    <a:lnTo>
                      <a:pt x="90" y="335"/>
                    </a:lnTo>
                    <a:lnTo>
                      <a:pt x="91" y="333"/>
                    </a:lnTo>
                    <a:lnTo>
                      <a:pt x="95" y="333"/>
                    </a:lnTo>
                    <a:lnTo>
                      <a:pt x="95" y="331"/>
                    </a:lnTo>
                    <a:lnTo>
                      <a:pt x="97" y="330"/>
                    </a:lnTo>
                    <a:lnTo>
                      <a:pt x="96" y="330"/>
                    </a:lnTo>
                    <a:lnTo>
                      <a:pt x="97" y="326"/>
                    </a:lnTo>
                    <a:lnTo>
                      <a:pt x="95" y="324"/>
                    </a:lnTo>
                    <a:lnTo>
                      <a:pt x="95" y="321"/>
                    </a:lnTo>
                    <a:lnTo>
                      <a:pt x="98" y="318"/>
                    </a:lnTo>
                    <a:lnTo>
                      <a:pt x="97" y="316"/>
                    </a:lnTo>
                    <a:lnTo>
                      <a:pt x="96" y="314"/>
                    </a:lnTo>
                    <a:lnTo>
                      <a:pt x="97" y="313"/>
                    </a:lnTo>
                    <a:lnTo>
                      <a:pt x="98" y="314"/>
                    </a:lnTo>
                    <a:lnTo>
                      <a:pt x="100" y="310"/>
                    </a:lnTo>
                    <a:lnTo>
                      <a:pt x="99" y="308"/>
                    </a:lnTo>
                    <a:lnTo>
                      <a:pt x="100" y="308"/>
                    </a:lnTo>
                    <a:lnTo>
                      <a:pt x="100" y="304"/>
                    </a:lnTo>
                    <a:lnTo>
                      <a:pt x="101" y="304"/>
                    </a:lnTo>
                    <a:lnTo>
                      <a:pt x="102" y="304"/>
                    </a:lnTo>
                    <a:lnTo>
                      <a:pt x="103" y="304"/>
                    </a:lnTo>
                    <a:lnTo>
                      <a:pt x="104" y="304"/>
                    </a:lnTo>
                    <a:lnTo>
                      <a:pt x="105" y="304"/>
                    </a:lnTo>
                    <a:lnTo>
                      <a:pt x="106" y="304"/>
                    </a:lnTo>
                    <a:lnTo>
                      <a:pt x="106" y="306"/>
                    </a:lnTo>
                    <a:lnTo>
                      <a:pt x="107" y="305"/>
                    </a:lnTo>
                    <a:lnTo>
                      <a:pt x="107" y="299"/>
                    </a:lnTo>
                    <a:lnTo>
                      <a:pt x="107" y="293"/>
                    </a:lnTo>
                    <a:lnTo>
                      <a:pt x="106" y="291"/>
                    </a:lnTo>
                    <a:lnTo>
                      <a:pt x="107" y="289"/>
                    </a:lnTo>
                    <a:lnTo>
                      <a:pt x="107" y="287"/>
                    </a:lnTo>
                    <a:lnTo>
                      <a:pt x="106" y="287"/>
                    </a:lnTo>
                    <a:lnTo>
                      <a:pt x="105" y="286"/>
                    </a:lnTo>
                    <a:lnTo>
                      <a:pt x="106" y="284"/>
                    </a:lnTo>
                    <a:lnTo>
                      <a:pt x="107" y="283"/>
                    </a:lnTo>
                    <a:lnTo>
                      <a:pt x="107" y="280"/>
                    </a:lnTo>
                    <a:lnTo>
                      <a:pt x="106" y="280"/>
                    </a:lnTo>
                    <a:lnTo>
                      <a:pt x="107" y="278"/>
                    </a:lnTo>
                    <a:lnTo>
                      <a:pt x="110" y="277"/>
                    </a:lnTo>
                    <a:lnTo>
                      <a:pt x="106" y="277"/>
                    </a:lnTo>
                    <a:lnTo>
                      <a:pt x="104" y="276"/>
                    </a:lnTo>
                    <a:lnTo>
                      <a:pt x="100" y="272"/>
                    </a:lnTo>
                    <a:lnTo>
                      <a:pt x="98" y="269"/>
                    </a:lnTo>
                    <a:lnTo>
                      <a:pt x="93" y="268"/>
                    </a:lnTo>
                    <a:lnTo>
                      <a:pt x="92" y="267"/>
                    </a:lnTo>
                    <a:lnTo>
                      <a:pt x="89" y="268"/>
                    </a:lnTo>
                    <a:lnTo>
                      <a:pt x="87" y="267"/>
                    </a:lnTo>
                    <a:lnTo>
                      <a:pt x="87" y="266"/>
                    </a:lnTo>
                    <a:lnTo>
                      <a:pt x="89" y="267"/>
                    </a:lnTo>
                    <a:lnTo>
                      <a:pt x="90" y="262"/>
                    </a:lnTo>
                    <a:lnTo>
                      <a:pt x="90" y="260"/>
                    </a:lnTo>
                    <a:lnTo>
                      <a:pt x="90" y="259"/>
                    </a:lnTo>
                    <a:lnTo>
                      <a:pt x="90" y="256"/>
                    </a:lnTo>
                    <a:lnTo>
                      <a:pt x="87" y="256"/>
                    </a:lnTo>
                    <a:lnTo>
                      <a:pt x="85" y="255"/>
                    </a:lnTo>
                    <a:lnTo>
                      <a:pt x="83" y="254"/>
                    </a:lnTo>
                    <a:lnTo>
                      <a:pt x="79" y="254"/>
                    </a:lnTo>
                    <a:lnTo>
                      <a:pt x="77" y="255"/>
                    </a:lnTo>
                    <a:lnTo>
                      <a:pt x="77" y="252"/>
                    </a:lnTo>
                    <a:lnTo>
                      <a:pt x="76" y="248"/>
                    </a:lnTo>
                    <a:lnTo>
                      <a:pt x="74" y="247"/>
                    </a:lnTo>
                    <a:lnTo>
                      <a:pt x="73" y="248"/>
                    </a:lnTo>
                    <a:lnTo>
                      <a:pt x="73" y="247"/>
                    </a:lnTo>
                    <a:lnTo>
                      <a:pt x="71" y="244"/>
                    </a:lnTo>
                    <a:lnTo>
                      <a:pt x="70" y="244"/>
                    </a:lnTo>
                    <a:lnTo>
                      <a:pt x="70" y="238"/>
                    </a:lnTo>
                    <a:lnTo>
                      <a:pt x="68" y="237"/>
                    </a:lnTo>
                    <a:lnTo>
                      <a:pt x="67" y="235"/>
                    </a:lnTo>
                    <a:lnTo>
                      <a:pt x="66" y="235"/>
                    </a:lnTo>
                    <a:lnTo>
                      <a:pt x="65" y="234"/>
                    </a:lnTo>
                    <a:lnTo>
                      <a:pt x="63" y="236"/>
                    </a:lnTo>
                    <a:lnTo>
                      <a:pt x="62" y="236"/>
                    </a:lnTo>
                    <a:lnTo>
                      <a:pt x="61" y="235"/>
                    </a:lnTo>
                    <a:lnTo>
                      <a:pt x="60" y="236"/>
                    </a:lnTo>
                    <a:lnTo>
                      <a:pt x="61" y="237"/>
                    </a:lnTo>
                    <a:lnTo>
                      <a:pt x="53" y="237"/>
                    </a:lnTo>
                    <a:lnTo>
                      <a:pt x="52" y="236"/>
                    </a:lnTo>
                    <a:lnTo>
                      <a:pt x="43" y="234"/>
                    </a:lnTo>
                    <a:lnTo>
                      <a:pt x="43" y="233"/>
                    </a:lnTo>
                    <a:lnTo>
                      <a:pt x="42" y="232"/>
                    </a:lnTo>
                    <a:lnTo>
                      <a:pt x="42" y="231"/>
                    </a:lnTo>
                    <a:lnTo>
                      <a:pt x="40" y="229"/>
                    </a:lnTo>
                    <a:lnTo>
                      <a:pt x="41" y="228"/>
                    </a:lnTo>
                    <a:lnTo>
                      <a:pt x="40" y="227"/>
                    </a:lnTo>
                    <a:lnTo>
                      <a:pt x="38" y="226"/>
                    </a:lnTo>
                    <a:lnTo>
                      <a:pt x="37" y="224"/>
                    </a:lnTo>
                    <a:lnTo>
                      <a:pt x="36" y="224"/>
                    </a:lnTo>
                    <a:lnTo>
                      <a:pt x="35" y="223"/>
                    </a:lnTo>
                    <a:lnTo>
                      <a:pt x="32" y="223"/>
                    </a:lnTo>
                    <a:lnTo>
                      <a:pt x="31" y="220"/>
                    </a:lnTo>
                    <a:lnTo>
                      <a:pt x="29" y="220"/>
                    </a:lnTo>
                    <a:lnTo>
                      <a:pt x="27" y="219"/>
                    </a:lnTo>
                    <a:lnTo>
                      <a:pt x="28" y="215"/>
                    </a:lnTo>
                    <a:lnTo>
                      <a:pt x="29" y="216"/>
                    </a:lnTo>
                    <a:lnTo>
                      <a:pt x="30" y="215"/>
                    </a:lnTo>
                    <a:lnTo>
                      <a:pt x="34" y="215"/>
                    </a:lnTo>
                    <a:lnTo>
                      <a:pt x="37" y="217"/>
                    </a:lnTo>
                    <a:lnTo>
                      <a:pt x="37" y="216"/>
                    </a:lnTo>
                    <a:lnTo>
                      <a:pt x="35" y="215"/>
                    </a:lnTo>
                    <a:lnTo>
                      <a:pt x="34" y="215"/>
                    </a:lnTo>
                    <a:lnTo>
                      <a:pt x="33" y="210"/>
                    </a:lnTo>
                    <a:lnTo>
                      <a:pt x="32" y="210"/>
                    </a:lnTo>
                    <a:lnTo>
                      <a:pt x="27" y="210"/>
                    </a:lnTo>
                    <a:lnTo>
                      <a:pt x="25" y="212"/>
                    </a:lnTo>
                    <a:lnTo>
                      <a:pt x="23" y="212"/>
                    </a:lnTo>
                    <a:lnTo>
                      <a:pt x="22" y="211"/>
                    </a:lnTo>
                    <a:lnTo>
                      <a:pt x="22" y="210"/>
                    </a:lnTo>
                    <a:lnTo>
                      <a:pt x="22" y="209"/>
                    </a:lnTo>
                    <a:lnTo>
                      <a:pt x="21" y="209"/>
                    </a:lnTo>
                    <a:lnTo>
                      <a:pt x="20" y="207"/>
                    </a:lnTo>
                    <a:lnTo>
                      <a:pt x="19" y="209"/>
                    </a:lnTo>
                    <a:lnTo>
                      <a:pt x="13" y="207"/>
                    </a:lnTo>
                    <a:lnTo>
                      <a:pt x="12" y="210"/>
                    </a:lnTo>
                    <a:lnTo>
                      <a:pt x="11" y="210"/>
                    </a:lnTo>
                    <a:lnTo>
                      <a:pt x="9" y="212"/>
                    </a:lnTo>
                    <a:lnTo>
                      <a:pt x="7" y="212"/>
                    </a:lnTo>
                    <a:lnTo>
                      <a:pt x="7" y="209"/>
                    </a:lnTo>
                    <a:lnTo>
                      <a:pt x="3" y="209"/>
                    </a:lnTo>
                    <a:lnTo>
                      <a:pt x="1" y="209"/>
                    </a:lnTo>
                    <a:lnTo>
                      <a:pt x="0" y="209"/>
                    </a:lnTo>
                    <a:lnTo>
                      <a:pt x="0" y="207"/>
                    </a:lnTo>
                    <a:lnTo>
                      <a:pt x="2" y="205"/>
                    </a:lnTo>
                    <a:lnTo>
                      <a:pt x="2" y="203"/>
                    </a:lnTo>
                    <a:lnTo>
                      <a:pt x="4" y="202"/>
                    </a:lnTo>
                    <a:lnTo>
                      <a:pt x="5" y="202"/>
                    </a:lnTo>
                    <a:lnTo>
                      <a:pt x="4" y="200"/>
                    </a:lnTo>
                    <a:lnTo>
                      <a:pt x="6" y="198"/>
                    </a:lnTo>
                    <a:lnTo>
                      <a:pt x="6" y="196"/>
                    </a:lnTo>
                    <a:lnTo>
                      <a:pt x="8" y="197"/>
                    </a:lnTo>
                    <a:lnTo>
                      <a:pt x="11" y="197"/>
                    </a:lnTo>
                    <a:lnTo>
                      <a:pt x="11" y="193"/>
                    </a:lnTo>
                    <a:lnTo>
                      <a:pt x="11" y="190"/>
                    </a:lnTo>
                    <a:lnTo>
                      <a:pt x="9" y="189"/>
                    </a:lnTo>
                    <a:lnTo>
                      <a:pt x="8" y="186"/>
                    </a:lnTo>
                    <a:lnTo>
                      <a:pt x="6" y="188"/>
                    </a:lnTo>
                    <a:lnTo>
                      <a:pt x="6" y="186"/>
                    </a:lnTo>
                    <a:lnTo>
                      <a:pt x="6" y="183"/>
                    </a:lnTo>
                    <a:lnTo>
                      <a:pt x="7" y="180"/>
                    </a:lnTo>
                    <a:lnTo>
                      <a:pt x="6" y="179"/>
                    </a:lnTo>
                    <a:lnTo>
                      <a:pt x="8" y="178"/>
                    </a:lnTo>
                    <a:lnTo>
                      <a:pt x="9" y="179"/>
                    </a:lnTo>
                    <a:lnTo>
                      <a:pt x="11" y="177"/>
                    </a:lnTo>
                    <a:lnTo>
                      <a:pt x="12" y="177"/>
                    </a:lnTo>
                    <a:lnTo>
                      <a:pt x="12" y="175"/>
                    </a:lnTo>
                    <a:lnTo>
                      <a:pt x="16" y="175"/>
                    </a:lnTo>
                    <a:lnTo>
                      <a:pt x="16" y="176"/>
                    </a:lnTo>
                    <a:lnTo>
                      <a:pt x="20" y="178"/>
                    </a:lnTo>
                    <a:lnTo>
                      <a:pt x="22" y="178"/>
                    </a:lnTo>
                    <a:lnTo>
                      <a:pt x="22" y="176"/>
                    </a:lnTo>
                    <a:lnTo>
                      <a:pt x="22" y="175"/>
                    </a:lnTo>
                    <a:lnTo>
                      <a:pt x="22" y="174"/>
                    </a:lnTo>
                    <a:lnTo>
                      <a:pt x="23" y="175"/>
                    </a:lnTo>
                    <a:lnTo>
                      <a:pt x="25" y="175"/>
                    </a:lnTo>
                    <a:lnTo>
                      <a:pt x="25" y="171"/>
                    </a:lnTo>
                    <a:lnTo>
                      <a:pt x="25" y="170"/>
                    </a:lnTo>
                    <a:lnTo>
                      <a:pt x="25" y="166"/>
                    </a:lnTo>
                    <a:lnTo>
                      <a:pt x="25" y="167"/>
                    </a:lnTo>
                    <a:lnTo>
                      <a:pt x="26" y="167"/>
                    </a:lnTo>
                    <a:lnTo>
                      <a:pt x="27" y="169"/>
                    </a:lnTo>
                    <a:lnTo>
                      <a:pt x="28" y="169"/>
                    </a:lnTo>
                    <a:lnTo>
                      <a:pt x="30" y="170"/>
                    </a:lnTo>
                    <a:lnTo>
                      <a:pt x="31" y="168"/>
                    </a:lnTo>
                    <a:lnTo>
                      <a:pt x="31" y="165"/>
                    </a:lnTo>
                    <a:lnTo>
                      <a:pt x="31" y="163"/>
                    </a:lnTo>
                    <a:lnTo>
                      <a:pt x="29" y="162"/>
                    </a:lnTo>
                    <a:lnTo>
                      <a:pt x="33" y="162"/>
                    </a:lnTo>
                    <a:lnTo>
                      <a:pt x="33" y="159"/>
                    </a:lnTo>
                    <a:lnTo>
                      <a:pt x="32" y="155"/>
                    </a:lnTo>
                    <a:lnTo>
                      <a:pt x="33" y="154"/>
                    </a:lnTo>
                    <a:lnTo>
                      <a:pt x="33" y="150"/>
                    </a:lnTo>
                    <a:lnTo>
                      <a:pt x="34" y="152"/>
                    </a:lnTo>
                    <a:lnTo>
                      <a:pt x="37" y="152"/>
                    </a:lnTo>
                    <a:lnTo>
                      <a:pt x="38" y="151"/>
                    </a:lnTo>
                    <a:lnTo>
                      <a:pt x="38" y="150"/>
                    </a:lnTo>
                    <a:lnTo>
                      <a:pt x="40" y="150"/>
                    </a:lnTo>
                    <a:lnTo>
                      <a:pt x="40" y="149"/>
                    </a:lnTo>
                    <a:lnTo>
                      <a:pt x="41" y="149"/>
                    </a:lnTo>
                    <a:lnTo>
                      <a:pt x="41" y="148"/>
                    </a:lnTo>
                    <a:lnTo>
                      <a:pt x="41" y="146"/>
                    </a:lnTo>
                    <a:lnTo>
                      <a:pt x="43" y="146"/>
                    </a:lnTo>
                    <a:lnTo>
                      <a:pt x="43" y="145"/>
                    </a:lnTo>
                    <a:lnTo>
                      <a:pt x="46" y="145"/>
                    </a:lnTo>
                    <a:lnTo>
                      <a:pt x="47" y="142"/>
                    </a:lnTo>
                    <a:lnTo>
                      <a:pt x="50" y="142"/>
                    </a:lnTo>
                    <a:lnTo>
                      <a:pt x="52" y="142"/>
                    </a:lnTo>
                    <a:lnTo>
                      <a:pt x="52" y="141"/>
                    </a:lnTo>
                    <a:lnTo>
                      <a:pt x="53" y="141"/>
                    </a:lnTo>
                    <a:lnTo>
                      <a:pt x="55" y="145"/>
                    </a:lnTo>
                    <a:lnTo>
                      <a:pt x="57" y="146"/>
                    </a:lnTo>
                    <a:lnTo>
                      <a:pt x="58" y="145"/>
                    </a:lnTo>
                    <a:lnTo>
                      <a:pt x="61" y="145"/>
                    </a:lnTo>
                    <a:lnTo>
                      <a:pt x="64" y="142"/>
                    </a:lnTo>
                    <a:lnTo>
                      <a:pt x="66" y="144"/>
                    </a:lnTo>
                    <a:lnTo>
                      <a:pt x="66" y="142"/>
                    </a:lnTo>
                    <a:lnTo>
                      <a:pt x="71" y="140"/>
                    </a:lnTo>
                    <a:lnTo>
                      <a:pt x="70" y="137"/>
                    </a:lnTo>
                    <a:lnTo>
                      <a:pt x="73" y="138"/>
                    </a:lnTo>
                    <a:lnTo>
                      <a:pt x="74" y="137"/>
                    </a:lnTo>
                    <a:lnTo>
                      <a:pt x="76" y="134"/>
                    </a:lnTo>
                    <a:lnTo>
                      <a:pt x="76" y="133"/>
                    </a:lnTo>
                    <a:lnTo>
                      <a:pt x="78" y="133"/>
                    </a:lnTo>
                    <a:lnTo>
                      <a:pt x="80" y="132"/>
                    </a:lnTo>
                    <a:lnTo>
                      <a:pt x="85" y="126"/>
                    </a:lnTo>
                    <a:lnTo>
                      <a:pt x="86" y="127"/>
                    </a:lnTo>
                    <a:lnTo>
                      <a:pt x="85" y="128"/>
                    </a:lnTo>
                    <a:lnTo>
                      <a:pt x="85" y="133"/>
                    </a:lnTo>
                    <a:lnTo>
                      <a:pt x="89" y="132"/>
                    </a:lnTo>
                    <a:lnTo>
                      <a:pt x="90" y="133"/>
                    </a:lnTo>
                    <a:lnTo>
                      <a:pt x="92" y="135"/>
                    </a:lnTo>
                    <a:lnTo>
                      <a:pt x="93" y="135"/>
                    </a:lnTo>
                    <a:lnTo>
                      <a:pt x="97" y="133"/>
                    </a:lnTo>
                    <a:lnTo>
                      <a:pt x="104" y="135"/>
                    </a:lnTo>
                    <a:lnTo>
                      <a:pt x="106" y="136"/>
                    </a:lnTo>
                    <a:lnTo>
                      <a:pt x="107" y="133"/>
                    </a:lnTo>
                    <a:lnTo>
                      <a:pt x="108" y="131"/>
                    </a:lnTo>
                    <a:lnTo>
                      <a:pt x="109" y="132"/>
                    </a:lnTo>
                    <a:lnTo>
                      <a:pt x="110" y="129"/>
                    </a:lnTo>
                    <a:lnTo>
                      <a:pt x="111" y="130"/>
                    </a:lnTo>
                    <a:lnTo>
                      <a:pt x="110" y="133"/>
                    </a:lnTo>
                    <a:lnTo>
                      <a:pt x="112" y="133"/>
                    </a:lnTo>
                    <a:lnTo>
                      <a:pt x="113" y="131"/>
                    </a:lnTo>
                    <a:lnTo>
                      <a:pt x="114" y="131"/>
                    </a:lnTo>
                    <a:lnTo>
                      <a:pt x="118" y="127"/>
                    </a:lnTo>
                    <a:lnTo>
                      <a:pt x="120" y="124"/>
                    </a:lnTo>
                    <a:lnTo>
                      <a:pt x="122" y="122"/>
                    </a:lnTo>
                    <a:lnTo>
                      <a:pt x="123" y="122"/>
                    </a:lnTo>
                    <a:lnTo>
                      <a:pt x="125" y="120"/>
                    </a:lnTo>
                    <a:lnTo>
                      <a:pt x="126" y="120"/>
                    </a:lnTo>
                    <a:lnTo>
                      <a:pt x="128" y="123"/>
                    </a:lnTo>
                    <a:lnTo>
                      <a:pt x="128" y="122"/>
                    </a:lnTo>
                    <a:lnTo>
                      <a:pt x="129" y="122"/>
                    </a:lnTo>
                    <a:lnTo>
                      <a:pt x="131" y="128"/>
                    </a:lnTo>
                    <a:lnTo>
                      <a:pt x="130" y="131"/>
                    </a:lnTo>
                    <a:lnTo>
                      <a:pt x="131" y="132"/>
                    </a:lnTo>
                    <a:lnTo>
                      <a:pt x="138" y="132"/>
                    </a:lnTo>
                    <a:lnTo>
                      <a:pt x="138" y="128"/>
                    </a:lnTo>
                    <a:lnTo>
                      <a:pt x="139" y="127"/>
                    </a:lnTo>
                    <a:lnTo>
                      <a:pt x="139" y="124"/>
                    </a:lnTo>
                    <a:lnTo>
                      <a:pt x="141" y="122"/>
                    </a:lnTo>
                    <a:lnTo>
                      <a:pt x="143" y="120"/>
                    </a:lnTo>
                    <a:lnTo>
                      <a:pt x="146" y="120"/>
                    </a:lnTo>
                    <a:lnTo>
                      <a:pt x="152" y="119"/>
                    </a:lnTo>
                    <a:lnTo>
                      <a:pt x="153" y="119"/>
                    </a:lnTo>
                    <a:lnTo>
                      <a:pt x="152" y="120"/>
                    </a:lnTo>
                    <a:lnTo>
                      <a:pt x="156" y="119"/>
                    </a:lnTo>
                    <a:lnTo>
                      <a:pt x="157" y="118"/>
                    </a:lnTo>
                    <a:lnTo>
                      <a:pt x="158" y="118"/>
                    </a:lnTo>
                    <a:lnTo>
                      <a:pt x="161" y="117"/>
                    </a:lnTo>
                    <a:lnTo>
                      <a:pt x="161" y="115"/>
                    </a:lnTo>
                    <a:lnTo>
                      <a:pt x="162" y="115"/>
                    </a:lnTo>
                    <a:lnTo>
                      <a:pt x="162" y="114"/>
                    </a:lnTo>
                    <a:lnTo>
                      <a:pt x="164" y="115"/>
                    </a:lnTo>
                    <a:lnTo>
                      <a:pt x="165" y="113"/>
                    </a:lnTo>
                    <a:lnTo>
                      <a:pt x="166" y="112"/>
                    </a:lnTo>
                    <a:lnTo>
                      <a:pt x="166" y="108"/>
                    </a:lnTo>
                    <a:lnTo>
                      <a:pt x="166" y="107"/>
                    </a:lnTo>
                    <a:lnTo>
                      <a:pt x="164" y="107"/>
                    </a:lnTo>
                    <a:lnTo>
                      <a:pt x="165" y="107"/>
                    </a:lnTo>
                    <a:lnTo>
                      <a:pt x="165" y="106"/>
                    </a:lnTo>
                    <a:lnTo>
                      <a:pt x="167" y="107"/>
                    </a:lnTo>
                    <a:lnTo>
                      <a:pt x="170" y="107"/>
                    </a:lnTo>
                    <a:lnTo>
                      <a:pt x="170" y="109"/>
                    </a:lnTo>
                    <a:lnTo>
                      <a:pt x="175" y="109"/>
                    </a:lnTo>
                    <a:lnTo>
                      <a:pt x="176" y="109"/>
                    </a:lnTo>
                    <a:lnTo>
                      <a:pt x="175" y="107"/>
                    </a:lnTo>
                    <a:lnTo>
                      <a:pt x="176" y="107"/>
                    </a:lnTo>
                    <a:lnTo>
                      <a:pt x="175" y="106"/>
                    </a:lnTo>
                    <a:lnTo>
                      <a:pt x="177" y="103"/>
                    </a:lnTo>
                    <a:lnTo>
                      <a:pt x="175" y="101"/>
                    </a:lnTo>
                    <a:lnTo>
                      <a:pt x="174" y="101"/>
                    </a:lnTo>
                    <a:lnTo>
                      <a:pt x="174" y="95"/>
                    </a:lnTo>
                    <a:lnTo>
                      <a:pt x="177" y="94"/>
                    </a:lnTo>
                    <a:lnTo>
                      <a:pt x="178" y="94"/>
                    </a:lnTo>
                    <a:lnTo>
                      <a:pt x="180" y="92"/>
                    </a:lnTo>
                    <a:lnTo>
                      <a:pt x="181" y="92"/>
                    </a:lnTo>
                    <a:lnTo>
                      <a:pt x="182" y="90"/>
                    </a:lnTo>
                    <a:lnTo>
                      <a:pt x="185" y="90"/>
                    </a:lnTo>
                    <a:lnTo>
                      <a:pt x="187" y="93"/>
                    </a:lnTo>
                    <a:lnTo>
                      <a:pt x="188" y="94"/>
                    </a:lnTo>
                    <a:lnTo>
                      <a:pt x="188" y="92"/>
                    </a:lnTo>
                    <a:lnTo>
                      <a:pt x="190" y="92"/>
                    </a:lnTo>
                    <a:lnTo>
                      <a:pt x="190" y="91"/>
                    </a:lnTo>
                    <a:lnTo>
                      <a:pt x="194" y="94"/>
                    </a:lnTo>
                    <a:lnTo>
                      <a:pt x="198" y="95"/>
                    </a:lnTo>
                    <a:lnTo>
                      <a:pt x="198" y="97"/>
                    </a:lnTo>
                    <a:lnTo>
                      <a:pt x="199" y="97"/>
                    </a:lnTo>
                    <a:lnTo>
                      <a:pt x="199" y="98"/>
                    </a:lnTo>
                    <a:lnTo>
                      <a:pt x="200" y="98"/>
                    </a:lnTo>
                    <a:lnTo>
                      <a:pt x="205" y="99"/>
                    </a:lnTo>
                    <a:lnTo>
                      <a:pt x="211" y="99"/>
                    </a:lnTo>
                    <a:lnTo>
                      <a:pt x="211" y="101"/>
                    </a:lnTo>
                    <a:lnTo>
                      <a:pt x="213" y="101"/>
                    </a:lnTo>
                    <a:lnTo>
                      <a:pt x="217" y="102"/>
                    </a:lnTo>
                    <a:lnTo>
                      <a:pt x="218" y="103"/>
                    </a:lnTo>
                    <a:lnTo>
                      <a:pt x="218" y="102"/>
                    </a:lnTo>
                    <a:lnTo>
                      <a:pt x="224" y="102"/>
                    </a:lnTo>
                    <a:lnTo>
                      <a:pt x="225" y="101"/>
                    </a:lnTo>
                    <a:lnTo>
                      <a:pt x="228" y="103"/>
                    </a:lnTo>
                    <a:lnTo>
                      <a:pt x="229" y="100"/>
                    </a:lnTo>
                    <a:lnTo>
                      <a:pt x="229" y="98"/>
                    </a:lnTo>
                    <a:lnTo>
                      <a:pt x="232" y="100"/>
                    </a:lnTo>
                    <a:lnTo>
                      <a:pt x="232" y="101"/>
                    </a:lnTo>
                    <a:lnTo>
                      <a:pt x="233" y="103"/>
                    </a:lnTo>
                    <a:lnTo>
                      <a:pt x="234" y="102"/>
                    </a:lnTo>
                    <a:lnTo>
                      <a:pt x="236" y="104"/>
                    </a:lnTo>
                    <a:lnTo>
                      <a:pt x="236" y="103"/>
                    </a:lnTo>
                    <a:lnTo>
                      <a:pt x="237" y="103"/>
                    </a:lnTo>
                    <a:lnTo>
                      <a:pt x="238" y="101"/>
                    </a:lnTo>
                    <a:lnTo>
                      <a:pt x="243" y="106"/>
                    </a:lnTo>
                    <a:lnTo>
                      <a:pt x="245" y="107"/>
                    </a:lnTo>
                    <a:lnTo>
                      <a:pt x="245" y="108"/>
                    </a:lnTo>
                    <a:lnTo>
                      <a:pt x="246" y="109"/>
                    </a:lnTo>
                    <a:lnTo>
                      <a:pt x="248" y="105"/>
                    </a:lnTo>
                    <a:lnTo>
                      <a:pt x="250" y="103"/>
                    </a:lnTo>
                    <a:lnTo>
                      <a:pt x="250" y="102"/>
                    </a:lnTo>
                    <a:lnTo>
                      <a:pt x="252" y="99"/>
                    </a:lnTo>
                    <a:lnTo>
                      <a:pt x="253" y="99"/>
                    </a:lnTo>
                    <a:lnTo>
                      <a:pt x="255" y="98"/>
                    </a:lnTo>
                    <a:lnTo>
                      <a:pt x="257" y="100"/>
                    </a:lnTo>
                    <a:lnTo>
                      <a:pt x="259" y="101"/>
                    </a:lnTo>
                    <a:lnTo>
                      <a:pt x="260" y="100"/>
                    </a:lnTo>
                    <a:lnTo>
                      <a:pt x="260" y="99"/>
                    </a:lnTo>
                    <a:lnTo>
                      <a:pt x="261" y="101"/>
                    </a:lnTo>
                    <a:lnTo>
                      <a:pt x="263" y="101"/>
                    </a:lnTo>
                    <a:lnTo>
                      <a:pt x="263" y="99"/>
                    </a:lnTo>
                    <a:lnTo>
                      <a:pt x="267" y="100"/>
                    </a:lnTo>
                    <a:lnTo>
                      <a:pt x="267" y="98"/>
                    </a:lnTo>
                    <a:lnTo>
                      <a:pt x="268" y="99"/>
                    </a:lnTo>
                    <a:lnTo>
                      <a:pt x="269" y="98"/>
                    </a:lnTo>
                    <a:lnTo>
                      <a:pt x="272" y="99"/>
                    </a:lnTo>
                    <a:lnTo>
                      <a:pt x="273" y="100"/>
                    </a:lnTo>
                    <a:lnTo>
                      <a:pt x="273" y="101"/>
                    </a:lnTo>
                    <a:lnTo>
                      <a:pt x="274" y="101"/>
                    </a:lnTo>
                    <a:lnTo>
                      <a:pt x="274" y="103"/>
                    </a:lnTo>
                    <a:lnTo>
                      <a:pt x="275" y="102"/>
                    </a:lnTo>
                    <a:lnTo>
                      <a:pt x="276" y="103"/>
                    </a:lnTo>
                    <a:lnTo>
                      <a:pt x="275" y="101"/>
                    </a:lnTo>
                    <a:lnTo>
                      <a:pt x="276" y="101"/>
                    </a:lnTo>
                    <a:lnTo>
                      <a:pt x="276" y="102"/>
                    </a:lnTo>
                    <a:lnTo>
                      <a:pt x="276" y="103"/>
                    </a:lnTo>
                    <a:lnTo>
                      <a:pt x="278" y="102"/>
                    </a:lnTo>
                    <a:lnTo>
                      <a:pt x="281" y="98"/>
                    </a:lnTo>
                    <a:lnTo>
                      <a:pt x="280" y="98"/>
                    </a:lnTo>
                    <a:lnTo>
                      <a:pt x="281" y="96"/>
                    </a:lnTo>
                    <a:lnTo>
                      <a:pt x="280" y="96"/>
                    </a:lnTo>
                    <a:lnTo>
                      <a:pt x="281" y="95"/>
                    </a:lnTo>
                    <a:lnTo>
                      <a:pt x="280" y="95"/>
                    </a:lnTo>
                    <a:lnTo>
                      <a:pt x="280" y="94"/>
                    </a:lnTo>
                    <a:lnTo>
                      <a:pt x="280" y="90"/>
                    </a:lnTo>
                    <a:lnTo>
                      <a:pt x="283" y="92"/>
                    </a:lnTo>
                    <a:lnTo>
                      <a:pt x="283" y="86"/>
                    </a:lnTo>
                    <a:lnTo>
                      <a:pt x="283" y="84"/>
                    </a:lnTo>
                    <a:lnTo>
                      <a:pt x="284" y="84"/>
                    </a:lnTo>
                    <a:lnTo>
                      <a:pt x="284" y="82"/>
                    </a:lnTo>
                    <a:lnTo>
                      <a:pt x="283" y="81"/>
                    </a:lnTo>
                    <a:lnTo>
                      <a:pt x="282" y="81"/>
                    </a:lnTo>
                    <a:lnTo>
                      <a:pt x="282" y="78"/>
                    </a:lnTo>
                    <a:lnTo>
                      <a:pt x="281" y="77"/>
                    </a:lnTo>
                    <a:lnTo>
                      <a:pt x="281" y="76"/>
                    </a:lnTo>
                    <a:lnTo>
                      <a:pt x="283" y="75"/>
                    </a:lnTo>
                    <a:lnTo>
                      <a:pt x="283" y="76"/>
                    </a:lnTo>
                    <a:lnTo>
                      <a:pt x="284" y="75"/>
                    </a:lnTo>
                    <a:lnTo>
                      <a:pt x="283" y="74"/>
                    </a:lnTo>
                    <a:lnTo>
                      <a:pt x="283" y="73"/>
                    </a:lnTo>
                    <a:lnTo>
                      <a:pt x="282" y="71"/>
                    </a:lnTo>
                    <a:lnTo>
                      <a:pt x="283" y="70"/>
                    </a:lnTo>
                    <a:lnTo>
                      <a:pt x="283" y="71"/>
                    </a:lnTo>
                    <a:lnTo>
                      <a:pt x="283" y="69"/>
                    </a:lnTo>
                    <a:lnTo>
                      <a:pt x="283" y="68"/>
                    </a:lnTo>
                    <a:lnTo>
                      <a:pt x="281" y="67"/>
                    </a:lnTo>
                    <a:lnTo>
                      <a:pt x="281" y="66"/>
                    </a:lnTo>
                    <a:lnTo>
                      <a:pt x="283" y="65"/>
                    </a:lnTo>
                    <a:lnTo>
                      <a:pt x="284" y="65"/>
                    </a:lnTo>
                    <a:lnTo>
                      <a:pt x="284" y="64"/>
                    </a:lnTo>
                    <a:lnTo>
                      <a:pt x="286" y="64"/>
                    </a:lnTo>
                    <a:lnTo>
                      <a:pt x="290" y="69"/>
                    </a:lnTo>
                    <a:lnTo>
                      <a:pt x="296" y="72"/>
                    </a:lnTo>
                    <a:lnTo>
                      <a:pt x="296" y="71"/>
                    </a:lnTo>
                    <a:lnTo>
                      <a:pt x="297" y="71"/>
                    </a:lnTo>
                    <a:lnTo>
                      <a:pt x="296" y="70"/>
                    </a:lnTo>
                    <a:lnTo>
                      <a:pt x="297" y="69"/>
                    </a:lnTo>
                    <a:lnTo>
                      <a:pt x="297" y="68"/>
                    </a:lnTo>
                    <a:lnTo>
                      <a:pt x="295" y="68"/>
                    </a:lnTo>
                    <a:lnTo>
                      <a:pt x="294" y="67"/>
                    </a:lnTo>
                    <a:lnTo>
                      <a:pt x="296" y="65"/>
                    </a:lnTo>
                    <a:lnTo>
                      <a:pt x="297" y="67"/>
                    </a:lnTo>
                    <a:lnTo>
                      <a:pt x="298" y="65"/>
                    </a:lnTo>
                    <a:lnTo>
                      <a:pt x="297" y="65"/>
                    </a:lnTo>
                    <a:lnTo>
                      <a:pt x="299" y="64"/>
                    </a:lnTo>
                    <a:lnTo>
                      <a:pt x="299" y="58"/>
                    </a:lnTo>
                    <a:lnTo>
                      <a:pt x="303" y="61"/>
                    </a:lnTo>
                    <a:lnTo>
                      <a:pt x="306" y="61"/>
                    </a:lnTo>
                    <a:lnTo>
                      <a:pt x="306" y="58"/>
                    </a:lnTo>
                    <a:lnTo>
                      <a:pt x="309" y="61"/>
                    </a:lnTo>
                    <a:lnTo>
                      <a:pt x="312" y="61"/>
                    </a:lnTo>
                    <a:lnTo>
                      <a:pt x="312" y="57"/>
                    </a:lnTo>
                    <a:lnTo>
                      <a:pt x="313" y="56"/>
                    </a:lnTo>
                    <a:lnTo>
                      <a:pt x="313" y="54"/>
                    </a:lnTo>
                    <a:lnTo>
                      <a:pt x="313" y="52"/>
                    </a:lnTo>
                    <a:lnTo>
                      <a:pt x="312" y="52"/>
                    </a:lnTo>
                    <a:lnTo>
                      <a:pt x="313" y="52"/>
                    </a:lnTo>
                    <a:lnTo>
                      <a:pt x="313" y="48"/>
                    </a:lnTo>
                    <a:lnTo>
                      <a:pt x="310" y="39"/>
                    </a:lnTo>
                    <a:lnTo>
                      <a:pt x="315" y="38"/>
                    </a:lnTo>
                    <a:lnTo>
                      <a:pt x="315" y="34"/>
                    </a:lnTo>
                    <a:lnTo>
                      <a:pt x="319" y="36"/>
                    </a:lnTo>
                    <a:lnTo>
                      <a:pt x="320" y="36"/>
                    </a:lnTo>
                    <a:lnTo>
                      <a:pt x="319" y="39"/>
                    </a:lnTo>
                    <a:lnTo>
                      <a:pt x="321" y="39"/>
                    </a:lnTo>
                    <a:lnTo>
                      <a:pt x="321" y="40"/>
                    </a:lnTo>
                    <a:lnTo>
                      <a:pt x="322" y="42"/>
                    </a:lnTo>
                    <a:lnTo>
                      <a:pt x="323" y="39"/>
                    </a:lnTo>
                    <a:lnTo>
                      <a:pt x="325" y="35"/>
                    </a:lnTo>
                    <a:lnTo>
                      <a:pt x="330" y="35"/>
                    </a:lnTo>
                    <a:lnTo>
                      <a:pt x="329" y="35"/>
                    </a:lnTo>
                    <a:lnTo>
                      <a:pt x="330" y="37"/>
                    </a:lnTo>
                    <a:lnTo>
                      <a:pt x="330" y="41"/>
                    </a:lnTo>
                    <a:lnTo>
                      <a:pt x="331" y="41"/>
                    </a:lnTo>
                    <a:lnTo>
                      <a:pt x="334" y="43"/>
                    </a:lnTo>
                    <a:lnTo>
                      <a:pt x="336" y="43"/>
                    </a:lnTo>
                    <a:lnTo>
                      <a:pt x="337" y="41"/>
                    </a:lnTo>
                    <a:lnTo>
                      <a:pt x="335" y="39"/>
                    </a:lnTo>
                    <a:lnTo>
                      <a:pt x="335" y="38"/>
                    </a:lnTo>
                    <a:lnTo>
                      <a:pt x="339" y="39"/>
                    </a:lnTo>
                    <a:lnTo>
                      <a:pt x="340" y="38"/>
                    </a:lnTo>
                    <a:lnTo>
                      <a:pt x="341" y="36"/>
                    </a:lnTo>
                    <a:lnTo>
                      <a:pt x="343" y="37"/>
                    </a:lnTo>
                    <a:lnTo>
                      <a:pt x="344" y="37"/>
                    </a:lnTo>
                    <a:lnTo>
                      <a:pt x="343" y="38"/>
                    </a:lnTo>
                    <a:lnTo>
                      <a:pt x="343" y="40"/>
                    </a:lnTo>
                    <a:lnTo>
                      <a:pt x="343" y="41"/>
                    </a:lnTo>
                    <a:lnTo>
                      <a:pt x="345" y="43"/>
                    </a:lnTo>
                    <a:lnTo>
                      <a:pt x="344" y="43"/>
                    </a:lnTo>
                    <a:lnTo>
                      <a:pt x="343" y="44"/>
                    </a:lnTo>
                    <a:lnTo>
                      <a:pt x="342" y="46"/>
                    </a:lnTo>
                    <a:lnTo>
                      <a:pt x="343" y="47"/>
                    </a:lnTo>
                    <a:lnTo>
                      <a:pt x="343" y="51"/>
                    </a:lnTo>
                    <a:lnTo>
                      <a:pt x="345" y="54"/>
                    </a:lnTo>
                    <a:lnTo>
                      <a:pt x="346" y="52"/>
                    </a:lnTo>
                    <a:lnTo>
                      <a:pt x="346" y="53"/>
                    </a:lnTo>
                    <a:lnTo>
                      <a:pt x="347" y="52"/>
                    </a:lnTo>
                    <a:lnTo>
                      <a:pt x="347" y="53"/>
                    </a:lnTo>
                    <a:lnTo>
                      <a:pt x="348" y="53"/>
                    </a:lnTo>
                    <a:lnTo>
                      <a:pt x="348" y="54"/>
                    </a:lnTo>
                    <a:lnTo>
                      <a:pt x="349" y="55"/>
                    </a:lnTo>
                    <a:lnTo>
                      <a:pt x="350" y="56"/>
                    </a:lnTo>
                    <a:lnTo>
                      <a:pt x="351" y="55"/>
                    </a:lnTo>
                    <a:lnTo>
                      <a:pt x="351" y="53"/>
                    </a:lnTo>
                    <a:lnTo>
                      <a:pt x="353" y="51"/>
                    </a:lnTo>
                    <a:lnTo>
                      <a:pt x="353" y="52"/>
                    </a:lnTo>
                    <a:lnTo>
                      <a:pt x="355" y="53"/>
                    </a:lnTo>
                    <a:lnTo>
                      <a:pt x="356" y="53"/>
                    </a:lnTo>
                    <a:lnTo>
                      <a:pt x="356" y="51"/>
                    </a:lnTo>
                    <a:lnTo>
                      <a:pt x="358" y="51"/>
                    </a:lnTo>
                    <a:lnTo>
                      <a:pt x="359" y="53"/>
                    </a:lnTo>
                    <a:lnTo>
                      <a:pt x="361" y="54"/>
                    </a:lnTo>
                    <a:lnTo>
                      <a:pt x="361" y="52"/>
                    </a:lnTo>
                    <a:lnTo>
                      <a:pt x="361" y="51"/>
                    </a:lnTo>
                    <a:lnTo>
                      <a:pt x="365" y="52"/>
                    </a:lnTo>
                    <a:lnTo>
                      <a:pt x="368" y="52"/>
                    </a:lnTo>
                    <a:lnTo>
                      <a:pt x="372" y="55"/>
                    </a:lnTo>
                    <a:lnTo>
                      <a:pt x="372" y="54"/>
                    </a:lnTo>
                    <a:lnTo>
                      <a:pt x="372" y="50"/>
                    </a:lnTo>
                    <a:lnTo>
                      <a:pt x="374" y="49"/>
                    </a:lnTo>
                    <a:lnTo>
                      <a:pt x="374" y="48"/>
                    </a:lnTo>
                    <a:lnTo>
                      <a:pt x="378" y="49"/>
                    </a:lnTo>
                    <a:lnTo>
                      <a:pt x="379" y="48"/>
                    </a:lnTo>
                    <a:lnTo>
                      <a:pt x="381" y="48"/>
                    </a:lnTo>
                    <a:lnTo>
                      <a:pt x="383" y="40"/>
                    </a:lnTo>
                    <a:lnTo>
                      <a:pt x="383" y="39"/>
                    </a:lnTo>
                    <a:lnTo>
                      <a:pt x="390" y="41"/>
                    </a:lnTo>
                    <a:lnTo>
                      <a:pt x="391" y="40"/>
                    </a:lnTo>
                    <a:lnTo>
                      <a:pt x="392" y="36"/>
                    </a:lnTo>
                    <a:lnTo>
                      <a:pt x="391" y="27"/>
                    </a:lnTo>
                    <a:lnTo>
                      <a:pt x="392" y="22"/>
                    </a:lnTo>
                    <a:lnTo>
                      <a:pt x="405" y="27"/>
                    </a:lnTo>
                    <a:lnTo>
                      <a:pt x="411" y="34"/>
                    </a:lnTo>
                    <a:lnTo>
                      <a:pt x="418" y="28"/>
                    </a:lnTo>
                    <a:lnTo>
                      <a:pt x="419" y="28"/>
                    </a:lnTo>
                    <a:lnTo>
                      <a:pt x="420" y="27"/>
                    </a:lnTo>
                    <a:lnTo>
                      <a:pt x="421" y="26"/>
                    </a:lnTo>
                    <a:lnTo>
                      <a:pt x="420" y="24"/>
                    </a:lnTo>
                    <a:lnTo>
                      <a:pt x="418" y="22"/>
                    </a:lnTo>
                    <a:lnTo>
                      <a:pt x="419" y="20"/>
                    </a:lnTo>
                    <a:lnTo>
                      <a:pt x="418" y="19"/>
                    </a:lnTo>
                    <a:lnTo>
                      <a:pt x="423" y="18"/>
                    </a:lnTo>
                    <a:lnTo>
                      <a:pt x="426" y="17"/>
                    </a:lnTo>
                    <a:lnTo>
                      <a:pt x="428" y="17"/>
                    </a:lnTo>
                    <a:lnTo>
                      <a:pt x="429" y="17"/>
                    </a:lnTo>
                    <a:lnTo>
                      <a:pt x="430" y="15"/>
                    </a:lnTo>
                    <a:lnTo>
                      <a:pt x="430" y="17"/>
                    </a:lnTo>
                    <a:lnTo>
                      <a:pt x="433" y="15"/>
                    </a:lnTo>
                    <a:lnTo>
                      <a:pt x="435" y="14"/>
                    </a:lnTo>
                    <a:lnTo>
                      <a:pt x="434" y="11"/>
                    </a:lnTo>
                    <a:lnTo>
                      <a:pt x="435" y="11"/>
                    </a:lnTo>
                    <a:lnTo>
                      <a:pt x="434" y="7"/>
                    </a:lnTo>
                    <a:lnTo>
                      <a:pt x="432" y="7"/>
                    </a:lnTo>
                    <a:lnTo>
                      <a:pt x="435" y="6"/>
                    </a:lnTo>
                    <a:lnTo>
                      <a:pt x="435" y="5"/>
                    </a:lnTo>
                    <a:lnTo>
                      <a:pt x="437" y="6"/>
                    </a:lnTo>
                    <a:lnTo>
                      <a:pt x="437" y="5"/>
                    </a:lnTo>
                    <a:lnTo>
                      <a:pt x="438" y="5"/>
                    </a:lnTo>
                    <a:lnTo>
                      <a:pt x="439" y="6"/>
                    </a:lnTo>
                    <a:lnTo>
                      <a:pt x="437" y="0"/>
                    </a:lnTo>
                    <a:lnTo>
                      <a:pt x="439" y="0"/>
                    </a:lnTo>
                    <a:lnTo>
                      <a:pt x="444" y="1"/>
                    </a:lnTo>
                    <a:lnTo>
                      <a:pt x="443" y="1"/>
                    </a:lnTo>
                    <a:lnTo>
                      <a:pt x="444" y="4"/>
                    </a:lnTo>
                    <a:lnTo>
                      <a:pt x="442" y="5"/>
                    </a:lnTo>
                    <a:lnTo>
                      <a:pt x="443" y="6"/>
                    </a:lnTo>
                    <a:lnTo>
                      <a:pt x="444" y="6"/>
                    </a:lnTo>
                    <a:lnTo>
                      <a:pt x="446" y="7"/>
                    </a:lnTo>
                    <a:lnTo>
                      <a:pt x="446" y="6"/>
                    </a:lnTo>
                    <a:lnTo>
                      <a:pt x="447" y="7"/>
                    </a:lnTo>
                    <a:lnTo>
                      <a:pt x="449" y="11"/>
                    </a:lnTo>
                    <a:lnTo>
                      <a:pt x="447" y="11"/>
                    </a:lnTo>
                    <a:lnTo>
                      <a:pt x="448" y="11"/>
                    </a:lnTo>
                    <a:lnTo>
                      <a:pt x="449" y="13"/>
                    </a:lnTo>
                    <a:lnTo>
                      <a:pt x="451" y="13"/>
                    </a:lnTo>
                    <a:lnTo>
                      <a:pt x="452" y="14"/>
                    </a:lnTo>
                    <a:lnTo>
                      <a:pt x="452" y="11"/>
                    </a:lnTo>
                    <a:lnTo>
                      <a:pt x="454" y="11"/>
                    </a:lnTo>
                    <a:lnTo>
                      <a:pt x="454" y="9"/>
                    </a:lnTo>
                    <a:lnTo>
                      <a:pt x="455" y="8"/>
                    </a:lnTo>
                    <a:lnTo>
                      <a:pt x="456" y="9"/>
                    </a:lnTo>
                    <a:lnTo>
                      <a:pt x="455" y="9"/>
                    </a:lnTo>
                    <a:lnTo>
                      <a:pt x="455" y="10"/>
                    </a:lnTo>
                    <a:lnTo>
                      <a:pt x="457" y="10"/>
                    </a:lnTo>
                    <a:lnTo>
                      <a:pt x="457" y="11"/>
                    </a:lnTo>
                    <a:lnTo>
                      <a:pt x="459" y="11"/>
                    </a:lnTo>
                    <a:lnTo>
                      <a:pt x="460" y="11"/>
                    </a:lnTo>
                    <a:lnTo>
                      <a:pt x="463" y="10"/>
                    </a:lnTo>
                    <a:lnTo>
                      <a:pt x="463" y="11"/>
                    </a:lnTo>
                    <a:lnTo>
                      <a:pt x="462" y="13"/>
                    </a:lnTo>
                    <a:lnTo>
                      <a:pt x="463" y="13"/>
                    </a:lnTo>
                    <a:lnTo>
                      <a:pt x="465" y="19"/>
                    </a:lnTo>
                    <a:lnTo>
                      <a:pt x="466" y="19"/>
                    </a:lnTo>
                    <a:lnTo>
                      <a:pt x="468" y="20"/>
                    </a:lnTo>
                    <a:lnTo>
                      <a:pt x="468" y="23"/>
                    </a:lnTo>
                    <a:lnTo>
                      <a:pt x="468" y="22"/>
                    </a:lnTo>
                    <a:lnTo>
                      <a:pt x="470" y="22"/>
                    </a:lnTo>
                    <a:lnTo>
                      <a:pt x="470" y="23"/>
                    </a:lnTo>
                    <a:lnTo>
                      <a:pt x="469" y="25"/>
                    </a:lnTo>
                    <a:lnTo>
                      <a:pt x="470" y="27"/>
                    </a:lnTo>
                    <a:lnTo>
                      <a:pt x="470" y="29"/>
                    </a:lnTo>
                    <a:lnTo>
                      <a:pt x="471" y="28"/>
                    </a:lnTo>
                    <a:lnTo>
                      <a:pt x="472" y="28"/>
                    </a:lnTo>
                    <a:lnTo>
                      <a:pt x="474" y="28"/>
                    </a:lnTo>
                    <a:lnTo>
                      <a:pt x="476" y="28"/>
                    </a:lnTo>
                    <a:lnTo>
                      <a:pt x="477" y="31"/>
                    </a:lnTo>
                    <a:lnTo>
                      <a:pt x="479" y="32"/>
                    </a:lnTo>
                    <a:lnTo>
                      <a:pt x="478" y="34"/>
                    </a:lnTo>
                    <a:lnTo>
                      <a:pt x="480" y="34"/>
                    </a:lnTo>
                    <a:lnTo>
                      <a:pt x="483" y="37"/>
                    </a:lnTo>
                    <a:lnTo>
                      <a:pt x="482" y="38"/>
                    </a:lnTo>
                    <a:lnTo>
                      <a:pt x="482" y="39"/>
                    </a:lnTo>
                    <a:lnTo>
                      <a:pt x="483" y="38"/>
                    </a:lnTo>
                    <a:lnTo>
                      <a:pt x="483" y="40"/>
                    </a:lnTo>
                    <a:lnTo>
                      <a:pt x="483" y="46"/>
                    </a:lnTo>
                    <a:lnTo>
                      <a:pt x="484" y="47"/>
                    </a:lnTo>
                    <a:lnTo>
                      <a:pt x="484" y="48"/>
                    </a:lnTo>
                    <a:lnTo>
                      <a:pt x="487" y="47"/>
                    </a:lnTo>
                    <a:lnTo>
                      <a:pt x="487" y="48"/>
                    </a:lnTo>
                    <a:lnTo>
                      <a:pt x="488" y="48"/>
                    </a:lnTo>
                    <a:lnTo>
                      <a:pt x="488" y="49"/>
                    </a:lnTo>
                    <a:lnTo>
                      <a:pt x="490" y="48"/>
                    </a:lnTo>
                    <a:lnTo>
                      <a:pt x="492" y="49"/>
                    </a:lnTo>
                    <a:lnTo>
                      <a:pt x="494" y="51"/>
                    </a:lnTo>
                    <a:lnTo>
                      <a:pt x="493" y="52"/>
                    </a:lnTo>
                    <a:lnTo>
                      <a:pt x="494" y="52"/>
                    </a:lnTo>
                    <a:lnTo>
                      <a:pt x="494" y="53"/>
                    </a:lnTo>
                    <a:lnTo>
                      <a:pt x="495" y="53"/>
                    </a:lnTo>
                    <a:lnTo>
                      <a:pt x="495" y="54"/>
                    </a:lnTo>
                    <a:lnTo>
                      <a:pt x="494" y="54"/>
                    </a:lnTo>
                    <a:lnTo>
                      <a:pt x="494" y="56"/>
                    </a:lnTo>
                    <a:lnTo>
                      <a:pt x="493" y="56"/>
                    </a:lnTo>
                    <a:lnTo>
                      <a:pt x="493" y="58"/>
                    </a:lnTo>
                    <a:lnTo>
                      <a:pt x="491" y="57"/>
                    </a:lnTo>
                    <a:lnTo>
                      <a:pt x="491" y="58"/>
                    </a:lnTo>
                    <a:lnTo>
                      <a:pt x="487" y="58"/>
                    </a:lnTo>
                    <a:lnTo>
                      <a:pt x="486" y="60"/>
                    </a:lnTo>
                    <a:lnTo>
                      <a:pt x="486" y="63"/>
                    </a:lnTo>
                    <a:lnTo>
                      <a:pt x="486" y="64"/>
                    </a:lnTo>
                    <a:lnTo>
                      <a:pt x="487" y="65"/>
                    </a:lnTo>
                    <a:lnTo>
                      <a:pt x="490" y="69"/>
                    </a:lnTo>
                    <a:lnTo>
                      <a:pt x="490" y="71"/>
                    </a:lnTo>
                    <a:lnTo>
                      <a:pt x="489" y="72"/>
                    </a:lnTo>
                    <a:lnTo>
                      <a:pt x="489" y="73"/>
                    </a:lnTo>
                    <a:lnTo>
                      <a:pt x="490" y="73"/>
                    </a:lnTo>
                    <a:lnTo>
                      <a:pt x="492" y="75"/>
                    </a:lnTo>
                    <a:lnTo>
                      <a:pt x="491" y="76"/>
                    </a:lnTo>
                    <a:lnTo>
                      <a:pt x="491" y="77"/>
                    </a:lnTo>
                    <a:lnTo>
                      <a:pt x="490" y="77"/>
                    </a:lnTo>
                    <a:lnTo>
                      <a:pt x="489" y="77"/>
                    </a:lnTo>
                    <a:lnTo>
                      <a:pt x="490" y="77"/>
                    </a:lnTo>
                    <a:lnTo>
                      <a:pt x="490" y="78"/>
                    </a:lnTo>
                    <a:lnTo>
                      <a:pt x="489" y="80"/>
                    </a:lnTo>
                    <a:lnTo>
                      <a:pt x="490" y="80"/>
                    </a:lnTo>
                    <a:lnTo>
                      <a:pt x="489" y="82"/>
                    </a:lnTo>
                    <a:lnTo>
                      <a:pt x="489" y="84"/>
                    </a:lnTo>
                    <a:lnTo>
                      <a:pt x="487" y="86"/>
                    </a:lnTo>
                    <a:lnTo>
                      <a:pt x="487" y="88"/>
                    </a:lnTo>
                    <a:lnTo>
                      <a:pt x="489" y="88"/>
                    </a:lnTo>
                    <a:lnTo>
                      <a:pt x="489" y="89"/>
                    </a:lnTo>
                    <a:lnTo>
                      <a:pt x="491" y="88"/>
                    </a:lnTo>
                    <a:lnTo>
                      <a:pt x="491" y="89"/>
                    </a:lnTo>
                    <a:lnTo>
                      <a:pt x="493" y="93"/>
                    </a:lnTo>
                    <a:lnTo>
                      <a:pt x="493" y="94"/>
                    </a:lnTo>
                    <a:lnTo>
                      <a:pt x="491" y="94"/>
                    </a:lnTo>
                    <a:lnTo>
                      <a:pt x="491" y="96"/>
                    </a:lnTo>
                    <a:lnTo>
                      <a:pt x="492" y="97"/>
                    </a:lnTo>
                    <a:lnTo>
                      <a:pt x="492" y="98"/>
                    </a:lnTo>
                    <a:lnTo>
                      <a:pt x="495" y="99"/>
                    </a:lnTo>
                    <a:lnTo>
                      <a:pt x="491" y="108"/>
                    </a:lnTo>
                    <a:lnTo>
                      <a:pt x="491" y="107"/>
                    </a:lnTo>
                    <a:lnTo>
                      <a:pt x="490" y="109"/>
                    </a:lnTo>
                    <a:lnTo>
                      <a:pt x="489" y="107"/>
                    </a:lnTo>
                    <a:lnTo>
                      <a:pt x="489" y="109"/>
                    </a:lnTo>
                    <a:lnTo>
                      <a:pt x="486" y="109"/>
                    </a:lnTo>
                    <a:lnTo>
                      <a:pt x="486" y="111"/>
                    </a:lnTo>
                    <a:lnTo>
                      <a:pt x="487" y="111"/>
                    </a:lnTo>
                    <a:lnTo>
                      <a:pt x="487" y="112"/>
                    </a:lnTo>
                    <a:lnTo>
                      <a:pt x="486" y="113"/>
                    </a:lnTo>
                    <a:lnTo>
                      <a:pt x="487" y="115"/>
                    </a:lnTo>
                    <a:lnTo>
                      <a:pt x="487" y="116"/>
                    </a:lnTo>
                    <a:lnTo>
                      <a:pt x="486" y="116"/>
                    </a:lnTo>
                    <a:lnTo>
                      <a:pt x="485" y="117"/>
                    </a:lnTo>
                    <a:lnTo>
                      <a:pt x="484" y="117"/>
                    </a:lnTo>
                    <a:lnTo>
                      <a:pt x="485" y="116"/>
                    </a:lnTo>
                    <a:lnTo>
                      <a:pt x="484" y="116"/>
                    </a:lnTo>
                    <a:lnTo>
                      <a:pt x="483" y="116"/>
                    </a:lnTo>
                    <a:lnTo>
                      <a:pt x="482" y="116"/>
                    </a:lnTo>
                    <a:lnTo>
                      <a:pt x="481" y="115"/>
                    </a:lnTo>
                    <a:lnTo>
                      <a:pt x="479" y="117"/>
                    </a:lnTo>
                    <a:lnTo>
                      <a:pt x="476" y="120"/>
                    </a:lnTo>
                    <a:lnTo>
                      <a:pt x="478" y="123"/>
                    </a:lnTo>
                    <a:lnTo>
                      <a:pt x="479" y="126"/>
                    </a:lnTo>
                    <a:lnTo>
                      <a:pt x="481" y="126"/>
                    </a:lnTo>
                    <a:lnTo>
                      <a:pt x="483" y="128"/>
                    </a:lnTo>
                    <a:lnTo>
                      <a:pt x="482" y="128"/>
                    </a:lnTo>
                    <a:lnTo>
                      <a:pt x="480" y="129"/>
                    </a:lnTo>
                    <a:lnTo>
                      <a:pt x="481" y="133"/>
                    </a:lnTo>
                    <a:lnTo>
                      <a:pt x="481" y="135"/>
                    </a:lnTo>
                    <a:lnTo>
                      <a:pt x="483" y="137"/>
                    </a:lnTo>
                    <a:lnTo>
                      <a:pt x="485" y="139"/>
                    </a:lnTo>
                    <a:lnTo>
                      <a:pt x="487" y="140"/>
                    </a:lnTo>
                    <a:lnTo>
                      <a:pt x="489" y="139"/>
                    </a:lnTo>
                    <a:lnTo>
                      <a:pt x="491" y="136"/>
                    </a:lnTo>
                    <a:lnTo>
                      <a:pt x="492" y="139"/>
                    </a:lnTo>
                    <a:lnTo>
                      <a:pt x="496" y="141"/>
                    </a:lnTo>
                    <a:lnTo>
                      <a:pt x="497" y="141"/>
                    </a:lnTo>
                    <a:lnTo>
                      <a:pt x="496" y="142"/>
                    </a:lnTo>
                    <a:lnTo>
                      <a:pt x="495" y="142"/>
                    </a:lnTo>
                    <a:lnTo>
                      <a:pt x="495" y="146"/>
                    </a:lnTo>
                    <a:lnTo>
                      <a:pt x="496" y="146"/>
                    </a:lnTo>
                    <a:lnTo>
                      <a:pt x="498" y="145"/>
                    </a:lnTo>
                    <a:lnTo>
                      <a:pt x="498" y="146"/>
                    </a:lnTo>
                    <a:lnTo>
                      <a:pt x="499" y="148"/>
                    </a:lnTo>
                    <a:lnTo>
                      <a:pt x="500" y="148"/>
                    </a:lnTo>
                    <a:lnTo>
                      <a:pt x="501" y="150"/>
                    </a:lnTo>
                    <a:lnTo>
                      <a:pt x="502" y="150"/>
                    </a:lnTo>
                    <a:lnTo>
                      <a:pt x="503" y="152"/>
                    </a:lnTo>
                    <a:lnTo>
                      <a:pt x="503" y="154"/>
                    </a:lnTo>
                    <a:lnTo>
                      <a:pt x="502" y="153"/>
                    </a:lnTo>
                    <a:lnTo>
                      <a:pt x="499" y="155"/>
                    </a:lnTo>
                    <a:lnTo>
                      <a:pt x="499" y="156"/>
                    </a:lnTo>
                    <a:lnTo>
                      <a:pt x="501" y="157"/>
                    </a:lnTo>
                    <a:lnTo>
                      <a:pt x="501" y="159"/>
                    </a:lnTo>
                    <a:lnTo>
                      <a:pt x="499" y="161"/>
                    </a:lnTo>
                    <a:lnTo>
                      <a:pt x="501" y="162"/>
                    </a:lnTo>
                    <a:lnTo>
                      <a:pt x="504" y="165"/>
                    </a:lnTo>
                    <a:lnTo>
                      <a:pt x="504" y="166"/>
                    </a:lnTo>
                    <a:lnTo>
                      <a:pt x="505" y="167"/>
                    </a:lnTo>
                    <a:lnTo>
                      <a:pt x="506" y="165"/>
                    </a:lnTo>
                    <a:lnTo>
                      <a:pt x="506" y="167"/>
                    </a:lnTo>
                    <a:lnTo>
                      <a:pt x="507" y="167"/>
                    </a:lnTo>
                    <a:lnTo>
                      <a:pt x="508" y="167"/>
                    </a:lnTo>
                    <a:lnTo>
                      <a:pt x="508" y="165"/>
                    </a:lnTo>
                    <a:lnTo>
                      <a:pt x="512" y="166"/>
                    </a:lnTo>
                    <a:lnTo>
                      <a:pt x="514" y="164"/>
                    </a:lnTo>
                    <a:lnTo>
                      <a:pt x="515" y="164"/>
                    </a:lnTo>
                    <a:lnTo>
                      <a:pt x="515" y="165"/>
                    </a:lnTo>
                    <a:lnTo>
                      <a:pt x="517" y="167"/>
                    </a:lnTo>
                    <a:lnTo>
                      <a:pt x="518" y="167"/>
                    </a:lnTo>
                    <a:lnTo>
                      <a:pt x="519" y="168"/>
                    </a:lnTo>
                    <a:lnTo>
                      <a:pt x="520" y="167"/>
                    </a:lnTo>
                    <a:lnTo>
                      <a:pt x="522" y="169"/>
                    </a:lnTo>
                    <a:lnTo>
                      <a:pt x="525" y="171"/>
                    </a:lnTo>
                    <a:lnTo>
                      <a:pt x="524" y="171"/>
                    </a:lnTo>
                    <a:lnTo>
                      <a:pt x="525" y="173"/>
                    </a:lnTo>
                    <a:lnTo>
                      <a:pt x="526" y="172"/>
                    </a:lnTo>
                    <a:lnTo>
                      <a:pt x="528" y="171"/>
                    </a:lnTo>
                    <a:lnTo>
                      <a:pt x="529" y="168"/>
                    </a:lnTo>
                    <a:lnTo>
                      <a:pt x="532" y="169"/>
                    </a:lnTo>
                    <a:lnTo>
                      <a:pt x="533" y="167"/>
                    </a:lnTo>
                    <a:lnTo>
                      <a:pt x="535" y="167"/>
                    </a:lnTo>
                    <a:lnTo>
                      <a:pt x="536" y="167"/>
                    </a:lnTo>
                    <a:lnTo>
                      <a:pt x="538" y="167"/>
                    </a:lnTo>
                    <a:lnTo>
                      <a:pt x="538" y="165"/>
                    </a:lnTo>
                    <a:lnTo>
                      <a:pt x="538" y="167"/>
                    </a:lnTo>
                    <a:lnTo>
                      <a:pt x="539" y="167"/>
                    </a:lnTo>
                    <a:lnTo>
                      <a:pt x="539" y="170"/>
                    </a:lnTo>
                    <a:lnTo>
                      <a:pt x="540" y="170"/>
                    </a:lnTo>
                    <a:lnTo>
                      <a:pt x="540" y="171"/>
                    </a:lnTo>
                    <a:lnTo>
                      <a:pt x="541" y="171"/>
                    </a:lnTo>
                    <a:lnTo>
                      <a:pt x="543" y="172"/>
                    </a:lnTo>
                    <a:lnTo>
                      <a:pt x="543" y="173"/>
                    </a:lnTo>
                    <a:lnTo>
                      <a:pt x="544" y="173"/>
                    </a:lnTo>
                    <a:lnTo>
                      <a:pt x="545" y="175"/>
                    </a:lnTo>
                    <a:lnTo>
                      <a:pt x="543" y="176"/>
                    </a:lnTo>
                    <a:lnTo>
                      <a:pt x="544" y="178"/>
                    </a:lnTo>
                    <a:lnTo>
                      <a:pt x="544" y="179"/>
                    </a:lnTo>
                    <a:lnTo>
                      <a:pt x="543" y="179"/>
                    </a:lnTo>
                    <a:lnTo>
                      <a:pt x="544" y="182"/>
                    </a:lnTo>
                    <a:lnTo>
                      <a:pt x="543" y="185"/>
                    </a:lnTo>
                    <a:lnTo>
                      <a:pt x="544" y="185"/>
                    </a:lnTo>
                    <a:lnTo>
                      <a:pt x="545" y="188"/>
                    </a:lnTo>
                    <a:lnTo>
                      <a:pt x="543" y="189"/>
                    </a:lnTo>
                    <a:lnTo>
                      <a:pt x="541" y="189"/>
                    </a:lnTo>
                    <a:lnTo>
                      <a:pt x="540" y="190"/>
                    </a:lnTo>
                    <a:lnTo>
                      <a:pt x="541" y="191"/>
                    </a:lnTo>
                    <a:lnTo>
                      <a:pt x="541" y="197"/>
                    </a:lnTo>
                    <a:lnTo>
                      <a:pt x="540" y="200"/>
                    </a:lnTo>
                    <a:lnTo>
                      <a:pt x="542" y="201"/>
                    </a:lnTo>
                    <a:lnTo>
                      <a:pt x="542" y="203"/>
                    </a:lnTo>
                    <a:lnTo>
                      <a:pt x="543" y="203"/>
                    </a:lnTo>
                    <a:lnTo>
                      <a:pt x="545" y="205"/>
                    </a:lnTo>
                    <a:lnTo>
                      <a:pt x="544" y="209"/>
                    </a:lnTo>
                    <a:lnTo>
                      <a:pt x="545" y="207"/>
                    </a:lnTo>
                    <a:lnTo>
                      <a:pt x="545" y="209"/>
                    </a:lnTo>
                    <a:lnTo>
                      <a:pt x="546" y="209"/>
                    </a:lnTo>
                    <a:lnTo>
                      <a:pt x="544" y="211"/>
                    </a:lnTo>
                    <a:lnTo>
                      <a:pt x="547" y="210"/>
                    </a:lnTo>
                    <a:lnTo>
                      <a:pt x="545" y="212"/>
                    </a:lnTo>
                    <a:lnTo>
                      <a:pt x="545" y="215"/>
                    </a:lnTo>
                    <a:lnTo>
                      <a:pt x="544" y="217"/>
                    </a:lnTo>
                    <a:lnTo>
                      <a:pt x="543" y="216"/>
                    </a:lnTo>
                    <a:lnTo>
                      <a:pt x="542" y="218"/>
                    </a:lnTo>
                    <a:lnTo>
                      <a:pt x="543" y="219"/>
                    </a:lnTo>
                    <a:lnTo>
                      <a:pt x="543" y="220"/>
                    </a:lnTo>
                    <a:lnTo>
                      <a:pt x="542" y="222"/>
                    </a:lnTo>
                    <a:lnTo>
                      <a:pt x="541" y="221"/>
                    </a:lnTo>
                    <a:lnTo>
                      <a:pt x="541" y="222"/>
                    </a:lnTo>
                    <a:lnTo>
                      <a:pt x="540" y="223"/>
                    </a:lnTo>
                    <a:lnTo>
                      <a:pt x="539" y="225"/>
                    </a:lnTo>
                    <a:lnTo>
                      <a:pt x="537" y="224"/>
                    </a:lnTo>
                    <a:lnTo>
                      <a:pt x="536" y="227"/>
                    </a:lnTo>
                    <a:lnTo>
                      <a:pt x="536" y="226"/>
                    </a:lnTo>
                    <a:lnTo>
                      <a:pt x="535" y="226"/>
                    </a:lnTo>
                    <a:lnTo>
                      <a:pt x="535" y="228"/>
                    </a:lnTo>
                    <a:lnTo>
                      <a:pt x="534" y="228"/>
                    </a:lnTo>
                    <a:lnTo>
                      <a:pt x="533" y="227"/>
                    </a:lnTo>
                    <a:lnTo>
                      <a:pt x="532" y="229"/>
                    </a:lnTo>
                    <a:lnTo>
                      <a:pt x="534" y="229"/>
                    </a:lnTo>
                    <a:lnTo>
                      <a:pt x="537" y="232"/>
                    </a:lnTo>
                    <a:lnTo>
                      <a:pt x="537" y="233"/>
                    </a:lnTo>
                    <a:lnTo>
                      <a:pt x="533" y="236"/>
                    </a:lnTo>
                    <a:lnTo>
                      <a:pt x="530" y="237"/>
                    </a:lnTo>
                    <a:lnTo>
                      <a:pt x="534" y="239"/>
                    </a:lnTo>
                    <a:lnTo>
                      <a:pt x="538" y="238"/>
                    </a:lnTo>
                    <a:lnTo>
                      <a:pt x="540" y="241"/>
                    </a:lnTo>
                    <a:lnTo>
                      <a:pt x="541" y="243"/>
                    </a:lnTo>
                    <a:lnTo>
                      <a:pt x="543" y="244"/>
                    </a:lnTo>
                    <a:lnTo>
                      <a:pt x="544" y="243"/>
                    </a:lnTo>
                    <a:lnTo>
                      <a:pt x="544" y="241"/>
                    </a:lnTo>
                    <a:lnTo>
                      <a:pt x="545" y="243"/>
                    </a:lnTo>
                    <a:lnTo>
                      <a:pt x="546" y="243"/>
                    </a:lnTo>
                    <a:lnTo>
                      <a:pt x="546" y="244"/>
                    </a:lnTo>
                    <a:lnTo>
                      <a:pt x="550" y="248"/>
                    </a:lnTo>
                    <a:lnTo>
                      <a:pt x="552" y="249"/>
                    </a:lnTo>
                    <a:lnTo>
                      <a:pt x="553" y="249"/>
                    </a:lnTo>
                    <a:lnTo>
                      <a:pt x="555" y="250"/>
                    </a:lnTo>
                    <a:lnTo>
                      <a:pt x="552" y="254"/>
                    </a:lnTo>
                    <a:lnTo>
                      <a:pt x="552" y="257"/>
                    </a:lnTo>
                    <a:lnTo>
                      <a:pt x="551" y="256"/>
                    </a:lnTo>
                    <a:lnTo>
                      <a:pt x="550" y="256"/>
                    </a:lnTo>
                    <a:lnTo>
                      <a:pt x="551" y="260"/>
                    </a:lnTo>
                    <a:lnTo>
                      <a:pt x="548" y="262"/>
                    </a:lnTo>
                    <a:lnTo>
                      <a:pt x="546" y="260"/>
                    </a:lnTo>
                    <a:lnTo>
                      <a:pt x="546" y="258"/>
                    </a:lnTo>
                    <a:lnTo>
                      <a:pt x="545" y="257"/>
                    </a:lnTo>
                    <a:lnTo>
                      <a:pt x="543" y="258"/>
                    </a:lnTo>
                    <a:lnTo>
                      <a:pt x="541" y="262"/>
                    </a:lnTo>
                    <a:lnTo>
                      <a:pt x="543" y="265"/>
                    </a:lnTo>
                    <a:lnTo>
                      <a:pt x="545" y="263"/>
                    </a:lnTo>
                    <a:lnTo>
                      <a:pt x="546" y="267"/>
                    </a:lnTo>
                    <a:lnTo>
                      <a:pt x="548" y="267"/>
                    </a:lnTo>
                    <a:lnTo>
                      <a:pt x="546" y="267"/>
                    </a:lnTo>
                    <a:lnTo>
                      <a:pt x="544" y="266"/>
                    </a:lnTo>
                    <a:lnTo>
                      <a:pt x="543" y="267"/>
                    </a:lnTo>
                    <a:lnTo>
                      <a:pt x="542" y="267"/>
                    </a:lnTo>
                    <a:lnTo>
                      <a:pt x="541" y="267"/>
                    </a:lnTo>
                    <a:lnTo>
                      <a:pt x="542" y="271"/>
                    </a:lnTo>
                    <a:lnTo>
                      <a:pt x="543" y="273"/>
                    </a:lnTo>
                    <a:lnTo>
                      <a:pt x="542" y="279"/>
                    </a:lnTo>
                    <a:lnTo>
                      <a:pt x="540" y="278"/>
                    </a:lnTo>
                    <a:lnTo>
                      <a:pt x="538" y="279"/>
                    </a:lnTo>
                    <a:lnTo>
                      <a:pt x="537" y="278"/>
                    </a:lnTo>
                    <a:lnTo>
                      <a:pt x="537" y="279"/>
                    </a:lnTo>
                    <a:lnTo>
                      <a:pt x="536" y="279"/>
                    </a:lnTo>
                    <a:lnTo>
                      <a:pt x="535" y="279"/>
                    </a:lnTo>
                    <a:lnTo>
                      <a:pt x="534" y="278"/>
                    </a:lnTo>
                    <a:lnTo>
                      <a:pt x="533" y="279"/>
                    </a:lnTo>
                    <a:lnTo>
                      <a:pt x="532" y="280"/>
                    </a:lnTo>
                    <a:lnTo>
                      <a:pt x="533" y="282"/>
                    </a:lnTo>
                    <a:lnTo>
                      <a:pt x="538" y="283"/>
                    </a:lnTo>
                    <a:lnTo>
                      <a:pt x="537" y="284"/>
                    </a:lnTo>
                    <a:lnTo>
                      <a:pt x="539" y="283"/>
                    </a:lnTo>
                    <a:lnTo>
                      <a:pt x="539" y="285"/>
                    </a:lnTo>
                    <a:lnTo>
                      <a:pt x="538" y="286"/>
                    </a:lnTo>
                    <a:lnTo>
                      <a:pt x="538" y="285"/>
                    </a:lnTo>
                    <a:lnTo>
                      <a:pt x="537" y="286"/>
                    </a:lnTo>
                    <a:lnTo>
                      <a:pt x="535" y="284"/>
                    </a:lnTo>
                    <a:lnTo>
                      <a:pt x="535" y="285"/>
                    </a:lnTo>
                    <a:lnTo>
                      <a:pt x="536" y="286"/>
                    </a:lnTo>
                    <a:lnTo>
                      <a:pt x="534" y="284"/>
                    </a:lnTo>
                    <a:lnTo>
                      <a:pt x="533" y="284"/>
                    </a:lnTo>
                    <a:lnTo>
                      <a:pt x="530" y="286"/>
                    </a:lnTo>
                    <a:lnTo>
                      <a:pt x="528" y="286"/>
                    </a:lnTo>
                    <a:lnTo>
                      <a:pt x="530" y="288"/>
                    </a:lnTo>
                    <a:lnTo>
                      <a:pt x="530" y="290"/>
                    </a:lnTo>
                    <a:lnTo>
                      <a:pt x="530" y="292"/>
                    </a:lnTo>
                    <a:lnTo>
                      <a:pt x="532" y="293"/>
                    </a:lnTo>
                    <a:lnTo>
                      <a:pt x="532" y="294"/>
                    </a:lnTo>
                    <a:lnTo>
                      <a:pt x="533" y="294"/>
                    </a:lnTo>
                    <a:lnTo>
                      <a:pt x="533" y="296"/>
                    </a:lnTo>
                    <a:lnTo>
                      <a:pt x="535" y="297"/>
                    </a:lnTo>
                    <a:lnTo>
                      <a:pt x="536" y="298"/>
                    </a:lnTo>
                    <a:lnTo>
                      <a:pt x="537" y="299"/>
                    </a:lnTo>
                    <a:lnTo>
                      <a:pt x="539" y="297"/>
                    </a:lnTo>
                    <a:lnTo>
                      <a:pt x="542" y="298"/>
                    </a:lnTo>
                    <a:lnTo>
                      <a:pt x="541" y="299"/>
                    </a:lnTo>
                    <a:lnTo>
                      <a:pt x="541" y="298"/>
                    </a:lnTo>
                    <a:lnTo>
                      <a:pt x="542" y="300"/>
                    </a:lnTo>
                    <a:lnTo>
                      <a:pt x="543" y="300"/>
                    </a:lnTo>
                    <a:lnTo>
                      <a:pt x="545" y="301"/>
                    </a:lnTo>
                    <a:lnTo>
                      <a:pt x="543" y="302"/>
                    </a:lnTo>
                    <a:lnTo>
                      <a:pt x="542" y="302"/>
                    </a:lnTo>
                    <a:lnTo>
                      <a:pt x="543" y="303"/>
                    </a:lnTo>
                    <a:lnTo>
                      <a:pt x="544" y="304"/>
                    </a:lnTo>
                    <a:lnTo>
                      <a:pt x="545" y="304"/>
                    </a:lnTo>
                    <a:lnTo>
                      <a:pt x="546" y="304"/>
                    </a:lnTo>
                    <a:lnTo>
                      <a:pt x="548" y="306"/>
                    </a:lnTo>
                    <a:lnTo>
                      <a:pt x="552" y="304"/>
                    </a:lnTo>
                    <a:lnTo>
                      <a:pt x="552" y="306"/>
                    </a:lnTo>
                    <a:lnTo>
                      <a:pt x="553" y="307"/>
                    </a:lnTo>
                    <a:lnTo>
                      <a:pt x="552" y="307"/>
                    </a:lnTo>
                    <a:lnTo>
                      <a:pt x="552" y="310"/>
                    </a:lnTo>
                    <a:lnTo>
                      <a:pt x="553" y="310"/>
                    </a:lnTo>
                    <a:lnTo>
                      <a:pt x="555" y="306"/>
                    </a:lnTo>
                    <a:lnTo>
                      <a:pt x="555" y="307"/>
                    </a:lnTo>
                    <a:lnTo>
                      <a:pt x="555" y="309"/>
                    </a:lnTo>
                    <a:lnTo>
                      <a:pt x="556" y="309"/>
                    </a:lnTo>
                    <a:lnTo>
                      <a:pt x="555" y="310"/>
                    </a:lnTo>
                    <a:lnTo>
                      <a:pt x="555" y="313"/>
                    </a:lnTo>
                    <a:lnTo>
                      <a:pt x="552" y="314"/>
                    </a:lnTo>
                    <a:lnTo>
                      <a:pt x="552" y="315"/>
                    </a:lnTo>
                    <a:lnTo>
                      <a:pt x="552" y="316"/>
                    </a:lnTo>
                    <a:lnTo>
                      <a:pt x="555" y="319"/>
                    </a:lnTo>
                    <a:lnTo>
                      <a:pt x="562" y="326"/>
                    </a:lnTo>
                    <a:lnTo>
                      <a:pt x="563" y="325"/>
                    </a:lnTo>
                    <a:lnTo>
                      <a:pt x="564" y="325"/>
                    </a:lnTo>
                    <a:lnTo>
                      <a:pt x="564" y="327"/>
                    </a:lnTo>
                    <a:lnTo>
                      <a:pt x="565" y="326"/>
                    </a:lnTo>
                    <a:lnTo>
                      <a:pt x="566" y="327"/>
                    </a:lnTo>
                    <a:lnTo>
                      <a:pt x="566" y="329"/>
                    </a:lnTo>
                    <a:lnTo>
                      <a:pt x="567" y="330"/>
                    </a:lnTo>
                    <a:lnTo>
                      <a:pt x="568" y="328"/>
                    </a:lnTo>
                    <a:lnTo>
                      <a:pt x="569" y="331"/>
                    </a:lnTo>
                    <a:lnTo>
                      <a:pt x="568" y="333"/>
                    </a:lnTo>
                    <a:lnTo>
                      <a:pt x="569" y="333"/>
                    </a:lnTo>
                    <a:lnTo>
                      <a:pt x="568" y="335"/>
                    </a:lnTo>
                    <a:lnTo>
                      <a:pt x="569" y="337"/>
                    </a:lnTo>
                    <a:lnTo>
                      <a:pt x="568" y="336"/>
                    </a:lnTo>
                    <a:lnTo>
                      <a:pt x="566" y="337"/>
                    </a:lnTo>
                    <a:lnTo>
                      <a:pt x="564" y="339"/>
                    </a:lnTo>
                    <a:lnTo>
                      <a:pt x="567" y="344"/>
                    </a:lnTo>
                    <a:lnTo>
                      <a:pt x="568" y="344"/>
                    </a:lnTo>
                    <a:lnTo>
                      <a:pt x="568" y="345"/>
                    </a:lnTo>
                    <a:lnTo>
                      <a:pt x="568" y="347"/>
                    </a:lnTo>
                    <a:lnTo>
                      <a:pt x="568" y="348"/>
                    </a:lnTo>
                    <a:lnTo>
                      <a:pt x="567" y="348"/>
                    </a:lnTo>
                    <a:lnTo>
                      <a:pt x="566" y="347"/>
                    </a:lnTo>
                    <a:lnTo>
                      <a:pt x="566" y="350"/>
                    </a:lnTo>
                    <a:lnTo>
                      <a:pt x="565" y="350"/>
                    </a:lnTo>
                    <a:lnTo>
                      <a:pt x="564" y="352"/>
                    </a:lnTo>
                    <a:lnTo>
                      <a:pt x="564" y="353"/>
                    </a:lnTo>
                    <a:lnTo>
                      <a:pt x="561" y="356"/>
                    </a:lnTo>
                    <a:lnTo>
                      <a:pt x="563" y="357"/>
                    </a:lnTo>
                    <a:lnTo>
                      <a:pt x="561" y="358"/>
                    </a:lnTo>
                    <a:lnTo>
                      <a:pt x="558" y="359"/>
                    </a:lnTo>
                    <a:lnTo>
                      <a:pt x="557" y="359"/>
                    </a:lnTo>
                    <a:lnTo>
                      <a:pt x="557" y="360"/>
                    </a:lnTo>
                    <a:lnTo>
                      <a:pt x="556" y="361"/>
                    </a:lnTo>
                    <a:lnTo>
                      <a:pt x="558" y="363"/>
                    </a:lnTo>
                    <a:lnTo>
                      <a:pt x="558" y="365"/>
                    </a:lnTo>
                    <a:lnTo>
                      <a:pt x="557" y="367"/>
                    </a:lnTo>
                    <a:lnTo>
                      <a:pt x="558" y="368"/>
                    </a:lnTo>
                    <a:lnTo>
                      <a:pt x="557" y="371"/>
                    </a:lnTo>
                    <a:lnTo>
                      <a:pt x="556" y="371"/>
                    </a:lnTo>
                    <a:lnTo>
                      <a:pt x="556" y="369"/>
                    </a:lnTo>
                    <a:lnTo>
                      <a:pt x="555" y="371"/>
                    </a:lnTo>
                    <a:lnTo>
                      <a:pt x="556" y="373"/>
                    </a:lnTo>
                    <a:lnTo>
                      <a:pt x="556" y="375"/>
                    </a:lnTo>
                    <a:lnTo>
                      <a:pt x="555" y="375"/>
                    </a:lnTo>
                    <a:lnTo>
                      <a:pt x="554" y="376"/>
                    </a:lnTo>
                    <a:lnTo>
                      <a:pt x="554" y="378"/>
                    </a:lnTo>
                    <a:lnTo>
                      <a:pt x="552" y="380"/>
                    </a:lnTo>
                    <a:lnTo>
                      <a:pt x="551" y="378"/>
                    </a:lnTo>
                    <a:lnTo>
                      <a:pt x="548" y="379"/>
                    </a:lnTo>
                    <a:lnTo>
                      <a:pt x="548" y="380"/>
                    </a:lnTo>
                    <a:lnTo>
                      <a:pt x="548" y="382"/>
                    </a:lnTo>
                    <a:lnTo>
                      <a:pt x="546" y="383"/>
                    </a:lnTo>
                    <a:lnTo>
                      <a:pt x="544" y="383"/>
                    </a:lnTo>
                    <a:lnTo>
                      <a:pt x="544" y="384"/>
                    </a:lnTo>
                    <a:lnTo>
                      <a:pt x="543" y="382"/>
                    </a:lnTo>
                    <a:lnTo>
                      <a:pt x="541" y="380"/>
                    </a:lnTo>
                    <a:lnTo>
                      <a:pt x="540" y="381"/>
                    </a:lnTo>
                    <a:lnTo>
                      <a:pt x="535" y="385"/>
                    </a:lnTo>
                    <a:lnTo>
                      <a:pt x="535" y="386"/>
                    </a:lnTo>
                    <a:lnTo>
                      <a:pt x="533" y="386"/>
                    </a:lnTo>
                    <a:lnTo>
                      <a:pt x="532" y="388"/>
                    </a:lnTo>
                    <a:lnTo>
                      <a:pt x="530" y="390"/>
                    </a:lnTo>
                    <a:lnTo>
                      <a:pt x="530" y="392"/>
                    </a:lnTo>
                    <a:lnTo>
                      <a:pt x="531" y="394"/>
                    </a:lnTo>
                    <a:lnTo>
                      <a:pt x="533" y="394"/>
                    </a:lnTo>
                    <a:lnTo>
                      <a:pt x="534" y="394"/>
                    </a:lnTo>
                    <a:lnTo>
                      <a:pt x="533" y="395"/>
                    </a:lnTo>
                    <a:lnTo>
                      <a:pt x="535" y="397"/>
                    </a:lnTo>
                    <a:lnTo>
                      <a:pt x="534" y="399"/>
                    </a:lnTo>
                    <a:lnTo>
                      <a:pt x="536" y="400"/>
                    </a:lnTo>
                    <a:lnTo>
                      <a:pt x="535" y="401"/>
                    </a:lnTo>
                    <a:lnTo>
                      <a:pt x="535" y="402"/>
                    </a:lnTo>
                    <a:lnTo>
                      <a:pt x="533" y="403"/>
                    </a:lnTo>
                    <a:lnTo>
                      <a:pt x="532" y="403"/>
                    </a:lnTo>
                    <a:lnTo>
                      <a:pt x="531" y="405"/>
                    </a:lnTo>
                    <a:lnTo>
                      <a:pt x="530" y="404"/>
                    </a:lnTo>
                    <a:lnTo>
                      <a:pt x="529" y="404"/>
                    </a:lnTo>
                    <a:lnTo>
                      <a:pt x="528" y="403"/>
                    </a:lnTo>
                    <a:lnTo>
                      <a:pt x="527" y="404"/>
                    </a:lnTo>
                    <a:lnTo>
                      <a:pt x="524" y="401"/>
                    </a:lnTo>
                    <a:lnTo>
                      <a:pt x="524" y="403"/>
                    </a:lnTo>
                    <a:lnTo>
                      <a:pt x="523" y="403"/>
                    </a:lnTo>
                    <a:lnTo>
                      <a:pt x="522" y="402"/>
                    </a:lnTo>
                    <a:lnTo>
                      <a:pt x="522" y="399"/>
                    </a:lnTo>
                    <a:lnTo>
                      <a:pt x="521" y="400"/>
                    </a:lnTo>
                    <a:lnTo>
                      <a:pt x="520" y="399"/>
                    </a:lnTo>
                    <a:lnTo>
                      <a:pt x="519" y="402"/>
                    </a:lnTo>
                    <a:lnTo>
                      <a:pt x="517" y="404"/>
                    </a:lnTo>
                    <a:lnTo>
                      <a:pt x="516" y="407"/>
                    </a:lnTo>
                    <a:lnTo>
                      <a:pt x="517" y="407"/>
                    </a:lnTo>
                    <a:lnTo>
                      <a:pt x="515" y="408"/>
                    </a:lnTo>
                    <a:lnTo>
                      <a:pt x="515" y="411"/>
                    </a:lnTo>
                    <a:lnTo>
                      <a:pt x="515" y="409"/>
                    </a:lnTo>
                    <a:lnTo>
                      <a:pt x="513" y="408"/>
                    </a:lnTo>
                    <a:lnTo>
                      <a:pt x="510" y="412"/>
                    </a:lnTo>
                    <a:lnTo>
                      <a:pt x="507" y="409"/>
                    </a:lnTo>
                    <a:lnTo>
                      <a:pt x="504" y="411"/>
                    </a:lnTo>
                    <a:lnTo>
                      <a:pt x="501" y="413"/>
                    </a:lnTo>
                    <a:lnTo>
                      <a:pt x="500" y="412"/>
                    </a:lnTo>
                    <a:lnTo>
                      <a:pt x="499" y="413"/>
                    </a:lnTo>
                    <a:lnTo>
                      <a:pt x="498" y="412"/>
                    </a:lnTo>
                    <a:lnTo>
                      <a:pt x="496" y="412"/>
                    </a:lnTo>
                    <a:lnTo>
                      <a:pt x="496" y="411"/>
                    </a:lnTo>
                    <a:lnTo>
                      <a:pt x="496" y="413"/>
                    </a:lnTo>
                    <a:lnTo>
                      <a:pt x="496" y="412"/>
                    </a:lnTo>
                    <a:lnTo>
                      <a:pt x="495" y="412"/>
                    </a:lnTo>
                    <a:lnTo>
                      <a:pt x="492" y="412"/>
                    </a:lnTo>
                    <a:lnTo>
                      <a:pt x="492" y="415"/>
                    </a:lnTo>
                    <a:lnTo>
                      <a:pt x="491" y="414"/>
                    </a:lnTo>
                    <a:lnTo>
                      <a:pt x="490" y="414"/>
                    </a:lnTo>
                    <a:lnTo>
                      <a:pt x="491" y="416"/>
                    </a:lnTo>
                    <a:lnTo>
                      <a:pt x="487" y="417"/>
                    </a:lnTo>
                    <a:lnTo>
                      <a:pt x="487" y="416"/>
                    </a:lnTo>
                    <a:lnTo>
                      <a:pt x="486" y="418"/>
                    </a:lnTo>
                    <a:lnTo>
                      <a:pt x="486" y="416"/>
                    </a:lnTo>
                    <a:lnTo>
                      <a:pt x="484" y="417"/>
                    </a:lnTo>
                    <a:lnTo>
                      <a:pt x="484" y="416"/>
                    </a:lnTo>
                    <a:lnTo>
                      <a:pt x="482" y="416"/>
                    </a:lnTo>
                    <a:lnTo>
                      <a:pt x="484" y="413"/>
                    </a:lnTo>
                    <a:lnTo>
                      <a:pt x="484" y="412"/>
                    </a:lnTo>
                    <a:lnTo>
                      <a:pt x="483" y="412"/>
                    </a:lnTo>
                    <a:lnTo>
                      <a:pt x="481" y="413"/>
                    </a:lnTo>
                    <a:lnTo>
                      <a:pt x="480" y="412"/>
                    </a:lnTo>
                    <a:lnTo>
                      <a:pt x="479" y="414"/>
                    </a:lnTo>
                    <a:lnTo>
                      <a:pt x="477" y="414"/>
                    </a:lnTo>
                    <a:lnTo>
                      <a:pt x="476" y="414"/>
                    </a:lnTo>
                    <a:lnTo>
                      <a:pt x="475" y="416"/>
                    </a:lnTo>
                    <a:lnTo>
                      <a:pt x="474" y="416"/>
                    </a:lnTo>
                    <a:lnTo>
                      <a:pt x="474" y="418"/>
                    </a:lnTo>
                    <a:lnTo>
                      <a:pt x="475" y="418"/>
                    </a:lnTo>
                    <a:lnTo>
                      <a:pt x="475" y="419"/>
                    </a:lnTo>
                    <a:lnTo>
                      <a:pt x="475" y="420"/>
                    </a:lnTo>
                    <a:lnTo>
                      <a:pt x="472" y="421"/>
                    </a:lnTo>
                    <a:lnTo>
                      <a:pt x="472" y="425"/>
                    </a:lnTo>
                    <a:lnTo>
                      <a:pt x="472" y="428"/>
                    </a:lnTo>
                    <a:lnTo>
                      <a:pt x="467" y="429"/>
                    </a:lnTo>
                    <a:lnTo>
                      <a:pt x="467" y="431"/>
                    </a:lnTo>
                    <a:lnTo>
                      <a:pt x="465" y="434"/>
                    </a:lnTo>
                    <a:lnTo>
                      <a:pt x="464" y="434"/>
                    </a:lnTo>
                    <a:lnTo>
                      <a:pt x="464" y="433"/>
                    </a:lnTo>
                    <a:lnTo>
                      <a:pt x="463" y="433"/>
                    </a:lnTo>
                    <a:lnTo>
                      <a:pt x="462" y="433"/>
                    </a:lnTo>
                    <a:lnTo>
                      <a:pt x="463" y="434"/>
                    </a:lnTo>
                    <a:lnTo>
                      <a:pt x="462" y="434"/>
                    </a:lnTo>
                    <a:lnTo>
                      <a:pt x="462" y="435"/>
                    </a:lnTo>
                    <a:lnTo>
                      <a:pt x="461" y="437"/>
                    </a:lnTo>
                    <a:lnTo>
                      <a:pt x="460" y="438"/>
                    </a:lnTo>
                    <a:lnTo>
                      <a:pt x="460" y="440"/>
                    </a:lnTo>
                    <a:lnTo>
                      <a:pt x="460" y="442"/>
                    </a:lnTo>
                    <a:lnTo>
                      <a:pt x="459" y="446"/>
                    </a:lnTo>
                    <a:lnTo>
                      <a:pt x="460" y="448"/>
                    </a:lnTo>
                    <a:lnTo>
                      <a:pt x="459" y="450"/>
                    </a:lnTo>
                    <a:lnTo>
                      <a:pt x="460" y="451"/>
                    </a:lnTo>
                    <a:lnTo>
                      <a:pt x="460" y="454"/>
                    </a:lnTo>
                    <a:lnTo>
                      <a:pt x="462" y="454"/>
                    </a:lnTo>
                    <a:lnTo>
                      <a:pt x="463" y="452"/>
                    </a:lnTo>
                    <a:lnTo>
                      <a:pt x="466" y="457"/>
                    </a:lnTo>
                    <a:lnTo>
                      <a:pt x="469" y="456"/>
                    </a:lnTo>
                    <a:lnTo>
                      <a:pt x="473" y="457"/>
                    </a:lnTo>
                    <a:lnTo>
                      <a:pt x="473" y="459"/>
                    </a:lnTo>
                    <a:lnTo>
                      <a:pt x="474" y="463"/>
                    </a:lnTo>
                    <a:lnTo>
                      <a:pt x="476" y="468"/>
                    </a:lnTo>
                    <a:lnTo>
                      <a:pt x="476" y="469"/>
                    </a:lnTo>
                    <a:lnTo>
                      <a:pt x="475" y="470"/>
                    </a:lnTo>
                    <a:lnTo>
                      <a:pt x="475" y="471"/>
                    </a:lnTo>
                    <a:lnTo>
                      <a:pt x="476" y="473"/>
                    </a:lnTo>
                    <a:lnTo>
                      <a:pt x="474" y="476"/>
                    </a:lnTo>
                    <a:lnTo>
                      <a:pt x="473" y="475"/>
                    </a:lnTo>
                    <a:lnTo>
                      <a:pt x="473" y="477"/>
                    </a:lnTo>
                    <a:lnTo>
                      <a:pt x="472" y="476"/>
                    </a:lnTo>
                    <a:lnTo>
                      <a:pt x="472" y="477"/>
                    </a:lnTo>
                    <a:lnTo>
                      <a:pt x="471" y="477"/>
                    </a:lnTo>
                    <a:lnTo>
                      <a:pt x="470" y="478"/>
                    </a:lnTo>
                    <a:lnTo>
                      <a:pt x="470" y="480"/>
                    </a:lnTo>
                    <a:lnTo>
                      <a:pt x="467" y="481"/>
                    </a:lnTo>
                    <a:lnTo>
                      <a:pt x="467" y="480"/>
                    </a:lnTo>
                    <a:lnTo>
                      <a:pt x="466" y="480"/>
                    </a:lnTo>
                    <a:lnTo>
                      <a:pt x="464" y="481"/>
                    </a:lnTo>
                    <a:lnTo>
                      <a:pt x="463" y="480"/>
                    </a:lnTo>
                    <a:lnTo>
                      <a:pt x="462" y="481"/>
                    </a:lnTo>
                    <a:lnTo>
                      <a:pt x="462" y="478"/>
                    </a:lnTo>
                    <a:lnTo>
                      <a:pt x="459" y="476"/>
                    </a:lnTo>
                    <a:lnTo>
                      <a:pt x="459" y="478"/>
                    </a:lnTo>
                    <a:lnTo>
                      <a:pt x="457" y="477"/>
                    </a:lnTo>
                    <a:lnTo>
                      <a:pt x="457" y="480"/>
                    </a:lnTo>
                    <a:lnTo>
                      <a:pt x="455" y="481"/>
                    </a:lnTo>
                    <a:lnTo>
                      <a:pt x="454" y="480"/>
                    </a:lnTo>
                    <a:lnTo>
                      <a:pt x="455" y="478"/>
                    </a:lnTo>
                    <a:lnTo>
                      <a:pt x="453" y="478"/>
                    </a:lnTo>
                    <a:lnTo>
                      <a:pt x="453" y="480"/>
                    </a:lnTo>
                    <a:lnTo>
                      <a:pt x="454" y="481"/>
                    </a:lnTo>
                    <a:lnTo>
                      <a:pt x="454" y="483"/>
                    </a:lnTo>
                    <a:lnTo>
                      <a:pt x="452" y="483"/>
                    </a:lnTo>
                    <a:lnTo>
                      <a:pt x="452" y="484"/>
                    </a:lnTo>
                    <a:lnTo>
                      <a:pt x="451" y="485"/>
                    </a:lnTo>
                    <a:lnTo>
                      <a:pt x="451" y="486"/>
                    </a:lnTo>
                    <a:lnTo>
                      <a:pt x="451" y="488"/>
                    </a:lnTo>
                    <a:lnTo>
                      <a:pt x="451" y="489"/>
                    </a:lnTo>
                    <a:lnTo>
                      <a:pt x="447" y="488"/>
                    </a:lnTo>
                    <a:lnTo>
                      <a:pt x="447" y="486"/>
                    </a:lnTo>
                    <a:lnTo>
                      <a:pt x="447" y="484"/>
                    </a:lnTo>
                    <a:lnTo>
                      <a:pt x="444" y="482"/>
                    </a:lnTo>
                    <a:lnTo>
                      <a:pt x="444" y="483"/>
                    </a:lnTo>
                    <a:lnTo>
                      <a:pt x="444" y="482"/>
                    </a:lnTo>
                    <a:lnTo>
                      <a:pt x="444" y="483"/>
                    </a:lnTo>
                    <a:lnTo>
                      <a:pt x="442" y="483"/>
                    </a:lnTo>
                    <a:lnTo>
                      <a:pt x="441" y="483"/>
                    </a:lnTo>
                    <a:lnTo>
                      <a:pt x="440" y="482"/>
                    </a:lnTo>
                    <a:lnTo>
                      <a:pt x="439" y="481"/>
                    </a:lnTo>
                    <a:lnTo>
                      <a:pt x="439" y="480"/>
                    </a:lnTo>
                    <a:lnTo>
                      <a:pt x="438" y="480"/>
                    </a:lnTo>
                    <a:lnTo>
                      <a:pt x="438" y="478"/>
                    </a:lnTo>
                    <a:lnTo>
                      <a:pt x="439" y="478"/>
                    </a:lnTo>
                    <a:lnTo>
                      <a:pt x="438" y="478"/>
                    </a:lnTo>
                    <a:lnTo>
                      <a:pt x="437" y="479"/>
                    </a:lnTo>
                    <a:lnTo>
                      <a:pt x="436" y="478"/>
                    </a:lnTo>
                    <a:lnTo>
                      <a:pt x="435" y="478"/>
                    </a:lnTo>
                    <a:lnTo>
                      <a:pt x="435" y="482"/>
                    </a:lnTo>
                    <a:lnTo>
                      <a:pt x="433" y="480"/>
                    </a:lnTo>
                    <a:lnTo>
                      <a:pt x="430" y="481"/>
                    </a:lnTo>
                    <a:lnTo>
                      <a:pt x="429" y="481"/>
                    </a:lnTo>
                    <a:lnTo>
                      <a:pt x="429" y="482"/>
                    </a:lnTo>
                    <a:lnTo>
                      <a:pt x="428" y="482"/>
                    </a:lnTo>
                    <a:lnTo>
                      <a:pt x="427" y="481"/>
                    </a:lnTo>
                    <a:lnTo>
                      <a:pt x="426" y="482"/>
                    </a:lnTo>
                    <a:lnTo>
                      <a:pt x="425" y="482"/>
                    </a:lnTo>
                    <a:lnTo>
                      <a:pt x="424" y="482"/>
                    </a:lnTo>
                    <a:lnTo>
                      <a:pt x="421" y="483"/>
                    </a:lnTo>
                    <a:lnTo>
                      <a:pt x="419" y="480"/>
                    </a:lnTo>
                    <a:lnTo>
                      <a:pt x="417" y="480"/>
                    </a:lnTo>
                    <a:lnTo>
                      <a:pt x="416" y="478"/>
                    </a:lnTo>
                    <a:lnTo>
                      <a:pt x="414" y="479"/>
                    </a:lnTo>
                    <a:lnTo>
                      <a:pt x="413" y="480"/>
                    </a:lnTo>
                    <a:lnTo>
                      <a:pt x="412" y="480"/>
                    </a:lnTo>
                    <a:lnTo>
                      <a:pt x="411" y="478"/>
                    </a:lnTo>
                    <a:lnTo>
                      <a:pt x="411" y="479"/>
                    </a:lnTo>
                    <a:lnTo>
                      <a:pt x="409" y="478"/>
                    </a:lnTo>
                    <a:lnTo>
                      <a:pt x="410" y="477"/>
                    </a:lnTo>
                    <a:lnTo>
                      <a:pt x="408" y="475"/>
                    </a:lnTo>
                    <a:lnTo>
                      <a:pt x="403" y="475"/>
                    </a:lnTo>
                    <a:lnTo>
                      <a:pt x="400" y="475"/>
                    </a:lnTo>
                    <a:lnTo>
                      <a:pt x="398" y="479"/>
                    </a:lnTo>
                    <a:lnTo>
                      <a:pt x="399" y="480"/>
                    </a:lnTo>
                    <a:lnTo>
                      <a:pt x="401" y="481"/>
                    </a:lnTo>
                    <a:lnTo>
                      <a:pt x="402" y="484"/>
                    </a:lnTo>
                    <a:lnTo>
                      <a:pt x="402" y="486"/>
                    </a:lnTo>
                    <a:lnTo>
                      <a:pt x="402" y="487"/>
                    </a:lnTo>
                    <a:lnTo>
                      <a:pt x="399" y="488"/>
                    </a:lnTo>
                    <a:lnTo>
                      <a:pt x="395" y="486"/>
                    </a:lnTo>
                    <a:lnTo>
                      <a:pt x="394" y="488"/>
                    </a:lnTo>
                    <a:lnTo>
                      <a:pt x="391" y="486"/>
                    </a:lnTo>
                    <a:lnTo>
                      <a:pt x="389" y="486"/>
                    </a:lnTo>
                    <a:lnTo>
                      <a:pt x="388" y="487"/>
                    </a:lnTo>
                    <a:lnTo>
                      <a:pt x="388" y="489"/>
                    </a:lnTo>
                    <a:lnTo>
                      <a:pt x="387" y="490"/>
                    </a:lnTo>
                    <a:lnTo>
                      <a:pt x="387" y="491"/>
                    </a:lnTo>
                    <a:lnTo>
                      <a:pt x="388" y="492"/>
                    </a:lnTo>
                    <a:lnTo>
                      <a:pt x="389" y="495"/>
                    </a:lnTo>
                    <a:lnTo>
                      <a:pt x="388" y="495"/>
                    </a:lnTo>
                    <a:lnTo>
                      <a:pt x="386" y="495"/>
                    </a:lnTo>
                    <a:lnTo>
                      <a:pt x="386" y="496"/>
                    </a:lnTo>
                    <a:lnTo>
                      <a:pt x="386" y="499"/>
                    </a:lnTo>
                    <a:lnTo>
                      <a:pt x="384" y="499"/>
                    </a:lnTo>
                    <a:lnTo>
                      <a:pt x="383" y="501"/>
                    </a:lnTo>
                    <a:lnTo>
                      <a:pt x="382" y="501"/>
                    </a:lnTo>
                    <a:lnTo>
                      <a:pt x="381" y="499"/>
                    </a:lnTo>
                    <a:lnTo>
                      <a:pt x="379" y="501"/>
                    </a:lnTo>
                    <a:lnTo>
                      <a:pt x="377" y="501"/>
                    </a:lnTo>
                    <a:lnTo>
                      <a:pt x="377" y="498"/>
                    </a:lnTo>
                    <a:lnTo>
                      <a:pt x="374" y="495"/>
                    </a:lnTo>
                    <a:lnTo>
                      <a:pt x="376" y="494"/>
                    </a:lnTo>
                    <a:lnTo>
                      <a:pt x="374" y="493"/>
                    </a:lnTo>
                    <a:lnTo>
                      <a:pt x="373" y="492"/>
                    </a:lnTo>
                    <a:lnTo>
                      <a:pt x="374" y="491"/>
                    </a:lnTo>
                    <a:lnTo>
                      <a:pt x="373" y="490"/>
                    </a:lnTo>
                    <a:lnTo>
                      <a:pt x="373" y="489"/>
                    </a:lnTo>
                    <a:lnTo>
                      <a:pt x="373" y="485"/>
                    </a:lnTo>
                    <a:lnTo>
                      <a:pt x="371" y="486"/>
                    </a:lnTo>
                    <a:lnTo>
                      <a:pt x="372" y="485"/>
                    </a:lnTo>
                    <a:lnTo>
                      <a:pt x="372" y="484"/>
                    </a:lnTo>
                    <a:lnTo>
                      <a:pt x="371" y="484"/>
                    </a:lnTo>
                    <a:lnTo>
                      <a:pt x="372" y="483"/>
                    </a:lnTo>
                    <a:lnTo>
                      <a:pt x="372" y="481"/>
                    </a:lnTo>
                    <a:lnTo>
                      <a:pt x="370" y="480"/>
                    </a:lnTo>
                    <a:lnTo>
                      <a:pt x="371" y="480"/>
                    </a:lnTo>
                    <a:lnTo>
                      <a:pt x="372" y="480"/>
                    </a:lnTo>
                    <a:lnTo>
                      <a:pt x="370" y="478"/>
                    </a:lnTo>
                    <a:lnTo>
                      <a:pt x="370" y="477"/>
                    </a:lnTo>
                    <a:lnTo>
                      <a:pt x="369" y="479"/>
                    </a:lnTo>
                    <a:lnTo>
                      <a:pt x="368" y="479"/>
                    </a:lnTo>
                    <a:lnTo>
                      <a:pt x="367" y="478"/>
                    </a:lnTo>
                    <a:lnTo>
                      <a:pt x="366" y="478"/>
                    </a:lnTo>
                    <a:lnTo>
                      <a:pt x="364" y="482"/>
                    </a:lnTo>
                    <a:lnTo>
                      <a:pt x="365" y="483"/>
                    </a:lnTo>
                    <a:lnTo>
                      <a:pt x="364" y="484"/>
                    </a:lnTo>
                    <a:lnTo>
                      <a:pt x="363" y="483"/>
                    </a:lnTo>
                    <a:lnTo>
                      <a:pt x="363" y="481"/>
                    </a:lnTo>
                    <a:lnTo>
                      <a:pt x="362" y="479"/>
                    </a:lnTo>
                    <a:lnTo>
                      <a:pt x="361" y="479"/>
                    </a:lnTo>
                    <a:lnTo>
                      <a:pt x="359" y="478"/>
                    </a:lnTo>
                    <a:lnTo>
                      <a:pt x="357" y="475"/>
                    </a:lnTo>
                    <a:lnTo>
                      <a:pt x="356" y="470"/>
                    </a:lnTo>
                    <a:lnTo>
                      <a:pt x="355" y="470"/>
                    </a:lnTo>
                    <a:lnTo>
                      <a:pt x="354" y="470"/>
                    </a:lnTo>
                    <a:lnTo>
                      <a:pt x="348" y="468"/>
                    </a:lnTo>
                    <a:lnTo>
                      <a:pt x="347" y="465"/>
                    </a:lnTo>
                    <a:lnTo>
                      <a:pt x="344" y="460"/>
                    </a:lnTo>
                    <a:lnTo>
                      <a:pt x="345" y="459"/>
                    </a:lnTo>
                    <a:lnTo>
                      <a:pt x="344" y="459"/>
                    </a:lnTo>
                    <a:lnTo>
                      <a:pt x="343" y="461"/>
                    </a:lnTo>
                    <a:lnTo>
                      <a:pt x="343" y="464"/>
                    </a:lnTo>
                    <a:lnTo>
                      <a:pt x="340" y="464"/>
                    </a:lnTo>
                    <a:lnTo>
                      <a:pt x="340" y="465"/>
                    </a:lnTo>
                    <a:lnTo>
                      <a:pt x="338" y="465"/>
                    </a:lnTo>
                    <a:lnTo>
                      <a:pt x="338" y="466"/>
                    </a:lnTo>
                    <a:lnTo>
                      <a:pt x="338" y="465"/>
                    </a:lnTo>
                    <a:lnTo>
                      <a:pt x="337" y="467"/>
                    </a:lnTo>
                    <a:lnTo>
                      <a:pt x="337" y="468"/>
                    </a:lnTo>
                    <a:lnTo>
                      <a:pt x="338" y="468"/>
                    </a:lnTo>
                    <a:lnTo>
                      <a:pt x="337" y="471"/>
                    </a:lnTo>
                    <a:lnTo>
                      <a:pt x="333" y="469"/>
                    </a:lnTo>
                    <a:lnTo>
                      <a:pt x="333" y="470"/>
                    </a:lnTo>
                    <a:lnTo>
                      <a:pt x="333" y="471"/>
                    </a:lnTo>
                    <a:lnTo>
                      <a:pt x="332" y="471"/>
                    </a:lnTo>
                    <a:lnTo>
                      <a:pt x="333" y="472"/>
                    </a:lnTo>
                    <a:lnTo>
                      <a:pt x="332" y="472"/>
                    </a:lnTo>
                    <a:lnTo>
                      <a:pt x="333" y="473"/>
                    </a:lnTo>
                    <a:lnTo>
                      <a:pt x="332" y="475"/>
                    </a:lnTo>
                    <a:lnTo>
                      <a:pt x="333" y="476"/>
                    </a:lnTo>
                    <a:lnTo>
                      <a:pt x="332" y="476"/>
                    </a:lnTo>
                    <a:lnTo>
                      <a:pt x="331" y="477"/>
                    </a:lnTo>
                    <a:lnTo>
                      <a:pt x="330" y="477"/>
                    </a:lnTo>
                    <a:lnTo>
                      <a:pt x="330" y="480"/>
                    </a:lnTo>
                    <a:lnTo>
                      <a:pt x="329" y="480"/>
                    </a:lnTo>
                    <a:lnTo>
                      <a:pt x="329" y="481"/>
                    </a:lnTo>
                    <a:lnTo>
                      <a:pt x="329" y="482"/>
                    </a:lnTo>
                    <a:lnTo>
                      <a:pt x="331" y="483"/>
                    </a:lnTo>
                    <a:lnTo>
                      <a:pt x="330" y="486"/>
                    </a:lnTo>
                    <a:lnTo>
                      <a:pt x="330" y="487"/>
                    </a:lnTo>
                    <a:lnTo>
                      <a:pt x="332" y="486"/>
                    </a:lnTo>
                    <a:lnTo>
                      <a:pt x="332" y="488"/>
                    </a:lnTo>
                    <a:lnTo>
                      <a:pt x="331" y="488"/>
                    </a:lnTo>
                    <a:lnTo>
                      <a:pt x="333" y="489"/>
                    </a:lnTo>
                    <a:lnTo>
                      <a:pt x="333" y="490"/>
                    </a:lnTo>
                    <a:lnTo>
                      <a:pt x="331" y="491"/>
                    </a:lnTo>
                    <a:lnTo>
                      <a:pt x="333" y="491"/>
                    </a:lnTo>
                    <a:lnTo>
                      <a:pt x="332" y="492"/>
                    </a:lnTo>
                    <a:lnTo>
                      <a:pt x="330" y="492"/>
                    </a:lnTo>
                    <a:lnTo>
                      <a:pt x="329" y="492"/>
                    </a:lnTo>
                    <a:lnTo>
                      <a:pt x="329" y="493"/>
                    </a:lnTo>
                    <a:lnTo>
                      <a:pt x="325" y="493"/>
                    </a:lnTo>
                    <a:lnTo>
                      <a:pt x="325" y="494"/>
                    </a:lnTo>
                    <a:lnTo>
                      <a:pt x="324" y="494"/>
                    </a:lnTo>
                    <a:lnTo>
                      <a:pt x="324" y="493"/>
                    </a:lnTo>
                    <a:lnTo>
                      <a:pt x="321" y="493"/>
                    </a:lnTo>
                    <a:lnTo>
                      <a:pt x="320" y="492"/>
                    </a:lnTo>
                    <a:lnTo>
                      <a:pt x="320" y="493"/>
                    </a:lnTo>
                    <a:lnTo>
                      <a:pt x="320" y="494"/>
                    </a:lnTo>
                    <a:lnTo>
                      <a:pt x="318" y="494"/>
                    </a:lnTo>
                    <a:lnTo>
                      <a:pt x="317" y="494"/>
                    </a:lnTo>
                    <a:lnTo>
                      <a:pt x="316" y="496"/>
                    </a:lnTo>
                    <a:lnTo>
                      <a:pt x="313" y="499"/>
                    </a:lnTo>
                    <a:lnTo>
                      <a:pt x="312" y="498"/>
                    </a:lnTo>
                    <a:lnTo>
                      <a:pt x="312" y="499"/>
                    </a:lnTo>
                    <a:lnTo>
                      <a:pt x="310" y="499"/>
                    </a:lnTo>
                    <a:lnTo>
                      <a:pt x="308" y="500"/>
                    </a:lnTo>
                    <a:lnTo>
                      <a:pt x="308" y="501"/>
                    </a:lnTo>
                    <a:lnTo>
                      <a:pt x="307" y="501"/>
                    </a:lnTo>
                    <a:lnTo>
                      <a:pt x="308" y="505"/>
                    </a:lnTo>
                    <a:lnTo>
                      <a:pt x="307" y="506"/>
                    </a:lnTo>
                    <a:lnTo>
                      <a:pt x="307" y="509"/>
                    </a:lnTo>
                    <a:lnTo>
                      <a:pt x="306" y="509"/>
                    </a:lnTo>
                    <a:lnTo>
                      <a:pt x="304" y="509"/>
                    </a:lnTo>
                    <a:lnTo>
                      <a:pt x="303" y="507"/>
                    </a:lnTo>
                    <a:lnTo>
                      <a:pt x="304" y="506"/>
                    </a:lnTo>
                    <a:lnTo>
                      <a:pt x="303" y="502"/>
                    </a:lnTo>
                    <a:lnTo>
                      <a:pt x="301" y="501"/>
                    </a:lnTo>
                    <a:lnTo>
                      <a:pt x="296" y="498"/>
                    </a:lnTo>
                    <a:lnTo>
                      <a:pt x="291" y="499"/>
                    </a:lnTo>
                    <a:lnTo>
                      <a:pt x="289" y="499"/>
                    </a:lnTo>
                    <a:lnTo>
                      <a:pt x="289" y="498"/>
                    </a:lnTo>
                    <a:lnTo>
                      <a:pt x="287" y="498"/>
                    </a:lnTo>
                    <a:lnTo>
                      <a:pt x="287" y="496"/>
                    </a:lnTo>
                    <a:lnTo>
                      <a:pt x="288" y="495"/>
                    </a:lnTo>
                    <a:lnTo>
                      <a:pt x="289" y="495"/>
                    </a:lnTo>
                    <a:lnTo>
                      <a:pt x="290" y="493"/>
                    </a:lnTo>
                    <a:lnTo>
                      <a:pt x="291" y="492"/>
                    </a:lnTo>
                    <a:lnTo>
                      <a:pt x="292" y="489"/>
                    </a:lnTo>
                    <a:lnTo>
                      <a:pt x="292" y="488"/>
                    </a:lnTo>
                    <a:lnTo>
                      <a:pt x="291" y="488"/>
                    </a:lnTo>
                    <a:lnTo>
                      <a:pt x="290" y="490"/>
                    </a:lnTo>
                    <a:lnTo>
                      <a:pt x="289" y="491"/>
                    </a:lnTo>
                    <a:lnTo>
                      <a:pt x="287" y="490"/>
                    </a:lnTo>
                    <a:lnTo>
                      <a:pt x="287" y="492"/>
                    </a:lnTo>
                    <a:lnTo>
                      <a:pt x="286" y="492"/>
                    </a:lnTo>
                    <a:lnTo>
                      <a:pt x="286" y="489"/>
                    </a:lnTo>
                    <a:lnTo>
                      <a:pt x="284" y="493"/>
                    </a:lnTo>
                    <a:lnTo>
                      <a:pt x="282" y="492"/>
                    </a:lnTo>
                    <a:lnTo>
                      <a:pt x="283" y="492"/>
                    </a:lnTo>
                    <a:lnTo>
                      <a:pt x="282" y="492"/>
                    </a:lnTo>
                    <a:lnTo>
                      <a:pt x="281" y="492"/>
                    </a:lnTo>
                    <a:lnTo>
                      <a:pt x="281" y="491"/>
                    </a:lnTo>
                    <a:lnTo>
                      <a:pt x="280" y="492"/>
                    </a:lnTo>
                    <a:lnTo>
                      <a:pt x="280" y="491"/>
                    </a:lnTo>
                    <a:lnTo>
                      <a:pt x="278" y="490"/>
                    </a:lnTo>
                    <a:lnTo>
                      <a:pt x="277" y="489"/>
                    </a:lnTo>
                    <a:lnTo>
                      <a:pt x="276" y="489"/>
                    </a:lnTo>
                    <a:lnTo>
                      <a:pt x="275" y="491"/>
                    </a:lnTo>
                    <a:lnTo>
                      <a:pt x="274" y="489"/>
                    </a:lnTo>
                    <a:lnTo>
                      <a:pt x="273" y="489"/>
                    </a:lnTo>
                    <a:lnTo>
                      <a:pt x="273" y="488"/>
                    </a:lnTo>
                    <a:lnTo>
                      <a:pt x="272" y="489"/>
                    </a:lnTo>
                    <a:lnTo>
                      <a:pt x="272" y="488"/>
                    </a:lnTo>
                    <a:lnTo>
                      <a:pt x="270" y="488"/>
                    </a:lnTo>
                    <a:lnTo>
                      <a:pt x="272" y="485"/>
                    </a:lnTo>
                    <a:lnTo>
                      <a:pt x="271" y="484"/>
                    </a:lnTo>
                    <a:lnTo>
                      <a:pt x="269" y="484"/>
                    </a:lnTo>
                    <a:lnTo>
                      <a:pt x="268" y="486"/>
                    </a:lnTo>
                    <a:lnTo>
                      <a:pt x="266" y="485"/>
                    </a:lnTo>
                    <a:lnTo>
                      <a:pt x="263" y="482"/>
                    </a:lnTo>
                    <a:lnTo>
                      <a:pt x="261" y="482"/>
                    </a:lnTo>
                    <a:lnTo>
                      <a:pt x="261" y="483"/>
                    </a:lnTo>
                    <a:lnTo>
                      <a:pt x="260" y="486"/>
                    </a:lnTo>
                    <a:lnTo>
                      <a:pt x="258" y="486"/>
                    </a:lnTo>
                    <a:lnTo>
                      <a:pt x="258" y="488"/>
                    </a:lnTo>
                    <a:lnTo>
                      <a:pt x="260" y="488"/>
                    </a:lnTo>
                    <a:lnTo>
                      <a:pt x="259" y="488"/>
                    </a:lnTo>
                    <a:lnTo>
                      <a:pt x="258" y="488"/>
                    </a:lnTo>
                    <a:lnTo>
                      <a:pt x="257" y="486"/>
                    </a:lnTo>
                    <a:lnTo>
                      <a:pt x="256" y="488"/>
                    </a:lnTo>
                    <a:lnTo>
                      <a:pt x="255" y="486"/>
                    </a:lnTo>
                    <a:lnTo>
                      <a:pt x="255" y="485"/>
                    </a:lnTo>
                    <a:lnTo>
                      <a:pt x="254" y="483"/>
                    </a:lnTo>
                    <a:lnTo>
                      <a:pt x="252" y="483"/>
                    </a:lnTo>
                    <a:lnTo>
                      <a:pt x="252" y="480"/>
                    </a:lnTo>
                    <a:lnTo>
                      <a:pt x="250" y="480"/>
                    </a:lnTo>
                    <a:lnTo>
                      <a:pt x="249" y="481"/>
                    </a:lnTo>
                    <a:lnTo>
                      <a:pt x="248" y="481"/>
                    </a:lnTo>
                    <a:lnTo>
                      <a:pt x="245" y="475"/>
                    </a:lnTo>
                    <a:lnTo>
                      <a:pt x="244" y="475"/>
                    </a:lnTo>
                    <a:lnTo>
                      <a:pt x="243" y="473"/>
                    </a:lnTo>
                    <a:lnTo>
                      <a:pt x="243" y="476"/>
                    </a:lnTo>
                    <a:lnTo>
                      <a:pt x="242" y="475"/>
                    </a:lnTo>
                    <a:lnTo>
                      <a:pt x="241" y="475"/>
                    </a:lnTo>
                    <a:lnTo>
                      <a:pt x="242" y="475"/>
                    </a:lnTo>
                    <a:lnTo>
                      <a:pt x="243" y="479"/>
                    </a:lnTo>
                    <a:lnTo>
                      <a:pt x="242" y="480"/>
                    </a:lnTo>
                    <a:lnTo>
                      <a:pt x="243" y="480"/>
                    </a:lnTo>
                    <a:lnTo>
                      <a:pt x="242" y="482"/>
                    </a:lnTo>
                    <a:lnTo>
                      <a:pt x="242" y="483"/>
                    </a:lnTo>
                    <a:lnTo>
                      <a:pt x="244" y="483"/>
                    </a:lnTo>
                    <a:lnTo>
                      <a:pt x="243" y="484"/>
                    </a:lnTo>
                    <a:lnTo>
                      <a:pt x="242" y="483"/>
                    </a:lnTo>
                    <a:lnTo>
                      <a:pt x="242" y="484"/>
                    </a:lnTo>
                    <a:lnTo>
                      <a:pt x="241" y="481"/>
                    </a:lnTo>
                    <a:lnTo>
                      <a:pt x="240" y="481"/>
                    </a:lnTo>
                    <a:lnTo>
                      <a:pt x="239" y="480"/>
                    </a:lnTo>
                    <a:lnTo>
                      <a:pt x="237" y="480"/>
                    </a:lnTo>
                    <a:lnTo>
                      <a:pt x="236" y="481"/>
                    </a:lnTo>
                    <a:lnTo>
                      <a:pt x="235" y="480"/>
                    </a:lnTo>
                    <a:lnTo>
                      <a:pt x="235" y="481"/>
                    </a:lnTo>
                    <a:lnTo>
                      <a:pt x="234" y="481"/>
                    </a:lnTo>
                    <a:lnTo>
                      <a:pt x="235" y="482"/>
                    </a:lnTo>
                    <a:lnTo>
                      <a:pt x="234" y="482"/>
                    </a:lnTo>
                    <a:lnTo>
                      <a:pt x="234" y="483"/>
                    </a:lnTo>
                    <a:lnTo>
                      <a:pt x="234" y="482"/>
                    </a:lnTo>
                    <a:lnTo>
                      <a:pt x="234" y="483"/>
                    </a:lnTo>
                    <a:lnTo>
                      <a:pt x="233" y="484"/>
                    </a:lnTo>
                    <a:lnTo>
                      <a:pt x="232" y="482"/>
                    </a:lnTo>
                    <a:lnTo>
                      <a:pt x="232" y="483"/>
                    </a:lnTo>
                    <a:lnTo>
                      <a:pt x="231" y="486"/>
                    </a:lnTo>
                    <a:lnTo>
                      <a:pt x="230" y="486"/>
                    </a:lnTo>
                    <a:lnTo>
                      <a:pt x="231" y="484"/>
                    </a:lnTo>
                    <a:lnTo>
                      <a:pt x="229" y="484"/>
                    </a:lnTo>
                    <a:lnTo>
                      <a:pt x="228" y="485"/>
                    </a:lnTo>
                    <a:lnTo>
                      <a:pt x="227" y="487"/>
                    </a:lnTo>
                    <a:lnTo>
                      <a:pt x="227" y="485"/>
                    </a:lnTo>
                    <a:lnTo>
                      <a:pt x="226" y="485"/>
                    </a:lnTo>
                    <a:lnTo>
                      <a:pt x="226" y="484"/>
                    </a:lnTo>
                    <a:lnTo>
                      <a:pt x="224" y="483"/>
                    </a:lnTo>
                    <a:lnTo>
                      <a:pt x="221" y="485"/>
                    </a:lnTo>
                    <a:lnTo>
                      <a:pt x="220" y="484"/>
                    </a:lnTo>
                    <a:lnTo>
                      <a:pt x="219" y="484"/>
                    </a:lnTo>
                    <a:lnTo>
                      <a:pt x="221" y="484"/>
                    </a:lnTo>
                    <a:lnTo>
                      <a:pt x="221" y="483"/>
                    </a:lnTo>
                    <a:lnTo>
                      <a:pt x="221" y="481"/>
                    </a:lnTo>
                    <a:lnTo>
                      <a:pt x="222" y="480"/>
                    </a:lnTo>
                    <a:lnTo>
                      <a:pt x="222" y="478"/>
                    </a:lnTo>
                    <a:lnTo>
                      <a:pt x="221" y="478"/>
                    </a:lnTo>
                    <a:lnTo>
                      <a:pt x="220" y="478"/>
                    </a:lnTo>
                    <a:lnTo>
                      <a:pt x="219" y="477"/>
                    </a:lnTo>
                    <a:lnTo>
                      <a:pt x="219" y="475"/>
                    </a:lnTo>
                    <a:lnTo>
                      <a:pt x="218" y="476"/>
                    </a:lnTo>
                    <a:lnTo>
                      <a:pt x="216" y="473"/>
                    </a:lnTo>
                    <a:lnTo>
                      <a:pt x="213" y="475"/>
                    </a:lnTo>
                    <a:lnTo>
                      <a:pt x="212" y="473"/>
                    </a:lnTo>
                    <a:lnTo>
                      <a:pt x="212" y="474"/>
                    </a:lnTo>
                    <a:lnTo>
                      <a:pt x="212" y="473"/>
                    </a:lnTo>
                    <a:lnTo>
                      <a:pt x="211" y="472"/>
                    </a:lnTo>
                    <a:lnTo>
                      <a:pt x="212" y="469"/>
                    </a:lnTo>
                    <a:lnTo>
                      <a:pt x="211" y="467"/>
                    </a:lnTo>
                    <a:lnTo>
                      <a:pt x="208" y="466"/>
                    </a:lnTo>
                    <a:lnTo>
                      <a:pt x="208" y="465"/>
                    </a:lnTo>
                    <a:lnTo>
                      <a:pt x="206" y="465"/>
                    </a:lnTo>
                    <a:lnTo>
                      <a:pt x="206" y="463"/>
                    </a:lnTo>
                    <a:lnTo>
                      <a:pt x="203" y="465"/>
                    </a:lnTo>
                    <a:lnTo>
                      <a:pt x="202" y="465"/>
                    </a:lnTo>
                    <a:lnTo>
                      <a:pt x="198" y="465"/>
                    </a:lnTo>
                    <a:lnTo>
                      <a:pt x="197" y="463"/>
                    </a:lnTo>
                    <a:lnTo>
                      <a:pt x="196" y="465"/>
                    </a:lnTo>
                    <a:lnTo>
                      <a:pt x="195" y="465"/>
                    </a:lnTo>
                    <a:lnTo>
                      <a:pt x="194" y="465"/>
                    </a:lnTo>
                    <a:lnTo>
                      <a:pt x="194" y="467"/>
                    </a:lnTo>
                    <a:lnTo>
                      <a:pt x="194" y="470"/>
                    </a:lnTo>
                    <a:lnTo>
                      <a:pt x="192" y="471"/>
                    </a:lnTo>
                    <a:lnTo>
                      <a:pt x="192" y="472"/>
                    </a:lnTo>
                    <a:lnTo>
                      <a:pt x="190" y="473"/>
                    </a:lnTo>
                    <a:lnTo>
                      <a:pt x="189" y="473"/>
                    </a:lnTo>
                    <a:lnTo>
                      <a:pt x="189" y="475"/>
                    </a:lnTo>
                    <a:lnTo>
                      <a:pt x="190" y="474"/>
                    </a:lnTo>
                    <a:lnTo>
                      <a:pt x="188" y="476"/>
                    </a:lnTo>
                    <a:lnTo>
                      <a:pt x="188" y="478"/>
                    </a:lnTo>
                    <a:lnTo>
                      <a:pt x="186" y="477"/>
                    </a:lnTo>
                    <a:lnTo>
                      <a:pt x="186" y="476"/>
                    </a:lnTo>
                    <a:lnTo>
                      <a:pt x="187" y="475"/>
                    </a:lnTo>
                    <a:lnTo>
                      <a:pt x="184" y="475"/>
                    </a:lnTo>
                    <a:lnTo>
                      <a:pt x="181" y="475"/>
                    </a:lnTo>
                    <a:lnTo>
                      <a:pt x="180" y="476"/>
                    </a:lnTo>
                    <a:lnTo>
                      <a:pt x="178" y="475"/>
                    </a:lnTo>
                    <a:lnTo>
                      <a:pt x="177" y="475"/>
                    </a:lnTo>
                    <a:lnTo>
                      <a:pt x="174" y="475"/>
                    </a:lnTo>
                    <a:lnTo>
                      <a:pt x="173" y="475"/>
                    </a:lnTo>
                    <a:lnTo>
                      <a:pt x="172" y="476"/>
                    </a:lnTo>
                    <a:lnTo>
                      <a:pt x="170" y="473"/>
                    </a:lnTo>
                    <a:lnTo>
                      <a:pt x="168" y="473"/>
                    </a:lnTo>
                    <a:lnTo>
                      <a:pt x="165" y="472"/>
                    </a:lnTo>
                    <a:lnTo>
                      <a:pt x="165" y="476"/>
                    </a:lnTo>
                    <a:lnTo>
                      <a:pt x="163" y="475"/>
                    </a:lnTo>
                    <a:lnTo>
                      <a:pt x="161" y="475"/>
                    </a:lnTo>
                    <a:lnTo>
                      <a:pt x="161" y="473"/>
                    </a:lnTo>
                    <a:lnTo>
                      <a:pt x="161" y="472"/>
                    </a:lnTo>
                    <a:lnTo>
                      <a:pt x="161" y="471"/>
                    </a:lnTo>
                    <a:lnTo>
                      <a:pt x="159" y="471"/>
                    </a:lnTo>
                    <a:lnTo>
                      <a:pt x="159" y="473"/>
                    </a:lnTo>
                    <a:lnTo>
                      <a:pt x="158" y="475"/>
                    </a:lnTo>
                    <a:lnTo>
                      <a:pt x="156" y="474"/>
                    </a:lnTo>
                    <a:lnTo>
                      <a:pt x="155" y="475"/>
                    </a:lnTo>
                    <a:lnTo>
                      <a:pt x="155" y="473"/>
                    </a:lnTo>
                    <a:lnTo>
                      <a:pt x="152" y="473"/>
                    </a:lnTo>
                    <a:lnTo>
                      <a:pt x="152" y="472"/>
                    </a:lnTo>
                    <a:lnTo>
                      <a:pt x="151" y="473"/>
                    </a:lnTo>
                    <a:lnTo>
                      <a:pt x="150" y="472"/>
                    </a:lnTo>
                    <a:lnTo>
                      <a:pt x="149" y="469"/>
                    </a:lnTo>
                    <a:lnTo>
                      <a:pt x="150" y="468"/>
                    </a:lnTo>
                    <a:lnTo>
                      <a:pt x="150" y="467"/>
                    </a:lnTo>
                    <a:lnTo>
                      <a:pt x="150" y="464"/>
                    </a:lnTo>
                    <a:lnTo>
                      <a:pt x="150" y="463"/>
                    </a:lnTo>
                    <a:lnTo>
                      <a:pt x="151" y="462"/>
                    </a:lnTo>
                    <a:lnTo>
                      <a:pt x="151" y="461"/>
                    </a:lnTo>
                    <a:lnTo>
                      <a:pt x="153" y="461"/>
                    </a:lnTo>
                    <a:lnTo>
                      <a:pt x="151" y="460"/>
                    </a:lnTo>
                    <a:lnTo>
                      <a:pt x="149" y="458"/>
                    </a:lnTo>
                    <a:lnTo>
                      <a:pt x="145" y="458"/>
                    </a:lnTo>
                    <a:lnTo>
                      <a:pt x="144" y="458"/>
                    </a:lnTo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1" name="Group 89">
              <a:extLst>
                <a:ext uri="{FF2B5EF4-FFF2-40B4-BE49-F238E27FC236}">
                  <a16:creationId xmlns:a16="http://schemas.microsoft.com/office/drawing/2014/main" id="{33BFA635-A94C-587D-FB55-85A36FED5C5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667" y="3058"/>
              <a:ext cx="321" cy="562"/>
              <a:chOff x="1667" y="3058"/>
              <a:chExt cx="321" cy="562"/>
            </a:xfrm>
          </p:grpSpPr>
          <p:sp>
            <p:nvSpPr>
              <p:cNvPr id="168" name="Freeform 87">
                <a:extLst>
                  <a:ext uri="{FF2B5EF4-FFF2-40B4-BE49-F238E27FC236}">
                    <a16:creationId xmlns:a16="http://schemas.microsoft.com/office/drawing/2014/main" id="{123A5A73-FAC5-C07B-70B2-F0F577691F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7" y="3058"/>
                <a:ext cx="321" cy="562"/>
              </a:xfrm>
              <a:custGeom>
                <a:avLst/>
                <a:gdLst>
                  <a:gd name="T0" fmla="*/ 307 w 321"/>
                  <a:gd name="T1" fmla="*/ 452 h 562"/>
                  <a:gd name="T2" fmla="*/ 304 w 321"/>
                  <a:gd name="T3" fmla="*/ 431 h 562"/>
                  <a:gd name="T4" fmla="*/ 286 w 321"/>
                  <a:gd name="T5" fmla="*/ 405 h 562"/>
                  <a:gd name="T6" fmla="*/ 263 w 321"/>
                  <a:gd name="T7" fmla="*/ 372 h 562"/>
                  <a:gd name="T8" fmla="*/ 259 w 321"/>
                  <a:gd name="T9" fmla="*/ 355 h 562"/>
                  <a:gd name="T10" fmla="*/ 224 w 321"/>
                  <a:gd name="T11" fmla="*/ 345 h 562"/>
                  <a:gd name="T12" fmla="*/ 194 w 321"/>
                  <a:gd name="T13" fmla="*/ 336 h 562"/>
                  <a:gd name="T14" fmla="*/ 170 w 321"/>
                  <a:gd name="T15" fmla="*/ 316 h 562"/>
                  <a:gd name="T16" fmla="*/ 149 w 321"/>
                  <a:gd name="T17" fmla="*/ 302 h 562"/>
                  <a:gd name="T18" fmla="*/ 145 w 321"/>
                  <a:gd name="T19" fmla="*/ 286 h 562"/>
                  <a:gd name="T20" fmla="*/ 125 w 321"/>
                  <a:gd name="T21" fmla="*/ 275 h 562"/>
                  <a:gd name="T22" fmla="*/ 134 w 321"/>
                  <a:gd name="T23" fmla="*/ 254 h 562"/>
                  <a:gd name="T24" fmla="*/ 137 w 321"/>
                  <a:gd name="T25" fmla="*/ 221 h 562"/>
                  <a:gd name="T26" fmla="*/ 162 w 321"/>
                  <a:gd name="T27" fmla="*/ 157 h 562"/>
                  <a:gd name="T28" fmla="*/ 202 w 321"/>
                  <a:gd name="T29" fmla="*/ 121 h 562"/>
                  <a:gd name="T30" fmla="*/ 212 w 321"/>
                  <a:gd name="T31" fmla="*/ 98 h 562"/>
                  <a:gd name="T32" fmla="*/ 196 w 321"/>
                  <a:gd name="T33" fmla="*/ 73 h 562"/>
                  <a:gd name="T34" fmla="*/ 162 w 321"/>
                  <a:gd name="T35" fmla="*/ 40 h 562"/>
                  <a:gd name="T36" fmla="*/ 116 w 321"/>
                  <a:gd name="T37" fmla="*/ 17 h 562"/>
                  <a:gd name="T38" fmla="*/ 76 w 321"/>
                  <a:gd name="T39" fmla="*/ 7 h 562"/>
                  <a:gd name="T40" fmla="*/ 86 w 321"/>
                  <a:gd name="T41" fmla="*/ 48 h 562"/>
                  <a:gd name="T42" fmla="*/ 105 w 321"/>
                  <a:gd name="T43" fmla="*/ 92 h 562"/>
                  <a:gd name="T44" fmla="*/ 90 w 321"/>
                  <a:gd name="T45" fmla="*/ 106 h 562"/>
                  <a:gd name="T46" fmla="*/ 62 w 321"/>
                  <a:gd name="T47" fmla="*/ 123 h 562"/>
                  <a:gd name="T48" fmla="*/ 43 w 321"/>
                  <a:gd name="T49" fmla="*/ 157 h 562"/>
                  <a:gd name="T50" fmla="*/ 33 w 321"/>
                  <a:gd name="T51" fmla="*/ 196 h 562"/>
                  <a:gd name="T52" fmla="*/ 18 w 321"/>
                  <a:gd name="T53" fmla="*/ 221 h 562"/>
                  <a:gd name="T54" fmla="*/ 23 w 321"/>
                  <a:gd name="T55" fmla="*/ 265 h 562"/>
                  <a:gd name="T56" fmla="*/ 17 w 321"/>
                  <a:gd name="T57" fmla="*/ 293 h 562"/>
                  <a:gd name="T58" fmla="*/ 25 w 321"/>
                  <a:gd name="T59" fmla="*/ 332 h 562"/>
                  <a:gd name="T60" fmla="*/ 37 w 321"/>
                  <a:gd name="T61" fmla="*/ 347 h 562"/>
                  <a:gd name="T62" fmla="*/ 24 w 321"/>
                  <a:gd name="T63" fmla="*/ 381 h 562"/>
                  <a:gd name="T64" fmla="*/ 18 w 321"/>
                  <a:gd name="T65" fmla="*/ 398 h 562"/>
                  <a:gd name="T66" fmla="*/ 5 w 321"/>
                  <a:gd name="T67" fmla="*/ 401 h 562"/>
                  <a:gd name="T68" fmla="*/ 2 w 321"/>
                  <a:gd name="T69" fmla="*/ 420 h 562"/>
                  <a:gd name="T70" fmla="*/ 25 w 321"/>
                  <a:gd name="T71" fmla="*/ 427 h 562"/>
                  <a:gd name="T72" fmla="*/ 12 w 321"/>
                  <a:gd name="T73" fmla="*/ 449 h 562"/>
                  <a:gd name="T74" fmla="*/ 19 w 321"/>
                  <a:gd name="T75" fmla="*/ 474 h 562"/>
                  <a:gd name="T76" fmla="*/ 26 w 321"/>
                  <a:gd name="T77" fmla="*/ 499 h 562"/>
                  <a:gd name="T78" fmla="*/ 41 w 321"/>
                  <a:gd name="T79" fmla="*/ 475 h 562"/>
                  <a:gd name="T80" fmla="*/ 35 w 321"/>
                  <a:gd name="T81" fmla="*/ 458 h 562"/>
                  <a:gd name="T82" fmla="*/ 44 w 321"/>
                  <a:gd name="T83" fmla="*/ 446 h 562"/>
                  <a:gd name="T84" fmla="*/ 61 w 321"/>
                  <a:gd name="T85" fmla="*/ 463 h 562"/>
                  <a:gd name="T86" fmla="*/ 62 w 321"/>
                  <a:gd name="T87" fmla="*/ 482 h 562"/>
                  <a:gd name="T88" fmla="*/ 73 w 321"/>
                  <a:gd name="T89" fmla="*/ 500 h 562"/>
                  <a:gd name="T90" fmla="*/ 79 w 321"/>
                  <a:gd name="T91" fmla="*/ 491 h 562"/>
                  <a:gd name="T92" fmla="*/ 80 w 321"/>
                  <a:gd name="T93" fmla="*/ 520 h 562"/>
                  <a:gd name="T94" fmla="*/ 99 w 321"/>
                  <a:gd name="T95" fmla="*/ 538 h 562"/>
                  <a:gd name="T96" fmla="*/ 105 w 321"/>
                  <a:gd name="T97" fmla="*/ 560 h 562"/>
                  <a:gd name="T98" fmla="*/ 118 w 321"/>
                  <a:gd name="T99" fmla="*/ 554 h 562"/>
                  <a:gd name="T100" fmla="*/ 140 w 321"/>
                  <a:gd name="T101" fmla="*/ 549 h 562"/>
                  <a:gd name="T102" fmla="*/ 160 w 321"/>
                  <a:gd name="T103" fmla="*/ 533 h 562"/>
                  <a:gd name="T104" fmla="*/ 160 w 321"/>
                  <a:gd name="T105" fmla="*/ 507 h 562"/>
                  <a:gd name="T106" fmla="*/ 171 w 321"/>
                  <a:gd name="T107" fmla="*/ 516 h 562"/>
                  <a:gd name="T108" fmla="*/ 192 w 321"/>
                  <a:gd name="T109" fmla="*/ 525 h 562"/>
                  <a:gd name="T110" fmla="*/ 208 w 321"/>
                  <a:gd name="T111" fmla="*/ 512 h 562"/>
                  <a:gd name="T112" fmla="*/ 230 w 321"/>
                  <a:gd name="T113" fmla="*/ 514 h 562"/>
                  <a:gd name="T114" fmla="*/ 238 w 321"/>
                  <a:gd name="T115" fmla="*/ 493 h 562"/>
                  <a:gd name="T116" fmla="*/ 255 w 321"/>
                  <a:gd name="T117" fmla="*/ 487 h 562"/>
                  <a:gd name="T118" fmla="*/ 277 w 321"/>
                  <a:gd name="T119" fmla="*/ 500 h 562"/>
                  <a:gd name="T120" fmla="*/ 284 w 321"/>
                  <a:gd name="T121" fmla="*/ 477 h 562"/>
                  <a:gd name="T122" fmla="*/ 302 w 321"/>
                  <a:gd name="T123" fmla="*/ 465 h 56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21"/>
                  <a:gd name="T187" fmla="*/ 0 h 562"/>
                  <a:gd name="T188" fmla="*/ 321 w 321"/>
                  <a:gd name="T189" fmla="*/ 562 h 562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21" h="562">
                    <a:moveTo>
                      <a:pt x="319" y="456"/>
                    </a:moveTo>
                    <a:lnTo>
                      <a:pt x="320" y="453"/>
                    </a:lnTo>
                    <a:lnTo>
                      <a:pt x="319" y="452"/>
                    </a:lnTo>
                    <a:lnTo>
                      <a:pt x="319" y="451"/>
                    </a:lnTo>
                    <a:lnTo>
                      <a:pt x="318" y="451"/>
                    </a:lnTo>
                    <a:lnTo>
                      <a:pt x="320" y="448"/>
                    </a:lnTo>
                    <a:lnTo>
                      <a:pt x="317" y="446"/>
                    </a:lnTo>
                    <a:lnTo>
                      <a:pt x="318" y="444"/>
                    </a:lnTo>
                    <a:lnTo>
                      <a:pt x="318" y="443"/>
                    </a:lnTo>
                    <a:lnTo>
                      <a:pt x="317" y="443"/>
                    </a:lnTo>
                    <a:lnTo>
                      <a:pt x="317" y="445"/>
                    </a:lnTo>
                    <a:lnTo>
                      <a:pt x="313" y="443"/>
                    </a:lnTo>
                    <a:lnTo>
                      <a:pt x="312" y="444"/>
                    </a:lnTo>
                    <a:lnTo>
                      <a:pt x="312" y="446"/>
                    </a:lnTo>
                    <a:lnTo>
                      <a:pt x="310" y="446"/>
                    </a:lnTo>
                    <a:lnTo>
                      <a:pt x="309" y="446"/>
                    </a:lnTo>
                    <a:lnTo>
                      <a:pt x="307" y="452"/>
                    </a:lnTo>
                    <a:lnTo>
                      <a:pt x="304" y="449"/>
                    </a:lnTo>
                    <a:lnTo>
                      <a:pt x="304" y="446"/>
                    </a:lnTo>
                    <a:lnTo>
                      <a:pt x="303" y="444"/>
                    </a:lnTo>
                    <a:lnTo>
                      <a:pt x="302" y="444"/>
                    </a:lnTo>
                    <a:lnTo>
                      <a:pt x="302" y="443"/>
                    </a:lnTo>
                    <a:lnTo>
                      <a:pt x="305" y="440"/>
                    </a:lnTo>
                    <a:lnTo>
                      <a:pt x="307" y="440"/>
                    </a:lnTo>
                    <a:lnTo>
                      <a:pt x="309" y="438"/>
                    </a:lnTo>
                    <a:lnTo>
                      <a:pt x="307" y="437"/>
                    </a:lnTo>
                    <a:lnTo>
                      <a:pt x="308" y="436"/>
                    </a:lnTo>
                    <a:lnTo>
                      <a:pt x="307" y="436"/>
                    </a:lnTo>
                    <a:lnTo>
                      <a:pt x="309" y="435"/>
                    </a:lnTo>
                    <a:lnTo>
                      <a:pt x="307" y="435"/>
                    </a:lnTo>
                    <a:lnTo>
                      <a:pt x="306" y="434"/>
                    </a:lnTo>
                    <a:lnTo>
                      <a:pt x="306" y="431"/>
                    </a:lnTo>
                    <a:lnTo>
                      <a:pt x="304" y="431"/>
                    </a:lnTo>
                    <a:lnTo>
                      <a:pt x="304" y="429"/>
                    </a:lnTo>
                    <a:lnTo>
                      <a:pt x="304" y="427"/>
                    </a:lnTo>
                    <a:lnTo>
                      <a:pt x="302" y="427"/>
                    </a:lnTo>
                    <a:lnTo>
                      <a:pt x="302" y="424"/>
                    </a:lnTo>
                    <a:lnTo>
                      <a:pt x="301" y="423"/>
                    </a:lnTo>
                    <a:lnTo>
                      <a:pt x="300" y="422"/>
                    </a:lnTo>
                    <a:lnTo>
                      <a:pt x="298" y="419"/>
                    </a:lnTo>
                    <a:lnTo>
                      <a:pt x="297" y="414"/>
                    </a:lnTo>
                    <a:lnTo>
                      <a:pt x="294" y="414"/>
                    </a:lnTo>
                    <a:lnTo>
                      <a:pt x="291" y="411"/>
                    </a:lnTo>
                    <a:lnTo>
                      <a:pt x="289" y="408"/>
                    </a:lnTo>
                    <a:lnTo>
                      <a:pt x="288" y="408"/>
                    </a:lnTo>
                    <a:lnTo>
                      <a:pt x="287" y="409"/>
                    </a:lnTo>
                    <a:lnTo>
                      <a:pt x="286" y="409"/>
                    </a:lnTo>
                    <a:lnTo>
                      <a:pt x="286" y="405"/>
                    </a:lnTo>
                    <a:lnTo>
                      <a:pt x="285" y="403"/>
                    </a:lnTo>
                    <a:lnTo>
                      <a:pt x="286" y="399"/>
                    </a:lnTo>
                    <a:lnTo>
                      <a:pt x="282" y="395"/>
                    </a:lnTo>
                    <a:lnTo>
                      <a:pt x="280" y="388"/>
                    </a:lnTo>
                    <a:lnTo>
                      <a:pt x="277" y="385"/>
                    </a:lnTo>
                    <a:lnTo>
                      <a:pt x="276" y="388"/>
                    </a:lnTo>
                    <a:lnTo>
                      <a:pt x="276" y="392"/>
                    </a:lnTo>
                    <a:lnTo>
                      <a:pt x="275" y="392"/>
                    </a:lnTo>
                    <a:lnTo>
                      <a:pt x="274" y="392"/>
                    </a:lnTo>
                    <a:lnTo>
                      <a:pt x="273" y="393"/>
                    </a:lnTo>
                    <a:lnTo>
                      <a:pt x="272" y="393"/>
                    </a:lnTo>
                    <a:lnTo>
                      <a:pt x="272" y="392"/>
                    </a:lnTo>
                    <a:lnTo>
                      <a:pt x="265" y="385"/>
                    </a:lnTo>
                    <a:lnTo>
                      <a:pt x="264" y="383"/>
                    </a:lnTo>
                    <a:lnTo>
                      <a:pt x="264" y="378"/>
                    </a:lnTo>
                    <a:lnTo>
                      <a:pt x="263" y="372"/>
                    </a:lnTo>
                    <a:lnTo>
                      <a:pt x="264" y="371"/>
                    </a:lnTo>
                    <a:lnTo>
                      <a:pt x="267" y="365"/>
                    </a:lnTo>
                    <a:lnTo>
                      <a:pt x="268" y="365"/>
                    </a:lnTo>
                    <a:lnTo>
                      <a:pt x="268" y="363"/>
                    </a:lnTo>
                    <a:lnTo>
                      <a:pt x="269" y="363"/>
                    </a:lnTo>
                    <a:lnTo>
                      <a:pt x="268" y="362"/>
                    </a:lnTo>
                    <a:lnTo>
                      <a:pt x="269" y="359"/>
                    </a:lnTo>
                    <a:lnTo>
                      <a:pt x="268" y="359"/>
                    </a:lnTo>
                    <a:lnTo>
                      <a:pt x="267" y="361"/>
                    </a:lnTo>
                    <a:lnTo>
                      <a:pt x="266" y="361"/>
                    </a:lnTo>
                    <a:lnTo>
                      <a:pt x="265" y="360"/>
                    </a:lnTo>
                    <a:lnTo>
                      <a:pt x="264" y="359"/>
                    </a:lnTo>
                    <a:lnTo>
                      <a:pt x="263" y="359"/>
                    </a:lnTo>
                    <a:lnTo>
                      <a:pt x="264" y="357"/>
                    </a:lnTo>
                    <a:lnTo>
                      <a:pt x="263" y="355"/>
                    </a:lnTo>
                    <a:lnTo>
                      <a:pt x="261" y="355"/>
                    </a:lnTo>
                    <a:lnTo>
                      <a:pt x="259" y="355"/>
                    </a:lnTo>
                    <a:lnTo>
                      <a:pt x="257" y="352"/>
                    </a:lnTo>
                    <a:lnTo>
                      <a:pt x="255" y="352"/>
                    </a:lnTo>
                    <a:lnTo>
                      <a:pt x="252" y="349"/>
                    </a:lnTo>
                    <a:lnTo>
                      <a:pt x="251" y="352"/>
                    </a:lnTo>
                    <a:lnTo>
                      <a:pt x="250" y="351"/>
                    </a:lnTo>
                    <a:lnTo>
                      <a:pt x="248" y="353"/>
                    </a:lnTo>
                    <a:lnTo>
                      <a:pt x="245" y="354"/>
                    </a:lnTo>
                    <a:lnTo>
                      <a:pt x="245" y="356"/>
                    </a:lnTo>
                    <a:lnTo>
                      <a:pt x="240" y="356"/>
                    </a:lnTo>
                    <a:lnTo>
                      <a:pt x="237" y="355"/>
                    </a:lnTo>
                    <a:lnTo>
                      <a:pt x="233" y="347"/>
                    </a:lnTo>
                    <a:lnTo>
                      <a:pt x="230" y="345"/>
                    </a:lnTo>
                    <a:lnTo>
                      <a:pt x="227" y="344"/>
                    </a:lnTo>
                    <a:lnTo>
                      <a:pt x="227" y="342"/>
                    </a:lnTo>
                    <a:lnTo>
                      <a:pt x="225" y="342"/>
                    </a:lnTo>
                    <a:lnTo>
                      <a:pt x="224" y="344"/>
                    </a:lnTo>
                    <a:lnTo>
                      <a:pt x="224" y="345"/>
                    </a:lnTo>
                    <a:lnTo>
                      <a:pt x="224" y="346"/>
                    </a:lnTo>
                    <a:lnTo>
                      <a:pt x="221" y="351"/>
                    </a:lnTo>
                    <a:lnTo>
                      <a:pt x="216" y="349"/>
                    </a:lnTo>
                    <a:lnTo>
                      <a:pt x="214" y="348"/>
                    </a:lnTo>
                    <a:lnTo>
                      <a:pt x="212" y="342"/>
                    </a:lnTo>
                    <a:lnTo>
                      <a:pt x="211" y="341"/>
                    </a:lnTo>
                    <a:lnTo>
                      <a:pt x="209" y="342"/>
                    </a:lnTo>
                    <a:lnTo>
                      <a:pt x="208" y="341"/>
                    </a:lnTo>
                    <a:lnTo>
                      <a:pt x="202" y="338"/>
                    </a:lnTo>
                    <a:lnTo>
                      <a:pt x="199" y="340"/>
                    </a:lnTo>
                    <a:lnTo>
                      <a:pt x="197" y="341"/>
                    </a:lnTo>
                    <a:lnTo>
                      <a:pt x="195" y="341"/>
                    </a:lnTo>
                    <a:lnTo>
                      <a:pt x="195" y="342"/>
                    </a:lnTo>
                    <a:lnTo>
                      <a:pt x="194" y="341"/>
                    </a:lnTo>
                    <a:lnTo>
                      <a:pt x="192" y="338"/>
                    </a:lnTo>
                    <a:lnTo>
                      <a:pt x="194" y="337"/>
                    </a:lnTo>
                    <a:lnTo>
                      <a:pt x="194" y="336"/>
                    </a:lnTo>
                    <a:lnTo>
                      <a:pt x="191" y="333"/>
                    </a:lnTo>
                    <a:lnTo>
                      <a:pt x="191" y="332"/>
                    </a:lnTo>
                    <a:lnTo>
                      <a:pt x="192" y="331"/>
                    </a:lnTo>
                    <a:lnTo>
                      <a:pt x="192" y="329"/>
                    </a:lnTo>
                    <a:lnTo>
                      <a:pt x="189" y="327"/>
                    </a:lnTo>
                    <a:lnTo>
                      <a:pt x="189" y="325"/>
                    </a:lnTo>
                    <a:lnTo>
                      <a:pt x="188" y="325"/>
                    </a:lnTo>
                    <a:lnTo>
                      <a:pt x="187" y="324"/>
                    </a:lnTo>
                    <a:lnTo>
                      <a:pt x="183" y="317"/>
                    </a:lnTo>
                    <a:lnTo>
                      <a:pt x="183" y="315"/>
                    </a:lnTo>
                    <a:lnTo>
                      <a:pt x="182" y="316"/>
                    </a:lnTo>
                    <a:lnTo>
                      <a:pt x="180" y="312"/>
                    </a:lnTo>
                    <a:lnTo>
                      <a:pt x="176" y="314"/>
                    </a:lnTo>
                    <a:lnTo>
                      <a:pt x="173" y="314"/>
                    </a:lnTo>
                    <a:lnTo>
                      <a:pt x="172" y="315"/>
                    </a:lnTo>
                    <a:lnTo>
                      <a:pt x="170" y="318"/>
                    </a:lnTo>
                    <a:lnTo>
                      <a:pt x="170" y="316"/>
                    </a:lnTo>
                    <a:lnTo>
                      <a:pt x="170" y="314"/>
                    </a:lnTo>
                    <a:lnTo>
                      <a:pt x="166" y="312"/>
                    </a:lnTo>
                    <a:lnTo>
                      <a:pt x="164" y="313"/>
                    </a:lnTo>
                    <a:lnTo>
                      <a:pt x="162" y="312"/>
                    </a:lnTo>
                    <a:lnTo>
                      <a:pt x="162" y="311"/>
                    </a:lnTo>
                    <a:lnTo>
                      <a:pt x="160" y="309"/>
                    </a:lnTo>
                    <a:lnTo>
                      <a:pt x="159" y="309"/>
                    </a:lnTo>
                    <a:lnTo>
                      <a:pt x="159" y="310"/>
                    </a:lnTo>
                    <a:lnTo>
                      <a:pt x="159" y="308"/>
                    </a:lnTo>
                    <a:lnTo>
                      <a:pt x="158" y="307"/>
                    </a:lnTo>
                    <a:lnTo>
                      <a:pt x="156" y="308"/>
                    </a:lnTo>
                    <a:lnTo>
                      <a:pt x="155" y="307"/>
                    </a:lnTo>
                    <a:lnTo>
                      <a:pt x="152" y="306"/>
                    </a:lnTo>
                    <a:lnTo>
                      <a:pt x="151" y="303"/>
                    </a:lnTo>
                    <a:lnTo>
                      <a:pt x="151" y="304"/>
                    </a:lnTo>
                    <a:lnTo>
                      <a:pt x="149" y="302"/>
                    </a:lnTo>
                    <a:lnTo>
                      <a:pt x="147" y="303"/>
                    </a:lnTo>
                    <a:lnTo>
                      <a:pt x="147" y="302"/>
                    </a:lnTo>
                    <a:lnTo>
                      <a:pt x="146" y="303"/>
                    </a:lnTo>
                    <a:lnTo>
                      <a:pt x="145" y="303"/>
                    </a:lnTo>
                    <a:lnTo>
                      <a:pt x="145" y="305"/>
                    </a:lnTo>
                    <a:lnTo>
                      <a:pt x="144" y="305"/>
                    </a:lnTo>
                    <a:lnTo>
                      <a:pt x="143" y="304"/>
                    </a:lnTo>
                    <a:lnTo>
                      <a:pt x="142" y="305"/>
                    </a:lnTo>
                    <a:lnTo>
                      <a:pt x="142" y="304"/>
                    </a:lnTo>
                    <a:lnTo>
                      <a:pt x="141" y="303"/>
                    </a:lnTo>
                    <a:lnTo>
                      <a:pt x="141" y="302"/>
                    </a:lnTo>
                    <a:lnTo>
                      <a:pt x="140" y="302"/>
                    </a:lnTo>
                    <a:lnTo>
                      <a:pt x="141" y="299"/>
                    </a:lnTo>
                    <a:lnTo>
                      <a:pt x="144" y="293"/>
                    </a:lnTo>
                    <a:lnTo>
                      <a:pt x="146" y="286"/>
                    </a:lnTo>
                    <a:lnTo>
                      <a:pt x="145" y="286"/>
                    </a:lnTo>
                    <a:lnTo>
                      <a:pt x="143" y="290"/>
                    </a:lnTo>
                    <a:lnTo>
                      <a:pt x="141" y="288"/>
                    </a:lnTo>
                    <a:lnTo>
                      <a:pt x="140" y="289"/>
                    </a:lnTo>
                    <a:lnTo>
                      <a:pt x="140" y="291"/>
                    </a:lnTo>
                    <a:lnTo>
                      <a:pt x="139" y="290"/>
                    </a:lnTo>
                    <a:lnTo>
                      <a:pt x="137" y="290"/>
                    </a:lnTo>
                    <a:lnTo>
                      <a:pt x="134" y="293"/>
                    </a:lnTo>
                    <a:lnTo>
                      <a:pt x="134" y="291"/>
                    </a:lnTo>
                    <a:lnTo>
                      <a:pt x="132" y="290"/>
                    </a:lnTo>
                    <a:lnTo>
                      <a:pt x="131" y="285"/>
                    </a:lnTo>
                    <a:lnTo>
                      <a:pt x="131" y="283"/>
                    </a:lnTo>
                    <a:lnTo>
                      <a:pt x="131" y="282"/>
                    </a:lnTo>
                    <a:lnTo>
                      <a:pt x="129" y="281"/>
                    </a:lnTo>
                    <a:lnTo>
                      <a:pt x="128" y="283"/>
                    </a:lnTo>
                    <a:lnTo>
                      <a:pt x="129" y="280"/>
                    </a:lnTo>
                    <a:lnTo>
                      <a:pt x="128" y="277"/>
                    </a:lnTo>
                    <a:lnTo>
                      <a:pt x="125" y="275"/>
                    </a:lnTo>
                    <a:lnTo>
                      <a:pt x="126" y="273"/>
                    </a:lnTo>
                    <a:lnTo>
                      <a:pt x="127" y="273"/>
                    </a:lnTo>
                    <a:lnTo>
                      <a:pt x="126" y="270"/>
                    </a:lnTo>
                    <a:lnTo>
                      <a:pt x="128" y="270"/>
                    </a:lnTo>
                    <a:lnTo>
                      <a:pt x="129" y="269"/>
                    </a:lnTo>
                    <a:lnTo>
                      <a:pt x="131" y="267"/>
                    </a:lnTo>
                    <a:lnTo>
                      <a:pt x="132" y="264"/>
                    </a:lnTo>
                    <a:lnTo>
                      <a:pt x="132" y="265"/>
                    </a:lnTo>
                    <a:lnTo>
                      <a:pt x="133" y="264"/>
                    </a:lnTo>
                    <a:lnTo>
                      <a:pt x="133" y="263"/>
                    </a:lnTo>
                    <a:lnTo>
                      <a:pt x="134" y="261"/>
                    </a:lnTo>
                    <a:lnTo>
                      <a:pt x="131" y="260"/>
                    </a:lnTo>
                    <a:lnTo>
                      <a:pt x="132" y="258"/>
                    </a:lnTo>
                    <a:lnTo>
                      <a:pt x="131" y="255"/>
                    </a:lnTo>
                    <a:lnTo>
                      <a:pt x="134" y="255"/>
                    </a:lnTo>
                    <a:lnTo>
                      <a:pt x="134" y="254"/>
                    </a:lnTo>
                    <a:lnTo>
                      <a:pt x="136" y="253"/>
                    </a:lnTo>
                    <a:lnTo>
                      <a:pt x="137" y="251"/>
                    </a:lnTo>
                    <a:lnTo>
                      <a:pt x="139" y="251"/>
                    </a:lnTo>
                    <a:lnTo>
                      <a:pt x="140" y="247"/>
                    </a:lnTo>
                    <a:lnTo>
                      <a:pt x="141" y="248"/>
                    </a:lnTo>
                    <a:lnTo>
                      <a:pt x="142" y="246"/>
                    </a:lnTo>
                    <a:lnTo>
                      <a:pt x="142" y="245"/>
                    </a:lnTo>
                    <a:lnTo>
                      <a:pt x="143" y="244"/>
                    </a:lnTo>
                    <a:lnTo>
                      <a:pt x="142" y="241"/>
                    </a:lnTo>
                    <a:lnTo>
                      <a:pt x="142" y="240"/>
                    </a:lnTo>
                    <a:lnTo>
                      <a:pt x="141" y="237"/>
                    </a:lnTo>
                    <a:lnTo>
                      <a:pt x="136" y="231"/>
                    </a:lnTo>
                    <a:lnTo>
                      <a:pt x="133" y="229"/>
                    </a:lnTo>
                    <a:lnTo>
                      <a:pt x="132" y="226"/>
                    </a:lnTo>
                    <a:lnTo>
                      <a:pt x="133" y="226"/>
                    </a:lnTo>
                    <a:lnTo>
                      <a:pt x="137" y="224"/>
                    </a:lnTo>
                    <a:lnTo>
                      <a:pt x="137" y="221"/>
                    </a:lnTo>
                    <a:lnTo>
                      <a:pt x="137" y="219"/>
                    </a:lnTo>
                    <a:lnTo>
                      <a:pt x="137" y="213"/>
                    </a:lnTo>
                    <a:lnTo>
                      <a:pt x="140" y="210"/>
                    </a:lnTo>
                    <a:lnTo>
                      <a:pt x="143" y="204"/>
                    </a:lnTo>
                    <a:lnTo>
                      <a:pt x="146" y="204"/>
                    </a:lnTo>
                    <a:lnTo>
                      <a:pt x="149" y="201"/>
                    </a:lnTo>
                    <a:lnTo>
                      <a:pt x="150" y="199"/>
                    </a:lnTo>
                    <a:lnTo>
                      <a:pt x="153" y="199"/>
                    </a:lnTo>
                    <a:lnTo>
                      <a:pt x="157" y="191"/>
                    </a:lnTo>
                    <a:lnTo>
                      <a:pt x="157" y="188"/>
                    </a:lnTo>
                    <a:lnTo>
                      <a:pt x="156" y="186"/>
                    </a:lnTo>
                    <a:lnTo>
                      <a:pt x="157" y="182"/>
                    </a:lnTo>
                    <a:lnTo>
                      <a:pt x="155" y="172"/>
                    </a:lnTo>
                    <a:lnTo>
                      <a:pt x="162" y="167"/>
                    </a:lnTo>
                    <a:lnTo>
                      <a:pt x="164" y="165"/>
                    </a:lnTo>
                    <a:lnTo>
                      <a:pt x="162" y="162"/>
                    </a:lnTo>
                    <a:lnTo>
                      <a:pt x="162" y="157"/>
                    </a:lnTo>
                    <a:lnTo>
                      <a:pt x="162" y="154"/>
                    </a:lnTo>
                    <a:lnTo>
                      <a:pt x="166" y="152"/>
                    </a:lnTo>
                    <a:lnTo>
                      <a:pt x="167" y="152"/>
                    </a:lnTo>
                    <a:lnTo>
                      <a:pt x="171" y="147"/>
                    </a:lnTo>
                    <a:lnTo>
                      <a:pt x="173" y="145"/>
                    </a:lnTo>
                    <a:lnTo>
                      <a:pt x="175" y="141"/>
                    </a:lnTo>
                    <a:lnTo>
                      <a:pt x="177" y="143"/>
                    </a:lnTo>
                    <a:lnTo>
                      <a:pt x="178" y="142"/>
                    </a:lnTo>
                    <a:lnTo>
                      <a:pt x="180" y="141"/>
                    </a:lnTo>
                    <a:lnTo>
                      <a:pt x="180" y="138"/>
                    </a:lnTo>
                    <a:lnTo>
                      <a:pt x="182" y="136"/>
                    </a:lnTo>
                    <a:lnTo>
                      <a:pt x="184" y="135"/>
                    </a:lnTo>
                    <a:lnTo>
                      <a:pt x="189" y="138"/>
                    </a:lnTo>
                    <a:lnTo>
                      <a:pt x="192" y="136"/>
                    </a:lnTo>
                    <a:lnTo>
                      <a:pt x="196" y="129"/>
                    </a:lnTo>
                    <a:lnTo>
                      <a:pt x="200" y="125"/>
                    </a:lnTo>
                    <a:lnTo>
                      <a:pt x="202" y="121"/>
                    </a:lnTo>
                    <a:lnTo>
                      <a:pt x="203" y="121"/>
                    </a:lnTo>
                    <a:lnTo>
                      <a:pt x="205" y="126"/>
                    </a:lnTo>
                    <a:lnTo>
                      <a:pt x="207" y="128"/>
                    </a:lnTo>
                    <a:lnTo>
                      <a:pt x="208" y="127"/>
                    </a:lnTo>
                    <a:lnTo>
                      <a:pt x="211" y="129"/>
                    </a:lnTo>
                    <a:lnTo>
                      <a:pt x="214" y="127"/>
                    </a:lnTo>
                    <a:lnTo>
                      <a:pt x="214" y="125"/>
                    </a:lnTo>
                    <a:lnTo>
                      <a:pt x="215" y="124"/>
                    </a:lnTo>
                    <a:lnTo>
                      <a:pt x="215" y="121"/>
                    </a:lnTo>
                    <a:lnTo>
                      <a:pt x="216" y="119"/>
                    </a:lnTo>
                    <a:lnTo>
                      <a:pt x="215" y="115"/>
                    </a:lnTo>
                    <a:lnTo>
                      <a:pt x="216" y="112"/>
                    </a:lnTo>
                    <a:lnTo>
                      <a:pt x="217" y="107"/>
                    </a:lnTo>
                    <a:lnTo>
                      <a:pt x="217" y="105"/>
                    </a:lnTo>
                    <a:lnTo>
                      <a:pt x="218" y="104"/>
                    </a:lnTo>
                    <a:lnTo>
                      <a:pt x="216" y="96"/>
                    </a:lnTo>
                    <a:lnTo>
                      <a:pt x="212" y="98"/>
                    </a:lnTo>
                    <a:lnTo>
                      <a:pt x="211" y="95"/>
                    </a:lnTo>
                    <a:lnTo>
                      <a:pt x="208" y="92"/>
                    </a:lnTo>
                    <a:lnTo>
                      <a:pt x="202" y="92"/>
                    </a:lnTo>
                    <a:lnTo>
                      <a:pt x="201" y="93"/>
                    </a:lnTo>
                    <a:lnTo>
                      <a:pt x="200" y="101"/>
                    </a:lnTo>
                    <a:lnTo>
                      <a:pt x="197" y="101"/>
                    </a:lnTo>
                    <a:lnTo>
                      <a:pt x="196" y="99"/>
                    </a:lnTo>
                    <a:lnTo>
                      <a:pt x="195" y="93"/>
                    </a:lnTo>
                    <a:lnTo>
                      <a:pt x="194" y="91"/>
                    </a:lnTo>
                    <a:lnTo>
                      <a:pt x="197" y="90"/>
                    </a:lnTo>
                    <a:lnTo>
                      <a:pt x="196" y="88"/>
                    </a:lnTo>
                    <a:lnTo>
                      <a:pt x="197" y="85"/>
                    </a:lnTo>
                    <a:lnTo>
                      <a:pt x="200" y="80"/>
                    </a:lnTo>
                    <a:lnTo>
                      <a:pt x="198" y="78"/>
                    </a:lnTo>
                    <a:lnTo>
                      <a:pt x="196" y="78"/>
                    </a:lnTo>
                    <a:lnTo>
                      <a:pt x="195" y="77"/>
                    </a:lnTo>
                    <a:lnTo>
                      <a:pt x="196" y="73"/>
                    </a:lnTo>
                    <a:lnTo>
                      <a:pt x="198" y="74"/>
                    </a:lnTo>
                    <a:lnTo>
                      <a:pt x="200" y="72"/>
                    </a:lnTo>
                    <a:lnTo>
                      <a:pt x="199" y="70"/>
                    </a:lnTo>
                    <a:lnTo>
                      <a:pt x="192" y="70"/>
                    </a:lnTo>
                    <a:lnTo>
                      <a:pt x="189" y="73"/>
                    </a:lnTo>
                    <a:lnTo>
                      <a:pt x="186" y="73"/>
                    </a:lnTo>
                    <a:lnTo>
                      <a:pt x="182" y="74"/>
                    </a:lnTo>
                    <a:lnTo>
                      <a:pt x="178" y="71"/>
                    </a:lnTo>
                    <a:lnTo>
                      <a:pt x="176" y="68"/>
                    </a:lnTo>
                    <a:lnTo>
                      <a:pt x="172" y="66"/>
                    </a:lnTo>
                    <a:lnTo>
                      <a:pt x="171" y="63"/>
                    </a:lnTo>
                    <a:lnTo>
                      <a:pt x="168" y="61"/>
                    </a:lnTo>
                    <a:lnTo>
                      <a:pt x="166" y="58"/>
                    </a:lnTo>
                    <a:lnTo>
                      <a:pt x="164" y="54"/>
                    </a:lnTo>
                    <a:lnTo>
                      <a:pt x="160" y="49"/>
                    </a:lnTo>
                    <a:lnTo>
                      <a:pt x="160" y="44"/>
                    </a:lnTo>
                    <a:lnTo>
                      <a:pt x="162" y="40"/>
                    </a:lnTo>
                    <a:lnTo>
                      <a:pt x="160" y="38"/>
                    </a:lnTo>
                    <a:lnTo>
                      <a:pt x="157" y="37"/>
                    </a:lnTo>
                    <a:lnTo>
                      <a:pt x="156" y="38"/>
                    </a:lnTo>
                    <a:lnTo>
                      <a:pt x="151" y="39"/>
                    </a:lnTo>
                    <a:lnTo>
                      <a:pt x="149" y="40"/>
                    </a:lnTo>
                    <a:lnTo>
                      <a:pt x="145" y="40"/>
                    </a:lnTo>
                    <a:lnTo>
                      <a:pt x="141" y="32"/>
                    </a:lnTo>
                    <a:lnTo>
                      <a:pt x="138" y="32"/>
                    </a:lnTo>
                    <a:lnTo>
                      <a:pt x="138" y="27"/>
                    </a:lnTo>
                    <a:lnTo>
                      <a:pt x="136" y="27"/>
                    </a:lnTo>
                    <a:lnTo>
                      <a:pt x="131" y="27"/>
                    </a:lnTo>
                    <a:lnTo>
                      <a:pt x="131" y="28"/>
                    </a:lnTo>
                    <a:lnTo>
                      <a:pt x="123" y="24"/>
                    </a:lnTo>
                    <a:lnTo>
                      <a:pt x="119" y="20"/>
                    </a:lnTo>
                    <a:lnTo>
                      <a:pt x="117" y="20"/>
                    </a:lnTo>
                    <a:lnTo>
                      <a:pt x="116" y="17"/>
                    </a:lnTo>
                    <a:lnTo>
                      <a:pt x="115" y="17"/>
                    </a:lnTo>
                    <a:lnTo>
                      <a:pt x="113" y="18"/>
                    </a:lnTo>
                    <a:lnTo>
                      <a:pt x="111" y="15"/>
                    </a:lnTo>
                    <a:lnTo>
                      <a:pt x="109" y="14"/>
                    </a:lnTo>
                    <a:lnTo>
                      <a:pt x="105" y="17"/>
                    </a:lnTo>
                    <a:lnTo>
                      <a:pt x="102" y="17"/>
                    </a:lnTo>
                    <a:lnTo>
                      <a:pt x="101" y="15"/>
                    </a:lnTo>
                    <a:lnTo>
                      <a:pt x="96" y="10"/>
                    </a:lnTo>
                    <a:lnTo>
                      <a:pt x="90" y="6"/>
                    </a:lnTo>
                    <a:lnTo>
                      <a:pt x="85" y="0"/>
                    </a:lnTo>
                    <a:lnTo>
                      <a:pt x="85" y="1"/>
                    </a:lnTo>
                    <a:lnTo>
                      <a:pt x="83" y="0"/>
                    </a:lnTo>
                    <a:lnTo>
                      <a:pt x="82" y="3"/>
                    </a:lnTo>
                    <a:lnTo>
                      <a:pt x="80" y="2"/>
                    </a:lnTo>
                    <a:lnTo>
                      <a:pt x="78" y="3"/>
                    </a:lnTo>
                    <a:lnTo>
                      <a:pt x="78" y="6"/>
                    </a:lnTo>
                    <a:lnTo>
                      <a:pt x="76" y="7"/>
                    </a:lnTo>
                    <a:lnTo>
                      <a:pt x="76" y="10"/>
                    </a:lnTo>
                    <a:lnTo>
                      <a:pt x="74" y="12"/>
                    </a:lnTo>
                    <a:lnTo>
                      <a:pt x="74" y="15"/>
                    </a:lnTo>
                    <a:lnTo>
                      <a:pt x="72" y="17"/>
                    </a:lnTo>
                    <a:lnTo>
                      <a:pt x="71" y="19"/>
                    </a:lnTo>
                    <a:lnTo>
                      <a:pt x="72" y="19"/>
                    </a:lnTo>
                    <a:lnTo>
                      <a:pt x="75" y="22"/>
                    </a:lnTo>
                    <a:lnTo>
                      <a:pt x="77" y="24"/>
                    </a:lnTo>
                    <a:lnTo>
                      <a:pt x="79" y="25"/>
                    </a:lnTo>
                    <a:lnTo>
                      <a:pt x="80" y="28"/>
                    </a:lnTo>
                    <a:lnTo>
                      <a:pt x="83" y="28"/>
                    </a:lnTo>
                    <a:lnTo>
                      <a:pt x="83" y="29"/>
                    </a:lnTo>
                    <a:lnTo>
                      <a:pt x="83" y="31"/>
                    </a:lnTo>
                    <a:lnTo>
                      <a:pt x="84" y="32"/>
                    </a:lnTo>
                    <a:lnTo>
                      <a:pt x="85" y="38"/>
                    </a:lnTo>
                    <a:lnTo>
                      <a:pt x="83" y="41"/>
                    </a:lnTo>
                    <a:lnTo>
                      <a:pt x="86" y="48"/>
                    </a:lnTo>
                    <a:lnTo>
                      <a:pt x="88" y="51"/>
                    </a:lnTo>
                    <a:lnTo>
                      <a:pt x="88" y="56"/>
                    </a:lnTo>
                    <a:lnTo>
                      <a:pt x="87" y="57"/>
                    </a:lnTo>
                    <a:lnTo>
                      <a:pt x="88" y="62"/>
                    </a:lnTo>
                    <a:lnTo>
                      <a:pt x="91" y="66"/>
                    </a:lnTo>
                    <a:lnTo>
                      <a:pt x="93" y="67"/>
                    </a:lnTo>
                    <a:lnTo>
                      <a:pt x="94" y="66"/>
                    </a:lnTo>
                    <a:lnTo>
                      <a:pt x="96" y="66"/>
                    </a:lnTo>
                    <a:lnTo>
                      <a:pt x="96" y="68"/>
                    </a:lnTo>
                    <a:lnTo>
                      <a:pt x="102" y="72"/>
                    </a:lnTo>
                    <a:lnTo>
                      <a:pt x="104" y="72"/>
                    </a:lnTo>
                    <a:lnTo>
                      <a:pt x="104" y="75"/>
                    </a:lnTo>
                    <a:lnTo>
                      <a:pt x="106" y="76"/>
                    </a:lnTo>
                    <a:lnTo>
                      <a:pt x="108" y="84"/>
                    </a:lnTo>
                    <a:lnTo>
                      <a:pt x="107" y="89"/>
                    </a:lnTo>
                    <a:lnTo>
                      <a:pt x="105" y="92"/>
                    </a:lnTo>
                    <a:lnTo>
                      <a:pt x="102" y="93"/>
                    </a:lnTo>
                    <a:lnTo>
                      <a:pt x="102" y="95"/>
                    </a:lnTo>
                    <a:lnTo>
                      <a:pt x="104" y="98"/>
                    </a:lnTo>
                    <a:lnTo>
                      <a:pt x="104" y="101"/>
                    </a:lnTo>
                    <a:lnTo>
                      <a:pt x="108" y="107"/>
                    </a:lnTo>
                    <a:lnTo>
                      <a:pt x="106" y="108"/>
                    </a:lnTo>
                    <a:lnTo>
                      <a:pt x="104" y="112"/>
                    </a:lnTo>
                    <a:lnTo>
                      <a:pt x="100" y="112"/>
                    </a:lnTo>
                    <a:lnTo>
                      <a:pt x="99" y="112"/>
                    </a:lnTo>
                    <a:lnTo>
                      <a:pt x="98" y="107"/>
                    </a:lnTo>
                    <a:lnTo>
                      <a:pt x="96" y="104"/>
                    </a:lnTo>
                    <a:lnTo>
                      <a:pt x="96" y="100"/>
                    </a:lnTo>
                    <a:lnTo>
                      <a:pt x="94" y="98"/>
                    </a:lnTo>
                    <a:lnTo>
                      <a:pt x="91" y="101"/>
                    </a:lnTo>
                    <a:lnTo>
                      <a:pt x="91" y="103"/>
                    </a:lnTo>
                    <a:lnTo>
                      <a:pt x="91" y="104"/>
                    </a:lnTo>
                    <a:lnTo>
                      <a:pt x="90" y="106"/>
                    </a:lnTo>
                    <a:lnTo>
                      <a:pt x="89" y="108"/>
                    </a:lnTo>
                    <a:lnTo>
                      <a:pt x="87" y="108"/>
                    </a:lnTo>
                    <a:lnTo>
                      <a:pt x="86" y="107"/>
                    </a:lnTo>
                    <a:lnTo>
                      <a:pt x="81" y="107"/>
                    </a:lnTo>
                    <a:lnTo>
                      <a:pt x="80" y="106"/>
                    </a:lnTo>
                    <a:lnTo>
                      <a:pt x="78" y="105"/>
                    </a:lnTo>
                    <a:lnTo>
                      <a:pt x="74" y="106"/>
                    </a:lnTo>
                    <a:lnTo>
                      <a:pt x="73" y="108"/>
                    </a:lnTo>
                    <a:lnTo>
                      <a:pt x="70" y="109"/>
                    </a:lnTo>
                    <a:lnTo>
                      <a:pt x="69" y="111"/>
                    </a:lnTo>
                    <a:lnTo>
                      <a:pt x="69" y="115"/>
                    </a:lnTo>
                    <a:lnTo>
                      <a:pt x="68" y="117"/>
                    </a:lnTo>
                    <a:lnTo>
                      <a:pt x="66" y="118"/>
                    </a:lnTo>
                    <a:lnTo>
                      <a:pt x="63" y="117"/>
                    </a:lnTo>
                    <a:lnTo>
                      <a:pt x="62" y="119"/>
                    </a:lnTo>
                    <a:lnTo>
                      <a:pt x="63" y="121"/>
                    </a:lnTo>
                    <a:lnTo>
                      <a:pt x="62" y="123"/>
                    </a:lnTo>
                    <a:lnTo>
                      <a:pt x="62" y="126"/>
                    </a:lnTo>
                    <a:lnTo>
                      <a:pt x="61" y="129"/>
                    </a:lnTo>
                    <a:lnTo>
                      <a:pt x="58" y="131"/>
                    </a:lnTo>
                    <a:lnTo>
                      <a:pt x="57" y="133"/>
                    </a:lnTo>
                    <a:lnTo>
                      <a:pt x="55" y="136"/>
                    </a:lnTo>
                    <a:lnTo>
                      <a:pt x="55" y="139"/>
                    </a:lnTo>
                    <a:lnTo>
                      <a:pt x="54" y="141"/>
                    </a:lnTo>
                    <a:lnTo>
                      <a:pt x="52" y="145"/>
                    </a:lnTo>
                    <a:lnTo>
                      <a:pt x="52" y="148"/>
                    </a:lnTo>
                    <a:lnTo>
                      <a:pt x="51" y="150"/>
                    </a:lnTo>
                    <a:lnTo>
                      <a:pt x="50" y="150"/>
                    </a:lnTo>
                    <a:lnTo>
                      <a:pt x="50" y="148"/>
                    </a:lnTo>
                    <a:lnTo>
                      <a:pt x="49" y="148"/>
                    </a:lnTo>
                    <a:lnTo>
                      <a:pt x="49" y="154"/>
                    </a:lnTo>
                    <a:lnTo>
                      <a:pt x="47" y="156"/>
                    </a:lnTo>
                    <a:lnTo>
                      <a:pt x="44" y="156"/>
                    </a:lnTo>
                    <a:lnTo>
                      <a:pt x="43" y="157"/>
                    </a:lnTo>
                    <a:lnTo>
                      <a:pt x="44" y="158"/>
                    </a:lnTo>
                    <a:lnTo>
                      <a:pt x="46" y="164"/>
                    </a:lnTo>
                    <a:lnTo>
                      <a:pt x="46" y="166"/>
                    </a:lnTo>
                    <a:lnTo>
                      <a:pt x="47" y="169"/>
                    </a:lnTo>
                    <a:lnTo>
                      <a:pt x="44" y="170"/>
                    </a:lnTo>
                    <a:lnTo>
                      <a:pt x="41" y="174"/>
                    </a:lnTo>
                    <a:lnTo>
                      <a:pt x="39" y="176"/>
                    </a:lnTo>
                    <a:lnTo>
                      <a:pt x="43" y="180"/>
                    </a:lnTo>
                    <a:lnTo>
                      <a:pt x="41" y="183"/>
                    </a:lnTo>
                    <a:lnTo>
                      <a:pt x="44" y="187"/>
                    </a:lnTo>
                    <a:lnTo>
                      <a:pt x="41" y="189"/>
                    </a:lnTo>
                    <a:lnTo>
                      <a:pt x="41" y="191"/>
                    </a:lnTo>
                    <a:lnTo>
                      <a:pt x="41" y="192"/>
                    </a:lnTo>
                    <a:lnTo>
                      <a:pt x="40" y="193"/>
                    </a:lnTo>
                    <a:lnTo>
                      <a:pt x="37" y="193"/>
                    </a:lnTo>
                    <a:lnTo>
                      <a:pt x="36" y="195"/>
                    </a:lnTo>
                    <a:lnTo>
                      <a:pt x="33" y="196"/>
                    </a:lnTo>
                    <a:lnTo>
                      <a:pt x="31" y="199"/>
                    </a:lnTo>
                    <a:lnTo>
                      <a:pt x="30" y="198"/>
                    </a:lnTo>
                    <a:lnTo>
                      <a:pt x="29" y="199"/>
                    </a:lnTo>
                    <a:lnTo>
                      <a:pt x="29" y="202"/>
                    </a:lnTo>
                    <a:lnTo>
                      <a:pt x="28" y="203"/>
                    </a:lnTo>
                    <a:lnTo>
                      <a:pt x="26" y="204"/>
                    </a:lnTo>
                    <a:lnTo>
                      <a:pt x="25" y="207"/>
                    </a:lnTo>
                    <a:lnTo>
                      <a:pt x="25" y="208"/>
                    </a:lnTo>
                    <a:lnTo>
                      <a:pt x="23" y="208"/>
                    </a:lnTo>
                    <a:lnTo>
                      <a:pt x="21" y="205"/>
                    </a:lnTo>
                    <a:lnTo>
                      <a:pt x="16" y="204"/>
                    </a:lnTo>
                    <a:lnTo>
                      <a:pt x="13" y="204"/>
                    </a:lnTo>
                    <a:lnTo>
                      <a:pt x="14" y="212"/>
                    </a:lnTo>
                    <a:lnTo>
                      <a:pt x="16" y="213"/>
                    </a:lnTo>
                    <a:lnTo>
                      <a:pt x="17" y="216"/>
                    </a:lnTo>
                    <a:lnTo>
                      <a:pt x="17" y="218"/>
                    </a:lnTo>
                    <a:lnTo>
                      <a:pt x="18" y="221"/>
                    </a:lnTo>
                    <a:lnTo>
                      <a:pt x="17" y="224"/>
                    </a:lnTo>
                    <a:lnTo>
                      <a:pt x="17" y="228"/>
                    </a:lnTo>
                    <a:lnTo>
                      <a:pt x="17" y="230"/>
                    </a:lnTo>
                    <a:lnTo>
                      <a:pt x="18" y="231"/>
                    </a:lnTo>
                    <a:lnTo>
                      <a:pt x="18" y="236"/>
                    </a:lnTo>
                    <a:lnTo>
                      <a:pt x="21" y="238"/>
                    </a:lnTo>
                    <a:lnTo>
                      <a:pt x="19" y="241"/>
                    </a:lnTo>
                    <a:lnTo>
                      <a:pt x="22" y="243"/>
                    </a:lnTo>
                    <a:lnTo>
                      <a:pt x="21" y="245"/>
                    </a:lnTo>
                    <a:lnTo>
                      <a:pt x="21" y="247"/>
                    </a:lnTo>
                    <a:lnTo>
                      <a:pt x="20" y="249"/>
                    </a:lnTo>
                    <a:lnTo>
                      <a:pt x="20" y="251"/>
                    </a:lnTo>
                    <a:lnTo>
                      <a:pt x="21" y="253"/>
                    </a:lnTo>
                    <a:lnTo>
                      <a:pt x="19" y="255"/>
                    </a:lnTo>
                    <a:lnTo>
                      <a:pt x="21" y="261"/>
                    </a:lnTo>
                    <a:lnTo>
                      <a:pt x="21" y="264"/>
                    </a:lnTo>
                    <a:lnTo>
                      <a:pt x="23" y="265"/>
                    </a:lnTo>
                    <a:lnTo>
                      <a:pt x="22" y="266"/>
                    </a:lnTo>
                    <a:lnTo>
                      <a:pt x="23" y="267"/>
                    </a:lnTo>
                    <a:lnTo>
                      <a:pt x="19" y="268"/>
                    </a:lnTo>
                    <a:lnTo>
                      <a:pt x="17" y="268"/>
                    </a:lnTo>
                    <a:lnTo>
                      <a:pt x="15" y="270"/>
                    </a:lnTo>
                    <a:lnTo>
                      <a:pt x="14" y="271"/>
                    </a:lnTo>
                    <a:lnTo>
                      <a:pt x="13" y="277"/>
                    </a:lnTo>
                    <a:lnTo>
                      <a:pt x="13" y="279"/>
                    </a:lnTo>
                    <a:lnTo>
                      <a:pt x="14" y="280"/>
                    </a:lnTo>
                    <a:lnTo>
                      <a:pt x="12" y="283"/>
                    </a:lnTo>
                    <a:lnTo>
                      <a:pt x="13" y="286"/>
                    </a:lnTo>
                    <a:lnTo>
                      <a:pt x="15" y="287"/>
                    </a:lnTo>
                    <a:lnTo>
                      <a:pt x="16" y="289"/>
                    </a:lnTo>
                    <a:lnTo>
                      <a:pt x="17" y="290"/>
                    </a:lnTo>
                    <a:lnTo>
                      <a:pt x="18" y="291"/>
                    </a:lnTo>
                    <a:lnTo>
                      <a:pt x="17" y="293"/>
                    </a:lnTo>
                    <a:lnTo>
                      <a:pt x="17" y="295"/>
                    </a:lnTo>
                    <a:lnTo>
                      <a:pt x="17" y="298"/>
                    </a:lnTo>
                    <a:lnTo>
                      <a:pt x="19" y="304"/>
                    </a:lnTo>
                    <a:lnTo>
                      <a:pt x="23" y="311"/>
                    </a:lnTo>
                    <a:lnTo>
                      <a:pt x="25" y="313"/>
                    </a:lnTo>
                    <a:lnTo>
                      <a:pt x="26" y="314"/>
                    </a:lnTo>
                    <a:lnTo>
                      <a:pt x="28" y="316"/>
                    </a:lnTo>
                    <a:lnTo>
                      <a:pt x="26" y="317"/>
                    </a:lnTo>
                    <a:lnTo>
                      <a:pt x="26" y="318"/>
                    </a:lnTo>
                    <a:lnTo>
                      <a:pt x="26" y="319"/>
                    </a:lnTo>
                    <a:lnTo>
                      <a:pt x="25" y="320"/>
                    </a:lnTo>
                    <a:lnTo>
                      <a:pt x="28" y="325"/>
                    </a:lnTo>
                    <a:lnTo>
                      <a:pt x="30" y="326"/>
                    </a:lnTo>
                    <a:lnTo>
                      <a:pt x="28" y="329"/>
                    </a:lnTo>
                    <a:lnTo>
                      <a:pt x="26" y="329"/>
                    </a:lnTo>
                    <a:lnTo>
                      <a:pt x="25" y="332"/>
                    </a:lnTo>
                    <a:lnTo>
                      <a:pt x="23" y="333"/>
                    </a:lnTo>
                    <a:lnTo>
                      <a:pt x="23" y="335"/>
                    </a:lnTo>
                    <a:lnTo>
                      <a:pt x="25" y="335"/>
                    </a:lnTo>
                    <a:lnTo>
                      <a:pt x="26" y="335"/>
                    </a:lnTo>
                    <a:lnTo>
                      <a:pt x="27" y="333"/>
                    </a:lnTo>
                    <a:lnTo>
                      <a:pt x="29" y="333"/>
                    </a:lnTo>
                    <a:lnTo>
                      <a:pt x="29" y="335"/>
                    </a:lnTo>
                    <a:lnTo>
                      <a:pt x="30" y="336"/>
                    </a:lnTo>
                    <a:lnTo>
                      <a:pt x="31" y="335"/>
                    </a:lnTo>
                    <a:lnTo>
                      <a:pt x="34" y="335"/>
                    </a:lnTo>
                    <a:lnTo>
                      <a:pt x="35" y="338"/>
                    </a:lnTo>
                    <a:lnTo>
                      <a:pt x="38" y="340"/>
                    </a:lnTo>
                    <a:lnTo>
                      <a:pt x="37" y="342"/>
                    </a:lnTo>
                    <a:lnTo>
                      <a:pt x="35" y="346"/>
                    </a:lnTo>
                    <a:lnTo>
                      <a:pt x="36" y="346"/>
                    </a:lnTo>
                    <a:lnTo>
                      <a:pt x="36" y="348"/>
                    </a:lnTo>
                    <a:lnTo>
                      <a:pt x="37" y="347"/>
                    </a:lnTo>
                    <a:lnTo>
                      <a:pt x="37" y="349"/>
                    </a:lnTo>
                    <a:lnTo>
                      <a:pt x="35" y="356"/>
                    </a:lnTo>
                    <a:lnTo>
                      <a:pt x="36" y="359"/>
                    </a:lnTo>
                    <a:lnTo>
                      <a:pt x="33" y="361"/>
                    </a:lnTo>
                    <a:lnTo>
                      <a:pt x="32" y="361"/>
                    </a:lnTo>
                    <a:lnTo>
                      <a:pt x="30" y="362"/>
                    </a:lnTo>
                    <a:lnTo>
                      <a:pt x="30" y="364"/>
                    </a:lnTo>
                    <a:lnTo>
                      <a:pt x="30" y="365"/>
                    </a:lnTo>
                    <a:lnTo>
                      <a:pt x="29" y="365"/>
                    </a:lnTo>
                    <a:lnTo>
                      <a:pt x="26" y="365"/>
                    </a:lnTo>
                    <a:lnTo>
                      <a:pt x="25" y="367"/>
                    </a:lnTo>
                    <a:lnTo>
                      <a:pt x="25" y="369"/>
                    </a:lnTo>
                    <a:lnTo>
                      <a:pt x="23" y="369"/>
                    </a:lnTo>
                    <a:lnTo>
                      <a:pt x="23" y="374"/>
                    </a:lnTo>
                    <a:lnTo>
                      <a:pt x="22" y="375"/>
                    </a:lnTo>
                    <a:lnTo>
                      <a:pt x="22" y="377"/>
                    </a:lnTo>
                    <a:lnTo>
                      <a:pt x="24" y="381"/>
                    </a:lnTo>
                    <a:lnTo>
                      <a:pt x="26" y="384"/>
                    </a:lnTo>
                    <a:lnTo>
                      <a:pt x="26" y="385"/>
                    </a:lnTo>
                    <a:lnTo>
                      <a:pt x="25" y="384"/>
                    </a:lnTo>
                    <a:lnTo>
                      <a:pt x="25" y="382"/>
                    </a:lnTo>
                    <a:lnTo>
                      <a:pt x="24" y="382"/>
                    </a:lnTo>
                    <a:lnTo>
                      <a:pt x="24" y="383"/>
                    </a:lnTo>
                    <a:lnTo>
                      <a:pt x="23" y="384"/>
                    </a:lnTo>
                    <a:lnTo>
                      <a:pt x="22" y="388"/>
                    </a:lnTo>
                    <a:lnTo>
                      <a:pt x="20" y="389"/>
                    </a:lnTo>
                    <a:lnTo>
                      <a:pt x="21" y="391"/>
                    </a:lnTo>
                    <a:lnTo>
                      <a:pt x="21" y="392"/>
                    </a:lnTo>
                    <a:lnTo>
                      <a:pt x="19" y="393"/>
                    </a:lnTo>
                    <a:lnTo>
                      <a:pt x="20" y="395"/>
                    </a:lnTo>
                    <a:lnTo>
                      <a:pt x="21" y="396"/>
                    </a:lnTo>
                    <a:lnTo>
                      <a:pt x="18" y="397"/>
                    </a:lnTo>
                    <a:lnTo>
                      <a:pt x="18" y="398"/>
                    </a:lnTo>
                    <a:lnTo>
                      <a:pt x="17" y="399"/>
                    </a:lnTo>
                    <a:lnTo>
                      <a:pt x="16" y="398"/>
                    </a:lnTo>
                    <a:lnTo>
                      <a:pt x="15" y="401"/>
                    </a:lnTo>
                    <a:lnTo>
                      <a:pt x="17" y="401"/>
                    </a:lnTo>
                    <a:lnTo>
                      <a:pt x="17" y="404"/>
                    </a:lnTo>
                    <a:lnTo>
                      <a:pt x="19" y="405"/>
                    </a:lnTo>
                    <a:lnTo>
                      <a:pt x="18" y="406"/>
                    </a:lnTo>
                    <a:lnTo>
                      <a:pt x="17" y="406"/>
                    </a:lnTo>
                    <a:lnTo>
                      <a:pt x="13" y="407"/>
                    </a:lnTo>
                    <a:lnTo>
                      <a:pt x="13" y="406"/>
                    </a:lnTo>
                    <a:lnTo>
                      <a:pt x="12" y="405"/>
                    </a:lnTo>
                    <a:lnTo>
                      <a:pt x="11" y="403"/>
                    </a:lnTo>
                    <a:lnTo>
                      <a:pt x="9" y="404"/>
                    </a:lnTo>
                    <a:lnTo>
                      <a:pt x="9" y="402"/>
                    </a:lnTo>
                    <a:lnTo>
                      <a:pt x="8" y="404"/>
                    </a:lnTo>
                    <a:lnTo>
                      <a:pt x="8" y="403"/>
                    </a:lnTo>
                    <a:lnTo>
                      <a:pt x="5" y="401"/>
                    </a:lnTo>
                    <a:lnTo>
                      <a:pt x="3" y="399"/>
                    </a:lnTo>
                    <a:lnTo>
                      <a:pt x="5" y="401"/>
                    </a:lnTo>
                    <a:lnTo>
                      <a:pt x="3" y="401"/>
                    </a:lnTo>
                    <a:lnTo>
                      <a:pt x="4" y="403"/>
                    </a:lnTo>
                    <a:lnTo>
                      <a:pt x="3" y="404"/>
                    </a:lnTo>
                    <a:lnTo>
                      <a:pt x="3" y="405"/>
                    </a:lnTo>
                    <a:lnTo>
                      <a:pt x="3" y="407"/>
                    </a:lnTo>
                    <a:lnTo>
                      <a:pt x="3" y="410"/>
                    </a:lnTo>
                    <a:lnTo>
                      <a:pt x="5" y="410"/>
                    </a:lnTo>
                    <a:lnTo>
                      <a:pt x="5" y="411"/>
                    </a:lnTo>
                    <a:lnTo>
                      <a:pt x="5" y="412"/>
                    </a:lnTo>
                    <a:lnTo>
                      <a:pt x="3" y="413"/>
                    </a:lnTo>
                    <a:lnTo>
                      <a:pt x="2" y="416"/>
                    </a:lnTo>
                    <a:lnTo>
                      <a:pt x="1" y="417"/>
                    </a:lnTo>
                    <a:lnTo>
                      <a:pt x="0" y="420"/>
                    </a:lnTo>
                    <a:lnTo>
                      <a:pt x="2" y="420"/>
                    </a:lnTo>
                    <a:lnTo>
                      <a:pt x="5" y="420"/>
                    </a:lnTo>
                    <a:lnTo>
                      <a:pt x="6" y="420"/>
                    </a:lnTo>
                    <a:lnTo>
                      <a:pt x="8" y="421"/>
                    </a:lnTo>
                    <a:lnTo>
                      <a:pt x="9" y="420"/>
                    </a:lnTo>
                    <a:lnTo>
                      <a:pt x="11" y="422"/>
                    </a:lnTo>
                    <a:lnTo>
                      <a:pt x="12" y="423"/>
                    </a:lnTo>
                    <a:lnTo>
                      <a:pt x="15" y="426"/>
                    </a:lnTo>
                    <a:lnTo>
                      <a:pt x="18" y="426"/>
                    </a:lnTo>
                    <a:lnTo>
                      <a:pt x="20" y="425"/>
                    </a:lnTo>
                    <a:lnTo>
                      <a:pt x="19" y="426"/>
                    </a:lnTo>
                    <a:lnTo>
                      <a:pt x="19" y="427"/>
                    </a:lnTo>
                    <a:lnTo>
                      <a:pt x="20" y="426"/>
                    </a:lnTo>
                    <a:lnTo>
                      <a:pt x="21" y="426"/>
                    </a:lnTo>
                    <a:lnTo>
                      <a:pt x="23" y="427"/>
                    </a:lnTo>
                    <a:lnTo>
                      <a:pt x="24" y="427"/>
                    </a:lnTo>
                    <a:lnTo>
                      <a:pt x="25" y="427"/>
                    </a:lnTo>
                    <a:lnTo>
                      <a:pt x="25" y="428"/>
                    </a:lnTo>
                    <a:lnTo>
                      <a:pt x="22" y="428"/>
                    </a:lnTo>
                    <a:lnTo>
                      <a:pt x="20" y="427"/>
                    </a:lnTo>
                    <a:lnTo>
                      <a:pt x="18" y="427"/>
                    </a:lnTo>
                    <a:lnTo>
                      <a:pt x="17" y="430"/>
                    </a:lnTo>
                    <a:lnTo>
                      <a:pt x="17" y="431"/>
                    </a:lnTo>
                    <a:lnTo>
                      <a:pt x="17" y="435"/>
                    </a:lnTo>
                    <a:lnTo>
                      <a:pt x="15" y="436"/>
                    </a:lnTo>
                    <a:lnTo>
                      <a:pt x="14" y="435"/>
                    </a:lnTo>
                    <a:lnTo>
                      <a:pt x="11" y="437"/>
                    </a:lnTo>
                    <a:lnTo>
                      <a:pt x="12" y="439"/>
                    </a:lnTo>
                    <a:lnTo>
                      <a:pt x="10" y="443"/>
                    </a:lnTo>
                    <a:lnTo>
                      <a:pt x="11" y="445"/>
                    </a:lnTo>
                    <a:lnTo>
                      <a:pt x="11" y="448"/>
                    </a:lnTo>
                    <a:lnTo>
                      <a:pt x="12" y="449"/>
                    </a:lnTo>
                    <a:lnTo>
                      <a:pt x="12" y="451"/>
                    </a:lnTo>
                    <a:lnTo>
                      <a:pt x="13" y="454"/>
                    </a:lnTo>
                    <a:lnTo>
                      <a:pt x="12" y="454"/>
                    </a:lnTo>
                    <a:lnTo>
                      <a:pt x="13" y="455"/>
                    </a:lnTo>
                    <a:lnTo>
                      <a:pt x="12" y="462"/>
                    </a:lnTo>
                    <a:lnTo>
                      <a:pt x="14" y="463"/>
                    </a:lnTo>
                    <a:lnTo>
                      <a:pt x="15" y="464"/>
                    </a:lnTo>
                    <a:lnTo>
                      <a:pt x="17" y="464"/>
                    </a:lnTo>
                    <a:lnTo>
                      <a:pt x="17" y="465"/>
                    </a:lnTo>
                    <a:lnTo>
                      <a:pt x="17" y="468"/>
                    </a:lnTo>
                    <a:lnTo>
                      <a:pt x="18" y="470"/>
                    </a:lnTo>
                    <a:lnTo>
                      <a:pt x="17" y="471"/>
                    </a:lnTo>
                    <a:lnTo>
                      <a:pt x="19" y="471"/>
                    </a:lnTo>
                    <a:lnTo>
                      <a:pt x="19" y="473"/>
                    </a:lnTo>
                    <a:lnTo>
                      <a:pt x="19" y="474"/>
                    </a:lnTo>
                    <a:lnTo>
                      <a:pt x="18" y="474"/>
                    </a:lnTo>
                    <a:lnTo>
                      <a:pt x="17" y="474"/>
                    </a:lnTo>
                    <a:lnTo>
                      <a:pt x="15" y="474"/>
                    </a:lnTo>
                    <a:lnTo>
                      <a:pt x="15" y="475"/>
                    </a:lnTo>
                    <a:lnTo>
                      <a:pt x="12" y="474"/>
                    </a:lnTo>
                    <a:lnTo>
                      <a:pt x="11" y="477"/>
                    </a:lnTo>
                    <a:lnTo>
                      <a:pt x="11" y="478"/>
                    </a:lnTo>
                    <a:lnTo>
                      <a:pt x="9" y="480"/>
                    </a:lnTo>
                    <a:lnTo>
                      <a:pt x="9" y="483"/>
                    </a:lnTo>
                    <a:lnTo>
                      <a:pt x="11" y="484"/>
                    </a:lnTo>
                    <a:lnTo>
                      <a:pt x="11" y="482"/>
                    </a:lnTo>
                    <a:lnTo>
                      <a:pt x="13" y="483"/>
                    </a:lnTo>
                    <a:lnTo>
                      <a:pt x="12" y="486"/>
                    </a:lnTo>
                    <a:lnTo>
                      <a:pt x="18" y="490"/>
                    </a:lnTo>
                    <a:lnTo>
                      <a:pt x="21" y="494"/>
                    </a:lnTo>
                    <a:lnTo>
                      <a:pt x="25" y="496"/>
                    </a:lnTo>
                    <a:lnTo>
                      <a:pt x="26" y="499"/>
                    </a:lnTo>
                    <a:lnTo>
                      <a:pt x="27" y="498"/>
                    </a:lnTo>
                    <a:lnTo>
                      <a:pt x="27" y="497"/>
                    </a:lnTo>
                    <a:lnTo>
                      <a:pt x="30" y="493"/>
                    </a:lnTo>
                    <a:lnTo>
                      <a:pt x="32" y="491"/>
                    </a:lnTo>
                    <a:lnTo>
                      <a:pt x="34" y="491"/>
                    </a:lnTo>
                    <a:lnTo>
                      <a:pt x="36" y="490"/>
                    </a:lnTo>
                    <a:lnTo>
                      <a:pt x="37" y="491"/>
                    </a:lnTo>
                    <a:lnTo>
                      <a:pt x="36" y="489"/>
                    </a:lnTo>
                    <a:lnTo>
                      <a:pt x="36" y="486"/>
                    </a:lnTo>
                    <a:lnTo>
                      <a:pt x="36" y="484"/>
                    </a:lnTo>
                    <a:lnTo>
                      <a:pt x="37" y="484"/>
                    </a:lnTo>
                    <a:lnTo>
                      <a:pt x="39" y="478"/>
                    </a:lnTo>
                    <a:lnTo>
                      <a:pt x="40" y="481"/>
                    </a:lnTo>
                    <a:lnTo>
                      <a:pt x="41" y="480"/>
                    </a:lnTo>
                    <a:lnTo>
                      <a:pt x="44" y="478"/>
                    </a:lnTo>
                    <a:lnTo>
                      <a:pt x="41" y="475"/>
                    </a:lnTo>
                    <a:lnTo>
                      <a:pt x="42" y="473"/>
                    </a:lnTo>
                    <a:lnTo>
                      <a:pt x="41" y="472"/>
                    </a:lnTo>
                    <a:lnTo>
                      <a:pt x="38" y="471"/>
                    </a:lnTo>
                    <a:lnTo>
                      <a:pt x="38" y="469"/>
                    </a:lnTo>
                    <a:lnTo>
                      <a:pt x="38" y="468"/>
                    </a:lnTo>
                    <a:lnTo>
                      <a:pt x="40" y="467"/>
                    </a:lnTo>
                    <a:lnTo>
                      <a:pt x="41" y="466"/>
                    </a:lnTo>
                    <a:lnTo>
                      <a:pt x="39" y="465"/>
                    </a:lnTo>
                    <a:lnTo>
                      <a:pt x="39" y="463"/>
                    </a:lnTo>
                    <a:lnTo>
                      <a:pt x="38" y="463"/>
                    </a:lnTo>
                    <a:lnTo>
                      <a:pt x="37" y="464"/>
                    </a:lnTo>
                    <a:lnTo>
                      <a:pt x="37" y="462"/>
                    </a:lnTo>
                    <a:lnTo>
                      <a:pt x="36" y="462"/>
                    </a:lnTo>
                    <a:lnTo>
                      <a:pt x="36" y="459"/>
                    </a:lnTo>
                    <a:lnTo>
                      <a:pt x="35" y="459"/>
                    </a:lnTo>
                    <a:lnTo>
                      <a:pt x="35" y="458"/>
                    </a:lnTo>
                    <a:lnTo>
                      <a:pt x="34" y="459"/>
                    </a:lnTo>
                    <a:lnTo>
                      <a:pt x="33" y="458"/>
                    </a:lnTo>
                    <a:lnTo>
                      <a:pt x="32" y="458"/>
                    </a:lnTo>
                    <a:lnTo>
                      <a:pt x="33" y="456"/>
                    </a:lnTo>
                    <a:lnTo>
                      <a:pt x="32" y="454"/>
                    </a:lnTo>
                    <a:lnTo>
                      <a:pt x="30" y="454"/>
                    </a:lnTo>
                    <a:lnTo>
                      <a:pt x="31" y="452"/>
                    </a:lnTo>
                    <a:lnTo>
                      <a:pt x="33" y="454"/>
                    </a:lnTo>
                    <a:lnTo>
                      <a:pt x="34" y="453"/>
                    </a:lnTo>
                    <a:lnTo>
                      <a:pt x="35" y="451"/>
                    </a:lnTo>
                    <a:lnTo>
                      <a:pt x="36" y="451"/>
                    </a:lnTo>
                    <a:lnTo>
                      <a:pt x="36" y="450"/>
                    </a:lnTo>
                    <a:lnTo>
                      <a:pt x="35" y="450"/>
                    </a:lnTo>
                    <a:lnTo>
                      <a:pt x="34" y="450"/>
                    </a:lnTo>
                    <a:lnTo>
                      <a:pt x="36" y="449"/>
                    </a:lnTo>
                    <a:lnTo>
                      <a:pt x="38" y="449"/>
                    </a:lnTo>
                    <a:lnTo>
                      <a:pt x="44" y="446"/>
                    </a:lnTo>
                    <a:lnTo>
                      <a:pt x="45" y="446"/>
                    </a:lnTo>
                    <a:lnTo>
                      <a:pt x="46" y="445"/>
                    </a:lnTo>
                    <a:lnTo>
                      <a:pt x="47" y="446"/>
                    </a:lnTo>
                    <a:lnTo>
                      <a:pt x="50" y="451"/>
                    </a:lnTo>
                    <a:lnTo>
                      <a:pt x="52" y="448"/>
                    </a:lnTo>
                    <a:lnTo>
                      <a:pt x="54" y="449"/>
                    </a:lnTo>
                    <a:lnTo>
                      <a:pt x="54" y="450"/>
                    </a:lnTo>
                    <a:lnTo>
                      <a:pt x="55" y="450"/>
                    </a:lnTo>
                    <a:lnTo>
                      <a:pt x="54" y="451"/>
                    </a:lnTo>
                    <a:lnTo>
                      <a:pt x="55" y="452"/>
                    </a:lnTo>
                    <a:lnTo>
                      <a:pt x="57" y="454"/>
                    </a:lnTo>
                    <a:lnTo>
                      <a:pt x="57" y="458"/>
                    </a:lnTo>
                    <a:lnTo>
                      <a:pt x="55" y="458"/>
                    </a:lnTo>
                    <a:lnTo>
                      <a:pt x="55" y="459"/>
                    </a:lnTo>
                    <a:lnTo>
                      <a:pt x="57" y="459"/>
                    </a:lnTo>
                    <a:lnTo>
                      <a:pt x="57" y="461"/>
                    </a:lnTo>
                    <a:lnTo>
                      <a:pt x="61" y="463"/>
                    </a:lnTo>
                    <a:lnTo>
                      <a:pt x="62" y="464"/>
                    </a:lnTo>
                    <a:lnTo>
                      <a:pt x="61" y="465"/>
                    </a:lnTo>
                    <a:lnTo>
                      <a:pt x="59" y="465"/>
                    </a:lnTo>
                    <a:lnTo>
                      <a:pt x="59" y="466"/>
                    </a:lnTo>
                    <a:lnTo>
                      <a:pt x="60" y="466"/>
                    </a:lnTo>
                    <a:lnTo>
                      <a:pt x="61" y="467"/>
                    </a:lnTo>
                    <a:lnTo>
                      <a:pt x="62" y="467"/>
                    </a:lnTo>
                    <a:lnTo>
                      <a:pt x="63" y="468"/>
                    </a:lnTo>
                    <a:lnTo>
                      <a:pt x="64" y="469"/>
                    </a:lnTo>
                    <a:lnTo>
                      <a:pt x="64" y="472"/>
                    </a:lnTo>
                    <a:lnTo>
                      <a:pt x="63" y="472"/>
                    </a:lnTo>
                    <a:lnTo>
                      <a:pt x="63" y="473"/>
                    </a:lnTo>
                    <a:lnTo>
                      <a:pt x="64" y="477"/>
                    </a:lnTo>
                    <a:lnTo>
                      <a:pt x="64" y="479"/>
                    </a:lnTo>
                    <a:lnTo>
                      <a:pt x="64" y="482"/>
                    </a:lnTo>
                    <a:lnTo>
                      <a:pt x="63" y="481"/>
                    </a:lnTo>
                    <a:lnTo>
                      <a:pt x="62" y="482"/>
                    </a:lnTo>
                    <a:lnTo>
                      <a:pt x="65" y="485"/>
                    </a:lnTo>
                    <a:lnTo>
                      <a:pt x="66" y="486"/>
                    </a:lnTo>
                    <a:lnTo>
                      <a:pt x="69" y="485"/>
                    </a:lnTo>
                    <a:lnTo>
                      <a:pt x="69" y="486"/>
                    </a:lnTo>
                    <a:lnTo>
                      <a:pt x="70" y="486"/>
                    </a:lnTo>
                    <a:lnTo>
                      <a:pt x="70" y="487"/>
                    </a:lnTo>
                    <a:lnTo>
                      <a:pt x="69" y="490"/>
                    </a:lnTo>
                    <a:lnTo>
                      <a:pt x="70" y="490"/>
                    </a:lnTo>
                    <a:lnTo>
                      <a:pt x="70" y="492"/>
                    </a:lnTo>
                    <a:lnTo>
                      <a:pt x="69" y="491"/>
                    </a:lnTo>
                    <a:lnTo>
                      <a:pt x="69" y="494"/>
                    </a:lnTo>
                    <a:lnTo>
                      <a:pt x="72" y="494"/>
                    </a:lnTo>
                    <a:lnTo>
                      <a:pt x="71" y="496"/>
                    </a:lnTo>
                    <a:lnTo>
                      <a:pt x="72" y="496"/>
                    </a:lnTo>
                    <a:lnTo>
                      <a:pt x="72" y="498"/>
                    </a:lnTo>
                    <a:lnTo>
                      <a:pt x="74" y="498"/>
                    </a:lnTo>
                    <a:lnTo>
                      <a:pt x="73" y="500"/>
                    </a:lnTo>
                    <a:lnTo>
                      <a:pt x="73" y="501"/>
                    </a:lnTo>
                    <a:lnTo>
                      <a:pt x="74" y="501"/>
                    </a:lnTo>
                    <a:lnTo>
                      <a:pt x="75" y="501"/>
                    </a:lnTo>
                    <a:lnTo>
                      <a:pt x="77" y="501"/>
                    </a:lnTo>
                    <a:lnTo>
                      <a:pt x="78" y="500"/>
                    </a:lnTo>
                    <a:lnTo>
                      <a:pt x="77" y="500"/>
                    </a:lnTo>
                    <a:lnTo>
                      <a:pt x="77" y="499"/>
                    </a:lnTo>
                    <a:lnTo>
                      <a:pt x="77" y="497"/>
                    </a:lnTo>
                    <a:lnTo>
                      <a:pt x="76" y="496"/>
                    </a:lnTo>
                    <a:lnTo>
                      <a:pt x="78" y="496"/>
                    </a:lnTo>
                    <a:lnTo>
                      <a:pt x="78" y="495"/>
                    </a:lnTo>
                    <a:lnTo>
                      <a:pt x="79" y="494"/>
                    </a:lnTo>
                    <a:lnTo>
                      <a:pt x="78" y="491"/>
                    </a:lnTo>
                    <a:lnTo>
                      <a:pt x="79" y="491"/>
                    </a:lnTo>
                    <a:lnTo>
                      <a:pt x="80" y="494"/>
                    </a:lnTo>
                    <a:lnTo>
                      <a:pt x="80" y="496"/>
                    </a:lnTo>
                    <a:lnTo>
                      <a:pt x="82" y="498"/>
                    </a:lnTo>
                    <a:lnTo>
                      <a:pt x="82" y="501"/>
                    </a:lnTo>
                    <a:lnTo>
                      <a:pt x="80" y="503"/>
                    </a:lnTo>
                    <a:lnTo>
                      <a:pt x="79" y="504"/>
                    </a:lnTo>
                    <a:lnTo>
                      <a:pt x="80" y="506"/>
                    </a:lnTo>
                    <a:lnTo>
                      <a:pt x="78" y="507"/>
                    </a:lnTo>
                    <a:lnTo>
                      <a:pt x="76" y="510"/>
                    </a:lnTo>
                    <a:lnTo>
                      <a:pt x="77" y="512"/>
                    </a:lnTo>
                    <a:lnTo>
                      <a:pt x="77" y="513"/>
                    </a:lnTo>
                    <a:lnTo>
                      <a:pt x="77" y="514"/>
                    </a:lnTo>
                    <a:lnTo>
                      <a:pt x="75" y="515"/>
                    </a:lnTo>
                    <a:lnTo>
                      <a:pt x="76" y="518"/>
                    </a:lnTo>
                    <a:lnTo>
                      <a:pt x="77" y="517"/>
                    </a:lnTo>
                    <a:lnTo>
                      <a:pt x="80" y="519"/>
                    </a:lnTo>
                    <a:lnTo>
                      <a:pt x="80" y="520"/>
                    </a:lnTo>
                    <a:lnTo>
                      <a:pt x="80" y="521"/>
                    </a:lnTo>
                    <a:lnTo>
                      <a:pt x="83" y="522"/>
                    </a:lnTo>
                    <a:lnTo>
                      <a:pt x="83" y="523"/>
                    </a:lnTo>
                    <a:lnTo>
                      <a:pt x="85" y="523"/>
                    </a:lnTo>
                    <a:lnTo>
                      <a:pt x="88" y="525"/>
                    </a:lnTo>
                    <a:lnTo>
                      <a:pt x="90" y="525"/>
                    </a:lnTo>
                    <a:lnTo>
                      <a:pt x="93" y="527"/>
                    </a:lnTo>
                    <a:lnTo>
                      <a:pt x="94" y="527"/>
                    </a:lnTo>
                    <a:lnTo>
                      <a:pt x="94" y="528"/>
                    </a:lnTo>
                    <a:lnTo>
                      <a:pt x="95" y="530"/>
                    </a:lnTo>
                    <a:lnTo>
                      <a:pt x="97" y="534"/>
                    </a:lnTo>
                    <a:lnTo>
                      <a:pt x="100" y="533"/>
                    </a:lnTo>
                    <a:lnTo>
                      <a:pt x="100" y="536"/>
                    </a:lnTo>
                    <a:lnTo>
                      <a:pt x="99" y="537"/>
                    </a:lnTo>
                    <a:lnTo>
                      <a:pt x="99" y="538"/>
                    </a:lnTo>
                    <a:lnTo>
                      <a:pt x="98" y="538"/>
                    </a:lnTo>
                    <a:lnTo>
                      <a:pt x="99" y="541"/>
                    </a:lnTo>
                    <a:lnTo>
                      <a:pt x="100" y="544"/>
                    </a:lnTo>
                    <a:lnTo>
                      <a:pt x="100" y="547"/>
                    </a:lnTo>
                    <a:lnTo>
                      <a:pt x="101" y="549"/>
                    </a:lnTo>
                    <a:lnTo>
                      <a:pt x="101" y="548"/>
                    </a:lnTo>
                    <a:lnTo>
                      <a:pt x="102" y="549"/>
                    </a:lnTo>
                    <a:lnTo>
                      <a:pt x="102" y="551"/>
                    </a:lnTo>
                    <a:lnTo>
                      <a:pt x="102" y="555"/>
                    </a:lnTo>
                    <a:lnTo>
                      <a:pt x="103" y="555"/>
                    </a:lnTo>
                    <a:lnTo>
                      <a:pt x="102" y="557"/>
                    </a:lnTo>
                    <a:lnTo>
                      <a:pt x="104" y="556"/>
                    </a:lnTo>
                    <a:lnTo>
                      <a:pt x="104" y="557"/>
                    </a:lnTo>
                    <a:lnTo>
                      <a:pt x="104" y="558"/>
                    </a:lnTo>
                    <a:lnTo>
                      <a:pt x="103" y="558"/>
                    </a:lnTo>
                    <a:lnTo>
                      <a:pt x="104" y="559"/>
                    </a:lnTo>
                    <a:lnTo>
                      <a:pt x="105" y="560"/>
                    </a:lnTo>
                    <a:lnTo>
                      <a:pt x="106" y="561"/>
                    </a:lnTo>
                    <a:lnTo>
                      <a:pt x="107" y="562"/>
                    </a:lnTo>
                    <a:lnTo>
                      <a:pt x="107" y="561"/>
                    </a:lnTo>
                    <a:lnTo>
                      <a:pt x="108" y="561"/>
                    </a:lnTo>
                    <a:lnTo>
                      <a:pt x="108" y="562"/>
                    </a:lnTo>
                    <a:lnTo>
                      <a:pt x="109" y="560"/>
                    </a:lnTo>
                    <a:lnTo>
                      <a:pt x="110" y="557"/>
                    </a:lnTo>
                    <a:lnTo>
                      <a:pt x="109" y="557"/>
                    </a:lnTo>
                    <a:lnTo>
                      <a:pt x="109" y="554"/>
                    </a:lnTo>
                    <a:lnTo>
                      <a:pt x="111" y="553"/>
                    </a:lnTo>
                    <a:lnTo>
                      <a:pt x="113" y="553"/>
                    </a:lnTo>
                    <a:lnTo>
                      <a:pt x="115" y="552"/>
                    </a:lnTo>
                    <a:lnTo>
                      <a:pt x="113" y="550"/>
                    </a:lnTo>
                    <a:lnTo>
                      <a:pt x="114" y="549"/>
                    </a:lnTo>
                    <a:lnTo>
                      <a:pt x="115" y="549"/>
                    </a:lnTo>
                    <a:lnTo>
                      <a:pt x="116" y="552"/>
                    </a:lnTo>
                    <a:lnTo>
                      <a:pt x="118" y="554"/>
                    </a:lnTo>
                    <a:lnTo>
                      <a:pt x="119" y="553"/>
                    </a:lnTo>
                    <a:lnTo>
                      <a:pt x="119" y="551"/>
                    </a:lnTo>
                    <a:lnTo>
                      <a:pt x="121" y="551"/>
                    </a:lnTo>
                    <a:lnTo>
                      <a:pt x="123" y="551"/>
                    </a:lnTo>
                    <a:lnTo>
                      <a:pt x="124" y="550"/>
                    </a:lnTo>
                    <a:lnTo>
                      <a:pt x="127" y="552"/>
                    </a:lnTo>
                    <a:lnTo>
                      <a:pt x="128" y="551"/>
                    </a:lnTo>
                    <a:lnTo>
                      <a:pt x="130" y="551"/>
                    </a:lnTo>
                    <a:lnTo>
                      <a:pt x="131" y="548"/>
                    </a:lnTo>
                    <a:lnTo>
                      <a:pt x="131" y="551"/>
                    </a:lnTo>
                    <a:lnTo>
                      <a:pt x="132" y="550"/>
                    </a:lnTo>
                    <a:lnTo>
                      <a:pt x="135" y="553"/>
                    </a:lnTo>
                    <a:lnTo>
                      <a:pt x="135" y="552"/>
                    </a:lnTo>
                    <a:lnTo>
                      <a:pt x="137" y="552"/>
                    </a:lnTo>
                    <a:lnTo>
                      <a:pt x="140" y="551"/>
                    </a:lnTo>
                    <a:lnTo>
                      <a:pt x="141" y="550"/>
                    </a:lnTo>
                    <a:lnTo>
                      <a:pt x="140" y="549"/>
                    </a:lnTo>
                    <a:lnTo>
                      <a:pt x="141" y="548"/>
                    </a:lnTo>
                    <a:lnTo>
                      <a:pt x="143" y="547"/>
                    </a:lnTo>
                    <a:lnTo>
                      <a:pt x="143" y="545"/>
                    </a:lnTo>
                    <a:lnTo>
                      <a:pt x="145" y="545"/>
                    </a:lnTo>
                    <a:lnTo>
                      <a:pt x="144" y="544"/>
                    </a:lnTo>
                    <a:lnTo>
                      <a:pt x="145" y="544"/>
                    </a:lnTo>
                    <a:lnTo>
                      <a:pt x="146" y="543"/>
                    </a:lnTo>
                    <a:lnTo>
                      <a:pt x="147" y="543"/>
                    </a:lnTo>
                    <a:lnTo>
                      <a:pt x="149" y="536"/>
                    </a:lnTo>
                    <a:lnTo>
                      <a:pt x="149" y="537"/>
                    </a:lnTo>
                    <a:lnTo>
                      <a:pt x="151" y="537"/>
                    </a:lnTo>
                    <a:lnTo>
                      <a:pt x="151" y="535"/>
                    </a:lnTo>
                    <a:lnTo>
                      <a:pt x="153" y="536"/>
                    </a:lnTo>
                    <a:lnTo>
                      <a:pt x="156" y="533"/>
                    </a:lnTo>
                    <a:lnTo>
                      <a:pt x="157" y="533"/>
                    </a:lnTo>
                    <a:lnTo>
                      <a:pt x="160" y="533"/>
                    </a:lnTo>
                    <a:lnTo>
                      <a:pt x="159" y="530"/>
                    </a:lnTo>
                    <a:lnTo>
                      <a:pt x="160" y="530"/>
                    </a:lnTo>
                    <a:lnTo>
                      <a:pt x="159" y="526"/>
                    </a:lnTo>
                    <a:lnTo>
                      <a:pt x="159" y="525"/>
                    </a:lnTo>
                    <a:lnTo>
                      <a:pt x="157" y="524"/>
                    </a:lnTo>
                    <a:lnTo>
                      <a:pt x="157" y="522"/>
                    </a:lnTo>
                    <a:lnTo>
                      <a:pt x="156" y="520"/>
                    </a:lnTo>
                    <a:lnTo>
                      <a:pt x="156" y="517"/>
                    </a:lnTo>
                    <a:lnTo>
                      <a:pt x="156" y="514"/>
                    </a:lnTo>
                    <a:lnTo>
                      <a:pt x="156" y="513"/>
                    </a:lnTo>
                    <a:lnTo>
                      <a:pt x="156" y="510"/>
                    </a:lnTo>
                    <a:lnTo>
                      <a:pt x="158" y="510"/>
                    </a:lnTo>
                    <a:lnTo>
                      <a:pt x="159" y="508"/>
                    </a:lnTo>
                    <a:lnTo>
                      <a:pt x="160" y="507"/>
                    </a:lnTo>
                    <a:lnTo>
                      <a:pt x="161" y="506"/>
                    </a:lnTo>
                    <a:lnTo>
                      <a:pt x="160" y="506"/>
                    </a:lnTo>
                    <a:lnTo>
                      <a:pt x="162" y="505"/>
                    </a:lnTo>
                    <a:lnTo>
                      <a:pt x="162" y="502"/>
                    </a:lnTo>
                    <a:lnTo>
                      <a:pt x="165" y="502"/>
                    </a:lnTo>
                    <a:lnTo>
                      <a:pt x="165" y="501"/>
                    </a:lnTo>
                    <a:lnTo>
                      <a:pt x="167" y="501"/>
                    </a:lnTo>
                    <a:lnTo>
                      <a:pt x="167" y="500"/>
                    </a:lnTo>
                    <a:lnTo>
                      <a:pt x="169" y="504"/>
                    </a:lnTo>
                    <a:lnTo>
                      <a:pt x="170" y="504"/>
                    </a:lnTo>
                    <a:lnTo>
                      <a:pt x="168" y="507"/>
                    </a:lnTo>
                    <a:lnTo>
                      <a:pt x="167" y="511"/>
                    </a:lnTo>
                    <a:lnTo>
                      <a:pt x="167" y="514"/>
                    </a:lnTo>
                    <a:lnTo>
                      <a:pt x="167" y="515"/>
                    </a:lnTo>
                    <a:lnTo>
                      <a:pt x="170" y="515"/>
                    </a:lnTo>
                    <a:lnTo>
                      <a:pt x="171" y="516"/>
                    </a:lnTo>
                    <a:lnTo>
                      <a:pt x="171" y="512"/>
                    </a:lnTo>
                    <a:lnTo>
                      <a:pt x="175" y="514"/>
                    </a:lnTo>
                    <a:lnTo>
                      <a:pt x="176" y="514"/>
                    </a:lnTo>
                    <a:lnTo>
                      <a:pt x="178" y="516"/>
                    </a:lnTo>
                    <a:lnTo>
                      <a:pt x="177" y="518"/>
                    </a:lnTo>
                    <a:lnTo>
                      <a:pt x="181" y="518"/>
                    </a:lnTo>
                    <a:lnTo>
                      <a:pt x="181" y="520"/>
                    </a:lnTo>
                    <a:lnTo>
                      <a:pt x="182" y="519"/>
                    </a:lnTo>
                    <a:lnTo>
                      <a:pt x="181" y="517"/>
                    </a:lnTo>
                    <a:lnTo>
                      <a:pt x="183" y="518"/>
                    </a:lnTo>
                    <a:lnTo>
                      <a:pt x="183" y="517"/>
                    </a:lnTo>
                    <a:lnTo>
                      <a:pt x="184" y="518"/>
                    </a:lnTo>
                    <a:lnTo>
                      <a:pt x="187" y="518"/>
                    </a:lnTo>
                    <a:lnTo>
                      <a:pt x="186" y="519"/>
                    </a:lnTo>
                    <a:lnTo>
                      <a:pt x="189" y="520"/>
                    </a:lnTo>
                    <a:lnTo>
                      <a:pt x="191" y="523"/>
                    </a:lnTo>
                    <a:lnTo>
                      <a:pt x="192" y="525"/>
                    </a:lnTo>
                    <a:lnTo>
                      <a:pt x="192" y="530"/>
                    </a:lnTo>
                    <a:lnTo>
                      <a:pt x="200" y="524"/>
                    </a:lnTo>
                    <a:lnTo>
                      <a:pt x="202" y="520"/>
                    </a:lnTo>
                    <a:lnTo>
                      <a:pt x="203" y="520"/>
                    </a:lnTo>
                    <a:lnTo>
                      <a:pt x="204" y="520"/>
                    </a:lnTo>
                    <a:lnTo>
                      <a:pt x="205" y="519"/>
                    </a:lnTo>
                    <a:lnTo>
                      <a:pt x="206" y="514"/>
                    </a:lnTo>
                    <a:lnTo>
                      <a:pt x="205" y="513"/>
                    </a:lnTo>
                    <a:lnTo>
                      <a:pt x="204" y="513"/>
                    </a:lnTo>
                    <a:lnTo>
                      <a:pt x="206" y="511"/>
                    </a:lnTo>
                    <a:lnTo>
                      <a:pt x="203" y="509"/>
                    </a:lnTo>
                    <a:lnTo>
                      <a:pt x="206" y="510"/>
                    </a:lnTo>
                    <a:lnTo>
                      <a:pt x="208" y="509"/>
                    </a:lnTo>
                    <a:lnTo>
                      <a:pt x="208" y="511"/>
                    </a:lnTo>
                    <a:lnTo>
                      <a:pt x="208" y="512"/>
                    </a:lnTo>
                    <a:lnTo>
                      <a:pt x="209" y="513"/>
                    </a:lnTo>
                    <a:lnTo>
                      <a:pt x="211" y="510"/>
                    </a:lnTo>
                    <a:lnTo>
                      <a:pt x="212" y="510"/>
                    </a:lnTo>
                    <a:lnTo>
                      <a:pt x="214" y="508"/>
                    </a:lnTo>
                    <a:lnTo>
                      <a:pt x="215" y="510"/>
                    </a:lnTo>
                    <a:lnTo>
                      <a:pt x="221" y="508"/>
                    </a:lnTo>
                    <a:lnTo>
                      <a:pt x="221" y="509"/>
                    </a:lnTo>
                    <a:lnTo>
                      <a:pt x="223" y="509"/>
                    </a:lnTo>
                    <a:lnTo>
                      <a:pt x="224" y="508"/>
                    </a:lnTo>
                    <a:lnTo>
                      <a:pt x="225" y="509"/>
                    </a:lnTo>
                    <a:lnTo>
                      <a:pt x="227" y="511"/>
                    </a:lnTo>
                    <a:lnTo>
                      <a:pt x="227" y="513"/>
                    </a:lnTo>
                    <a:lnTo>
                      <a:pt x="227" y="514"/>
                    </a:lnTo>
                    <a:lnTo>
                      <a:pt x="229" y="513"/>
                    </a:lnTo>
                    <a:lnTo>
                      <a:pt x="229" y="514"/>
                    </a:lnTo>
                    <a:lnTo>
                      <a:pt x="230" y="514"/>
                    </a:lnTo>
                    <a:lnTo>
                      <a:pt x="232" y="514"/>
                    </a:lnTo>
                    <a:lnTo>
                      <a:pt x="232" y="513"/>
                    </a:lnTo>
                    <a:lnTo>
                      <a:pt x="232" y="514"/>
                    </a:lnTo>
                    <a:lnTo>
                      <a:pt x="233" y="514"/>
                    </a:lnTo>
                    <a:lnTo>
                      <a:pt x="235" y="514"/>
                    </a:lnTo>
                    <a:lnTo>
                      <a:pt x="238" y="513"/>
                    </a:lnTo>
                    <a:lnTo>
                      <a:pt x="238" y="510"/>
                    </a:lnTo>
                    <a:lnTo>
                      <a:pt x="240" y="510"/>
                    </a:lnTo>
                    <a:lnTo>
                      <a:pt x="244" y="507"/>
                    </a:lnTo>
                    <a:lnTo>
                      <a:pt x="242" y="504"/>
                    </a:lnTo>
                    <a:lnTo>
                      <a:pt x="244" y="504"/>
                    </a:lnTo>
                    <a:lnTo>
                      <a:pt x="241" y="502"/>
                    </a:lnTo>
                    <a:lnTo>
                      <a:pt x="240" y="500"/>
                    </a:lnTo>
                    <a:lnTo>
                      <a:pt x="240" y="497"/>
                    </a:lnTo>
                    <a:lnTo>
                      <a:pt x="237" y="494"/>
                    </a:lnTo>
                    <a:lnTo>
                      <a:pt x="238" y="493"/>
                    </a:lnTo>
                    <a:lnTo>
                      <a:pt x="237" y="491"/>
                    </a:lnTo>
                    <a:lnTo>
                      <a:pt x="238" y="490"/>
                    </a:lnTo>
                    <a:lnTo>
                      <a:pt x="239" y="492"/>
                    </a:lnTo>
                    <a:lnTo>
                      <a:pt x="240" y="491"/>
                    </a:lnTo>
                    <a:lnTo>
                      <a:pt x="241" y="491"/>
                    </a:lnTo>
                    <a:lnTo>
                      <a:pt x="245" y="490"/>
                    </a:lnTo>
                    <a:lnTo>
                      <a:pt x="247" y="496"/>
                    </a:lnTo>
                    <a:lnTo>
                      <a:pt x="249" y="496"/>
                    </a:lnTo>
                    <a:lnTo>
                      <a:pt x="250" y="495"/>
                    </a:lnTo>
                    <a:lnTo>
                      <a:pt x="250" y="491"/>
                    </a:lnTo>
                    <a:lnTo>
                      <a:pt x="250" y="489"/>
                    </a:lnTo>
                    <a:lnTo>
                      <a:pt x="252" y="488"/>
                    </a:lnTo>
                    <a:lnTo>
                      <a:pt x="252" y="486"/>
                    </a:lnTo>
                    <a:lnTo>
                      <a:pt x="253" y="486"/>
                    </a:lnTo>
                    <a:lnTo>
                      <a:pt x="255" y="487"/>
                    </a:lnTo>
                    <a:lnTo>
                      <a:pt x="257" y="486"/>
                    </a:lnTo>
                    <a:lnTo>
                      <a:pt x="258" y="489"/>
                    </a:lnTo>
                    <a:lnTo>
                      <a:pt x="260" y="491"/>
                    </a:lnTo>
                    <a:lnTo>
                      <a:pt x="261" y="493"/>
                    </a:lnTo>
                    <a:lnTo>
                      <a:pt x="262" y="493"/>
                    </a:lnTo>
                    <a:lnTo>
                      <a:pt x="261" y="495"/>
                    </a:lnTo>
                    <a:lnTo>
                      <a:pt x="261" y="496"/>
                    </a:lnTo>
                    <a:lnTo>
                      <a:pt x="263" y="497"/>
                    </a:lnTo>
                    <a:lnTo>
                      <a:pt x="263" y="498"/>
                    </a:lnTo>
                    <a:lnTo>
                      <a:pt x="265" y="498"/>
                    </a:lnTo>
                    <a:lnTo>
                      <a:pt x="267" y="501"/>
                    </a:lnTo>
                    <a:lnTo>
                      <a:pt x="268" y="501"/>
                    </a:lnTo>
                    <a:lnTo>
                      <a:pt x="269" y="500"/>
                    </a:lnTo>
                    <a:lnTo>
                      <a:pt x="274" y="499"/>
                    </a:lnTo>
                    <a:lnTo>
                      <a:pt x="276" y="499"/>
                    </a:lnTo>
                    <a:lnTo>
                      <a:pt x="276" y="500"/>
                    </a:lnTo>
                    <a:lnTo>
                      <a:pt x="277" y="500"/>
                    </a:lnTo>
                    <a:lnTo>
                      <a:pt x="279" y="500"/>
                    </a:lnTo>
                    <a:lnTo>
                      <a:pt x="279" y="499"/>
                    </a:lnTo>
                    <a:lnTo>
                      <a:pt x="279" y="497"/>
                    </a:lnTo>
                    <a:lnTo>
                      <a:pt x="279" y="496"/>
                    </a:lnTo>
                    <a:lnTo>
                      <a:pt x="281" y="493"/>
                    </a:lnTo>
                    <a:lnTo>
                      <a:pt x="280" y="491"/>
                    </a:lnTo>
                    <a:lnTo>
                      <a:pt x="280" y="490"/>
                    </a:lnTo>
                    <a:lnTo>
                      <a:pt x="283" y="489"/>
                    </a:lnTo>
                    <a:lnTo>
                      <a:pt x="284" y="487"/>
                    </a:lnTo>
                    <a:lnTo>
                      <a:pt x="285" y="487"/>
                    </a:lnTo>
                    <a:lnTo>
                      <a:pt x="285" y="486"/>
                    </a:lnTo>
                    <a:lnTo>
                      <a:pt x="286" y="485"/>
                    </a:lnTo>
                    <a:lnTo>
                      <a:pt x="286" y="482"/>
                    </a:lnTo>
                    <a:lnTo>
                      <a:pt x="284" y="478"/>
                    </a:lnTo>
                    <a:lnTo>
                      <a:pt x="284" y="477"/>
                    </a:lnTo>
                    <a:lnTo>
                      <a:pt x="285" y="478"/>
                    </a:lnTo>
                    <a:lnTo>
                      <a:pt x="286" y="477"/>
                    </a:lnTo>
                    <a:lnTo>
                      <a:pt x="290" y="476"/>
                    </a:lnTo>
                    <a:lnTo>
                      <a:pt x="291" y="474"/>
                    </a:lnTo>
                    <a:lnTo>
                      <a:pt x="291" y="473"/>
                    </a:lnTo>
                    <a:lnTo>
                      <a:pt x="292" y="471"/>
                    </a:lnTo>
                    <a:lnTo>
                      <a:pt x="293" y="472"/>
                    </a:lnTo>
                    <a:lnTo>
                      <a:pt x="299" y="471"/>
                    </a:lnTo>
                    <a:lnTo>
                      <a:pt x="299" y="468"/>
                    </a:lnTo>
                    <a:lnTo>
                      <a:pt x="299" y="467"/>
                    </a:lnTo>
                    <a:lnTo>
                      <a:pt x="300" y="465"/>
                    </a:lnTo>
                    <a:lnTo>
                      <a:pt x="300" y="463"/>
                    </a:lnTo>
                    <a:lnTo>
                      <a:pt x="299" y="462"/>
                    </a:lnTo>
                    <a:lnTo>
                      <a:pt x="301" y="462"/>
                    </a:lnTo>
                    <a:lnTo>
                      <a:pt x="302" y="463"/>
                    </a:lnTo>
                    <a:lnTo>
                      <a:pt x="302" y="465"/>
                    </a:lnTo>
                    <a:lnTo>
                      <a:pt x="306" y="465"/>
                    </a:lnTo>
                    <a:lnTo>
                      <a:pt x="306" y="467"/>
                    </a:lnTo>
                    <a:lnTo>
                      <a:pt x="307" y="467"/>
                    </a:lnTo>
                    <a:lnTo>
                      <a:pt x="308" y="468"/>
                    </a:lnTo>
                    <a:lnTo>
                      <a:pt x="310" y="467"/>
                    </a:lnTo>
                    <a:lnTo>
                      <a:pt x="312" y="470"/>
                    </a:lnTo>
                    <a:lnTo>
                      <a:pt x="315" y="469"/>
                    </a:lnTo>
                    <a:lnTo>
                      <a:pt x="315" y="468"/>
                    </a:lnTo>
                    <a:lnTo>
                      <a:pt x="315" y="467"/>
                    </a:lnTo>
                    <a:lnTo>
                      <a:pt x="319" y="463"/>
                    </a:lnTo>
                    <a:lnTo>
                      <a:pt x="321" y="457"/>
                    </a:lnTo>
                    <a:lnTo>
                      <a:pt x="321" y="456"/>
                    </a:lnTo>
                    <a:lnTo>
                      <a:pt x="319" y="45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9" name="Freeform 88">
                <a:extLst>
                  <a:ext uri="{FF2B5EF4-FFF2-40B4-BE49-F238E27FC236}">
                    <a16:creationId xmlns:a16="http://schemas.microsoft.com/office/drawing/2014/main" id="{1A862EB1-4F6A-FA4F-3297-D808ED410A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7" y="3058"/>
                <a:ext cx="321" cy="562"/>
              </a:xfrm>
              <a:custGeom>
                <a:avLst/>
                <a:gdLst>
                  <a:gd name="T0" fmla="*/ 307 w 321"/>
                  <a:gd name="T1" fmla="*/ 452 h 562"/>
                  <a:gd name="T2" fmla="*/ 304 w 321"/>
                  <a:gd name="T3" fmla="*/ 431 h 562"/>
                  <a:gd name="T4" fmla="*/ 286 w 321"/>
                  <a:gd name="T5" fmla="*/ 405 h 562"/>
                  <a:gd name="T6" fmla="*/ 263 w 321"/>
                  <a:gd name="T7" fmla="*/ 372 h 562"/>
                  <a:gd name="T8" fmla="*/ 259 w 321"/>
                  <a:gd name="T9" fmla="*/ 355 h 562"/>
                  <a:gd name="T10" fmla="*/ 224 w 321"/>
                  <a:gd name="T11" fmla="*/ 345 h 562"/>
                  <a:gd name="T12" fmla="*/ 194 w 321"/>
                  <a:gd name="T13" fmla="*/ 336 h 562"/>
                  <a:gd name="T14" fmla="*/ 170 w 321"/>
                  <a:gd name="T15" fmla="*/ 316 h 562"/>
                  <a:gd name="T16" fmla="*/ 149 w 321"/>
                  <a:gd name="T17" fmla="*/ 302 h 562"/>
                  <a:gd name="T18" fmla="*/ 145 w 321"/>
                  <a:gd name="T19" fmla="*/ 286 h 562"/>
                  <a:gd name="T20" fmla="*/ 125 w 321"/>
                  <a:gd name="T21" fmla="*/ 275 h 562"/>
                  <a:gd name="T22" fmla="*/ 134 w 321"/>
                  <a:gd name="T23" fmla="*/ 254 h 562"/>
                  <a:gd name="T24" fmla="*/ 137 w 321"/>
                  <a:gd name="T25" fmla="*/ 221 h 562"/>
                  <a:gd name="T26" fmla="*/ 162 w 321"/>
                  <a:gd name="T27" fmla="*/ 157 h 562"/>
                  <a:gd name="T28" fmla="*/ 202 w 321"/>
                  <a:gd name="T29" fmla="*/ 121 h 562"/>
                  <a:gd name="T30" fmla="*/ 212 w 321"/>
                  <a:gd name="T31" fmla="*/ 98 h 562"/>
                  <a:gd name="T32" fmla="*/ 196 w 321"/>
                  <a:gd name="T33" fmla="*/ 73 h 562"/>
                  <a:gd name="T34" fmla="*/ 162 w 321"/>
                  <a:gd name="T35" fmla="*/ 40 h 562"/>
                  <a:gd name="T36" fmla="*/ 116 w 321"/>
                  <a:gd name="T37" fmla="*/ 17 h 562"/>
                  <a:gd name="T38" fmla="*/ 76 w 321"/>
                  <a:gd name="T39" fmla="*/ 7 h 562"/>
                  <a:gd name="T40" fmla="*/ 86 w 321"/>
                  <a:gd name="T41" fmla="*/ 48 h 562"/>
                  <a:gd name="T42" fmla="*/ 105 w 321"/>
                  <a:gd name="T43" fmla="*/ 92 h 562"/>
                  <a:gd name="T44" fmla="*/ 90 w 321"/>
                  <a:gd name="T45" fmla="*/ 106 h 562"/>
                  <a:gd name="T46" fmla="*/ 62 w 321"/>
                  <a:gd name="T47" fmla="*/ 123 h 562"/>
                  <a:gd name="T48" fmla="*/ 43 w 321"/>
                  <a:gd name="T49" fmla="*/ 157 h 562"/>
                  <a:gd name="T50" fmla="*/ 33 w 321"/>
                  <a:gd name="T51" fmla="*/ 196 h 562"/>
                  <a:gd name="T52" fmla="*/ 18 w 321"/>
                  <a:gd name="T53" fmla="*/ 221 h 562"/>
                  <a:gd name="T54" fmla="*/ 23 w 321"/>
                  <a:gd name="T55" fmla="*/ 265 h 562"/>
                  <a:gd name="T56" fmla="*/ 17 w 321"/>
                  <a:gd name="T57" fmla="*/ 293 h 562"/>
                  <a:gd name="T58" fmla="*/ 25 w 321"/>
                  <a:gd name="T59" fmla="*/ 332 h 562"/>
                  <a:gd name="T60" fmla="*/ 37 w 321"/>
                  <a:gd name="T61" fmla="*/ 347 h 562"/>
                  <a:gd name="T62" fmla="*/ 24 w 321"/>
                  <a:gd name="T63" fmla="*/ 381 h 562"/>
                  <a:gd name="T64" fmla="*/ 18 w 321"/>
                  <a:gd name="T65" fmla="*/ 398 h 562"/>
                  <a:gd name="T66" fmla="*/ 5 w 321"/>
                  <a:gd name="T67" fmla="*/ 401 h 562"/>
                  <a:gd name="T68" fmla="*/ 2 w 321"/>
                  <a:gd name="T69" fmla="*/ 420 h 562"/>
                  <a:gd name="T70" fmla="*/ 25 w 321"/>
                  <a:gd name="T71" fmla="*/ 427 h 562"/>
                  <a:gd name="T72" fmla="*/ 12 w 321"/>
                  <a:gd name="T73" fmla="*/ 449 h 562"/>
                  <a:gd name="T74" fmla="*/ 19 w 321"/>
                  <a:gd name="T75" fmla="*/ 474 h 562"/>
                  <a:gd name="T76" fmla="*/ 26 w 321"/>
                  <a:gd name="T77" fmla="*/ 499 h 562"/>
                  <a:gd name="T78" fmla="*/ 41 w 321"/>
                  <a:gd name="T79" fmla="*/ 475 h 562"/>
                  <a:gd name="T80" fmla="*/ 35 w 321"/>
                  <a:gd name="T81" fmla="*/ 458 h 562"/>
                  <a:gd name="T82" fmla="*/ 44 w 321"/>
                  <a:gd name="T83" fmla="*/ 446 h 562"/>
                  <a:gd name="T84" fmla="*/ 61 w 321"/>
                  <a:gd name="T85" fmla="*/ 463 h 562"/>
                  <a:gd name="T86" fmla="*/ 62 w 321"/>
                  <a:gd name="T87" fmla="*/ 482 h 562"/>
                  <a:gd name="T88" fmla="*/ 73 w 321"/>
                  <a:gd name="T89" fmla="*/ 500 h 562"/>
                  <a:gd name="T90" fmla="*/ 79 w 321"/>
                  <a:gd name="T91" fmla="*/ 491 h 562"/>
                  <a:gd name="T92" fmla="*/ 80 w 321"/>
                  <a:gd name="T93" fmla="*/ 520 h 562"/>
                  <a:gd name="T94" fmla="*/ 99 w 321"/>
                  <a:gd name="T95" fmla="*/ 538 h 562"/>
                  <a:gd name="T96" fmla="*/ 105 w 321"/>
                  <a:gd name="T97" fmla="*/ 560 h 562"/>
                  <a:gd name="T98" fmla="*/ 118 w 321"/>
                  <a:gd name="T99" fmla="*/ 554 h 562"/>
                  <a:gd name="T100" fmla="*/ 140 w 321"/>
                  <a:gd name="T101" fmla="*/ 549 h 562"/>
                  <a:gd name="T102" fmla="*/ 160 w 321"/>
                  <a:gd name="T103" fmla="*/ 533 h 562"/>
                  <a:gd name="T104" fmla="*/ 160 w 321"/>
                  <a:gd name="T105" fmla="*/ 507 h 562"/>
                  <a:gd name="T106" fmla="*/ 171 w 321"/>
                  <a:gd name="T107" fmla="*/ 516 h 562"/>
                  <a:gd name="T108" fmla="*/ 192 w 321"/>
                  <a:gd name="T109" fmla="*/ 525 h 562"/>
                  <a:gd name="T110" fmla="*/ 208 w 321"/>
                  <a:gd name="T111" fmla="*/ 512 h 562"/>
                  <a:gd name="T112" fmla="*/ 230 w 321"/>
                  <a:gd name="T113" fmla="*/ 514 h 562"/>
                  <a:gd name="T114" fmla="*/ 238 w 321"/>
                  <a:gd name="T115" fmla="*/ 493 h 562"/>
                  <a:gd name="T116" fmla="*/ 255 w 321"/>
                  <a:gd name="T117" fmla="*/ 487 h 562"/>
                  <a:gd name="T118" fmla="*/ 277 w 321"/>
                  <a:gd name="T119" fmla="*/ 500 h 562"/>
                  <a:gd name="T120" fmla="*/ 284 w 321"/>
                  <a:gd name="T121" fmla="*/ 477 h 562"/>
                  <a:gd name="T122" fmla="*/ 302 w 321"/>
                  <a:gd name="T123" fmla="*/ 465 h 56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21"/>
                  <a:gd name="T187" fmla="*/ 0 h 562"/>
                  <a:gd name="T188" fmla="*/ 321 w 321"/>
                  <a:gd name="T189" fmla="*/ 562 h 562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21" h="562">
                    <a:moveTo>
                      <a:pt x="319" y="456"/>
                    </a:moveTo>
                    <a:lnTo>
                      <a:pt x="320" y="453"/>
                    </a:lnTo>
                    <a:lnTo>
                      <a:pt x="319" y="452"/>
                    </a:lnTo>
                    <a:lnTo>
                      <a:pt x="319" y="451"/>
                    </a:lnTo>
                    <a:lnTo>
                      <a:pt x="318" y="451"/>
                    </a:lnTo>
                    <a:lnTo>
                      <a:pt x="320" y="448"/>
                    </a:lnTo>
                    <a:lnTo>
                      <a:pt x="317" y="446"/>
                    </a:lnTo>
                    <a:lnTo>
                      <a:pt x="318" y="444"/>
                    </a:lnTo>
                    <a:lnTo>
                      <a:pt x="318" y="443"/>
                    </a:lnTo>
                    <a:lnTo>
                      <a:pt x="317" y="443"/>
                    </a:lnTo>
                    <a:lnTo>
                      <a:pt x="317" y="445"/>
                    </a:lnTo>
                    <a:lnTo>
                      <a:pt x="313" y="443"/>
                    </a:lnTo>
                    <a:lnTo>
                      <a:pt x="312" y="444"/>
                    </a:lnTo>
                    <a:lnTo>
                      <a:pt x="312" y="446"/>
                    </a:lnTo>
                    <a:lnTo>
                      <a:pt x="310" y="446"/>
                    </a:lnTo>
                    <a:lnTo>
                      <a:pt x="309" y="446"/>
                    </a:lnTo>
                    <a:lnTo>
                      <a:pt x="307" y="452"/>
                    </a:lnTo>
                    <a:lnTo>
                      <a:pt x="304" y="449"/>
                    </a:lnTo>
                    <a:lnTo>
                      <a:pt x="304" y="446"/>
                    </a:lnTo>
                    <a:lnTo>
                      <a:pt x="303" y="444"/>
                    </a:lnTo>
                    <a:lnTo>
                      <a:pt x="302" y="444"/>
                    </a:lnTo>
                    <a:lnTo>
                      <a:pt x="302" y="443"/>
                    </a:lnTo>
                    <a:lnTo>
                      <a:pt x="305" y="440"/>
                    </a:lnTo>
                    <a:lnTo>
                      <a:pt x="307" y="440"/>
                    </a:lnTo>
                    <a:lnTo>
                      <a:pt x="309" y="438"/>
                    </a:lnTo>
                    <a:lnTo>
                      <a:pt x="307" y="437"/>
                    </a:lnTo>
                    <a:lnTo>
                      <a:pt x="308" y="436"/>
                    </a:lnTo>
                    <a:lnTo>
                      <a:pt x="307" y="436"/>
                    </a:lnTo>
                    <a:lnTo>
                      <a:pt x="309" y="435"/>
                    </a:lnTo>
                    <a:lnTo>
                      <a:pt x="307" y="435"/>
                    </a:lnTo>
                    <a:lnTo>
                      <a:pt x="306" y="434"/>
                    </a:lnTo>
                    <a:lnTo>
                      <a:pt x="306" y="431"/>
                    </a:lnTo>
                    <a:lnTo>
                      <a:pt x="304" y="431"/>
                    </a:lnTo>
                    <a:lnTo>
                      <a:pt x="304" y="429"/>
                    </a:lnTo>
                    <a:lnTo>
                      <a:pt x="304" y="427"/>
                    </a:lnTo>
                    <a:lnTo>
                      <a:pt x="302" y="427"/>
                    </a:lnTo>
                    <a:lnTo>
                      <a:pt x="302" y="424"/>
                    </a:lnTo>
                    <a:lnTo>
                      <a:pt x="301" y="423"/>
                    </a:lnTo>
                    <a:lnTo>
                      <a:pt x="300" y="422"/>
                    </a:lnTo>
                    <a:lnTo>
                      <a:pt x="298" y="419"/>
                    </a:lnTo>
                    <a:lnTo>
                      <a:pt x="297" y="414"/>
                    </a:lnTo>
                    <a:lnTo>
                      <a:pt x="294" y="414"/>
                    </a:lnTo>
                    <a:lnTo>
                      <a:pt x="291" y="411"/>
                    </a:lnTo>
                    <a:lnTo>
                      <a:pt x="289" y="408"/>
                    </a:lnTo>
                    <a:lnTo>
                      <a:pt x="288" y="408"/>
                    </a:lnTo>
                    <a:lnTo>
                      <a:pt x="287" y="409"/>
                    </a:lnTo>
                    <a:lnTo>
                      <a:pt x="286" y="409"/>
                    </a:lnTo>
                    <a:lnTo>
                      <a:pt x="286" y="405"/>
                    </a:lnTo>
                    <a:lnTo>
                      <a:pt x="285" y="403"/>
                    </a:lnTo>
                    <a:lnTo>
                      <a:pt x="286" y="399"/>
                    </a:lnTo>
                    <a:lnTo>
                      <a:pt x="282" y="395"/>
                    </a:lnTo>
                    <a:lnTo>
                      <a:pt x="280" y="388"/>
                    </a:lnTo>
                    <a:lnTo>
                      <a:pt x="277" y="385"/>
                    </a:lnTo>
                    <a:lnTo>
                      <a:pt x="276" y="388"/>
                    </a:lnTo>
                    <a:lnTo>
                      <a:pt x="276" y="392"/>
                    </a:lnTo>
                    <a:lnTo>
                      <a:pt x="275" y="392"/>
                    </a:lnTo>
                    <a:lnTo>
                      <a:pt x="274" y="392"/>
                    </a:lnTo>
                    <a:lnTo>
                      <a:pt x="273" y="393"/>
                    </a:lnTo>
                    <a:lnTo>
                      <a:pt x="272" y="393"/>
                    </a:lnTo>
                    <a:lnTo>
                      <a:pt x="272" y="392"/>
                    </a:lnTo>
                    <a:lnTo>
                      <a:pt x="265" y="385"/>
                    </a:lnTo>
                    <a:lnTo>
                      <a:pt x="264" y="383"/>
                    </a:lnTo>
                    <a:lnTo>
                      <a:pt x="264" y="378"/>
                    </a:lnTo>
                    <a:lnTo>
                      <a:pt x="263" y="372"/>
                    </a:lnTo>
                    <a:lnTo>
                      <a:pt x="264" y="371"/>
                    </a:lnTo>
                    <a:lnTo>
                      <a:pt x="267" y="365"/>
                    </a:lnTo>
                    <a:lnTo>
                      <a:pt x="268" y="365"/>
                    </a:lnTo>
                    <a:lnTo>
                      <a:pt x="268" y="363"/>
                    </a:lnTo>
                    <a:lnTo>
                      <a:pt x="269" y="363"/>
                    </a:lnTo>
                    <a:lnTo>
                      <a:pt x="268" y="362"/>
                    </a:lnTo>
                    <a:lnTo>
                      <a:pt x="269" y="359"/>
                    </a:lnTo>
                    <a:lnTo>
                      <a:pt x="268" y="359"/>
                    </a:lnTo>
                    <a:lnTo>
                      <a:pt x="267" y="361"/>
                    </a:lnTo>
                    <a:lnTo>
                      <a:pt x="266" y="361"/>
                    </a:lnTo>
                    <a:lnTo>
                      <a:pt x="265" y="360"/>
                    </a:lnTo>
                    <a:lnTo>
                      <a:pt x="264" y="359"/>
                    </a:lnTo>
                    <a:lnTo>
                      <a:pt x="263" y="359"/>
                    </a:lnTo>
                    <a:lnTo>
                      <a:pt x="264" y="357"/>
                    </a:lnTo>
                    <a:lnTo>
                      <a:pt x="263" y="355"/>
                    </a:lnTo>
                    <a:lnTo>
                      <a:pt x="261" y="355"/>
                    </a:lnTo>
                    <a:lnTo>
                      <a:pt x="259" y="355"/>
                    </a:lnTo>
                    <a:lnTo>
                      <a:pt x="257" y="352"/>
                    </a:lnTo>
                    <a:lnTo>
                      <a:pt x="255" y="352"/>
                    </a:lnTo>
                    <a:lnTo>
                      <a:pt x="252" y="349"/>
                    </a:lnTo>
                    <a:lnTo>
                      <a:pt x="251" y="352"/>
                    </a:lnTo>
                    <a:lnTo>
                      <a:pt x="250" y="351"/>
                    </a:lnTo>
                    <a:lnTo>
                      <a:pt x="248" y="353"/>
                    </a:lnTo>
                    <a:lnTo>
                      <a:pt x="245" y="354"/>
                    </a:lnTo>
                    <a:lnTo>
                      <a:pt x="245" y="356"/>
                    </a:lnTo>
                    <a:lnTo>
                      <a:pt x="240" y="356"/>
                    </a:lnTo>
                    <a:lnTo>
                      <a:pt x="237" y="355"/>
                    </a:lnTo>
                    <a:lnTo>
                      <a:pt x="233" y="347"/>
                    </a:lnTo>
                    <a:lnTo>
                      <a:pt x="230" y="345"/>
                    </a:lnTo>
                    <a:lnTo>
                      <a:pt x="227" y="344"/>
                    </a:lnTo>
                    <a:lnTo>
                      <a:pt x="227" y="342"/>
                    </a:lnTo>
                    <a:lnTo>
                      <a:pt x="225" y="342"/>
                    </a:lnTo>
                    <a:lnTo>
                      <a:pt x="224" y="344"/>
                    </a:lnTo>
                    <a:lnTo>
                      <a:pt x="224" y="345"/>
                    </a:lnTo>
                    <a:lnTo>
                      <a:pt x="224" y="346"/>
                    </a:lnTo>
                    <a:lnTo>
                      <a:pt x="221" y="351"/>
                    </a:lnTo>
                    <a:lnTo>
                      <a:pt x="216" y="349"/>
                    </a:lnTo>
                    <a:lnTo>
                      <a:pt x="214" y="348"/>
                    </a:lnTo>
                    <a:lnTo>
                      <a:pt x="212" y="342"/>
                    </a:lnTo>
                    <a:lnTo>
                      <a:pt x="211" y="341"/>
                    </a:lnTo>
                    <a:lnTo>
                      <a:pt x="209" y="342"/>
                    </a:lnTo>
                    <a:lnTo>
                      <a:pt x="208" y="341"/>
                    </a:lnTo>
                    <a:lnTo>
                      <a:pt x="202" y="338"/>
                    </a:lnTo>
                    <a:lnTo>
                      <a:pt x="199" y="340"/>
                    </a:lnTo>
                    <a:lnTo>
                      <a:pt x="197" y="341"/>
                    </a:lnTo>
                    <a:lnTo>
                      <a:pt x="195" y="341"/>
                    </a:lnTo>
                    <a:lnTo>
                      <a:pt x="195" y="342"/>
                    </a:lnTo>
                    <a:lnTo>
                      <a:pt x="194" y="341"/>
                    </a:lnTo>
                    <a:lnTo>
                      <a:pt x="192" y="338"/>
                    </a:lnTo>
                    <a:lnTo>
                      <a:pt x="194" y="337"/>
                    </a:lnTo>
                    <a:lnTo>
                      <a:pt x="194" y="336"/>
                    </a:lnTo>
                    <a:lnTo>
                      <a:pt x="191" y="333"/>
                    </a:lnTo>
                    <a:lnTo>
                      <a:pt x="191" y="332"/>
                    </a:lnTo>
                    <a:lnTo>
                      <a:pt x="192" y="331"/>
                    </a:lnTo>
                    <a:lnTo>
                      <a:pt x="192" y="329"/>
                    </a:lnTo>
                    <a:lnTo>
                      <a:pt x="189" y="327"/>
                    </a:lnTo>
                    <a:lnTo>
                      <a:pt x="189" y="325"/>
                    </a:lnTo>
                    <a:lnTo>
                      <a:pt x="188" y="325"/>
                    </a:lnTo>
                    <a:lnTo>
                      <a:pt x="187" y="324"/>
                    </a:lnTo>
                    <a:lnTo>
                      <a:pt x="183" y="317"/>
                    </a:lnTo>
                    <a:lnTo>
                      <a:pt x="183" y="315"/>
                    </a:lnTo>
                    <a:lnTo>
                      <a:pt x="182" y="316"/>
                    </a:lnTo>
                    <a:lnTo>
                      <a:pt x="180" y="312"/>
                    </a:lnTo>
                    <a:lnTo>
                      <a:pt x="176" y="314"/>
                    </a:lnTo>
                    <a:lnTo>
                      <a:pt x="173" y="314"/>
                    </a:lnTo>
                    <a:lnTo>
                      <a:pt x="172" y="315"/>
                    </a:lnTo>
                    <a:lnTo>
                      <a:pt x="170" y="318"/>
                    </a:lnTo>
                    <a:lnTo>
                      <a:pt x="170" y="316"/>
                    </a:lnTo>
                    <a:lnTo>
                      <a:pt x="170" y="314"/>
                    </a:lnTo>
                    <a:lnTo>
                      <a:pt x="166" y="312"/>
                    </a:lnTo>
                    <a:lnTo>
                      <a:pt x="164" y="313"/>
                    </a:lnTo>
                    <a:lnTo>
                      <a:pt x="162" y="312"/>
                    </a:lnTo>
                    <a:lnTo>
                      <a:pt x="162" y="311"/>
                    </a:lnTo>
                    <a:lnTo>
                      <a:pt x="160" y="309"/>
                    </a:lnTo>
                    <a:lnTo>
                      <a:pt x="159" y="309"/>
                    </a:lnTo>
                    <a:lnTo>
                      <a:pt x="159" y="310"/>
                    </a:lnTo>
                    <a:lnTo>
                      <a:pt x="159" y="308"/>
                    </a:lnTo>
                    <a:lnTo>
                      <a:pt x="158" y="307"/>
                    </a:lnTo>
                    <a:lnTo>
                      <a:pt x="156" y="308"/>
                    </a:lnTo>
                    <a:lnTo>
                      <a:pt x="155" y="307"/>
                    </a:lnTo>
                    <a:lnTo>
                      <a:pt x="152" y="306"/>
                    </a:lnTo>
                    <a:lnTo>
                      <a:pt x="151" y="303"/>
                    </a:lnTo>
                    <a:lnTo>
                      <a:pt x="151" y="304"/>
                    </a:lnTo>
                    <a:lnTo>
                      <a:pt x="149" y="302"/>
                    </a:lnTo>
                    <a:lnTo>
                      <a:pt x="147" y="303"/>
                    </a:lnTo>
                    <a:lnTo>
                      <a:pt x="147" y="302"/>
                    </a:lnTo>
                    <a:lnTo>
                      <a:pt x="146" y="303"/>
                    </a:lnTo>
                    <a:lnTo>
                      <a:pt x="145" y="303"/>
                    </a:lnTo>
                    <a:lnTo>
                      <a:pt x="145" y="305"/>
                    </a:lnTo>
                    <a:lnTo>
                      <a:pt x="144" y="305"/>
                    </a:lnTo>
                    <a:lnTo>
                      <a:pt x="143" y="304"/>
                    </a:lnTo>
                    <a:lnTo>
                      <a:pt x="142" y="305"/>
                    </a:lnTo>
                    <a:lnTo>
                      <a:pt x="142" y="304"/>
                    </a:lnTo>
                    <a:lnTo>
                      <a:pt x="141" y="303"/>
                    </a:lnTo>
                    <a:lnTo>
                      <a:pt x="141" y="302"/>
                    </a:lnTo>
                    <a:lnTo>
                      <a:pt x="140" y="302"/>
                    </a:lnTo>
                    <a:lnTo>
                      <a:pt x="141" y="299"/>
                    </a:lnTo>
                    <a:lnTo>
                      <a:pt x="144" y="293"/>
                    </a:lnTo>
                    <a:lnTo>
                      <a:pt x="146" y="286"/>
                    </a:lnTo>
                    <a:lnTo>
                      <a:pt x="145" y="286"/>
                    </a:lnTo>
                    <a:lnTo>
                      <a:pt x="143" y="290"/>
                    </a:lnTo>
                    <a:lnTo>
                      <a:pt x="141" y="288"/>
                    </a:lnTo>
                    <a:lnTo>
                      <a:pt x="140" y="289"/>
                    </a:lnTo>
                    <a:lnTo>
                      <a:pt x="140" y="291"/>
                    </a:lnTo>
                    <a:lnTo>
                      <a:pt x="139" y="290"/>
                    </a:lnTo>
                    <a:lnTo>
                      <a:pt x="137" y="290"/>
                    </a:lnTo>
                    <a:lnTo>
                      <a:pt x="134" y="293"/>
                    </a:lnTo>
                    <a:lnTo>
                      <a:pt x="134" y="291"/>
                    </a:lnTo>
                    <a:lnTo>
                      <a:pt x="132" y="290"/>
                    </a:lnTo>
                    <a:lnTo>
                      <a:pt x="131" y="285"/>
                    </a:lnTo>
                    <a:lnTo>
                      <a:pt x="131" y="283"/>
                    </a:lnTo>
                    <a:lnTo>
                      <a:pt x="131" y="282"/>
                    </a:lnTo>
                    <a:lnTo>
                      <a:pt x="129" y="281"/>
                    </a:lnTo>
                    <a:lnTo>
                      <a:pt x="128" y="283"/>
                    </a:lnTo>
                    <a:lnTo>
                      <a:pt x="129" y="280"/>
                    </a:lnTo>
                    <a:lnTo>
                      <a:pt x="128" y="277"/>
                    </a:lnTo>
                    <a:lnTo>
                      <a:pt x="125" y="275"/>
                    </a:lnTo>
                    <a:lnTo>
                      <a:pt x="126" y="273"/>
                    </a:lnTo>
                    <a:lnTo>
                      <a:pt x="127" y="273"/>
                    </a:lnTo>
                    <a:lnTo>
                      <a:pt x="126" y="270"/>
                    </a:lnTo>
                    <a:lnTo>
                      <a:pt x="128" y="270"/>
                    </a:lnTo>
                    <a:lnTo>
                      <a:pt x="129" y="269"/>
                    </a:lnTo>
                    <a:lnTo>
                      <a:pt x="131" y="267"/>
                    </a:lnTo>
                    <a:lnTo>
                      <a:pt x="132" y="264"/>
                    </a:lnTo>
                    <a:lnTo>
                      <a:pt x="132" y="265"/>
                    </a:lnTo>
                    <a:lnTo>
                      <a:pt x="133" y="264"/>
                    </a:lnTo>
                    <a:lnTo>
                      <a:pt x="133" y="263"/>
                    </a:lnTo>
                    <a:lnTo>
                      <a:pt x="134" y="261"/>
                    </a:lnTo>
                    <a:lnTo>
                      <a:pt x="131" y="260"/>
                    </a:lnTo>
                    <a:lnTo>
                      <a:pt x="132" y="258"/>
                    </a:lnTo>
                    <a:lnTo>
                      <a:pt x="131" y="255"/>
                    </a:lnTo>
                    <a:lnTo>
                      <a:pt x="134" y="255"/>
                    </a:lnTo>
                    <a:lnTo>
                      <a:pt x="134" y="254"/>
                    </a:lnTo>
                    <a:lnTo>
                      <a:pt x="136" y="253"/>
                    </a:lnTo>
                    <a:lnTo>
                      <a:pt x="137" y="251"/>
                    </a:lnTo>
                    <a:lnTo>
                      <a:pt x="139" y="251"/>
                    </a:lnTo>
                    <a:lnTo>
                      <a:pt x="140" y="247"/>
                    </a:lnTo>
                    <a:lnTo>
                      <a:pt x="141" y="248"/>
                    </a:lnTo>
                    <a:lnTo>
                      <a:pt x="142" y="246"/>
                    </a:lnTo>
                    <a:lnTo>
                      <a:pt x="142" y="245"/>
                    </a:lnTo>
                    <a:lnTo>
                      <a:pt x="143" y="244"/>
                    </a:lnTo>
                    <a:lnTo>
                      <a:pt x="142" y="241"/>
                    </a:lnTo>
                    <a:lnTo>
                      <a:pt x="142" y="240"/>
                    </a:lnTo>
                    <a:lnTo>
                      <a:pt x="141" y="237"/>
                    </a:lnTo>
                    <a:lnTo>
                      <a:pt x="136" y="231"/>
                    </a:lnTo>
                    <a:lnTo>
                      <a:pt x="133" y="229"/>
                    </a:lnTo>
                    <a:lnTo>
                      <a:pt x="132" y="226"/>
                    </a:lnTo>
                    <a:lnTo>
                      <a:pt x="133" y="226"/>
                    </a:lnTo>
                    <a:lnTo>
                      <a:pt x="137" y="224"/>
                    </a:lnTo>
                    <a:lnTo>
                      <a:pt x="137" y="221"/>
                    </a:lnTo>
                    <a:lnTo>
                      <a:pt x="137" y="219"/>
                    </a:lnTo>
                    <a:lnTo>
                      <a:pt x="137" y="213"/>
                    </a:lnTo>
                    <a:lnTo>
                      <a:pt x="140" y="210"/>
                    </a:lnTo>
                    <a:lnTo>
                      <a:pt x="143" y="204"/>
                    </a:lnTo>
                    <a:lnTo>
                      <a:pt x="146" y="204"/>
                    </a:lnTo>
                    <a:lnTo>
                      <a:pt x="149" y="201"/>
                    </a:lnTo>
                    <a:lnTo>
                      <a:pt x="150" y="199"/>
                    </a:lnTo>
                    <a:lnTo>
                      <a:pt x="153" y="199"/>
                    </a:lnTo>
                    <a:lnTo>
                      <a:pt x="157" y="191"/>
                    </a:lnTo>
                    <a:lnTo>
                      <a:pt x="157" y="188"/>
                    </a:lnTo>
                    <a:lnTo>
                      <a:pt x="156" y="186"/>
                    </a:lnTo>
                    <a:lnTo>
                      <a:pt x="157" y="182"/>
                    </a:lnTo>
                    <a:lnTo>
                      <a:pt x="155" y="172"/>
                    </a:lnTo>
                    <a:lnTo>
                      <a:pt x="162" y="167"/>
                    </a:lnTo>
                    <a:lnTo>
                      <a:pt x="164" y="165"/>
                    </a:lnTo>
                    <a:lnTo>
                      <a:pt x="162" y="162"/>
                    </a:lnTo>
                    <a:lnTo>
                      <a:pt x="162" y="157"/>
                    </a:lnTo>
                    <a:lnTo>
                      <a:pt x="162" y="154"/>
                    </a:lnTo>
                    <a:lnTo>
                      <a:pt x="166" y="152"/>
                    </a:lnTo>
                    <a:lnTo>
                      <a:pt x="167" y="152"/>
                    </a:lnTo>
                    <a:lnTo>
                      <a:pt x="171" y="147"/>
                    </a:lnTo>
                    <a:lnTo>
                      <a:pt x="173" y="145"/>
                    </a:lnTo>
                    <a:lnTo>
                      <a:pt x="175" y="141"/>
                    </a:lnTo>
                    <a:lnTo>
                      <a:pt x="177" y="143"/>
                    </a:lnTo>
                    <a:lnTo>
                      <a:pt x="178" y="142"/>
                    </a:lnTo>
                    <a:lnTo>
                      <a:pt x="180" y="141"/>
                    </a:lnTo>
                    <a:lnTo>
                      <a:pt x="180" y="138"/>
                    </a:lnTo>
                    <a:lnTo>
                      <a:pt x="182" y="136"/>
                    </a:lnTo>
                    <a:lnTo>
                      <a:pt x="184" y="135"/>
                    </a:lnTo>
                    <a:lnTo>
                      <a:pt x="189" y="138"/>
                    </a:lnTo>
                    <a:lnTo>
                      <a:pt x="192" y="136"/>
                    </a:lnTo>
                    <a:lnTo>
                      <a:pt x="196" y="129"/>
                    </a:lnTo>
                    <a:lnTo>
                      <a:pt x="200" y="125"/>
                    </a:lnTo>
                    <a:lnTo>
                      <a:pt x="202" y="121"/>
                    </a:lnTo>
                    <a:lnTo>
                      <a:pt x="203" y="121"/>
                    </a:lnTo>
                    <a:lnTo>
                      <a:pt x="205" y="126"/>
                    </a:lnTo>
                    <a:lnTo>
                      <a:pt x="207" y="128"/>
                    </a:lnTo>
                    <a:lnTo>
                      <a:pt x="208" y="127"/>
                    </a:lnTo>
                    <a:lnTo>
                      <a:pt x="211" y="129"/>
                    </a:lnTo>
                    <a:lnTo>
                      <a:pt x="214" y="127"/>
                    </a:lnTo>
                    <a:lnTo>
                      <a:pt x="214" y="125"/>
                    </a:lnTo>
                    <a:lnTo>
                      <a:pt x="215" y="124"/>
                    </a:lnTo>
                    <a:lnTo>
                      <a:pt x="215" y="121"/>
                    </a:lnTo>
                    <a:lnTo>
                      <a:pt x="216" y="119"/>
                    </a:lnTo>
                    <a:lnTo>
                      <a:pt x="215" y="115"/>
                    </a:lnTo>
                    <a:lnTo>
                      <a:pt x="216" y="112"/>
                    </a:lnTo>
                    <a:lnTo>
                      <a:pt x="217" y="107"/>
                    </a:lnTo>
                    <a:lnTo>
                      <a:pt x="217" y="105"/>
                    </a:lnTo>
                    <a:lnTo>
                      <a:pt x="218" y="104"/>
                    </a:lnTo>
                    <a:lnTo>
                      <a:pt x="216" y="96"/>
                    </a:lnTo>
                    <a:lnTo>
                      <a:pt x="212" y="98"/>
                    </a:lnTo>
                    <a:lnTo>
                      <a:pt x="211" y="95"/>
                    </a:lnTo>
                    <a:lnTo>
                      <a:pt x="208" y="92"/>
                    </a:lnTo>
                    <a:lnTo>
                      <a:pt x="202" y="92"/>
                    </a:lnTo>
                    <a:lnTo>
                      <a:pt x="201" y="93"/>
                    </a:lnTo>
                    <a:lnTo>
                      <a:pt x="200" y="101"/>
                    </a:lnTo>
                    <a:lnTo>
                      <a:pt x="197" y="101"/>
                    </a:lnTo>
                    <a:lnTo>
                      <a:pt x="196" y="99"/>
                    </a:lnTo>
                    <a:lnTo>
                      <a:pt x="195" y="93"/>
                    </a:lnTo>
                    <a:lnTo>
                      <a:pt x="194" y="91"/>
                    </a:lnTo>
                    <a:lnTo>
                      <a:pt x="197" y="90"/>
                    </a:lnTo>
                    <a:lnTo>
                      <a:pt x="196" y="88"/>
                    </a:lnTo>
                    <a:lnTo>
                      <a:pt x="197" y="85"/>
                    </a:lnTo>
                    <a:lnTo>
                      <a:pt x="200" y="80"/>
                    </a:lnTo>
                    <a:lnTo>
                      <a:pt x="198" y="78"/>
                    </a:lnTo>
                    <a:lnTo>
                      <a:pt x="196" y="78"/>
                    </a:lnTo>
                    <a:lnTo>
                      <a:pt x="195" y="77"/>
                    </a:lnTo>
                    <a:lnTo>
                      <a:pt x="196" y="73"/>
                    </a:lnTo>
                    <a:lnTo>
                      <a:pt x="198" y="74"/>
                    </a:lnTo>
                    <a:lnTo>
                      <a:pt x="200" y="72"/>
                    </a:lnTo>
                    <a:lnTo>
                      <a:pt x="199" y="70"/>
                    </a:lnTo>
                    <a:lnTo>
                      <a:pt x="192" y="70"/>
                    </a:lnTo>
                    <a:lnTo>
                      <a:pt x="189" y="73"/>
                    </a:lnTo>
                    <a:lnTo>
                      <a:pt x="186" y="73"/>
                    </a:lnTo>
                    <a:lnTo>
                      <a:pt x="182" y="74"/>
                    </a:lnTo>
                    <a:lnTo>
                      <a:pt x="178" y="71"/>
                    </a:lnTo>
                    <a:lnTo>
                      <a:pt x="176" y="68"/>
                    </a:lnTo>
                    <a:lnTo>
                      <a:pt x="172" y="66"/>
                    </a:lnTo>
                    <a:lnTo>
                      <a:pt x="171" y="63"/>
                    </a:lnTo>
                    <a:lnTo>
                      <a:pt x="168" y="61"/>
                    </a:lnTo>
                    <a:lnTo>
                      <a:pt x="166" y="58"/>
                    </a:lnTo>
                    <a:lnTo>
                      <a:pt x="164" y="54"/>
                    </a:lnTo>
                    <a:lnTo>
                      <a:pt x="160" y="49"/>
                    </a:lnTo>
                    <a:lnTo>
                      <a:pt x="160" y="44"/>
                    </a:lnTo>
                    <a:lnTo>
                      <a:pt x="162" y="40"/>
                    </a:lnTo>
                    <a:lnTo>
                      <a:pt x="160" y="38"/>
                    </a:lnTo>
                    <a:lnTo>
                      <a:pt x="157" y="37"/>
                    </a:lnTo>
                    <a:lnTo>
                      <a:pt x="156" y="38"/>
                    </a:lnTo>
                    <a:lnTo>
                      <a:pt x="151" y="39"/>
                    </a:lnTo>
                    <a:lnTo>
                      <a:pt x="149" y="40"/>
                    </a:lnTo>
                    <a:lnTo>
                      <a:pt x="145" y="40"/>
                    </a:lnTo>
                    <a:lnTo>
                      <a:pt x="141" y="32"/>
                    </a:lnTo>
                    <a:lnTo>
                      <a:pt x="138" y="32"/>
                    </a:lnTo>
                    <a:lnTo>
                      <a:pt x="138" y="27"/>
                    </a:lnTo>
                    <a:lnTo>
                      <a:pt x="136" y="27"/>
                    </a:lnTo>
                    <a:lnTo>
                      <a:pt x="131" y="27"/>
                    </a:lnTo>
                    <a:lnTo>
                      <a:pt x="131" y="28"/>
                    </a:lnTo>
                    <a:lnTo>
                      <a:pt x="123" y="24"/>
                    </a:lnTo>
                    <a:lnTo>
                      <a:pt x="119" y="20"/>
                    </a:lnTo>
                    <a:lnTo>
                      <a:pt x="117" y="20"/>
                    </a:lnTo>
                    <a:lnTo>
                      <a:pt x="116" y="17"/>
                    </a:lnTo>
                    <a:lnTo>
                      <a:pt x="115" y="17"/>
                    </a:lnTo>
                    <a:lnTo>
                      <a:pt x="113" y="18"/>
                    </a:lnTo>
                    <a:lnTo>
                      <a:pt x="111" y="15"/>
                    </a:lnTo>
                    <a:lnTo>
                      <a:pt x="109" y="14"/>
                    </a:lnTo>
                    <a:lnTo>
                      <a:pt x="105" y="17"/>
                    </a:lnTo>
                    <a:lnTo>
                      <a:pt x="102" y="17"/>
                    </a:lnTo>
                    <a:lnTo>
                      <a:pt x="101" y="15"/>
                    </a:lnTo>
                    <a:lnTo>
                      <a:pt x="96" y="10"/>
                    </a:lnTo>
                    <a:lnTo>
                      <a:pt x="90" y="6"/>
                    </a:lnTo>
                    <a:lnTo>
                      <a:pt x="85" y="0"/>
                    </a:lnTo>
                    <a:lnTo>
                      <a:pt x="85" y="1"/>
                    </a:lnTo>
                    <a:lnTo>
                      <a:pt x="83" y="0"/>
                    </a:lnTo>
                    <a:lnTo>
                      <a:pt x="82" y="3"/>
                    </a:lnTo>
                    <a:lnTo>
                      <a:pt x="80" y="2"/>
                    </a:lnTo>
                    <a:lnTo>
                      <a:pt x="78" y="3"/>
                    </a:lnTo>
                    <a:lnTo>
                      <a:pt x="78" y="6"/>
                    </a:lnTo>
                    <a:lnTo>
                      <a:pt x="76" y="7"/>
                    </a:lnTo>
                    <a:lnTo>
                      <a:pt x="76" y="10"/>
                    </a:lnTo>
                    <a:lnTo>
                      <a:pt x="74" y="12"/>
                    </a:lnTo>
                    <a:lnTo>
                      <a:pt x="74" y="15"/>
                    </a:lnTo>
                    <a:lnTo>
                      <a:pt x="72" y="17"/>
                    </a:lnTo>
                    <a:lnTo>
                      <a:pt x="71" y="19"/>
                    </a:lnTo>
                    <a:lnTo>
                      <a:pt x="72" y="19"/>
                    </a:lnTo>
                    <a:lnTo>
                      <a:pt x="75" y="22"/>
                    </a:lnTo>
                    <a:lnTo>
                      <a:pt x="77" y="24"/>
                    </a:lnTo>
                    <a:lnTo>
                      <a:pt x="79" y="25"/>
                    </a:lnTo>
                    <a:lnTo>
                      <a:pt x="80" y="28"/>
                    </a:lnTo>
                    <a:lnTo>
                      <a:pt x="83" y="28"/>
                    </a:lnTo>
                    <a:lnTo>
                      <a:pt x="83" y="29"/>
                    </a:lnTo>
                    <a:lnTo>
                      <a:pt x="83" y="31"/>
                    </a:lnTo>
                    <a:lnTo>
                      <a:pt x="84" y="32"/>
                    </a:lnTo>
                    <a:lnTo>
                      <a:pt x="85" y="38"/>
                    </a:lnTo>
                    <a:lnTo>
                      <a:pt x="83" y="41"/>
                    </a:lnTo>
                    <a:lnTo>
                      <a:pt x="86" y="48"/>
                    </a:lnTo>
                    <a:lnTo>
                      <a:pt x="88" y="51"/>
                    </a:lnTo>
                    <a:lnTo>
                      <a:pt x="88" y="56"/>
                    </a:lnTo>
                    <a:lnTo>
                      <a:pt x="87" y="57"/>
                    </a:lnTo>
                    <a:lnTo>
                      <a:pt x="88" y="62"/>
                    </a:lnTo>
                    <a:lnTo>
                      <a:pt x="91" y="66"/>
                    </a:lnTo>
                    <a:lnTo>
                      <a:pt x="93" y="67"/>
                    </a:lnTo>
                    <a:lnTo>
                      <a:pt x="94" y="66"/>
                    </a:lnTo>
                    <a:lnTo>
                      <a:pt x="96" y="66"/>
                    </a:lnTo>
                    <a:lnTo>
                      <a:pt x="96" y="68"/>
                    </a:lnTo>
                    <a:lnTo>
                      <a:pt x="102" y="72"/>
                    </a:lnTo>
                    <a:lnTo>
                      <a:pt x="104" y="72"/>
                    </a:lnTo>
                    <a:lnTo>
                      <a:pt x="104" y="75"/>
                    </a:lnTo>
                    <a:lnTo>
                      <a:pt x="106" y="76"/>
                    </a:lnTo>
                    <a:lnTo>
                      <a:pt x="108" y="84"/>
                    </a:lnTo>
                    <a:lnTo>
                      <a:pt x="107" y="89"/>
                    </a:lnTo>
                    <a:lnTo>
                      <a:pt x="105" y="92"/>
                    </a:lnTo>
                    <a:lnTo>
                      <a:pt x="102" y="93"/>
                    </a:lnTo>
                    <a:lnTo>
                      <a:pt x="102" y="95"/>
                    </a:lnTo>
                    <a:lnTo>
                      <a:pt x="104" y="98"/>
                    </a:lnTo>
                    <a:lnTo>
                      <a:pt x="104" y="101"/>
                    </a:lnTo>
                    <a:lnTo>
                      <a:pt x="108" y="107"/>
                    </a:lnTo>
                    <a:lnTo>
                      <a:pt x="106" y="108"/>
                    </a:lnTo>
                    <a:lnTo>
                      <a:pt x="104" y="112"/>
                    </a:lnTo>
                    <a:lnTo>
                      <a:pt x="100" y="112"/>
                    </a:lnTo>
                    <a:lnTo>
                      <a:pt x="99" y="112"/>
                    </a:lnTo>
                    <a:lnTo>
                      <a:pt x="98" y="107"/>
                    </a:lnTo>
                    <a:lnTo>
                      <a:pt x="96" y="104"/>
                    </a:lnTo>
                    <a:lnTo>
                      <a:pt x="96" y="100"/>
                    </a:lnTo>
                    <a:lnTo>
                      <a:pt x="94" y="98"/>
                    </a:lnTo>
                    <a:lnTo>
                      <a:pt x="91" y="101"/>
                    </a:lnTo>
                    <a:lnTo>
                      <a:pt x="91" y="103"/>
                    </a:lnTo>
                    <a:lnTo>
                      <a:pt x="91" y="104"/>
                    </a:lnTo>
                    <a:lnTo>
                      <a:pt x="90" y="106"/>
                    </a:lnTo>
                    <a:lnTo>
                      <a:pt x="89" y="108"/>
                    </a:lnTo>
                    <a:lnTo>
                      <a:pt x="87" y="108"/>
                    </a:lnTo>
                    <a:lnTo>
                      <a:pt x="86" y="107"/>
                    </a:lnTo>
                    <a:lnTo>
                      <a:pt x="81" y="107"/>
                    </a:lnTo>
                    <a:lnTo>
                      <a:pt x="80" y="106"/>
                    </a:lnTo>
                    <a:lnTo>
                      <a:pt x="78" y="105"/>
                    </a:lnTo>
                    <a:lnTo>
                      <a:pt x="74" y="106"/>
                    </a:lnTo>
                    <a:lnTo>
                      <a:pt x="73" y="108"/>
                    </a:lnTo>
                    <a:lnTo>
                      <a:pt x="70" y="109"/>
                    </a:lnTo>
                    <a:lnTo>
                      <a:pt x="69" y="111"/>
                    </a:lnTo>
                    <a:lnTo>
                      <a:pt x="69" y="115"/>
                    </a:lnTo>
                    <a:lnTo>
                      <a:pt x="68" y="117"/>
                    </a:lnTo>
                    <a:lnTo>
                      <a:pt x="66" y="118"/>
                    </a:lnTo>
                    <a:lnTo>
                      <a:pt x="63" y="117"/>
                    </a:lnTo>
                    <a:lnTo>
                      <a:pt x="62" y="119"/>
                    </a:lnTo>
                    <a:lnTo>
                      <a:pt x="63" y="121"/>
                    </a:lnTo>
                    <a:lnTo>
                      <a:pt x="62" y="123"/>
                    </a:lnTo>
                    <a:lnTo>
                      <a:pt x="62" y="126"/>
                    </a:lnTo>
                    <a:lnTo>
                      <a:pt x="61" y="129"/>
                    </a:lnTo>
                    <a:lnTo>
                      <a:pt x="58" y="131"/>
                    </a:lnTo>
                    <a:lnTo>
                      <a:pt x="57" y="133"/>
                    </a:lnTo>
                    <a:lnTo>
                      <a:pt x="55" y="136"/>
                    </a:lnTo>
                    <a:lnTo>
                      <a:pt x="55" y="139"/>
                    </a:lnTo>
                    <a:lnTo>
                      <a:pt x="54" y="141"/>
                    </a:lnTo>
                    <a:lnTo>
                      <a:pt x="52" y="145"/>
                    </a:lnTo>
                    <a:lnTo>
                      <a:pt x="52" y="148"/>
                    </a:lnTo>
                    <a:lnTo>
                      <a:pt x="51" y="150"/>
                    </a:lnTo>
                    <a:lnTo>
                      <a:pt x="50" y="150"/>
                    </a:lnTo>
                    <a:lnTo>
                      <a:pt x="50" y="148"/>
                    </a:lnTo>
                    <a:lnTo>
                      <a:pt x="49" y="148"/>
                    </a:lnTo>
                    <a:lnTo>
                      <a:pt x="49" y="154"/>
                    </a:lnTo>
                    <a:lnTo>
                      <a:pt x="47" y="156"/>
                    </a:lnTo>
                    <a:lnTo>
                      <a:pt x="44" y="156"/>
                    </a:lnTo>
                    <a:lnTo>
                      <a:pt x="43" y="157"/>
                    </a:lnTo>
                    <a:lnTo>
                      <a:pt x="44" y="158"/>
                    </a:lnTo>
                    <a:lnTo>
                      <a:pt x="46" y="164"/>
                    </a:lnTo>
                    <a:lnTo>
                      <a:pt x="46" y="166"/>
                    </a:lnTo>
                    <a:lnTo>
                      <a:pt x="47" y="169"/>
                    </a:lnTo>
                    <a:lnTo>
                      <a:pt x="44" y="170"/>
                    </a:lnTo>
                    <a:lnTo>
                      <a:pt x="41" y="174"/>
                    </a:lnTo>
                    <a:lnTo>
                      <a:pt x="39" y="176"/>
                    </a:lnTo>
                    <a:lnTo>
                      <a:pt x="43" y="180"/>
                    </a:lnTo>
                    <a:lnTo>
                      <a:pt x="41" y="183"/>
                    </a:lnTo>
                    <a:lnTo>
                      <a:pt x="44" y="187"/>
                    </a:lnTo>
                    <a:lnTo>
                      <a:pt x="41" y="189"/>
                    </a:lnTo>
                    <a:lnTo>
                      <a:pt x="41" y="191"/>
                    </a:lnTo>
                    <a:lnTo>
                      <a:pt x="41" y="192"/>
                    </a:lnTo>
                    <a:lnTo>
                      <a:pt x="40" y="193"/>
                    </a:lnTo>
                    <a:lnTo>
                      <a:pt x="37" y="193"/>
                    </a:lnTo>
                    <a:lnTo>
                      <a:pt x="36" y="195"/>
                    </a:lnTo>
                    <a:lnTo>
                      <a:pt x="33" y="196"/>
                    </a:lnTo>
                    <a:lnTo>
                      <a:pt x="31" y="199"/>
                    </a:lnTo>
                    <a:lnTo>
                      <a:pt x="30" y="198"/>
                    </a:lnTo>
                    <a:lnTo>
                      <a:pt x="29" y="199"/>
                    </a:lnTo>
                    <a:lnTo>
                      <a:pt x="29" y="202"/>
                    </a:lnTo>
                    <a:lnTo>
                      <a:pt x="28" y="203"/>
                    </a:lnTo>
                    <a:lnTo>
                      <a:pt x="26" y="204"/>
                    </a:lnTo>
                    <a:lnTo>
                      <a:pt x="25" y="207"/>
                    </a:lnTo>
                    <a:lnTo>
                      <a:pt x="25" y="208"/>
                    </a:lnTo>
                    <a:lnTo>
                      <a:pt x="23" y="208"/>
                    </a:lnTo>
                    <a:lnTo>
                      <a:pt x="21" y="205"/>
                    </a:lnTo>
                    <a:lnTo>
                      <a:pt x="16" y="204"/>
                    </a:lnTo>
                    <a:lnTo>
                      <a:pt x="13" y="204"/>
                    </a:lnTo>
                    <a:lnTo>
                      <a:pt x="14" y="212"/>
                    </a:lnTo>
                    <a:lnTo>
                      <a:pt x="16" y="213"/>
                    </a:lnTo>
                    <a:lnTo>
                      <a:pt x="17" y="216"/>
                    </a:lnTo>
                    <a:lnTo>
                      <a:pt x="17" y="218"/>
                    </a:lnTo>
                    <a:lnTo>
                      <a:pt x="18" y="221"/>
                    </a:lnTo>
                    <a:lnTo>
                      <a:pt x="17" y="224"/>
                    </a:lnTo>
                    <a:lnTo>
                      <a:pt x="17" y="228"/>
                    </a:lnTo>
                    <a:lnTo>
                      <a:pt x="17" y="230"/>
                    </a:lnTo>
                    <a:lnTo>
                      <a:pt x="18" y="231"/>
                    </a:lnTo>
                    <a:lnTo>
                      <a:pt x="18" y="236"/>
                    </a:lnTo>
                    <a:lnTo>
                      <a:pt x="21" y="238"/>
                    </a:lnTo>
                    <a:lnTo>
                      <a:pt x="19" y="241"/>
                    </a:lnTo>
                    <a:lnTo>
                      <a:pt x="22" y="243"/>
                    </a:lnTo>
                    <a:lnTo>
                      <a:pt x="21" y="245"/>
                    </a:lnTo>
                    <a:lnTo>
                      <a:pt x="21" y="247"/>
                    </a:lnTo>
                    <a:lnTo>
                      <a:pt x="20" y="249"/>
                    </a:lnTo>
                    <a:lnTo>
                      <a:pt x="20" y="251"/>
                    </a:lnTo>
                    <a:lnTo>
                      <a:pt x="21" y="253"/>
                    </a:lnTo>
                    <a:lnTo>
                      <a:pt x="19" y="255"/>
                    </a:lnTo>
                    <a:lnTo>
                      <a:pt x="21" y="261"/>
                    </a:lnTo>
                    <a:lnTo>
                      <a:pt x="21" y="264"/>
                    </a:lnTo>
                    <a:lnTo>
                      <a:pt x="23" y="265"/>
                    </a:lnTo>
                    <a:lnTo>
                      <a:pt x="22" y="266"/>
                    </a:lnTo>
                    <a:lnTo>
                      <a:pt x="23" y="267"/>
                    </a:lnTo>
                    <a:lnTo>
                      <a:pt x="19" y="268"/>
                    </a:lnTo>
                    <a:lnTo>
                      <a:pt x="17" y="268"/>
                    </a:lnTo>
                    <a:lnTo>
                      <a:pt x="15" y="270"/>
                    </a:lnTo>
                    <a:lnTo>
                      <a:pt x="14" y="271"/>
                    </a:lnTo>
                    <a:lnTo>
                      <a:pt x="13" y="277"/>
                    </a:lnTo>
                    <a:lnTo>
                      <a:pt x="13" y="279"/>
                    </a:lnTo>
                    <a:lnTo>
                      <a:pt x="14" y="280"/>
                    </a:lnTo>
                    <a:lnTo>
                      <a:pt x="12" y="283"/>
                    </a:lnTo>
                    <a:lnTo>
                      <a:pt x="13" y="286"/>
                    </a:lnTo>
                    <a:lnTo>
                      <a:pt x="15" y="287"/>
                    </a:lnTo>
                    <a:lnTo>
                      <a:pt x="16" y="289"/>
                    </a:lnTo>
                    <a:lnTo>
                      <a:pt x="17" y="290"/>
                    </a:lnTo>
                    <a:lnTo>
                      <a:pt x="18" y="291"/>
                    </a:lnTo>
                    <a:lnTo>
                      <a:pt x="17" y="293"/>
                    </a:lnTo>
                    <a:lnTo>
                      <a:pt x="17" y="295"/>
                    </a:lnTo>
                    <a:lnTo>
                      <a:pt x="17" y="298"/>
                    </a:lnTo>
                    <a:lnTo>
                      <a:pt x="19" y="304"/>
                    </a:lnTo>
                    <a:lnTo>
                      <a:pt x="23" y="311"/>
                    </a:lnTo>
                    <a:lnTo>
                      <a:pt x="25" y="313"/>
                    </a:lnTo>
                    <a:lnTo>
                      <a:pt x="26" y="314"/>
                    </a:lnTo>
                    <a:lnTo>
                      <a:pt x="28" y="316"/>
                    </a:lnTo>
                    <a:lnTo>
                      <a:pt x="26" y="317"/>
                    </a:lnTo>
                    <a:lnTo>
                      <a:pt x="26" y="318"/>
                    </a:lnTo>
                    <a:lnTo>
                      <a:pt x="26" y="319"/>
                    </a:lnTo>
                    <a:lnTo>
                      <a:pt x="25" y="320"/>
                    </a:lnTo>
                    <a:lnTo>
                      <a:pt x="28" y="325"/>
                    </a:lnTo>
                    <a:lnTo>
                      <a:pt x="30" y="326"/>
                    </a:lnTo>
                    <a:lnTo>
                      <a:pt x="28" y="329"/>
                    </a:lnTo>
                    <a:lnTo>
                      <a:pt x="26" y="329"/>
                    </a:lnTo>
                    <a:lnTo>
                      <a:pt x="25" y="332"/>
                    </a:lnTo>
                    <a:lnTo>
                      <a:pt x="23" y="333"/>
                    </a:lnTo>
                    <a:lnTo>
                      <a:pt x="23" y="335"/>
                    </a:lnTo>
                    <a:lnTo>
                      <a:pt x="25" y="335"/>
                    </a:lnTo>
                    <a:lnTo>
                      <a:pt x="26" y="335"/>
                    </a:lnTo>
                    <a:lnTo>
                      <a:pt x="27" y="333"/>
                    </a:lnTo>
                    <a:lnTo>
                      <a:pt x="29" y="333"/>
                    </a:lnTo>
                    <a:lnTo>
                      <a:pt x="29" y="335"/>
                    </a:lnTo>
                    <a:lnTo>
                      <a:pt x="30" y="336"/>
                    </a:lnTo>
                    <a:lnTo>
                      <a:pt x="31" y="335"/>
                    </a:lnTo>
                    <a:lnTo>
                      <a:pt x="34" y="335"/>
                    </a:lnTo>
                    <a:lnTo>
                      <a:pt x="35" y="338"/>
                    </a:lnTo>
                    <a:lnTo>
                      <a:pt x="38" y="340"/>
                    </a:lnTo>
                    <a:lnTo>
                      <a:pt x="37" y="342"/>
                    </a:lnTo>
                    <a:lnTo>
                      <a:pt x="35" y="346"/>
                    </a:lnTo>
                    <a:lnTo>
                      <a:pt x="36" y="346"/>
                    </a:lnTo>
                    <a:lnTo>
                      <a:pt x="36" y="348"/>
                    </a:lnTo>
                    <a:lnTo>
                      <a:pt x="37" y="347"/>
                    </a:lnTo>
                    <a:lnTo>
                      <a:pt x="37" y="349"/>
                    </a:lnTo>
                    <a:lnTo>
                      <a:pt x="35" y="356"/>
                    </a:lnTo>
                    <a:lnTo>
                      <a:pt x="36" y="359"/>
                    </a:lnTo>
                    <a:lnTo>
                      <a:pt x="33" y="361"/>
                    </a:lnTo>
                    <a:lnTo>
                      <a:pt x="32" y="361"/>
                    </a:lnTo>
                    <a:lnTo>
                      <a:pt x="30" y="362"/>
                    </a:lnTo>
                    <a:lnTo>
                      <a:pt x="30" y="364"/>
                    </a:lnTo>
                    <a:lnTo>
                      <a:pt x="30" y="365"/>
                    </a:lnTo>
                    <a:lnTo>
                      <a:pt x="29" y="365"/>
                    </a:lnTo>
                    <a:lnTo>
                      <a:pt x="26" y="365"/>
                    </a:lnTo>
                    <a:lnTo>
                      <a:pt x="25" y="367"/>
                    </a:lnTo>
                    <a:lnTo>
                      <a:pt x="25" y="369"/>
                    </a:lnTo>
                    <a:lnTo>
                      <a:pt x="23" y="369"/>
                    </a:lnTo>
                    <a:lnTo>
                      <a:pt x="23" y="374"/>
                    </a:lnTo>
                    <a:lnTo>
                      <a:pt x="22" y="375"/>
                    </a:lnTo>
                    <a:lnTo>
                      <a:pt x="22" y="377"/>
                    </a:lnTo>
                    <a:lnTo>
                      <a:pt x="24" y="381"/>
                    </a:lnTo>
                    <a:lnTo>
                      <a:pt x="26" y="384"/>
                    </a:lnTo>
                    <a:lnTo>
                      <a:pt x="26" y="385"/>
                    </a:lnTo>
                    <a:lnTo>
                      <a:pt x="25" y="384"/>
                    </a:lnTo>
                    <a:lnTo>
                      <a:pt x="25" y="382"/>
                    </a:lnTo>
                    <a:lnTo>
                      <a:pt x="24" y="382"/>
                    </a:lnTo>
                    <a:lnTo>
                      <a:pt x="24" y="383"/>
                    </a:lnTo>
                    <a:lnTo>
                      <a:pt x="23" y="384"/>
                    </a:lnTo>
                    <a:lnTo>
                      <a:pt x="22" y="388"/>
                    </a:lnTo>
                    <a:lnTo>
                      <a:pt x="20" y="389"/>
                    </a:lnTo>
                    <a:lnTo>
                      <a:pt x="21" y="391"/>
                    </a:lnTo>
                    <a:lnTo>
                      <a:pt x="21" y="392"/>
                    </a:lnTo>
                    <a:lnTo>
                      <a:pt x="19" y="393"/>
                    </a:lnTo>
                    <a:lnTo>
                      <a:pt x="20" y="395"/>
                    </a:lnTo>
                    <a:lnTo>
                      <a:pt x="21" y="396"/>
                    </a:lnTo>
                    <a:lnTo>
                      <a:pt x="18" y="397"/>
                    </a:lnTo>
                    <a:lnTo>
                      <a:pt x="18" y="398"/>
                    </a:lnTo>
                    <a:lnTo>
                      <a:pt x="17" y="399"/>
                    </a:lnTo>
                    <a:lnTo>
                      <a:pt x="16" y="398"/>
                    </a:lnTo>
                    <a:lnTo>
                      <a:pt x="15" y="401"/>
                    </a:lnTo>
                    <a:lnTo>
                      <a:pt x="17" y="401"/>
                    </a:lnTo>
                    <a:lnTo>
                      <a:pt x="17" y="404"/>
                    </a:lnTo>
                    <a:lnTo>
                      <a:pt x="19" y="405"/>
                    </a:lnTo>
                    <a:lnTo>
                      <a:pt x="18" y="406"/>
                    </a:lnTo>
                    <a:lnTo>
                      <a:pt x="17" y="406"/>
                    </a:lnTo>
                    <a:lnTo>
                      <a:pt x="13" y="407"/>
                    </a:lnTo>
                    <a:lnTo>
                      <a:pt x="13" y="406"/>
                    </a:lnTo>
                    <a:lnTo>
                      <a:pt x="12" y="405"/>
                    </a:lnTo>
                    <a:lnTo>
                      <a:pt x="11" y="403"/>
                    </a:lnTo>
                    <a:lnTo>
                      <a:pt x="9" y="404"/>
                    </a:lnTo>
                    <a:lnTo>
                      <a:pt x="9" y="402"/>
                    </a:lnTo>
                    <a:lnTo>
                      <a:pt x="8" y="404"/>
                    </a:lnTo>
                    <a:lnTo>
                      <a:pt x="8" y="403"/>
                    </a:lnTo>
                    <a:lnTo>
                      <a:pt x="5" y="401"/>
                    </a:lnTo>
                    <a:lnTo>
                      <a:pt x="3" y="399"/>
                    </a:lnTo>
                    <a:lnTo>
                      <a:pt x="5" y="401"/>
                    </a:lnTo>
                    <a:lnTo>
                      <a:pt x="3" y="401"/>
                    </a:lnTo>
                    <a:lnTo>
                      <a:pt x="4" y="403"/>
                    </a:lnTo>
                    <a:lnTo>
                      <a:pt x="3" y="404"/>
                    </a:lnTo>
                    <a:lnTo>
                      <a:pt x="3" y="405"/>
                    </a:lnTo>
                    <a:lnTo>
                      <a:pt x="3" y="407"/>
                    </a:lnTo>
                    <a:lnTo>
                      <a:pt x="3" y="410"/>
                    </a:lnTo>
                    <a:lnTo>
                      <a:pt x="5" y="410"/>
                    </a:lnTo>
                    <a:lnTo>
                      <a:pt x="5" y="411"/>
                    </a:lnTo>
                    <a:lnTo>
                      <a:pt x="5" y="412"/>
                    </a:lnTo>
                    <a:lnTo>
                      <a:pt x="3" y="413"/>
                    </a:lnTo>
                    <a:lnTo>
                      <a:pt x="2" y="416"/>
                    </a:lnTo>
                    <a:lnTo>
                      <a:pt x="1" y="417"/>
                    </a:lnTo>
                    <a:lnTo>
                      <a:pt x="0" y="420"/>
                    </a:lnTo>
                    <a:lnTo>
                      <a:pt x="2" y="420"/>
                    </a:lnTo>
                    <a:lnTo>
                      <a:pt x="5" y="420"/>
                    </a:lnTo>
                    <a:lnTo>
                      <a:pt x="6" y="420"/>
                    </a:lnTo>
                    <a:lnTo>
                      <a:pt x="8" y="421"/>
                    </a:lnTo>
                    <a:lnTo>
                      <a:pt x="9" y="420"/>
                    </a:lnTo>
                    <a:lnTo>
                      <a:pt x="11" y="422"/>
                    </a:lnTo>
                    <a:lnTo>
                      <a:pt x="12" y="423"/>
                    </a:lnTo>
                    <a:lnTo>
                      <a:pt x="15" y="426"/>
                    </a:lnTo>
                    <a:lnTo>
                      <a:pt x="18" y="426"/>
                    </a:lnTo>
                    <a:lnTo>
                      <a:pt x="20" y="425"/>
                    </a:lnTo>
                    <a:lnTo>
                      <a:pt x="19" y="426"/>
                    </a:lnTo>
                    <a:lnTo>
                      <a:pt x="19" y="427"/>
                    </a:lnTo>
                    <a:lnTo>
                      <a:pt x="20" y="426"/>
                    </a:lnTo>
                    <a:lnTo>
                      <a:pt x="21" y="426"/>
                    </a:lnTo>
                    <a:lnTo>
                      <a:pt x="23" y="427"/>
                    </a:lnTo>
                    <a:lnTo>
                      <a:pt x="24" y="427"/>
                    </a:lnTo>
                    <a:lnTo>
                      <a:pt x="25" y="427"/>
                    </a:lnTo>
                    <a:lnTo>
                      <a:pt x="25" y="428"/>
                    </a:lnTo>
                    <a:lnTo>
                      <a:pt x="22" y="428"/>
                    </a:lnTo>
                    <a:lnTo>
                      <a:pt x="20" y="427"/>
                    </a:lnTo>
                    <a:lnTo>
                      <a:pt x="18" y="427"/>
                    </a:lnTo>
                    <a:lnTo>
                      <a:pt x="17" y="430"/>
                    </a:lnTo>
                    <a:lnTo>
                      <a:pt x="17" y="431"/>
                    </a:lnTo>
                    <a:lnTo>
                      <a:pt x="17" y="435"/>
                    </a:lnTo>
                    <a:lnTo>
                      <a:pt x="15" y="436"/>
                    </a:lnTo>
                    <a:lnTo>
                      <a:pt x="14" y="435"/>
                    </a:lnTo>
                    <a:lnTo>
                      <a:pt x="11" y="437"/>
                    </a:lnTo>
                    <a:lnTo>
                      <a:pt x="12" y="439"/>
                    </a:lnTo>
                    <a:lnTo>
                      <a:pt x="10" y="443"/>
                    </a:lnTo>
                    <a:lnTo>
                      <a:pt x="11" y="445"/>
                    </a:lnTo>
                    <a:lnTo>
                      <a:pt x="11" y="448"/>
                    </a:lnTo>
                    <a:lnTo>
                      <a:pt x="12" y="449"/>
                    </a:lnTo>
                    <a:lnTo>
                      <a:pt x="12" y="451"/>
                    </a:lnTo>
                    <a:lnTo>
                      <a:pt x="13" y="454"/>
                    </a:lnTo>
                    <a:lnTo>
                      <a:pt x="12" y="454"/>
                    </a:lnTo>
                    <a:lnTo>
                      <a:pt x="13" y="455"/>
                    </a:lnTo>
                    <a:lnTo>
                      <a:pt x="12" y="462"/>
                    </a:lnTo>
                    <a:lnTo>
                      <a:pt x="14" y="463"/>
                    </a:lnTo>
                    <a:lnTo>
                      <a:pt x="15" y="464"/>
                    </a:lnTo>
                    <a:lnTo>
                      <a:pt x="17" y="464"/>
                    </a:lnTo>
                    <a:lnTo>
                      <a:pt x="17" y="465"/>
                    </a:lnTo>
                    <a:lnTo>
                      <a:pt x="17" y="468"/>
                    </a:lnTo>
                    <a:lnTo>
                      <a:pt x="18" y="470"/>
                    </a:lnTo>
                    <a:lnTo>
                      <a:pt x="17" y="471"/>
                    </a:lnTo>
                    <a:lnTo>
                      <a:pt x="19" y="471"/>
                    </a:lnTo>
                    <a:lnTo>
                      <a:pt x="19" y="473"/>
                    </a:lnTo>
                    <a:lnTo>
                      <a:pt x="19" y="474"/>
                    </a:lnTo>
                    <a:lnTo>
                      <a:pt x="18" y="474"/>
                    </a:lnTo>
                    <a:lnTo>
                      <a:pt x="17" y="474"/>
                    </a:lnTo>
                    <a:lnTo>
                      <a:pt x="15" y="474"/>
                    </a:lnTo>
                    <a:lnTo>
                      <a:pt x="15" y="475"/>
                    </a:lnTo>
                    <a:lnTo>
                      <a:pt x="12" y="474"/>
                    </a:lnTo>
                    <a:lnTo>
                      <a:pt x="11" y="477"/>
                    </a:lnTo>
                    <a:lnTo>
                      <a:pt x="11" y="478"/>
                    </a:lnTo>
                    <a:lnTo>
                      <a:pt x="9" y="480"/>
                    </a:lnTo>
                    <a:lnTo>
                      <a:pt x="9" y="483"/>
                    </a:lnTo>
                    <a:lnTo>
                      <a:pt x="11" y="484"/>
                    </a:lnTo>
                    <a:lnTo>
                      <a:pt x="11" y="482"/>
                    </a:lnTo>
                    <a:lnTo>
                      <a:pt x="13" y="483"/>
                    </a:lnTo>
                    <a:lnTo>
                      <a:pt x="12" y="486"/>
                    </a:lnTo>
                    <a:lnTo>
                      <a:pt x="18" y="490"/>
                    </a:lnTo>
                    <a:lnTo>
                      <a:pt x="21" y="494"/>
                    </a:lnTo>
                    <a:lnTo>
                      <a:pt x="25" y="496"/>
                    </a:lnTo>
                    <a:lnTo>
                      <a:pt x="26" y="499"/>
                    </a:lnTo>
                    <a:lnTo>
                      <a:pt x="27" y="498"/>
                    </a:lnTo>
                    <a:lnTo>
                      <a:pt x="27" y="497"/>
                    </a:lnTo>
                    <a:lnTo>
                      <a:pt x="30" y="493"/>
                    </a:lnTo>
                    <a:lnTo>
                      <a:pt x="32" y="491"/>
                    </a:lnTo>
                    <a:lnTo>
                      <a:pt x="34" y="491"/>
                    </a:lnTo>
                    <a:lnTo>
                      <a:pt x="36" y="490"/>
                    </a:lnTo>
                    <a:lnTo>
                      <a:pt x="37" y="491"/>
                    </a:lnTo>
                    <a:lnTo>
                      <a:pt x="36" y="489"/>
                    </a:lnTo>
                    <a:lnTo>
                      <a:pt x="36" y="486"/>
                    </a:lnTo>
                    <a:lnTo>
                      <a:pt x="36" y="484"/>
                    </a:lnTo>
                    <a:lnTo>
                      <a:pt x="37" y="484"/>
                    </a:lnTo>
                    <a:lnTo>
                      <a:pt x="39" y="478"/>
                    </a:lnTo>
                    <a:lnTo>
                      <a:pt x="40" y="481"/>
                    </a:lnTo>
                    <a:lnTo>
                      <a:pt x="41" y="480"/>
                    </a:lnTo>
                    <a:lnTo>
                      <a:pt x="44" y="478"/>
                    </a:lnTo>
                    <a:lnTo>
                      <a:pt x="41" y="475"/>
                    </a:lnTo>
                    <a:lnTo>
                      <a:pt x="42" y="473"/>
                    </a:lnTo>
                    <a:lnTo>
                      <a:pt x="41" y="472"/>
                    </a:lnTo>
                    <a:lnTo>
                      <a:pt x="38" y="471"/>
                    </a:lnTo>
                    <a:lnTo>
                      <a:pt x="38" y="469"/>
                    </a:lnTo>
                    <a:lnTo>
                      <a:pt x="38" y="468"/>
                    </a:lnTo>
                    <a:lnTo>
                      <a:pt x="40" y="467"/>
                    </a:lnTo>
                    <a:lnTo>
                      <a:pt x="41" y="466"/>
                    </a:lnTo>
                    <a:lnTo>
                      <a:pt x="39" y="465"/>
                    </a:lnTo>
                    <a:lnTo>
                      <a:pt x="39" y="463"/>
                    </a:lnTo>
                    <a:lnTo>
                      <a:pt x="38" y="463"/>
                    </a:lnTo>
                    <a:lnTo>
                      <a:pt x="37" y="464"/>
                    </a:lnTo>
                    <a:lnTo>
                      <a:pt x="37" y="462"/>
                    </a:lnTo>
                    <a:lnTo>
                      <a:pt x="36" y="462"/>
                    </a:lnTo>
                    <a:lnTo>
                      <a:pt x="36" y="459"/>
                    </a:lnTo>
                    <a:lnTo>
                      <a:pt x="35" y="459"/>
                    </a:lnTo>
                    <a:lnTo>
                      <a:pt x="35" y="458"/>
                    </a:lnTo>
                    <a:lnTo>
                      <a:pt x="34" y="459"/>
                    </a:lnTo>
                    <a:lnTo>
                      <a:pt x="33" y="458"/>
                    </a:lnTo>
                    <a:lnTo>
                      <a:pt x="32" y="458"/>
                    </a:lnTo>
                    <a:lnTo>
                      <a:pt x="33" y="456"/>
                    </a:lnTo>
                    <a:lnTo>
                      <a:pt x="32" y="454"/>
                    </a:lnTo>
                    <a:lnTo>
                      <a:pt x="30" y="454"/>
                    </a:lnTo>
                    <a:lnTo>
                      <a:pt x="31" y="452"/>
                    </a:lnTo>
                    <a:lnTo>
                      <a:pt x="33" y="454"/>
                    </a:lnTo>
                    <a:lnTo>
                      <a:pt x="34" y="453"/>
                    </a:lnTo>
                    <a:lnTo>
                      <a:pt x="35" y="451"/>
                    </a:lnTo>
                    <a:lnTo>
                      <a:pt x="36" y="451"/>
                    </a:lnTo>
                    <a:lnTo>
                      <a:pt x="36" y="450"/>
                    </a:lnTo>
                    <a:lnTo>
                      <a:pt x="35" y="450"/>
                    </a:lnTo>
                    <a:lnTo>
                      <a:pt x="34" y="450"/>
                    </a:lnTo>
                    <a:lnTo>
                      <a:pt x="36" y="449"/>
                    </a:lnTo>
                    <a:lnTo>
                      <a:pt x="38" y="449"/>
                    </a:lnTo>
                    <a:lnTo>
                      <a:pt x="44" y="446"/>
                    </a:lnTo>
                    <a:lnTo>
                      <a:pt x="45" y="446"/>
                    </a:lnTo>
                    <a:lnTo>
                      <a:pt x="46" y="445"/>
                    </a:lnTo>
                    <a:lnTo>
                      <a:pt x="47" y="446"/>
                    </a:lnTo>
                    <a:lnTo>
                      <a:pt x="50" y="451"/>
                    </a:lnTo>
                    <a:lnTo>
                      <a:pt x="52" y="448"/>
                    </a:lnTo>
                    <a:lnTo>
                      <a:pt x="54" y="449"/>
                    </a:lnTo>
                    <a:lnTo>
                      <a:pt x="54" y="450"/>
                    </a:lnTo>
                    <a:lnTo>
                      <a:pt x="55" y="450"/>
                    </a:lnTo>
                    <a:lnTo>
                      <a:pt x="54" y="451"/>
                    </a:lnTo>
                    <a:lnTo>
                      <a:pt x="55" y="452"/>
                    </a:lnTo>
                    <a:lnTo>
                      <a:pt x="57" y="454"/>
                    </a:lnTo>
                    <a:lnTo>
                      <a:pt x="57" y="458"/>
                    </a:lnTo>
                    <a:lnTo>
                      <a:pt x="55" y="458"/>
                    </a:lnTo>
                    <a:lnTo>
                      <a:pt x="55" y="459"/>
                    </a:lnTo>
                    <a:lnTo>
                      <a:pt x="57" y="459"/>
                    </a:lnTo>
                    <a:lnTo>
                      <a:pt x="57" y="461"/>
                    </a:lnTo>
                    <a:lnTo>
                      <a:pt x="61" y="463"/>
                    </a:lnTo>
                    <a:lnTo>
                      <a:pt x="62" y="464"/>
                    </a:lnTo>
                    <a:lnTo>
                      <a:pt x="61" y="465"/>
                    </a:lnTo>
                    <a:lnTo>
                      <a:pt x="59" y="465"/>
                    </a:lnTo>
                    <a:lnTo>
                      <a:pt x="59" y="466"/>
                    </a:lnTo>
                    <a:lnTo>
                      <a:pt x="60" y="466"/>
                    </a:lnTo>
                    <a:lnTo>
                      <a:pt x="61" y="467"/>
                    </a:lnTo>
                    <a:lnTo>
                      <a:pt x="62" y="467"/>
                    </a:lnTo>
                    <a:lnTo>
                      <a:pt x="63" y="468"/>
                    </a:lnTo>
                    <a:lnTo>
                      <a:pt x="64" y="469"/>
                    </a:lnTo>
                    <a:lnTo>
                      <a:pt x="64" y="472"/>
                    </a:lnTo>
                    <a:lnTo>
                      <a:pt x="63" y="472"/>
                    </a:lnTo>
                    <a:lnTo>
                      <a:pt x="63" y="473"/>
                    </a:lnTo>
                    <a:lnTo>
                      <a:pt x="64" y="477"/>
                    </a:lnTo>
                    <a:lnTo>
                      <a:pt x="64" y="479"/>
                    </a:lnTo>
                    <a:lnTo>
                      <a:pt x="64" y="482"/>
                    </a:lnTo>
                    <a:lnTo>
                      <a:pt x="63" y="481"/>
                    </a:lnTo>
                    <a:lnTo>
                      <a:pt x="62" y="482"/>
                    </a:lnTo>
                    <a:lnTo>
                      <a:pt x="65" y="485"/>
                    </a:lnTo>
                    <a:lnTo>
                      <a:pt x="66" y="486"/>
                    </a:lnTo>
                    <a:lnTo>
                      <a:pt x="69" y="485"/>
                    </a:lnTo>
                    <a:lnTo>
                      <a:pt x="69" y="486"/>
                    </a:lnTo>
                    <a:lnTo>
                      <a:pt x="70" y="486"/>
                    </a:lnTo>
                    <a:lnTo>
                      <a:pt x="70" y="487"/>
                    </a:lnTo>
                    <a:lnTo>
                      <a:pt x="69" y="490"/>
                    </a:lnTo>
                    <a:lnTo>
                      <a:pt x="70" y="490"/>
                    </a:lnTo>
                    <a:lnTo>
                      <a:pt x="70" y="492"/>
                    </a:lnTo>
                    <a:lnTo>
                      <a:pt x="69" y="491"/>
                    </a:lnTo>
                    <a:lnTo>
                      <a:pt x="69" y="494"/>
                    </a:lnTo>
                    <a:lnTo>
                      <a:pt x="72" y="494"/>
                    </a:lnTo>
                    <a:lnTo>
                      <a:pt x="71" y="496"/>
                    </a:lnTo>
                    <a:lnTo>
                      <a:pt x="72" y="496"/>
                    </a:lnTo>
                    <a:lnTo>
                      <a:pt x="72" y="498"/>
                    </a:lnTo>
                    <a:lnTo>
                      <a:pt x="74" y="498"/>
                    </a:lnTo>
                    <a:lnTo>
                      <a:pt x="73" y="500"/>
                    </a:lnTo>
                    <a:lnTo>
                      <a:pt x="73" y="501"/>
                    </a:lnTo>
                    <a:lnTo>
                      <a:pt x="74" y="501"/>
                    </a:lnTo>
                    <a:lnTo>
                      <a:pt x="75" y="501"/>
                    </a:lnTo>
                    <a:lnTo>
                      <a:pt x="77" y="501"/>
                    </a:lnTo>
                    <a:lnTo>
                      <a:pt x="78" y="500"/>
                    </a:lnTo>
                    <a:lnTo>
                      <a:pt x="77" y="500"/>
                    </a:lnTo>
                    <a:lnTo>
                      <a:pt x="77" y="499"/>
                    </a:lnTo>
                    <a:lnTo>
                      <a:pt x="77" y="497"/>
                    </a:lnTo>
                    <a:lnTo>
                      <a:pt x="76" y="496"/>
                    </a:lnTo>
                    <a:lnTo>
                      <a:pt x="78" y="496"/>
                    </a:lnTo>
                    <a:lnTo>
                      <a:pt x="78" y="495"/>
                    </a:lnTo>
                    <a:lnTo>
                      <a:pt x="79" y="494"/>
                    </a:lnTo>
                    <a:lnTo>
                      <a:pt x="78" y="491"/>
                    </a:lnTo>
                    <a:lnTo>
                      <a:pt x="79" y="491"/>
                    </a:lnTo>
                    <a:lnTo>
                      <a:pt x="80" y="494"/>
                    </a:lnTo>
                    <a:lnTo>
                      <a:pt x="80" y="496"/>
                    </a:lnTo>
                    <a:lnTo>
                      <a:pt x="82" y="498"/>
                    </a:lnTo>
                    <a:lnTo>
                      <a:pt x="82" y="501"/>
                    </a:lnTo>
                    <a:lnTo>
                      <a:pt x="80" y="503"/>
                    </a:lnTo>
                    <a:lnTo>
                      <a:pt x="79" y="504"/>
                    </a:lnTo>
                    <a:lnTo>
                      <a:pt x="80" y="506"/>
                    </a:lnTo>
                    <a:lnTo>
                      <a:pt x="78" y="507"/>
                    </a:lnTo>
                    <a:lnTo>
                      <a:pt x="76" y="510"/>
                    </a:lnTo>
                    <a:lnTo>
                      <a:pt x="77" y="512"/>
                    </a:lnTo>
                    <a:lnTo>
                      <a:pt x="77" y="513"/>
                    </a:lnTo>
                    <a:lnTo>
                      <a:pt x="77" y="514"/>
                    </a:lnTo>
                    <a:lnTo>
                      <a:pt x="75" y="515"/>
                    </a:lnTo>
                    <a:lnTo>
                      <a:pt x="76" y="518"/>
                    </a:lnTo>
                    <a:lnTo>
                      <a:pt x="77" y="517"/>
                    </a:lnTo>
                    <a:lnTo>
                      <a:pt x="80" y="519"/>
                    </a:lnTo>
                    <a:lnTo>
                      <a:pt x="80" y="520"/>
                    </a:lnTo>
                    <a:lnTo>
                      <a:pt x="80" y="521"/>
                    </a:lnTo>
                    <a:lnTo>
                      <a:pt x="83" y="522"/>
                    </a:lnTo>
                    <a:lnTo>
                      <a:pt x="83" y="523"/>
                    </a:lnTo>
                    <a:lnTo>
                      <a:pt x="85" y="523"/>
                    </a:lnTo>
                    <a:lnTo>
                      <a:pt x="88" y="525"/>
                    </a:lnTo>
                    <a:lnTo>
                      <a:pt x="90" y="525"/>
                    </a:lnTo>
                    <a:lnTo>
                      <a:pt x="93" y="527"/>
                    </a:lnTo>
                    <a:lnTo>
                      <a:pt x="94" y="527"/>
                    </a:lnTo>
                    <a:lnTo>
                      <a:pt x="94" y="528"/>
                    </a:lnTo>
                    <a:lnTo>
                      <a:pt x="95" y="530"/>
                    </a:lnTo>
                    <a:lnTo>
                      <a:pt x="97" y="534"/>
                    </a:lnTo>
                    <a:lnTo>
                      <a:pt x="100" y="533"/>
                    </a:lnTo>
                    <a:lnTo>
                      <a:pt x="100" y="536"/>
                    </a:lnTo>
                    <a:lnTo>
                      <a:pt x="99" y="537"/>
                    </a:lnTo>
                    <a:lnTo>
                      <a:pt x="99" y="538"/>
                    </a:lnTo>
                    <a:lnTo>
                      <a:pt x="98" y="538"/>
                    </a:lnTo>
                    <a:lnTo>
                      <a:pt x="99" y="541"/>
                    </a:lnTo>
                    <a:lnTo>
                      <a:pt x="100" y="544"/>
                    </a:lnTo>
                    <a:lnTo>
                      <a:pt x="100" y="547"/>
                    </a:lnTo>
                    <a:lnTo>
                      <a:pt x="101" y="549"/>
                    </a:lnTo>
                    <a:lnTo>
                      <a:pt x="101" y="548"/>
                    </a:lnTo>
                    <a:lnTo>
                      <a:pt x="102" y="549"/>
                    </a:lnTo>
                    <a:lnTo>
                      <a:pt x="102" y="551"/>
                    </a:lnTo>
                    <a:lnTo>
                      <a:pt x="102" y="555"/>
                    </a:lnTo>
                    <a:lnTo>
                      <a:pt x="103" y="555"/>
                    </a:lnTo>
                    <a:lnTo>
                      <a:pt x="102" y="557"/>
                    </a:lnTo>
                    <a:lnTo>
                      <a:pt x="104" y="556"/>
                    </a:lnTo>
                    <a:lnTo>
                      <a:pt x="104" y="557"/>
                    </a:lnTo>
                    <a:lnTo>
                      <a:pt x="104" y="558"/>
                    </a:lnTo>
                    <a:lnTo>
                      <a:pt x="103" y="558"/>
                    </a:lnTo>
                    <a:lnTo>
                      <a:pt x="104" y="559"/>
                    </a:lnTo>
                    <a:lnTo>
                      <a:pt x="105" y="560"/>
                    </a:lnTo>
                    <a:lnTo>
                      <a:pt x="106" y="561"/>
                    </a:lnTo>
                    <a:lnTo>
                      <a:pt x="107" y="562"/>
                    </a:lnTo>
                    <a:lnTo>
                      <a:pt x="107" y="561"/>
                    </a:lnTo>
                    <a:lnTo>
                      <a:pt x="108" y="561"/>
                    </a:lnTo>
                    <a:lnTo>
                      <a:pt x="108" y="562"/>
                    </a:lnTo>
                    <a:lnTo>
                      <a:pt x="109" y="560"/>
                    </a:lnTo>
                    <a:lnTo>
                      <a:pt x="110" y="557"/>
                    </a:lnTo>
                    <a:lnTo>
                      <a:pt x="109" y="557"/>
                    </a:lnTo>
                    <a:lnTo>
                      <a:pt x="109" y="554"/>
                    </a:lnTo>
                    <a:lnTo>
                      <a:pt x="111" y="553"/>
                    </a:lnTo>
                    <a:lnTo>
                      <a:pt x="113" y="553"/>
                    </a:lnTo>
                    <a:lnTo>
                      <a:pt x="115" y="552"/>
                    </a:lnTo>
                    <a:lnTo>
                      <a:pt x="113" y="550"/>
                    </a:lnTo>
                    <a:lnTo>
                      <a:pt x="114" y="549"/>
                    </a:lnTo>
                    <a:lnTo>
                      <a:pt x="115" y="549"/>
                    </a:lnTo>
                    <a:lnTo>
                      <a:pt x="116" y="552"/>
                    </a:lnTo>
                    <a:lnTo>
                      <a:pt x="118" y="554"/>
                    </a:lnTo>
                    <a:lnTo>
                      <a:pt x="119" y="553"/>
                    </a:lnTo>
                    <a:lnTo>
                      <a:pt x="119" y="551"/>
                    </a:lnTo>
                    <a:lnTo>
                      <a:pt x="121" y="551"/>
                    </a:lnTo>
                    <a:lnTo>
                      <a:pt x="123" y="551"/>
                    </a:lnTo>
                    <a:lnTo>
                      <a:pt x="124" y="550"/>
                    </a:lnTo>
                    <a:lnTo>
                      <a:pt x="127" y="552"/>
                    </a:lnTo>
                    <a:lnTo>
                      <a:pt x="128" y="551"/>
                    </a:lnTo>
                    <a:lnTo>
                      <a:pt x="130" y="551"/>
                    </a:lnTo>
                    <a:lnTo>
                      <a:pt x="131" y="548"/>
                    </a:lnTo>
                    <a:lnTo>
                      <a:pt x="131" y="551"/>
                    </a:lnTo>
                    <a:lnTo>
                      <a:pt x="132" y="550"/>
                    </a:lnTo>
                    <a:lnTo>
                      <a:pt x="135" y="553"/>
                    </a:lnTo>
                    <a:lnTo>
                      <a:pt x="135" y="552"/>
                    </a:lnTo>
                    <a:lnTo>
                      <a:pt x="137" y="552"/>
                    </a:lnTo>
                    <a:lnTo>
                      <a:pt x="140" y="551"/>
                    </a:lnTo>
                    <a:lnTo>
                      <a:pt x="141" y="550"/>
                    </a:lnTo>
                    <a:lnTo>
                      <a:pt x="140" y="549"/>
                    </a:lnTo>
                    <a:lnTo>
                      <a:pt x="141" y="548"/>
                    </a:lnTo>
                    <a:lnTo>
                      <a:pt x="143" y="547"/>
                    </a:lnTo>
                    <a:lnTo>
                      <a:pt x="143" y="545"/>
                    </a:lnTo>
                    <a:lnTo>
                      <a:pt x="145" y="545"/>
                    </a:lnTo>
                    <a:lnTo>
                      <a:pt x="144" y="544"/>
                    </a:lnTo>
                    <a:lnTo>
                      <a:pt x="145" y="544"/>
                    </a:lnTo>
                    <a:lnTo>
                      <a:pt x="146" y="543"/>
                    </a:lnTo>
                    <a:lnTo>
                      <a:pt x="147" y="543"/>
                    </a:lnTo>
                    <a:lnTo>
                      <a:pt x="149" y="536"/>
                    </a:lnTo>
                    <a:lnTo>
                      <a:pt x="149" y="537"/>
                    </a:lnTo>
                    <a:lnTo>
                      <a:pt x="151" y="537"/>
                    </a:lnTo>
                    <a:lnTo>
                      <a:pt x="151" y="535"/>
                    </a:lnTo>
                    <a:lnTo>
                      <a:pt x="153" y="536"/>
                    </a:lnTo>
                    <a:lnTo>
                      <a:pt x="156" y="533"/>
                    </a:lnTo>
                    <a:lnTo>
                      <a:pt x="157" y="533"/>
                    </a:lnTo>
                    <a:lnTo>
                      <a:pt x="160" y="533"/>
                    </a:lnTo>
                    <a:lnTo>
                      <a:pt x="159" y="530"/>
                    </a:lnTo>
                    <a:lnTo>
                      <a:pt x="160" y="530"/>
                    </a:lnTo>
                    <a:lnTo>
                      <a:pt x="159" y="526"/>
                    </a:lnTo>
                    <a:lnTo>
                      <a:pt x="159" y="525"/>
                    </a:lnTo>
                    <a:lnTo>
                      <a:pt x="157" y="524"/>
                    </a:lnTo>
                    <a:lnTo>
                      <a:pt x="157" y="522"/>
                    </a:lnTo>
                    <a:lnTo>
                      <a:pt x="156" y="520"/>
                    </a:lnTo>
                    <a:lnTo>
                      <a:pt x="156" y="517"/>
                    </a:lnTo>
                    <a:lnTo>
                      <a:pt x="156" y="514"/>
                    </a:lnTo>
                    <a:lnTo>
                      <a:pt x="156" y="513"/>
                    </a:lnTo>
                    <a:lnTo>
                      <a:pt x="156" y="510"/>
                    </a:lnTo>
                    <a:lnTo>
                      <a:pt x="158" y="510"/>
                    </a:lnTo>
                    <a:lnTo>
                      <a:pt x="159" y="508"/>
                    </a:lnTo>
                    <a:lnTo>
                      <a:pt x="160" y="507"/>
                    </a:lnTo>
                    <a:lnTo>
                      <a:pt x="161" y="506"/>
                    </a:lnTo>
                    <a:lnTo>
                      <a:pt x="160" y="506"/>
                    </a:lnTo>
                    <a:lnTo>
                      <a:pt x="162" y="505"/>
                    </a:lnTo>
                    <a:lnTo>
                      <a:pt x="162" y="502"/>
                    </a:lnTo>
                    <a:lnTo>
                      <a:pt x="165" y="502"/>
                    </a:lnTo>
                    <a:lnTo>
                      <a:pt x="165" y="501"/>
                    </a:lnTo>
                    <a:lnTo>
                      <a:pt x="167" y="501"/>
                    </a:lnTo>
                    <a:lnTo>
                      <a:pt x="167" y="500"/>
                    </a:lnTo>
                    <a:lnTo>
                      <a:pt x="169" y="504"/>
                    </a:lnTo>
                    <a:lnTo>
                      <a:pt x="170" y="504"/>
                    </a:lnTo>
                    <a:lnTo>
                      <a:pt x="168" y="507"/>
                    </a:lnTo>
                    <a:lnTo>
                      <a:pt x="167" y="511"/>
                    </a:lnTo>
                    <a:lnTo>
                      <a:pt x="167" y="514"/>
                    </a:lnTo>
                    <a:lnTo>
                      <a:pt x="167" y="515"/>
                    </a:lnTo>
                    <a:lnTo>
                      <a:pt x="170" y="515"/>
                    </a:lnTo>
                    <a:lnTo>
                      <a:pt x="171" y="516"/>
                    </a:lnTo>
                    <a:lnTo>
                      <a:pt x="171" y="512"/>
                    </a:lnTo>
                    <a:lnTo>
                      <a:pt x="175" y="514"/>
                    </a:lnTo>
                    <a:lnTo>
                      <a:pt x="176" y="514"/>
                    </a:lnTo>
                    <a:lnTo>
                      <a:pt x="178" y="516"/>
                    </a:lnTo>
                    <a:lnTo>
                      <a:pt x="177" y="518"/>
                    </a:lnTo>
                    <a:lnTo>
                      <a:pt x="181" y="518"/>
                    </a:lnTo>
                    <a:lnTo>
                      <a:pt x="181" y="520"/>
                    </a:lnTo>
                    <a:lnTo>
                      <a:pt x="182" y="519"/>
                    </a:lnTo>
                    <a:lnTo>
                      <a:pt x="181" y="517"/>
                    </a:lnTo>
                    <a:lnTo>
                      <a:pt x="183" y="518"/>
                    </a:lnTo>
                    <a:lnTo>
                      <a:pt x="183" y="517"/>
                    </a:lnTo>
                    <a:lnTo>
                      <a:pt x="184" y="518"/>
                    </a:lnTo>
                    <a:lnTo>
                      <a:pt x="187" y="518"/>
                    </a:lnTo>
                    <a:lnTo>
                      <a:pt x="186" y="519"/>
                    </a:lnTo>
                    <a:lnTo>
                      <a:pt x="189" y="520"/>
                    </a:lnTo>
                    <a:lnTo>
                      <a:pt x="191" y="523"/>
                    </a:lnTo>
                    <a:lnTo>
                      <a:pt x="192" y="525"/>
                    </a:lnTo>
                    <a:lnTo>
                      <a:pt x="192" y="530"/>
                    </a:lnTo>
                    <a:lnTo>
                      <a:pt x="200" y="524"/>
                    </a:lnTo>
                    <a:lnTo>
                      <a:pt x="202" y="520"/>
                    </a:lnTo>
                    <a:lnTo>
                      <a:pt x="203" y="520"/>
                    </a:lnTo>
                    <a:lnTo>
                      <a:pt x="204" y="520"/>
                    </a:lnTo>
                    <a:lnTo>
                      <a:pt x="205" y="519"/>
                    </a:lnTo>
                    <a:lnTo>
                      <a:pt x="206" y="514"/>
                    </a:lnTo>
                    <a:lnTo>
                      <a:pt x="205" y="513"/>
                    </a:lnTo>
                    <a:lnTo>
                      <a:pt x="204" y="513"/>
                    </a:lnTo>
                    <a:lnTo>
                      <a:pt x="206" y="511"/>
                    </a:lnTo>
                    <a:lnTo>
                      <a:pt x="203" y="509"/>
                    </a:lnTo>
                    <a:lnTo>
                      <a:pt x="206" y="510"/>
                    </a:lnTo>
                    <a:lnTo>
                      <a:pt x="208" y="509"/>
                    </a:lnTo>
                    <a:lnTo>
                      <a:pt x="208" y="511"/>
                    </a:lnTo>
                    <a:lnTo>
                      <a:pt x="208" y="512"/>
                    </a:lnTo>
                    <a:lnTo>
                      <a:pt x="209" y="513"/>
                    </a:lnTo>
                    <a:lnTo>
                      <a:pt x="211" y="510"/>
                    </a:lnTo>
                    <a:lnTo>
                      <a:pt x="212" y="510"/>
                    </a:lnTo>
                    <a:lnTo>
                      <a:pt x="214" y="508"/>
                    </a:lnTo>
                    <a:lnTo>
                      <a:pt x="215" y="510"/>
                    </a:lnTo>
                    <a:lnTo>
                      <a:pt x="221" y="508"/>
                    </a:lnTo>
                    <a:lnTo>
                      <a:pt x="221" y="509"/>
                    </a:lnTo>
                    <a:lnTo>
                      <a:pt x="223" y="509"/>
                    </a:lnTo>
                    <a:lnTo>
                      <a:pt x="224" y="508"/>
                    </a:lnTo>
                    <a:lnTo>
                      <a:pt x="225" y="509"/>
                    </a:lnTo>
                    <a:lnTo>
                      <a:pt x="227" y="511"/>
                    </a:lnTo>
                    <a:lnTo>
                      <a:pt x="227" y="513"/>
                    </a:lnTo>
                    <a:lnTo>
                      <a:pt x="227" y="514"/>
                    </a:lnTo>
                    <a:lnTo>
                      <a:pt x="229" y="513"/>
                    </a:lnTo>
                    <a:lnTo>
                      <a:pt x="229" y="514"/>
                    </a:lnTo>
                    <a:lnTo>
                      <a:pt x="230" y="514"/>
                    </a:lnTo>
                    <a:lnTo>
                      <a:pt x="232" y="514"/>
                    </a:lnTo>
                    <a:lnTo>
                      <a:pt x="232" y="513"/>
                    </a:lnTo>
                    <a:lnTo>
                      <a:pt x="232" y="514"/>
                    </a:lnTo>
                    <a:lnTo>
                      <a:pt x="233" y="514"/>
                    </a:lnTo>
                    <a:lnTo>
                      <a:pt x="235" y="514"/>
                    </a:lnTo>
                    <a:lnTo>
                      <a:pt x="238" y="513"/>
                    </a:lnTo>
                    <a:lnTo>
                      <a:pt x="238" y="510"/>
                    </a:lnTo>
                    <a:lnTo>
                      <a:pt x="240" y="510"/>
                    </a:lnTo>
                    <a:lnTo>
                      <a:pt x="244" y="507"/>
                    </a:lnTo>
                    <a:lnTo>
                      <a:pt x="242" y="504"/>
                    </a:lnTo>
                    <a:lnTo>
                      <a:pt x="244" y="504"/>
                    </a:lnTo>
                    <a:lnTo>
                      <a:pt x="241" y="502"/>
                    </a:lnTo>
                    <a:lnTo>
                      <a:pt x="240" y="500"/>
                    </a:lnTo>
                    <a:lnTo>
                      <a:pt x="240" y="497"/>
                    </a:lnTo>
                    <a:lnTo>
                      <a:pt x="237" y="494"/>
                    </a:lnTo>
                    <a:lnTo>
                      <a:pt x="238" y="493"/>
                    </a:lnTo>
                    <a:lnTo>
                      <a:pt x="237" y="491"/>
                    </a:lnTo>
                    <a:lnTo>
                      <a:pt x="238" y="490"/>
                    </a:lnTo>
                    <a:lnTo>
                      <a:pt x="239" y="492"/>
                    </a:lnTo>
                    <a:lnTo>
                      <a:pt x="240" y="491"/>
                    </a:lnTo>
                    <a:lnTo>
                      <a:pt x="241" y="491"/>
                    </a:lnTo>
                    <a:lnTo>
                      <a:pt x="245" y="490"/>
                    </a:lnTo>
                    <a:lnTo>
                      <a:pt x="247" y="496"/>
                    </a:lnTo>
                    <a:lnTo>
                      <a:pt x="249" y="496"/>
                    </a:lnTo>
                    <a:lnTo>
                      <a:pt x="250" y="495"/>
                    </a:lnTo>
                    <a:lnTo>
                      <a:pt x="250" y="491"/>
                    </a:lnTo>
                    <a:lnTo>
                      <a:pt x="250" y="489"/>
                    </a:lnTo>
                    <a:lnTo>
                      <a:pt x="252" y="488"/>
                    </a:lnTo>
                    <a:lnTo>
                      <a:pt x="252" y="486"/>
                    </a:lnTo>
                    <a:lnTo>
                      <a:pt x="253" y="486"/>
                    </a:lnTo>
                    <a:lnTo>
                      <a:pt x="255" y="487"/>
                    </a:lnTo>
                    <a:lnTo>
                      <a:pt x="257" y="486"/>
                    </a:lnTo>
                    <a:lnTo>
                      <a:pt x="258" y="489"/>
                    </a:lnTo>
                    <a:lnTo>
                      <a:pt x="260" y="491"/>
                    </a:lnTo>
                    <a:lnTo>
                      <a:pt x="261" y="493"/>
                    </a:lnTo>
                    <a:lnTo>
                      <a:pt x="262" y="493"/>
                    </a:lnTo>
                    <a:lnTo>
                      <a:pt x="261" y="495"/>
                    </a:lnTo>
                    <a:lnTo>
                      <a:pt x="261" y="496"/>
                    </a:lnTo>
                    <a:lnTo>
                      <a:pt x="263" y="497"/>
                    </a:lnTo>
                    <a:lnTo>
                      <a:pt x="263" y="498"/>
                    </a:lnTo>
                    <a:lnTo>
                      <a:pt x="265" y="498"/>
                    </a:lnTo>
                    <a:lnTo>
                      <a:pt x="267" y="501"/>
                    </a:lnTo>
                    <a:lnTo>
                      <a:pt x="268" y="501"/>
                    </a:lnTo>
                    <a:lnTo>
                      <a:pt x="269" y="500"/>
                    </a:lnTo>
                    <a:lnTo>
                      <a:pt x="274" y="499"/>
                    </a:lnTo>
                    <a:lnTo>
                      <a:pt x="276" y="499"/>
                    </a:lnTo>
                    <a:lnTo>
                      <a:pt x="276" y="500"/>
                    </a:lnTo>
                    <a:lnTo>
                      <a:pt x="277" y="500"/>
                    </a:lnTo>
                    <a:lnTo>
                      <a:pt x="279" y="500"/>
                    </a:lnTo>
                    <a:lnTo>
                      <a:pt x="279" y="499"/>
                    </a:lnTo>
                    <a:lnTo>
                      <a:pt x="279" y="497"/>
                    </a:lnTo>
                    <a:lnTo>
                      <a:pt x="279" y="496"/>
                    </a:lnTo>
                    <a:lnTo>
                      <a:pt x="281" y="493"/>
                    </a:lnTo>
                    <a:lnTo>
                      <a:pt x="280" y="491"/>
                    </a:lnTo>
                    <a:lnTo>
                      <a:pt x="280" y="490"/>
                    </a:lnTo>
                    <a:lnTo>
                      <a:pt x="283" y="489"/>
                    </a:lnTo>
                    <a:lnTo>
                      <a:pt x="284" y="487"/>
                    </a:lnTo>
                    <a:lnTo>
                      <a:pt x="285" y="487"/>
                    </a:lnTo>
                    <a:lnTo>
                      <a:pt x="285" y="486"/>
                    </a:lnTo>
                    <a:lnTo>
                      <a:pt x="286" y="485"/>
                    </a:lnTo>
                    <a:lnTo>
                      <a:pt x="286" y="482"/>
                    </a:lnTo>
                    <a:lnTo>
                      <a:pt x="284" y="478"/>
                    </a:lnTo>
                    <a:lnTo>
                      <a:pt x="284" y="477"/>
                    </a:lnTo>
                    <a:lnTo>
                      <a:pt x="285" y="478"/>
                    </a:lnTo>
                    <a:lnTo>
                      <a:pt x="286" y="477"/>
                    </a:lnTo>
                    <a:lnTo>
                      <a:pt x="290" y="476"/>
                    </a:lnTo>
                    <a:lnTo>
                      <a:pt x="291" y="474"/>
                    </a:lnTo>
                    <a:lnTo>
                      <a:pt x="291" y="473"/>
                    </a:lnTo>
                    <a:lnTo>
                      <a:pt x="292" y="471"/>
                    </a:lnTo>
                    <a:lnTo>
                      <a:pt x="293" y="472"/>
                    </a:lnTo>
                    <a:lnTo>
                      <a:pt x="299" y="471"/>
                    </a:lnTo>
                    <a:lnTo>
                      <a:pt x="299" y="468"/>
                    </a:lnTo>
                    <a:lnTo>
                      <a:pt x="299" y="467"/>
                    </a:lnTo>
                    <a:lnTo>
                      <a:pt x="300" y="465"/>
                    </a:lnTo>
                    <a:lnTo>
                      <a:pt x="300" y="463"/>
                    </a:lnTo>
                    <a:lnTo>
                      <a:pt x="299" y="462"/>
                    </a:lnTo>
                    <a:lnTo>
                      <a:pt x="301" y="462"/>
                    </a:lnTo>
                    <a:lnTo>
                      <a:pt x="302" y="463"/>
                    </a:lnTo>
                    <a:lnTo>
                      <a:pt x="302" y="465"/>
                    </a:lnTo>
                    <a:lnTo>
                      <a:pt x="306" y="465"/>
                    </a:lnTo>
                    <a:lnTo>
                      <a:pt x="306" y="467"/>
                    </a:lnTo>
                    <a:lnTo>
                      <a:pt x="307" y="467"/>
                    </a:lnTo>
                    <a:lnTo>
                      <a:pt x="308" y="468"/>
                    </a:lnTo>
                    <a:lnTo>
                      <a:pt x="310" y="467"/>
                    </a:lnTo>
                    <a:lnTo>
                      <a:pt x="312" y="470"/>
                    </a:lnTo>
                    <a:lnTo>
                      <a:pt x="315" y="469"/>
                    </a:lnTo>
                    <a:lnTo>
                      <a:pt x="315" y="468"/>
                    </a:lnTo>
                    <a:lnTo>
                      <a:pt x="315" y="467"/>
                    </a:lnTo>
                    <a:lnTo>
                      <a:pt x="319" y="463"/>
                    </a:lnTo>
                    <a:lnTo>
                      <a:pt x="321" y="457"/>
                    </a:lnTo>
                    <a:lnTo>
                      <a:pt x="321" y="456"/>
                    </a:lnTo>
                    <a:lnTo>
                      <a:pt x="319" y="456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2" name="Group 92">
              <a:extLst>
                <a:ext uri="{FF2B5EF4-FFF2-40B4-BE49-F238E27FC236}">
                  <a16:creationId xmlns:a16="http://schemas.microsoft.com/office/drawing/2014/main" id="{E6B9E7BF-85DD-F342-2DB1-8427D1C6F8E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7" y="2893"/>
              <a:ext cx="313" cy="258"/>
              <a:chOff x="457" y="2893"/>
              <a:chExt cx="313" cy="258"/>
            </a:xfrm>
          </p:grpSpPr>
          <p:sp>
            <p:nvSpPr>
              <p:cNvPr id="166" name="Freeform 90">
                <a:extLst>
                  <a:ext uri="{FF2B5EF4-FFF2-40B4-BE49-F238E27FC236}">
                    <a16:creationId xmlns:a16="http://schemas.microsoft.com/office/drawing/2014/main" id="{00AA6BE2-384D-B031-6AB8-EE4B96EE11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7" y="2893"/>
                <a:ext cx="313" cy="258"/>
              </a:xfrm>
              <a:custGeom>
                <a:avLst/>
                <a:gdLst>
                  <a:gd name="T0" fmla="*/ 302 w 313"/>
                  <a:gd name="T1" fmla="*/ 176 h 258"/>
                  <a:gd name="T2" fmla="*/ 301 w 313"/>
                  <a:gd name="T3" fmla="*/ 168 h 258"/>
                  <a:gd name="T4" fmla="*/ 311 w 313"/>
                  <a:gd name="T5" fmla="*/ 169 h 258"/>
                  <a:gd name="T6" fmla="*/ 311 w 313"/>
                  <a:gd name="T7" fmla="*/ 156 h 258"/>
                  <a:gd name="T8" fmla="*/ 306 w 313"/>
                  <a:gd name="T9" fmla="*/ 139 h 258"/>
                  <a:gd name="T10" fmla="*/ 306 w 313"/>
                  <a:gd name="T11" fmla="*/ 125 h 258"/>
                  <a:gd name="T12" fmla="*/ 305 w 313"/>
                  <a:gd name="T13" fmla="*/ 111 h 258"/>
                  <a:gd name="T14" fmla="*/ 305 w 313"/>
                  <a:gd name="T15" fmla="*/ 98 h 258"/>
                  <a:gd name="T16" fmla="*/ 305 w 313"/>
                  <a:gd name="T17" fmla="*/ 86 h 258"/>
                  <a:gd name="T18" fmla="*/ 305 w 313"/>
                  <a:gd name="T19" fmla="*/ 65 h 258"/>
                  <a:gd name="T20" fmla="*/ 289 w 313"/>
                  <a:gd name="T21" fmla="*/ 65 h 258"/>
                  <a:gd name="T22" fmla="*/ 277 w 313"/>
                  <a:gd name="T23" fmla="*/ 63 h 258"/>
                  <a:gd name="T24" fmla="*/ 274 w 313"/>
                  <a:gd name="T25" fmla="*/ 50 h 258"/>
                  <a:gd name="T26" fmla="*/ 250 w 313"/>
                  <a:gd name="T27" fmla="*/ 40 h 258"/>
                  <a:gd name="T28" fmla="*/ 228 w 313"/>
                  <a:gd name="T29" fmla="*/ 21 h 258"/>
                  <a:gd name="T30" fmla="*/ 200 w 313"/>
                  <a:gd name="T31" fmla="*/ 4 h 258"/>
                  <a:gd name="T32" fmla="*/ 166 w 313"/>
                  <a:gd name="T33" fmla="*/ 13 h 258"/>
                  <a:gd name="T34" fmla="*/ 140 w 313"/>
                  <a:gd name="T35" fmla="*/ 13 h 258"/>
                  <a:gd name="T36" fmla="*/ 118 w 313"/>
                  <a:gd name="T37" fmla="*/ 19 h 258"/>
                  <a:gd name="T38" fmla="*/ 99 w 313"/>
                  <a:gd name="T39" fmla="*/ 37 h 258"/>
                  <a:gd name="T40" fmla="*/ 85 w 313"/>
                  <a:gd name="T41" fmla="*/ 50 h 258"/>
                  <a:gd name="T42" fmla="*/ 69 w 313"/>
                  <a:gd name="T43" fmla="*/ 74 h 258"/>
                  <a:gd name="T44" fmla="*/ 62 w 313"/>
                  <a:gd name="T45" fmla="*/ 82 h 258"/>
                  <a:gd name="T46" fmla="*/ 61 w 313"/>
                  <a:gd name="T47" fmla="*/ 101 h 258"/>
                  <a:gd name="T48" fmla="*/ 49 w 313"/>
                  <a:gd name="T49" fmla="*/ 107 h 258"/>
                  <a:gd name="T50" fmla="*/ 49 w 313"/>
                  <a:gd name="T51" fmla="*/ 93 h 258"/>
                  <a:gd name="T52" fmla="*/ 47 w 313"/>
                  <a:gd name="T53" fmla="*/ 79 h 258"/>
                  <a:gd name="T54" fmla="*/ 44 w 313"/>
                  <a:gd name="T55" fmla="*/ 70 h 258"/>
                  <a:gd name="T56" fmla="*/ 31 w 313"/>
                  <a:gd name="T57" fmla="*/ 56 h 258"/>
                  <a:gd name="T58" fmla="*/ 15 w 313"/>
                  <a:gd name="T59" fmla="*/ 32 h 258"/>
                  <a:gd name="T60" fmla="*/ 11 w 313"/>
                  <a:gd name="T61" fmla="*/ 40 h 258"/>
                  <a:gd name="T62" fmla="*/ 2 w 313"/>
                  <a:gd name="T63" fmla="*/ 57 h 258"/>
                  <a:gd name="T64" fmla="*/ 12 w 313"/>
                  <a:gd name="T65" fmla="*/ 73 h 258"/>
                  <a:gd name="T66" fmla="*/ 15 w 313"/>
                  <a:gd name="T67" fmla="*/ 84 h 258"/>
                  <a:gd name="T68" fmla="*/ 24 w 313"/>
                  <a:gd name="T69" fmla="*/ 91 h 258"/>
                  <a:gd name="T70" fmla="*/ 22 w 313"/>
                  <a:gd name="T71" fmla="*/ 114 h 258"/>
                  <a:gd name="T72" fmla="*/ 26 w 313"/>
                  <a:gd name="T73" fmla="*/ 138 h 258"/>
                  <a:gd name="T74" fmla="*/ 36 w 313"/>
                  <a:gd name="T75" fmla="*/ 152 h 258"/>
                  <a:gd name="T76" fmla="*/ 47 w 313"/>
                  <a:gd name="T77" fmla="*/ 172 h 258"/>
                  <a:gd name="T78" fmla="*/ 62 w 313"/>
                  <a:gd name="T79" fmla="*/ 187 h 258"/>
                  <a:gd name="T80" fmla="*/ 71 w 313"/>
                  <a:gd name="T81" fmla="*/ 199 h 258"/>
                  <a:gd name="T82" fmla="*/ 87 w 313"/>
                  <a:gd name="T83" fmla="*/ 207 h 258"/>
                  <a:gd name="T84" fmla="*/ 86 w 313"/>
                  <a:gd name="T85" fmla="*/ 229 h 258"/>
                  <a:gd name="T86" fmla="*/ 110 w 313"/>
                  <a:gd name="T87" fmla="*/ 253 h 258"/>
                  <a:gd name="T88" fmla="*/ 130 w 313"/>
                  <a:gd name="T89" fmla="*/ 249 h 258"/>
                  <a:gd name="T90" fmla="*/ 142 w 313"/>
                  <a:gd name="T91" fmla="*/ 246 h 258"/>
                  <a:gd name="T92" fmla="*/ 158 w 313"/>
                  <a:gd name="T93" fmla="*/ 241 h 258"/>
                  <a:gd name="T94" fmla="*/ 172 w 313"/>
                  <a:gd name="T95" fmla="*/ 244 h 258"/>
                  <a:gd name="T96" fmla="*/ 187 w 313"/>
                  <a:gd name="T97" fmla="*/ 252 h 258"/>
                  <a:gd name="T98" fmla="*/ 203 w 313"/>
                  <a:gd name="T99" fmla="*/ 254 h 258"/>
                  <a:gd name="T100" fmla="*/ 212 w 313"/>
                  <a:gd name="T101" fmla="*/ 243 h 258"/>
                  <a:gd name="T102" fmla="*/ 224 w 313"/>
                  <a:gd name="T103" fmla="*/ 232 h 258"/>
                  <a:gd name="T104" fmla="*/ 235 w 313"/>
                  <a:gd name="T105" fmla="*/ 225 h 258"/>
                  <a:gd name="T106" fmla="*/ 245 w 313"/>
                  <a:gd name="T107" fmla="*/ 216 h 258"/>
                  <a:gd name="T108" fmla="*/ 254 w 313"/>
                  <a:gd name="T109" fmla="*/ 215 h 258"/>
                  <a:gd name="T110" fmla="*/ 269 w 313"/>
                  <a:gd name="T111" fmla="*/ 219 h 258"/>
                  <a:gd name="T112" fmla="*/ 274 w 313"/>
                  <a:gd name="T113" fmla="*/ 226 h 258"/>
                  <a:gd name="T114" fmla="*/ 287 w 313"/>
                  <a:gd name="T115" fmla="*/ 231 h 258"/>
                  <a:gd name="T116" fmla="*/ 290 w 313"/>
                  <a:gd name="T117" fmla="*/ 210 h 258"/>
                  <a:gd name="T118" fmla="*/ 303 w 313"/>
                  <a:gd name="T119" fmla="*/ 211 h 258"/>
                  <a:gd name="T120" fmla="*/ 309 w 313"/>
                  <a:gd name="T121" fmla="*/ 200 h 258"/>
                  <a:gd name="T122" fmla="*/ 312 w 313"/>
                  <a:gd name="T123" fmla="*/ 190 h 25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13"/>
                  <a:gd name="T187" fmla="*/ 0 h 258"/>
                  <a:gd name="T188" fmla="*/ 313 w 313"/>
                  <a:gd name="T189" fmla="*/ 258 h 25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13" h="258">
                    <a:moveTo>
                      <a:pt x="311" y="188"/>
                    </a:moveTo>
                    <a:lnTo>
                      <a:pt x="311" y="183"/>
                    </a:lnTo>
                    <a:lnTo>
                      <a:pt x="311" y="182"/>
                    </a:lnTo>
                    <a:lnTo>
                      <a:pt x="308" y="182"/>
                    </a:lnTo>
                    <a:lnTo>
                      <a:pt x="310" y="181"/>
                    </a:lnTo>
                    <a:lnTo>
                      <a:pt x="308" y="179"/>
                    </a:lnTo>
                    <a:lnTo>
                      <a:pt x="307" y="176"/>
                    </a:lnTo>
                    <a:lnTo>
                      <a:pt x="305" y="175"/>
                    </a:lnTo>
                    <a:lnTo>
                      <a:pt x="302" y="176"/>
                    </a:lnTo>
                    <a:lnTo>
                      <a:pt x="300" y="174"/>
                    </a:lnTo>
                    <a:lnTo>
                      <a:pt x="299" y="176"/>
                    </a:lnTo>
                    <a:lnTo>
                      <a:pt x="297" y="173"/>
                    </a:lnTo>
                    <a:lnTo>
                      <a:pt x="296" y="173"/>
                    </a:lnTo>
                    <a:lnTo>
                      <a:pt x="295" y="171"/>
                    </a:lnTo>
                    <a:lnTo>
                      <a:pt x="298" y="171"/>
                    </a:lnTo>
                    <a:lnTo>
                      <a:pt x="298" y="170"/>
                    </a:lnTo>
                    <a:lnTo>
                      <a:pt x="297" y="169"/>
                    </a:lnTo>
                    <a:lnTo>
                      <a:pt x="298" y="168"/>
                    </a:lnTo>
                    <a:lnTo>
                      <a:pt x="301" y="167"/>
                    </a:lnTo>
                    <a:lnTo>
                      <a:pt x="301" y="168"/>
                    </a:lnTo>
                    <a:lnTo>
                      <a:pt x="301" y="167"/>
                    </a:lnTo>
                    <a:lnTo>
                      <a:pt x="305" y="169"/>
                    </a:lnTo>
                    <a:lnTo>
                      <a:pt x="305" y="168"/>
                    </a:lnTo>
                    <a:lnTo>
                      <a:pt x="305" y="169"/>
                    </a:lnTo>
                    <a:lnTo>
                      <a:pt x="306" y="168"/>
                    </a:lnTo>
                    <a:lnTo>
                      <a:pt x="307" y="169"/>
                    </a:lnTo>
                    <a:lnTo>
                      <a:pt x="306" y="169"/>
                    </a:lnTo>
                    <a:lnTo>
                      <a:pt x="309" y="172"/>
                    </a:lnTo>
                    <a:lnTo>
                      <a:pt x="310" y="172"/>
                    </a:lnTo>
                    <a:lnTo>
                      <a:pt x="309" y="169"/>
                    </a:lnTo>
                    <a:lnTo>
                      <a:pt x="311" y="169"/>
                    </a:lnTo>
                    <a:lnTo>
                      <a:pt x="309" y="167"/>
                    </a:lnTo>
                    <a:lnTo>
                      <a:pt x="309" y="166"/>
                    </a:lnTo>
                    <a:lnTo>
                      <a:pt x="306" y="164"/>
                    </a:lnTo>
                    <a:lnTo>
                      <a:pt x="307" y="162"/>
                    </a:lnTo>
                    <a:lnTo>
                      <a:pt x="306" y="162"/>
                    </a:lnTo>
                    <a:lnTo>
                      <a:pt x="308" y="162"/>
                    </a:lnTo>
                    <a:lnTo>
                      <a:pt x="311" y="163"/>
                    </a:lnTo>
                    <a:lnTo>
                      <a:pt x="313" y="158"/>
                    </a:lnTo>
                    <a:lnTo>
                      <a:pt x="309" y="157"/>
                    </a:lnTo>
                    <a:lnTo>
                      <a:pt x="311" y="156"/>
                    </a:lnTo>
                    <a:lnTo>
                      <a:pt x="311" y="153"/>
                    </a:lnTo>
                    <a:lnTo>
                      <a:pt x="311" y="152"/>
                    </a:lnTo>
                    <a:lnTo>
                      <a:pt x="311" y="149"/>
                    </a:lnTo>
                    <a:lnTo>
                      <a:pt x="309" y="146"/>
                    </a:lnTo>
                    <a:lnTo>
                      <a:pt x="310" y="145"/>
                    </a:lnTo>
                    <a:lnTo>
                      <a:pt x="308" y="142"/>
                    </a:lnTo>
                    <a:lnTo>
                      <a:pt x="307" y="142"/>
                    </a:lnTo>
                    <a:lnTo>
                      <a:pt x="306" y="141"/>
                    </a:lnTo>
                    <a:lnTo>
                      <a:pt x="308" y="139"/>
                    </a:lnTo>
                    <a:lnTo>
                      <a:pt x="306" y="139"/>
                    </a:lnTo>
                    <a:lnTo>
                      <a:pt x="303" y="137"/>
                    </a:lnTo>
                    <a:lnTo>
                      <a:pt x="303" y="135"/>
                    </a:lnTo>
                    <a:lnTo>
                      <a:pt x="306" y="135"/>
                    </a:lnTo>
                    <a:lnTo>
                      <a:pt x="306" y="132"/>
                    </a:lnTo>
                    <a:lnTo>
                      <a:pt x="306" y="131"/>
                    </a:lnTo>
                    <a:lnTo>
                      <a:pt x="307" y="131"/>
                    </a:lnTo>
                    <a:lnTo>
                      <a:pt x="306" y="129"/>
                    </a:lnTo>
                    <a:lnTo>
                      <a:pt x="308" y="129"/>
                    </a:lnTo>
                    <a:lnTo>
                      <a:pt x="308" y="128"/>
                    </a:lnTo>
                    <a:lnTo>
                      <a:pt x="306" y="127"/>
                    </a:lnTo>
                    <a:lnTo>
                      <a:pt x="306" y="125"/>
                    </a:lnTo>
                    <a:lnTo>
                      <a:pt x="305" y="125"/>
                    </a:lnTo>
                    <a:lnTo>
                      <a:pt x="303" y="126"/>
                    </a:lnTo>
                    <a:lnTo>
                      <a:pt x="301" y="125"/>
                    </a:lnTo>
                    <a:lnTo>
                      <a:pt x="300" y="122"/>
                    </a:lnTo>
                    <a:lnTo>
                      <a:pt x="301" y="121"/>
                    </a:lnTo>
                    <a:lnTo>
                      <a:pt x="300" y="120"/>
                    </a:lnTo>
                    <a:lnTo>
                      <a:pt x="301" y="119"/>
                    </a:lnTo>
                    <a:lnTo>
                      <a:pt x="303" y="119"/>
                    </a:lnTo>
                    <a:lnTo>
                      <a:pt x="305" y="118"/>
                    </a:lnTo>
                    <a:lnTo>
                      <a:pt x="305" y="115"/>
                    </a:lnTo>
                    <a:lnTo>
                      <a:pt x="305" y="111"/>
                    </a:lnTo>
                    <a:lnTo>
                      <a:pt x="303" y="111"/>
                    </a:lnTo>
                    <a:lnTo>
                      <a:pt x="304" y="108"/>
                    </a:lnTo>
                    <a:lnTo>
                      <a:pt x="305" y="107"/>
                    </a:lnTo>
                    <a:lnTo>
                      <a:pt x="301" y="105"/>
                    </a:lnTo>
                    <a:lnTo>
                      <a:pt x="300" y="105"/>
                    </a:lnTo>
                    <a:lnTo>
                      <a:pt x="301" y="105"/>
                    </a:lnTo>
                    <a:lnTo>
                      <a:pt x="303" y="101"/>
                    </a:lnTo>
                    <a:lnTo>
                      <a:pt x="302" y="100"/>
                    </a:lnTo>
                    <a:lnTo>
                      <a:pt x="303" y="100"/>
                    </a:lnTo>
                    <a:lnTo>
                      <a:pt x="305" y="98"/>
                    </a:lnTo>
                    <a:lnTo>
                      <a:pt x="304" y="98"/>
                    </a:lnTo>
                    <a:lnTo>
                      <a:pt x="304" y="96"/>
                    </a:lnTo>
                    <a:lnTo>
                      <a:pt x="306" y="95"/>
                    </a:lnTo>
                    <a:lnTo>
                      <a:pt x="307" y="93"/>
                    </a:lnTo>
                    <a:lnTo>
                      <a:pt x="305" y="92"/>
                    </a:lnTo>
                    <a:lnTo>
                      <a:pt x="306" y="90"/>
                    </a:lnTo>
                    <a:lnTo>
                      <a:pt x="305" y="90"/>
                    </a:lnTo>
                    <a:lnTo>
                      <a:pt x="305" y="89"/>
                    </a:lnTo>
                    <a:lnTo>
                      <a:pt x="305" y="88"/>
                    </a:lnTo>
                    <a:lnTo>
                      <a:pt x="305" y="86"/>
                    </a:lnTo>
                    <a:lnTo>
                      <a:pt x="306" y="85"/>
                    </a:lnTo>
                    <a:lnTo>
                      <a:pt x="307" y="84"/>
                    </a:lnTo>
                    <a:lnTo>
                      <a:pt x="309" y="84"/>
                    </a:lnTo>
                    <a:lnTo>
                      <a:pt x="309" y="82"/>
                    </a:lnTo>
                    <a:lnTo>
                      <a:pt x="309" y="78"/>
                    </a:lnTo>
                    <a:lnTo>
                      <a:pt x="310" y="77"/>
                    </a:lnTo>
                    <a:lnTo>
                      <a:pt x="308" y="75"/>
                    </a:lnTo>
                    <a:lnTo>
                      <a:pt x="307" y="70"/>
                    </a:lnTo>
                    <a:lnTo>
                      <a:pt x="303" y="67"/>
                    </a:lnTo>
                    <a:lnTo>
                      <a:pt x="305" y="65"/>
                    </a:lnTo>
                    <a:lnTo>
                      <a:pt x="302" y="65"/>
                    </a:lnTo>
                    <a:lnTo>
                      <a:pt x="300" y="67"/>
                    </a:lnTo>
                    <a:lnTo>
                      <a:pt x="298" y="67"/>
                    </a:lnTo>
                    <a:lnTo>
                      <a:pt x="297" y="68"/>
                    </a:lnTo>
                    <a:lnTo>
                      <a:pt x="297" y="67"/>
                    </a:lnTo>
                    <a:lnTo>
                      <a:pt x="293" y="67"/>
                    </a:lnTo>
                    <a:lnTo>
                      <a:pt x="292" y="66"/>
                    </a:lnTo>
                    <a:lnTo>
                      <a:pt x="290" y="66"/>
                    </a:lnTo>
                    <a:lnTo>
                      <a:pt x="290" y="65"/>
                    </a:lnTo>
                    <a:lnTo>
                      <a:pt x="289" y="65"/>
                    </a:lnTo>
                    <a:lnTo>
                      <a:pt x="289" y="63"/>
                    </a:lnTo>
                    <a:lnTo>
                      <a:pt x="285" y="63"/>
                    </a:lnTo>
                    <a:lnTo>
                      <a:pt x="284" y="62"/>
                    </a:lnTo>
                    <a:lnTo>
                      <a:pt x="281" y="63"/>
                    </a:lnTo>
                    <a:lnTo>
                      <a:pt x="281" y="65"/>
                    </a:lnTo>
                    <a:lnTo>
                      <a:pt x="280" y="65"/>
                    </a:lnTo>
                    <a:lnTo>
                      <a:pt x="279" y="66"/>
                    </a:lnTo>
                    <a:lnTo>
                      <a:pt x="277" y="65"/>
                    </a:lnTo>
                    <a:lnTo>
                      <a:pt x="278" y="64"/>
                    </a:lnTo>
                    <a:lnTo>
                      <a:pt x="277" y="63"/>
                    </a:lnTo>
                    <a:lnTo>
                      <a:pt x="276" y="63"/>
                    </a:lnTo>
                    <a:lnTo>
                      <a:pt x="274" y="61"/>
                    </a:lnTo>
                    <a:lnTo>
                      <a:pt x="273" y="62"/>
                    </a:lnTo>
                    <a:lnTo>
                      <a:pt x="273" y="60"/>
                    </a:lnTo>
                    <a:lnTo>
                      <a:pt x="275" y="60"/>
                    </a:lnTo>
                    <a:lnTo>
                      <a:pt x="276" y="56"/>
                    </a:lnTo>
                    <a:lnTo>
                      <a:pt x="279" y="56"/>
                    </a:lnTo>
                    <a:lnTo>
                      <a:pt x="279" y="55"/>
                    </a:lnTo>
                    <a:lnTo>
                      <a:pt x="276" y="50"/>
                    </a:lnTo>
                    <a:lnTo>
                      <a:pt x="276" y="49"/>
                    </a:lnTo>
                    <a:lnTo>
                      <a:pt x="274" y="50"/>
                    </a:lnTo>
                    <a:lnTo>
                      <a:pt x="272" y="49"/>
                    </a:lnTo>
                    <a:lnTo>
                      <a:pt x="269" y="44"/>
                    </a:lnTo>
                    <a:lnTo>
                      <a:pt x="269" y="46"/>
                    </a:lnTo>
                    <a:lnTo>
                      <a:pt x="263" y="44"/>
                    </a:lnTo>
                    <a:lnTo>
                      <a:pt x="262" y="46"/>
                    </a:lnTo>
                    <a:lnTo>
                      <a:pt x="257" y="43"/>
                    </a:lnTo>
                    <a:lnTo>
                      <a:pt x="257" y="39"/>
                    </a:lnTo>
                    <a:lnTo>
                      <a:pt x="254" y="40"/>
                    </a:lnTo>
                    <a:lnTo>
                      <a:pt x="250" y="42"/>
                    </a:lnTo>
                    <a:lnTo>
                      <a:pt x="249" y="41"/>
                    </a:lnTo>
                    <a:lnTo>
                      <a:pt x="250" y="40"/>
                    </a:lnTo>
                    <a:lnTo>
                      <a:pt x="249" y="40"/>
                    </a:lnTo>
                    <a:lnTo>
                      <a:pt x="248" y="39"/>
                    </a:lnTo>
                    <a:lnTo>
                      <a:pt x="244" y="40"/>
                    </a:lnTo>
                    <a:lnTo>
                      <a:pt x="243" y="37"/>
                    </a:lnTo>
                    <a:lnTo>
                      <a:pt x="242" y="34"/>
                    </a:lnTo>
                    <a:lnTo>
                      <a:pt x="238" y="32"/>
                    </a:lnTo>
                    <a:lnTo>
                      <a:pt x="235" y="31"/>
                    </a:lnTo>
                    <a:lnTo>
                      <a:pt x="235" y="28"/>
                    </a:lnTo>
                    <a:lnTo>
                      <a:pt x="230" y="22"/>
                    </a:lnTo>
                    <a:lnTo>
                      <a:pt x="229" y="21"/>
                    </a:lnTo>
                    <a:lnTo>
                      <a:pt x="228" y="21"/>
                    </a:lnTo>
                    <a:lnTo>
                      <a:pt x="225" y="18"/>
                    </a:lnTo>
                    <a:lnTo>
                      <a:pt x="215" y="8"/>
                    </a:lnTo>
                    <a:lnTo>
                      <a:pt x="212" y="4"/>
                    </a:lnTo>
                    <a:lnTo>
                      <a:pt x="207" y="0"/>
                    </a:lnTo>
                    <a:lnTo>
                      <a:pt x="206" y="4"/>
                    </a:lnTo>
                    <a:lnTo>
                      <a:pt x="203" y="7"/>
                    </a:lnTo>
                    <a:lnTo>
                      <a:pt x="203" y="9"/>
                    </a:lnTo>
                    <a:lnTo>
                      <a:pt x="203" y="11"/>
                    </a:lnTo>
                    <a:lnTo>
                      <a:pt x="203" y="13"/>
                    </a:lnTo>
                    <a:lnTo>
                      <a:pt x="202" y="9"/>
                    </a:lnTo>
                    <a:lnTo>
                      <a:pt x="200" y="4"/>
                    </a:lnTo>
                    <a:lnTo>
                      <a:pt x="183" y="9"/>
                    </a:lnTo>
                    <a:lnTo>
                      <a:pt x="181" y="14"/>
                    </a:lnTo>
                    <a:lnTo>
                      <a:pt x="178" y="15"/>
                    </a:lnTo>
                    <a:lnTo>
                      <a:pt x="175" y="19"/>
                    </a:lnTo>
                    <a:lnTo>
                      <a:pt x="173" y="21"/>
                    </a:lnTo>
                    <a:lnTo>
                      <a:pt x="174" y="22"/>
                    </a:lnTo>
                    <a:lnTo>
                      <a:pt x="173" y="24"/>
                    </a:lnTo>
                    <a:lnTo>
                      <a:pt x="171" y="21"/>
                    </a:lnTo>
                    <a:lnTo>
                      <a:pt x="170" y="20"/>
                    </a:lnTo>
                    <a:lnTo>
                      <a:pt x="168" y="17"/>
                    </a:lnTo>
                    <a:lnTo>
                      <a:pt x="166" y="13"/>
                    </a:lnTo>
                    <a:lnTo>
                      <a:pt x="161" y="15"/>
                    </a:lnTo>
                    <a:lnTo>
                      <a:pt x="158" y="15"/>
                    </a:lnTo>
                    <a:lnTo>
                      <a:pt x="157" y="14"/>
                    </a:lnTo>
                    <a:lnTo>
                      <a:pt x="153" y="11"/>
                    </a:lnTo>
                    <a:lnTo>
                      <a:pt x="150" y="11"/>
                    </a:lnTo>
                    <a:lnTo>
                      <a:pt x="150" y="12"/>
                    </a:lnTo>
                    <a:lnTo>
                      <a:pt x="146" y="15"/>
                    </a:lnTo>
                    <a:lnTo>
                      <a:pt x="145" y="15"/>
                    </a:lnTo>
                    <a:lnTo>
                      <a:pt x="144" y="14"/>
                    </a:lnTo>
                    <a:lnTo>
                      <a:pt x="142" y="14"/>
                    </a:lnTo>
                    <a:lnTo>
                      <a:pt x="140" y="13"/>
                    </a:lnTo>
                    <a:lnTo>
                      <a:pt x="139" y="15"/>
                    </a:lnTo>
                    <a:lnTo>
                      <a:pt x="134" y="16"/>
                    </a:lnTo>
                    <a:lnTo>
                      <a:pt x="132" y="16"/>
                    </a:lnTo>
                    <a:lnTo>
                      <a:pt x="131" y="15"/>
                    </a:lnTo>
                    <a:lnTo>
                      <a:pt x="130" y="16"/>
                    </a:lnTo>
                    <a:lnTo>
                      <a:pt x="127" y="14"/>
                    </a:lnTo>
                    <a:lnTo>
                      <a:pt x="126" y="16"/>
                    </a:lnTo>
                    <a:lnTo>
                      <a:pt x="122" y="15"/>
                    </a:lnTo>
                    <a:lnTo>
                      <a:pt x="121" y="14"/>
                    </a:lnTo>
                    <a:lnTo>
                      <a:pt x="121" y="17"/>
                    </a:lnTo>
                    <a:lnTo>
                      <a:pt x="118" y="19"/>
                    </a:lnTo>
                    <a:lnTo>
                      <a:pt x="116" y="22"/>
                    </a:lnTo>
                    <a:lnTo>
                      <a:pt x="114" y="24"/>
                    </a:lnTo>
                    <a:lnTo>
                      <a:pt x="113" y="26"/>
                    </a:lnTo>
                    <a:lnTo>
                      <a:pt x="114" y="33"/>
                    </a:lnTo>
                    <a:lnTo>
                      <a:pt x="113" y="35"/>
                    </a:lnTo>
                    <a:lnTo>
                      <a:pt x="111" y="37"/>
                    </a:lnTo>
                    <a:lnTo>
                      <a:pt x="107" y="32"/>
                    </a:lnTo>
                    <a:lnTo>
                      <a:pt x="104" y="33"/>
                    </a:lnTo>
                    <a:lnTo>
                      <a:pt x="104" y="34"/>
                    </a:lnTo>
                    <a:lnTo>
                      <a:pt x="101" y="36"/>
                    </a:lnTo>
                    <a:lnTo>
                      <a:pt x="99" y="37"/>
                    </a:lnTo>
                    <a:lnTo>
                      <a:pt x="98" y="39"/>
                    </a:lnTo>
                    <a:lnTo>
                      <a:pt x="96" y="40"/>
                    </a:lnTo>
                    <a:lnTo>
                      <a:pt x="97" y="43"/>
                    </a:lnTo>
                    <a:lnTo>
                      <a:pt x="95" y="45"/>
                    </a:lnTo>
                    <a:lnTo>
                      <a:pt x="94" y="44"/>
                    </a:lnTo>
                    <a:lnTo>
                      <a:pt x="93" y="45"/>
                    </a:lnTo>
                    <a:lnTo>
                      <a:pt x="91" y="44"/>
                    </a:lnTo>
                    <a:lnTo>
                      <a:pt x="88" y="44"/>
                    </a:lnTo>
                    <a:lnTo>
                      <a:pt x="86" y="44"/>
                    </a:lnTo>
                    <a:lnTo>
                      <a:pt x="86" y="46"/>
                    </a:lnTo>
                    <a:lnTo>
                      <a:pt x="85" y="50"/>
                    </a:lnTo>
                    <a:lnTo>
                      <a:pt x="86" y="53"/>
                    </a:lnTo>
                    <a:lnTo>
                      <a:pt x="85" y="57"/>
                    </a:lnTo>
                    <a:lnTo>
                      <a:pt x="83" y="59"/>
                    </a:lnTo>
                    <a:lnTo>
                      <a:pt x="80" y="59"/>
                    </a:lnTo>
                    <a:lnTo>
                      <a:pt x="76" y="60"/>
                    </a:lnTo>
                    <a:lnTo>
                      <a:pt x="76" y="61"/>
                    </a:lnTo>
                    <a:lnTo>
                      <a:pt x="75" y="62"/>
                    </a:lnTo>
                    <a:lnTo>
                      <a:pt x="73" y="63"/>
                    </a:lnTo>
                    <a:lnTo>
                      <a:pt x="73" y="67"/>
                    </a:lnTo>
                    <a:lnTo>
                      <a:pt x="70" y="69"/>
                    </a:lnTo>
                    <a:lnTo>
                      <a:pt x="69" y="74"/>
                    </a:lnTo>
                    <a:lnTo>
                      <a:pt x="70" y="77"/>
                    </a:lnTo>
                    <a:lnTo>
                      <a:pt x="70" y="79"/>
                    </a:lnTo>
                    <a:lnTo>
                      <a:pt x="68" y="80"/>
                    </a:lnTo>
                    <a:lnTo>
                      <a:pt x="69" y="81"/>
                    </a:lnTo>
                    <a:lnTo>
                      <a:pt x="67" y="81"/>
                    </a:lnTo>
                    <a:lnTo>
                      <a:pt x="67" y="82"/>
                    </a:lnTo>
                    <a:lnTo>
                      <a:pt x="66" y="78"/>
                    </a:lnTo>
                    <a:lnTo>
                      <a:pt x="63" y="77"/>
                    </a:lnTo>
                    <a:lnTo>
                      <a:pt x="63" y="79"/>
                    </a:lnTo>
                    <a:lnTo>
                      <a:pt x="62" y="81"/>
                    </a:lnTo>
                    <a:lnTo>
                      <a:pt x="62" y="82"/>
                    </a:lnTo>
                    <a:lnTo>
                      <a:pt x="62" y="85"/>
                    </a:lnTo>
                    <a:lnTo>
                      <a:pt x="62" y="88"/>
                    </a:lnTo>
                    <a:lnTo>
                      <a:pt x="62" y="90"/>
                    </a:lnTo>
                    <a:lnTo>
                      <a:pt x="60" y="88"/>
                    </a:lnTo>
                    <a:lnTo>
                      <a:pt x="60" y="92"/>
                    </a:lnTo>
                    <a:lnTo>
                      <a:pt x="59" y="94"/>
                    </a:lnTo>
                    <a:lnTo>
                      <a:pt x="59" y="97"/>
                    </a:lnTo>
                    <a:lnTo>
                      <a:pt x="61" y="97"/>
                    </a:lnTo>
                    <a:lnTo>
                      <a:pt x="60" y="99"/>
                    </a:lnTo>
                    <a:lnTo>
                      <a:pt x="61" y="101"/>
                    </a:lnTo>
                    <a:lnTo>
                      <a:pt x="61" y="103"/>
                    </a:lnTo>
                    <a:lnTo>
                      <a:pt x="59" y="103"/>
                    </a:lnTo>
                    <a:lnTo>
                      <a:pt x="58" y="105"/>
                    </a:lnTo>
                    <a:lnTo>
                      <a:pt x="57" y="105"/>
                    </a:lnTo>
                    <a:lnTo>
                      <a:pt x="58" y="107"/>
                    </a:lnTo>
                    <a:lnTo>
                      <a:pt x="58" y="108"/>
                    </a:lnTo>
                    <a:lnTo>
                      <a:pt x="60" y="110"/>
                    </a:lnTo>
                    <a:lnTo>
                      <a:pt x="59" y="111"/>
                    </a:lnTo>
                    <a:lnTo>
                      <a:pt x="54" y="109"/>
                    </a:lnTo>
                    <a:lnTo>
                      <a:pt x="50" y="107"/>
                    </a:lnTo>
                    <a:lnTo>
                      <a:pt x="49" y="107"/>
                    </a:lnTo>
                    <a:lnTo>
                      <a:pt x="47" y="106"/>
                    </a:lnTo>
                    <a:lnTo>
                      <a:pt x="49" y="103"/>
                    </a:lnTo>
                    <a:lnTo>
                      <a:pt x="48" y="101"/>
                    </a:lnTo>
                    <a:lnTo>
                      <a:pt x="47" y="102"/>
                    </a:lnTo>
                    <a:lnTo>
                      <a:pt x="47" y="99"/>
                    </a:lnTo>
                    <a:lnTo>
                      <a:pt x="45" y="100"/>
                    </a:lnTo>
                    <a:lnTo>
                      <a:pt x="45" y="98"/>
                    </a:lnTo>
                    <a:lnTo>
                      <a:pt x="45" y="96"/>
                    </a:lnTo>
                    <a:lnTo>
                      <a:pt x="45" y="95"/>
                    </a:lnTo>
                    <a:lnTo>
                      <a:pt x="49" y="94"/>
                    </a:lnTo>
                    <a:lnTo>
                      <a:pt x="49" y="93"/>
                    </a:lnTo>
                    <a:lnTo>
                      <a:pt x="48" y="92"/>
                    </a:lnTo>
                    <a:lnTo>
                      <a:pt x="49" y="91"/>
                    </a:lnTo>
                    <a:lnTo>
                      <a:pt x="47" y="91"/>
                    </a:lnTo>
                    <a:lnTo>
                      <a:pt x="48" y="89"/>
                    </a:lnTo>
                    <a:lnTo>
                      <a:pt x="51" y="86"/>
                    </a:lnTo>
                    <a:lnTo>
                      <a:pt x="49" y="84"/>
                    </a:lnTo>
                    <a:lnTo>
                      <a:pt x="47" y="84"/>
                    </a:lnTo>
                    <a:lnTo>
                      <a:pt x="49" y="84"/>
                    </a:lnTo>
                    <a:lnTo>
                      <a:pt x="48" y="84"/>
                    </a:lnTo>
                    <a:lnTo>
                      <a:pt x="50" y="84"/>
                    </a:lnTo>
                    <a:lnTo>
                      <a:pt x="47" y="79"/>
                    </a:lnTo>
                    <a:lnTo>
                      <a:pt x="45" y="80"/>
                    </a:lnTo>
                    <a:lnTo>
                      <a:pt x="44" y="78"/>
                    </a:lnTo>
                    <a:lnTo>
                      <a:pt x="42" y="76"/>
                    </a:lnTo>
                    <a:lnTo>
                      <a:pt x="42" y="74"/>
                    </a:lnTo>
                    <a:lnTo>
                      <a:pt x="39" y="71"/>
                    </a:lnTo>
                    <a:lnTo>
                      <a:pt x="40" y="70"/>
                    </a:lnTo>
                    <a:lnTo>
                      <a:pt x="42" y="68"/>
                    </a:lnTo>
                    <a:lnTo>
                      <a:pt x="41" y="66"/>
                    </a:lnTo>
                    <a:lnTo>
                      <a:pt x="42" y="68"/>
                    </a:lnTo>
                    <a:lnTo>
                      <a:pt x="44" y="70"/>
                    </a:lnTo>
                    <a:lnTo>
                      <a:pt x="46" y="71"/>
                    </a:lnTo>
                    <a:lnTo>
                      <a:pt x="45" y="69"/>
                    </a:lnTo>
                    <a:lnTo>
                      <a:pt x="46" y="67"/>
                    </a:lnTo>
                    <a:lnTo>
                      <a:pt x="45" y="65"/>
                    </a:lnTo>
                    <a:lnTo>
                      <a:pt x="44" y="61"/>
                    </a:lnTo>
                    <a:lnTo>
                      <a:pt x="42" y="61"/>
                    </a:lnTo>
                    <a:lnTo>
                      <a:pt x="39" y="61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1" y="57"/>
                    </a:lnTo>
                    <a:lnTo>
                      <a:pt x="31" y="56"/>
                    </a:lnTo>
                    <a:lnTo>
                      <a:pt x="32" y="50"/>
                    </a:lnTo>
                    <a:lnTo>
                      <a:pt x="31" y="48"/>
                    </a:lnTo>
                    <a:lnTo>
                      <a:pt x="33" y="40"/>
                    </a:lnTo>
                    <a:lnTo>
                      <a:pt x="32" y="41"/>
                    </a:lnTo>
                    <a:lnTo>
                      <a:pt x="31" y="39"/>
                    </a:lnTo>
                    <a:lnTo>
                      <a:pt x="29" y="38"/>
                    </a:lnTo>
                    <a:lnTo>
                      <a:pt x="29" y="36"/>
                    </a:lnTo>
                    <a:lnTo>
                      <a:pt x="29" y="33"/>
                    </a:lnTo>
                    <a:lnTo>
                      <a:pt x="24" y="33"/>
                    </a:lnTo>
                    <a:lnTo>
                      <a:pt x="20" y="31"/>
                    </a:lnTo>
                    <a:lnTo>
                      <a:pt x="15" y="32"/>
                    </a:lnTo>
                    <a:lnTo>
                      <a:pt x="13" y="33"/>
                    </a:lnTo>
                    <a:lnTo>
                      <a:pt x="10" y="33"/>
                    </a:lnTo>
                    <a:lnTo>
                      <a:pt x="11" y="31"/>
                    </a:lnTo>
                    <a:lnTo>
                      <a:pt x="10" y="31"/>
                    </a:lnTo>
                    <a:lnTo>
                      <a:pt x="9" y="29"/>
                    </a:lnTo>
                    <a:lnTo>
                      <a:pt x="7" y="31"/>
                    </a:lnTo>
                    <a:lnTo>
                      <a:pt x="8" y="33"/>
                    </a:lnTo>
                    <a:lnTo>
                      <a:pt x="10" y="34"/>
                    </a:lnTo>
                    <a:lnTo>
                      <a:pt x="13" y="37"/>
                    </a:lnTo>
                    <a:lnTo>
                      <a:pt x="13" y="38"/>
                    </a:lnTo>
                    <a:lnTo>
                      <a:pt x="11" y="40"/>
                    </a:lnTo>
                    <a:lnTo>
                      <a:pt x="11" y="44"/>
                    </a:lnTo>
                    <a:lnTo>
                      <a:pt x="14" y="49"/>
                    </a:lnTo>
                    <a:lnTo>
                      <a:pt x="14" y="50"/>
                    </a:lnTo>
                    <a:lnTo>
                      <a:pt x="15" y="51"/>
                    </a:lnTo>
                    <a:lnTo>
                      <a:pt x="14" y="53"/>
                    </a:lnTo>
                    <a:lnTo>
                      <a:pt x="10" y="55"/>
                    </a:lnTo>
                    <a:lnTo>
                      <a:pt x="9" y="55"/>
                    </a:lnTo>
                    <a:lnTo>
                      <a:pt x="9" y="56"/>
                    </a:lnTo>
                    <a:lnTo>
                      <a:pt x="7" y="55"/>
                    </a:lnTo>
                    <a:lnTo>
                      <a:pt x="5" y="56"/>
                    </a:lnTo>
                    <a:lnTo>
                      <a:pt x="2" y="57"/>
                    </a:lnTo>
                    <a:lnTo>
                      <a:pt x="4" y="59"/>
                    </a:lnTo>
                    <a:lnTo>
                      <a:pt x="3" y="60"/>
                    </a:lnTo>
                    <a:lnTo>
                      <a:pt x="2" y="61"/>
                    </a:lnTo>
                    <a:lnTo>
                      <a:pt x="0" y="61"/>
                    </a:lnTo>
                    <a:lnTo>
                      <a:pt x="0" y="62"/>
                    </a:lnTo>
                    <a:lnTo>
                      <a:pt x="2" y="65"/>
                    </a:lnTo>
                    <a:lnTo>
                      <a:pt x="4" y="65"/>
                    </a:lnTo>
                    <a:lnTo>
                      <a:pt x="4" y="68"/>
                    </a:lnTo>
                    <a:lnTo>
                      <a:pt x="8" y="72"/>
                    </a:lnTo>
                    <a:lnTo>
                      <a:pt x="12" y="74"/>
                    </a:lnTo>
                    <a:lnTo>
                      <a:pt x="12" y="73"/>
                    </a:lnTo>
                    <a:lnTo>
                      <a:pt x="15" y="72"/>
                    </a:lnTo>
                    <a:lnTo>
                      <a:pt x="15" y="73"/>
                    </a:lnTo>
                    <a:lnTo>
                      <a:pt x="12" y="74"/>
                    </a:lnTo>
                    <a:lnTo>
                      <a:pt x="15" y="75"/>
                    </a:lnTo>
                    <a:lnTo>
                      <a:pt x="16" y="77"/>
                    </a:lnTo>
                    <a:lnTo>
                      <a:pt x="15" y="78"/>
                    </a:lnTo>
                    <a:lnTo>
                      <a:pt x="17" y="78"/>
                    </a:lnTo>
                    <a:lnTo>
                      <a:pt x="16" y="80"/>
                    </a:lnTo>
                    <a:lnTo>
                      <a:pt x="17" y="80"/>
                    </a:lnTo>
                    <a:lnTo>
                      <a:pt x="15" y="82"/>
                    </a:lnTo>
                    <a:lnTo>
                      <a:pt x="15" y="84"/>
                    </a:lnTo>
                    <a:lnTo>
                      <a:pt x="17" y="83"/>
                    </a:lnTo>
                    <a:lnTo>
                      <a:pt x="20" y="84"/>
                    </a:lnTo>
                    <a:lnTo>
                      <a:pt x="20" y="88"/>
                    </a:lnTo>
                    <a:lnTo>
                      <a:pt x="21" y="88"/>
                    </a:lnTo>
                    <a:lnTo>
                      <a:pt x="21" y="89"/>
                    </a:lnTo>
                    <a:lnTo>
                      <a:pt x="20" y="90"/>
                    </a:lnTo>
                    <a:lnTo>
                      <a:pt x="22" y="90"/>
                    </a:lnTo>
                    <a:lnTo>
                      <a:pt x="23" y="91"/>
                    </a:lnTo>
                    <a:lnTo>
                      <a:pt x="24" y="91"/>
                    </a:lnTo>
                    <a:lnTo>
                      <a:pt x="22" y="91"/>
                    </a:lnTo>
                    <a:lnTo>
                      <a:pt x="21" y="93"/>
                    </a:lnTo>
                    <a:lnTo>
                      <a:pt x="25" y="97"/>
                    </a:lnTo>
                    <a:lnTo>
                      <a:pt x="25" y="101"/>
                    </a:lnTo>
                    <a:lnTo>
                      <a:pt x="25" y="103"/>
                    </a:lnTo>
                    <a:lnTo>
                      <a:pt x="25" y="105"/>
                    </a:lnTo>
                    <a:lnTo>
                      <a:pt x="27" y="107"/>
                    </a:lnTo>
                    <a:lnTo>
                      <a:pt x="25" y="110"/>
                    </a:lnTo>
                    <a:lnTo>
                      <a:pt x="21" y="113"/>
                    </a:lnTo>
                    <a:lnTo>
                      <a:pt x="22" y="114"/>
                    </a:lnTo>
                    <a:lnTo>
                      <a:pt x="22" y="116"/>
                    </a:lnTo>
                    <a:lnTo>
                      <a:pt x="20" y="116"/>
                    </a:lnTo>
                    <a:lnTo>
                      <a:pt x="19" y="118"/>
                    </a:lnTo>
                    <a:lnTo>
                      <a:pt x="20" y="120"/>
                    </a:lnTo>
                    <a:lnTo>
                      <a:pt x="19" y="127"/>
                    </a:lnTo>
                    <a:lnTo>
                      <a:pt x="20" y="130"/>
                    </a:lnTo>
                    <a:lnTo>
                      <a:pt x="19" y="132"/>
                    </a:lnTo>
                    <a:lnTo>
                      <a:pt x="20" y="135"/>
                    </a:lnTo>
                    <a:lnTo>
                      <a:pt x="21" y="137"/>
                    </a:lnTo>
                    <a:lnTo>
                      <a:pt x="24" y="137"/>
                    </a:lnTo>
                    <a:lnTo>
                      <a:pt x="26" y="138"/>
                    </a:lnTo>
                    <a:lnTo>
                      <a:pt x="25" y="140"/>
                    </a:lnTo>
                    <a:lnTo>
                      <a:pt x="26" y="142"/>
                    </a:lnTo>
                    <a:lnTo>
                      <a:pt x="28" y="141"/>
                    </a:lnTo>
                    <a:lnTo>
                      <a:pt x="29" y="141"/>
                    </a:lnTo>
                    <a:lnTo>
                      <a:pt x="29" y="142"/>
                    </a:lnTo>
                    <a:lnTo>
                      <a:pt x="29" y="144"/>
                    </a:lnTo>
                    <a:lnTo>
                      <a:pt x="31" y="145"/>
                    </a:lnTo>
                    <a:lnTo>
                      <a:pt x="31" y="146"/>
                    </a:lnTo>
                    <a:lnTo>
                      <a:pt x="33" y="148"/>
                    </a:lnTo>
                    <a:lnTo>
                      <a:pt x="34" y="150"/>
                    </a:lnTo>
                    <a:lnTo>
                      <a:pt x="36" y="152"/>
                    </a:lnTo>
                    <a:lnTo>
                      <a:pt x="31" y="158"/>
                    </a:lnTo>
                    <a:lnTo>
                      <a:pt x="31" y="160"/>
                    </a:lnTo>
                    <a:lnTo>
                      <a:pt x="34" y="159"/>
                    </a:lnTo>
                    <a:lnTo>
                      <a:pt x="36" y="162"/>
                    </a:lnTo>
                    <a:lnTo>
                      <a:pt x="41" y="162"/>
                    </a:lnTo>
                    <a:lnTo>
                      <a:pt x="45" y="163"/>
                    </a:lnTo>
                    <a:lnTo>
                      <a:pt x="45" y="165"/>
                    </a:lnTo>
                    <a:lnTo>
                      <a:pt x="46" y="165"/>
                    </a:lnTo>
                    <a:lnTo>
                      <a:pt x="46" y="167"/>
                    </a:lnTo>
                    <a:lnTo>
                      <a:pt x="45" y="168"/>
                    </a:lnTo>
                    <a:lnTo>
                      <a:pt x="47" y="172"/>
                    </a:lnTo>
                    <a:lnTo>
                      <a:pt x="47" y="175"/>
                    </a:lnTo>
                    <a:lnTo>
                      <a:pt x="48" y="175"/>
                    </a:lnTo>
                    <a:lnTo>
                      <a:pt x="50" y="173"/>
                    </a:lnTo>
                    <a:lnTo>
                      <a:pt x="53" y="173"/>
                    </a:lnTo>
                    <a:lnTo>
                      <a:pt x="53" y="175"/>
                    </a:lnTo>
                    <a:lnTo>
                      <a:pt x="53" y="176"/>
                    </a:lnTo>
                    <a:lnTo>
                      <a:pt x="57" y="182"/>
                    </a:lnTo>
                    <a:lnTo>
                      <a:pt x="58" y="184"/>
                    </a:lnTo>
                    <a:lnTo>
                      <a:pt x="60" y="184"/>
                    </a:lnTo>
                    <a:lnTo>
                      <a:pt x="60" y="186"/>
                    </a:lnTo>
                    <a:lnTo>
                      <a:pt x="62" y="187"/>
                    </a:lnTo>
                    <a:lnTo>
                      <a:pt x="66" y="187"/>
                    </a:lnTo>
                    <a:lnTo>
                      <a:pt x="66" y="188"/>
                    </a:lnTo>
                    <a:lnTo>
                      <a:pt x="64" y="190"/>
                    </a:lnTo>
                    <a:lnTo>
                      <a:pt x="66" y="190"/>
                    </a:lnTo>
                    <a:lnTo>
                      <a:pt x="66" y="192"/>
                    </a:lnTo>
                    <a:lnTo>
                      <a:pt x="70" y="192"/>
                    </a:lnTo>
                    <a:lnTo>
                      <a:pt x="71" y="194"/>
                    </a:lnTo>
                    <a:lnTo>
                      <a:pt x="73" y="194"/>
                    </a:lnTo>
                    <a:lnTo>
                      <a:pt x="74" y="196"/>
                    </a:lnTo>
                    <a:lnTo>
                      <a:pt x="74" y="198"/>
                    </a:lnTo>
                    <a:lnTo>
                      <a:pt x="71" y="199"/>
                    </a:lnTo>
                    <a:lnTo>
                      <a:pt x="72" y="201"/>
                    </a:lnTo>
                    <a:lnTo>
                      <a:pt x="72" y="203"/>
                    </a:lnTo>
                    <a:lnTo>
                      <a:pt x="75" y="202"/>
                    </a:lnTo>
                    <a:lnTo>
                      <a:pt x="76" y="201"/>
                    </a:lnTo>
                    <a:lnTo>
                      <a:pt x="78" y="200"/>
                    </a:lnTo>
                    <a:lnTo>
                      <a:pt x="79" y="199"/>
                    </a:lnTo>
                    <a:lnTo>
                      <a:pt x="80" y="199"/>
                    </a:lnTo>
                    <a:lnTo>
                      <a:pt x="83" y="202"/>
                    </a:lnTo>
                    <a:lnTo>
                      <a:pt x="82" y="203"/>
                    </a:lnTo>
                    <a:lnTo>
                      <a:pt x="84" y="206"/>
                    </a:lnTo>
                    <a:lnTo>
                      <a:pt x="87" y="207"/>
                    </a:lnTo>
                    <a:lnTo>
                      <a:pt x="89" y="211"/>
                    </a:lnTo>
                    <a:lnTo>
                      <a:pt x="88" y="213"/>
                    </a:lnTo>
                    <a:lnTo>
                      <a:pt x="86" y="217"/>
                    </a:lnTo>
                    <a:lnTo>
                      <a:pt x="83" y="217"/>
                    </a:lnTo>
                    <a:lnTo>
                      <a:pt x="83" y="218"/>
                    </a:lnTo>
                    <a:lnTo>
                      <a:pt x="80" y="221"/>
                    </a:lnTo>
                    <a:lnTo>
                      <a:pt x="80" y="223"/>
                    </a:lnTo>
                    <a:lnTo>
                      <a:pt x="81" y="227"/>
                    </a:lnTo>
                    <a:lnTo>
                      <a:pt x="85" y="228"/>
                    </a:lnTo>
                    <a:lnTo>
                      <a:pt x="85" y="229"/>
                    </a:lnTo>
                    <a:lnTo>
                      <a:pt x="86" y="229"/>
                    </a:lnTo>
                    <a:lnTo>
                      <a:pt x="87" y="232"/>
                    </a:lnTo>
                    <a:lnTo>
                      <a:pt x="90" y="233"/>
                    </a:lnTo>
                    <a:lnTo>
                      <a:pt x="93" y="233"/>
                    </a:lnTo>
                    <a:lnTo>
                      <a:pt x="95" y="236"/>
                    </a:lnTo>
                    <a:lnTo>
                      <a:pt x="98" y="237"/>
                    </a:lnTo>
                    <a:lnTo>
                      <a:pt x="98" y="238"/>
                    </a:lnTo>
                    <a:lnTo>
                      <a:pt x="98" y="245"/>
                    </a:lnTo>
                    <a:lnTo>
                      <a:pt x="102" y="247"/>
                    </a:lnTo>
                    <a:lnTo>
                      <a:pt x="106" y="247"/>
                    </a:lnTo>
                    <a:lnTo>
                      <a:pt x="109" y="250"/>
                    </a:lnTo>
                    <a:lnTo>
                      <a:pt x="110" y="253"/>
                    </a:lnTo>
                    <a:lnTo>
                      <a:pt x="111" y="250"/>
                    </a:lnTo>
                    <a:lnTo>
                      <a:pt x="114" y="252"/>
                    </a:lnTo>
                    <a:lnTo>
                      <a:pt x="114" y="247"/>
                    </a:lnTo>
                    <a:lnTo>
                      <a:pt x="116" y="247"/>
                    </a:lnTo>
                    <a:lnTo>
                      <a:pt x="118" y="247"/>
                    </a:lnTo>
                    <a:lnTo>
                      <a:pt x="118" y="245"/>
                    </a:lnTo>
                    <a:lnTo>
                      <a:pt x="119" y="246"/>
                    </a:lnTo>
                    <a:lnTo>
                      <a:pt x="119" y="244"/>
                    </a:lnTo>
                    <a:lnTo>
                      <a:pt x="124" y="244"/>
                    </a:lnTo>
                    <a:lnTo>
                      <a:pt x="128" y="247"/>
                    </a:lnTo>
                    <a:lnTo>
                      <a:pt x="130" y="249"/>
                    </a:lnTo>
                    <a:lnTo>
                      <a:pt x="130" y="255"/>
                    </a:lnTo>
                    <a:lnTo>
                      <a:pt x="130" y="256"/>
                    </a:lnTo>
                    <a:lnTo>
                      <a:pt x="130" y="257"/>
                    </a:lnTo>
                    <a:lnTo>
                      <a:pt x="133" y="258"/>
                    </a:lnTo>
                    <a:lnTo>
                      <a:pt x="133" y="256"/>
                    </a:lnTo>
                    <a:lnTo>
                      <a:pt x="133" y="252"/>
                    </a:lnTo>
                    <a:lnTo>
                      <a:pt x="132" y="250"/>
                    </a:lnTo>
                    <a:lnTo>
                      <a:pt x="137" y="249"/>
                    </a:lnTo>
                    <a:lnTo>
                      <a:pt x="142" y="250"/>
                    </a:lnTo>
                    <a:lnTo>
                      <a:pt x="142" y="246"/>
                    </a:lnTo>
                    <a:lnTo>
                      <a:pt x="140" y="243"/>
                    </a:lnTo>
                    <a:lnTo>
                      <a:pt x="141" y="243"/>
                    </a:lnTo>
                    <a:lnTo>
                      <a:pt x="143" y="244"/>
                    </a:lnTo>
                    <a:lnTo>
                      <a:pt x="146" y="246"/>
                    </a:lnTo>
                    <a:lnTo>
                      <a:pt x="148" y="246"/>
                    </a:lnTo>
                    <a:lnTo>
                      <a:pt x="151" y="243"/>
                    </a:lnTo>
                    <a:lnTo>
                      <a:pt x="152" y="241"/>
                    </a:lnTo>
                    <a:lnTo>
                      <a:pt x="154" y="243"/>
                    </a:lnTo>
                    <a:lnTo>
                      <a:pt x="157" y="243"/>
                    </a:lnTo>
                    <a:lnTo>
                      <a:pt x="157" y="242"/>
                    </a:lnTo>
                    <a:lnTo>
                      <a:pt x="158" y="241"/>
                    </a:lnTo>
                    <a:lnTo>
                      <a:pt x="158" y="243"/>
                    </a:lnTo>
                    <a:lnTo>
                      <a:pt x="160" y="244"/>
                    </a:lnTo>
                    <a:lnTo>
                      <a:pt x="162" y="243"/>
                    </a:lnTo>
                    <a:lnTo>
                      <a:pt x="164" y="242"/>
                    </a:lnTo>
                    <a:lnTo>
                      <a:pt x="165" y="240"/>
                    </a:lnTo>
                    <a:lnTo>
                      <a:pt x="167" y="240"/>
                    </a:lnTo>
                    <a:lnTo>
                      <a:pt x="168" y="242"/>
                    </a:lnTo>
                    <a:lnTo>
                      <a:pt x="170" y="242"/>
                    </a:lnTo>
                    <a:lnTo>
                      <a:pt x="171" y="243"/>
                    </a:lnTo>
                    <a:lnTo>
                      <a:pt x="171" y="244"/>
                    </a:lnTo>
                    <a:lnTo>
                      <a:pt x="172" y="244"/>
                    </a:lnTo>
                    <a:lnTo>
                      <a:pt x="171" y="245"/>
                    </a:lnTo>
                    <a:lnTo>
                      <a:pt x="172" y="247"/>
                    </a:lnTo>
                    <a:lnTo>
                      <a:pt x="173" y="247"/>
                    </a:lnTo>
                    <a:lnTo>
                      <a:pt x="173" y="245"/>
                    </a:lnTo>
                    <a:lnTo>
                      <a:pt x="175" y="247"/>
                    </a:lnTo>
                    <a:lnTo>
                      <a:pt x="178" y="245"/>
                    </a:lnTo>
                    <a:lnTo>
                      <a:pt x="180" y="248"/>
                    </a:lnTo>
                    <a:lnTo>
                      <a:pt x="180" y="251"/>
                    </a:lnTo>
                    <a:lnTo>
                      <a:pt x="181" y="250"/>
                    </a:lnTo>
                    <a:lnTo>
                      <a:pt x="184" y="250"/>
                    </a:lnTo>
                    <a:lnTo>
                      <a:pt x="187" y="252"/>
                    </a:lnTo>
                    <a:lnTo>
                      <a:pt x="191" y="248"/>
                    </a:lnTo>
                    <a:lnTo>
                      <a:pt x="193" y="249"/>
                    </a:lnTo>
                    <a:lnTo>
                      <a:pt x="195" y="250"/>
                    </a:lnTo>
                    <a:lnTo>
                      <a:pt x="195" y="251"/>
                    </a:lnTo>
                    <a:lnTo>
                      <a:pt x="196" y="253"/>
                    </a:lnTo>
                    <a:lnTo>
                      <a:pt x="199" y="256"/>
                    </a:lnTo>
                    <a:lnTo>
                      <a:pt x="200" y="256"/>
                    </a:lnTo>
                    <a:lnTo>
                      <a:pt x="200" y="253"/>
                    </a:lnTo>
                    <a:lnTo>
                      <a:pt x="203" y="254"/>
                    </a:lnTo>
                    <a:lnTo>
                      <a:pt x="203" y="253"/>
                    </a:lnTo>
                    <a:lnTo>
                      <a:pt x="204" y="253"/>
                    </a:lnTo>
                    <a:lnTo>
                      <a:pt x="206" y="251"/>
                    </a:lnTo>
                    <a:lnTo>
                      <a:pt x="207" y="250"/>
                    </a:lnTo>
                    <a:lnTo>
                      <a:pt x="208" y="249"/>
                    </a:lnTo>
                    <a:lnTo>
                      <a:pt x="210" y="250"/>
                    </a:lnTo>
                    <a:lnTo>
                      <a:pt x="211" y="249"/>
                    </a:lnTo>
                    <a:lnTo>
                      <a:pt x="212" y="247"/>
                    </a:lnTo>
                    <a:lnTo>
                      <a:pt x="212" y="245"/>
                    </a:lnTo>
                    <a:lnTo>
                      <a:pt x="211" y="244"/>
                    </a:lnTo>
                    <a:lnTo>
                      <a:pt x="212" y="243"/>
                    </a:lnTo>
                    <a:lnTo>
                      <a:pt x="211" y="243"/>
                    </a:lnTo>
                    <a:lnTo>
                      <a:pt x="212" y="242"/>
                    </a:lnTo>
                    <a:lnTo>
                      <a:pt x="214" y="243"/>
                    </a:lnTo>
                    <a:lnTo>
                      <a:pt x="214" y="241"/>
                    </a:lnTo>
                    <a:lnTo>
                      <a:pt x="211" y="236"/>
                    </a:lnTo>
                    <a:lnTo>
                      <a:pt x="212" y="233"/>
                    </a:lnTo>
                    <a:lnTo>
                      <a:pt x="214" y="232"/>
                    </a:lnTo>
                    <a:lnTo>
                      <a:pt x="217" y="232"/>
                    </a:lnTo>
                    <a:lnTo>
                      <a:pt x="220" y="233"/>
                    </a:lnTo>
                    <a:lnTo>
                      <a:pt x="222" y="231"/>
                    </a:lnTo>
                    <a:lnTo>
                      <a:pt x="224" y="232"/>
                    </a:lnTo>
                    <a:lnTo>
                      <a:pt x="223" y="233"/>
                    </a:lnTo>
                    <a:lnTo>
                      <a:pt x="224" y="233"/>
                    </a:lnTo>
                    <a:lnTo>
                      <a:pt x="224" y="227"/>
                    </a:lnTo>
                    <a:lnTo>
                      <a:pt x="228" y="227"/>
                    </a:lnTo>
                    <a:lnTo>
                      <a:pt x="229" y="229"/>
                    </a:lnTo>
                    <a:lnTo>
                      <a:pt x="230" y="228"/>
                    </a:lnTo>
                    <a:lnTo>
                      <a:pt x="230" y="227"/>
                    </a:lnTo>
                    <a:lnTo>
                      <a:pt x="232" y="226"/>
                    </a:lnTo>
                    <a:lnTo>
                      <a:pt x="234" y="226"/>
                    </a:lnTo>
                    <a:lnTo>
                      <a:pt x="235" y="225"/>
                    </a:lnTo>
                    <a:lnTo>
                      <a:pt x="235" y="223"/>
                    </a:lnTo>
                    <a:lnTo>
                      <a:pt x="238" y="223"/>
                    </a:lnTo>
                    <a:lnTo>
                      <a:pt x="239" y="223"/>
                    </a:lnTo>
                    <a:lnTo>
                      <a:pt x="240" y="221"/>
                    </a:lnTo>
                    <a:lnTo>
                      <a:pt x="241" y="220"/>
                    </a:lnTo>
                    <a:lnTo>
                      <a:pt x="244" y="222"/>
                    </a:lnTo>
                    <a:lnTo>
                      <a:pt x="246" y="220"/>
                    </a:lnTo>
                    <a:lnTo>
                      <a:pt x="246" y="219"/>
                    </a:lnTo>
                    <a:lnTo>
                      <a:pt x="244" y="219"/>
                    </a:lnTo>
                    <a:lnTo>
                      <a:pt x="245" y="216"/>
                    </a:lnTo>
                    <a:lnTo>
                      <a:pt x="247" y="218"/>
                    </a:lnTo>
                    <a:lnTo>
                      <a:pt x="249" y="218"/>
                    </a:lnTo>
                    <a:lnTo>
                      <a:pt x="249" y="214"/>
                    </a:lnTo>
                    <a:lnTo>
                      <a:pt x="249" y="213"/>
                    </a:lnTo>
                    <a:lnTo>
                      <a:pt x="249" y="214"/>
                    </a:lnTo>
                    <a:lnTo>
                      <a:pt x="251" y="213"/>
                    </a:lnTo>
                    <a:lnTo>
                      <a:pt x="254" y="210"/>
                    </a:lnTo>
                    <a:lnTo>
                      <a:pt x="254" y="213"/>
                    </a:lnTo>
                    <a:lnTo>
                      <a:pt x="254" y="215"/>
                    </a:lnTo>
                    <a:lnTo>
                      <a:pt x="256" y="216"/>
                    </a:lnTo>
                    <a:lnTo>
                      <a:pt x="257" y="215"/>
                    </a:lnTo>
                    <a:lnTo>
                      <a:pt x="259" y="218"/>
                    </a:lnTo>
                    <a:lnTo>
                      <a:pt x="260" y="216"/>
                    </a:lnTo>
                    <a:lnTo>
                      <a:pt x="262" y="218"/>
                    </a:lnTo>
                    <a:lnTo>
                      <a:pt x="262" y="217"/>
                    </a:lnTo>
                    <a:lnTo>
                      <a:pt x="264" y="218"/>
                    </a:lnTo>
                    <a:lnTo>
                      <a:pt x="267" y="216"/>
                    </a:lnTo>
                    <a:lnTo>
                      <a:pt x="267" y="218"/>
                    </a:lnTo>
                    <a:lnTo>
                      <a:pt x="266" y="218"/>
                    </a:lnTo>
                    <a:lnTo>
                      <a:pt x="269" y="219"/>
                    </a:lnTo>
                    <a:lnTo>
                      <a:pt x="270" y="219"/>
                    </a:lnTo>
                    <a:lnTo>
                      <a:pt x="270" y="221"/>
                    </a:lnTo>
                    <a:lnTo>
                      <a:pt x="271" y="221"/>
                    </a:lnTo>
                    <a:lnTo>
                      <a:pt x="271" y="220"/>
                    </a:lnTo>
                    <a:lnTo>
                      <a:pt x="272" y="222"/>
                    </a:lnTo>
                    <a:lnTo>
                      <a:pt x="273" y="222"/>
                    </a:lnTo>
                    <a:lnTo>
                      <a:pt x="273" y="223"/>
                    </a:lnTo>
                    <a:lnTo>
                      <a:pt x="274" y="223"/>
                    </a:lnTo>
                    <a:lnTo>
                      <a:pt x="274" y="226"/>
                    </a:lnTo>
                    <a:lnTo>
                      <a:pt x="275" y="227"/>
                    </a:lnTo>
                    <a:lnTo>
                      <a:pt x="276" y="223"/>
                    </a:lnTo>
                    <a:lnTo>
                      <a:pt x="276" y="225"/>
                    </a:lnTo>
                    <a:lnTo>
                      <a:pt x="276" y="226"/>
                    </a:lnTo>
                    <a:lnTo>
                      <a:pt x="278" y="228"/>
                    </a:lnTo>
                    <a:lnTo>
                      <a:pt x="281" y="233"/>
                    </a:lnTo>
                    <a:lnTo>
                      <a:pt x="285" y="236"/>
                    </a:lnTo>
                    <a:lnTo>
                      <a:pt x="287" y="235"/>
                    </a:lnTo>
                    <a:lnTo>
                      <a:pt x="289" y="234"/>
                    </a:lnTo>
                    <a:lnTo>
                      <a:pt x="287" y="231"/>
                    </a:lnTo>
                    <a:lnTo>
                      <a:pt x="287" y="227"/>
                    </a:lnTo>
                    <a:lnTo>
                      <a:pt x="290" y="223"/>
                    </a:lnTo>
                    <a:lnTo>
                      <a:pt x="292" y="223"/>
                    </a:lnTo>
                    <a:lnTo>
                      <a:pt x="292" y="222"/>
                    </a:lnTo>
                    <a:lnTo>
                      <a:pt x="290" y="216"/>
                    </a:lnTo>
                    <a:lnTo>
                      <a:pt x="292" y="216"/>
                    </a:lnTo>
                    <a:lnTo>
                      <a:pt x="290" y="214"/>
                    </a:lnTo>
                    <a:lnTo>
                      <a:pt x="289" y="214"/>
                    </a:lnTo>
                    <a:lnTo>
                      <a:pt x="290" y="213"/>
                    </a:lnTo>
                    <a:lnTo>
                      <a:pt x="291" y="212"/>
                    </a:lnTo>
                    <a:lnTo>
                      <a:pt x="290" y="210"/>
                    </a:lnTo>
                    <a:lnTo>
                      <a:pt x="292" y="210"/>
                    </a:lnTo>
                    <a:lnTo>
                      <a:pt x="293" y="212"/>
                    </a:lnTo>
                    <a:lnTo>
                      <a:pt x="294" y="213"/>
                    </a:lnTo>
                    <a:lnTo>
                      <a:pt x="295" y="210"/>
                    </a:lnTo>
                    <a:lnTo>
                      <a:pt x="295" y="213"/>
                    </a:lnTo>
                    <a:lnTo>
                      <a:pt x="297" y="213"/>
                    </a:lnTo>
                    <a:lnTo>
                      <a:pt x="297" y="210"/>
                    </a:lnTo>
                    <a:lnTo>
                      <a:pt x="300" y="211"/>
                    </a:lnTo>
                    <a:lnTo>
                      <a:pt x="301" y="210"/>
                    </a:lnTo>
                    <a:lnTo>
                      <a:pt x="303" y="211"/>
                    </a:lnTo>
                    <a:lnTo>
                      <a:pt x="304" y="210"/>
                    </a:lnTo>
                    <a:lnTo>
                      <a:pt x="303" y="206"/>
                    </a:lnTo>
                    <a:lnTo>
                      <a:pt x="303" y="207"/>
                    </a:lnTo>
                    <a:lnTo>
                      <a:pt x="305" y="209"/>
                    </a:lnTo>
                    <a:lnTo>
                      <a:pt x="308" y="208"/>
                    </a:lnTo>
                    <a:lnTo>
                      <a:pt x="308" y="205"/>
                    </a:lnTo>
                    <a:lnTo>
                      <a:pt x="309" y="204"/>
                    </a:lnTo>
                    <a:lnTo>
                      <a:pt x="309" y="202"/>
                    </a:lnTo>
                    <a:lnTo>
                      <a:pt x="309" y="200"/>
                    </a:lnTo>
                    <a:lnTo>
                      <a:pt x="306" y="201"/>
                    </a:lnTo>
                    <a:lnTo>
                      <a:pt x="305" y="199"/>
                    </a:lnTo>
                    <a:lnTo>
                      <a:pt x="309" y="192"/>
                    </a:lnTo>
                    <a:lnTo>
                      <a:pt x="308" y="191"/>
                    </a:lnTo>
                    <a:lnTo>
                      <a:pt x="307" y="190"/>
                    </a:lnTo>
                    <a:lnTo>
                      <a:pt x="309" y="190"/>
                    </a:lnTo>
                    <a:lnTo>
                      <a:pt x="309" y="191"/>
                    </a:lnTo>
                    <a:lnTo>
                      <a:pt x="311" y="192"/>
                    </a:lnTo>
                    <a:lnTo>
                      <a:pt x="312" y="191"/>
                    </a:lnTo>
                    <a:lnTo>
                      <a:pt x="312" y="190"/>
                    </a:lnTo>
                    <a:lnTo>
                      <a:pt x="311" y="190"/>
                    </a:lnTo>
                    <a:lnTo>
                      <a:pt x="311" y="18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7" name="Freeform 91">
                <a:extLst>
                  <a:ext uri="{FF2B5EF4-FFF2-40B4-BE49-F238E27FC236}">
                    <a16:creationId xmlns:a16="http://schemas.microsoft.com/office/drawing/2014/main" id="{EF0E7C98-3907-7163-A43D-18FAF50E54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7" y="2893"/>
                <a:ext cx="313" cy="258"/>
              </a:xfrm>
              <a:custGeom>
                <a:avLst/>
                <a:gdLst>
                  <a:gd name="T0" fmla="*/ 302 w 313"/>
                  <a:gd name="T1" fmla="*/ 176 h 258"/>
                  <a:gd name="T2" fmla="*/ 301 w 313"/>
                  <a:gd name="T3" fmla="*/ 168 h 258"/>
                  <a:gd name="T4" fmla="*/ 311 w 313"/>
                  <a:gd name="T5" fmla="*/ 169 h 258"/>
                  <a:gd name="T6" fmla="*/ 311 w 313"/>
                  <a:gd name="T7" fmla="*/ 156 h 258"/>
                  <a:gd name="T8" fmla="*/ 306 w 313"/>
                  <a:gd name="T9" fmla="*/ 139 h 258"/>
                  <a:gd name="T10" fmla="*/ 306 w 313"/>
                  <a:gd name="T11" fmla="*/ 125 h 258"/>
                  <a:gd name="T12" fmla="*/ 305 w 313"/>
                  <a:gd name="T13" fmla="*/ 111 h 258"/>
                  <a:gd name="T14" fmla="*/ 305 w 313"/>
                  <a:gd name="T15" fmla="*/ 98 h 258"/>
                  <a:gd name="T16" fmla="*/ 305 w 313"/>
                  <a:gd name="T17" fmla="*/ 86 h 258"/>
                  <a:gd name="T18" fmla="*/ 305 w 313"/>
                  <a:gd name="T19" fmla="*/ 65 h 258"/>
                  <a:gd name="T20" fmla="*/ 289 w 313"/>
                  <a:gd name="T21" fmla="*/ 65 h 258"/>
                  <a:gd name="T22" fmla="*/ 277 w 313"/>
                  <a:gd name="T23" fmla="*/ 63 h 258"/>
                  <a:gd name="T24" fmla="*/ 274 w 313"/>
                  <a:gd name="T25" fmla="*/ 50 h 258"/>
                  <a:gd name="T26" fmla="*/ 250 w 313"/>
                  <a:gd name="T27" fmla="*/ 40 h 258"/>
                  <a:gd name="T28" fmla="*/ 228 w 313"/>
                  <a:gd name="T29" fmla="*/ 21 h 258"/>
                  <a:gd name="T30" fmla="*/ 200 w 313"/>
                  <a:gd name="T31" fmla="*/ 4 h 258"/>
                  <a:gd name="T32" fmla="*/ 166 w 313"/>
                  <a:gd name="T33" fmla="*/ 13 h 258"/>
                  <a:gd name="T34" fmla="*/ 140 w 313"/>
                  <a:gd name="T35" fmla="*/ 13 h 258"/>
                  <a:gd name="T36" fmla="*/ 118 w 313"/>
                  <a:gd name="T37" fmla="*/ 19 h 258"/>
                  <a:gd name="T38" fmla="*/ 99 w 313"/>
                  <a:gd name="T39" fmla="*/ 37 h 258"/>
                  <a:gd name="T40" fmla="*/ 85 w 313"/>
                  <a:gd name="T41" fmla="*/ 50 h 258"/>
                  <a:gd name="T42" fmla="*/ 69 w 313"/>
                  <a:gd name="T43" fmla="*/ 74 h 258"/>
                  <a:gd name="T44" fmla="*/ 62 w 313"/>
                  <a:gd name="T45" fmla="*/ 82 h 258"/>
                  <a:gd name="T46" fmla="*/ 61 w 313"/>
                  <a:gd name="T47" fmla="*/ 101 h 258"/>
                  <a:gd name="T48" fmla="*/ 49 w 313"/>
                  <a:gd name="T49" fmla="*/ 107 h 258"/>
                  <a:gd name="T50" fmla="*/ 49 w 313"/>
                  <a:gd name="T51" fmla="*/ 93 h 258"/>
                  <a:gd name="T52" fmla="*/ 47 w 313"/>
                  <a:gd name="T53" fmla="*/ 79 h 258"/>
                  <a:gd name="T54" fmla="*/ 44 w 313"/>
                  <a:gd name="T55" fmla="*/ 70 h 258"/>
                  <a:gd name="T56" fmla="*/ 31 w 313"/>
                  <a:gd name="T57" fmla="*/ 56 h 258"/>
                  <a:gd name="T58" fmla="*/ 15 w 313"/>
                  <a:gd name="T59" fmla="*/ 32 h 258"/>
                  <a:gd name="T60" fmla="*/ 11 w 313"/>
                  <a:gd name="T61" fmla="*/ 40 h 258"/>
                  <a:gd name="T62" fmla="*/ 2 w 313"/>
                  <a:gd name="T63" fmla="*/ 57 h 258"/>
                  <a:gd name="T64" fmla="*/ 12 w 313"/>
                  <a:gd name="T65" fmla="*/ 73 h 258"/>
                  <a:gd name="T66" fmla="*/ 15 w 313"/>
                  <a:gd name="T67" fmla="*/ 84 h 258"/>
                  <a:gd name="T68" fmla="*/ 24 w 313"/>
                  <a:gd name="T69" fmla="*/ 91 h 258"/>
                  <a:gd name="T70" fmla="*/ 22 w 313"/>
                  <a:gd name="T71" fmla="*/ 114 h 258"/>
                  <a:gd name="T72" fmla="*/ 26 w 313"/>
                  <a:gd name="T73" fmla="*/ 138 h 258"/>
                  <a:gd name="T74" fmla="*/ 36 w 313"/>
                  <a:gd name="T75" fmla="*/ 152 h 258"/>
                  <a:gd name="T76" fmla="*/ 47 w 313"/>
                  <a:gd name="T77" fmla="*/ 172 h 258"/>
                  <a:gd name="T78" fmla="*/ 62 w 313"/>
                  <a:gd name="T79" fmla="*/ 187 h 258"/>
                  <a:gd name="T80" fmla="*/ 71 w 313"/>
                  <a:gd name="T81" fmla="*/ 199 h 258"/>
                  <a:gd name="T82" fmla="*/ 87 w 313"/>
                  <a:gd name="T83" fmla="*/ 207 h 258"/>
                  <a:gd name="T84" fmla="*/ 86 w 313"/>
                  <a:gd name="T85" fmla="*/ 229 h 258"/>
                  <a:gd name="T86" fmla="*/ 110 w 313"/>
                  <a:gd name="T87" fmla="*/ 253 h 258"/>
                  <a:gd name="T88" fmla="*/ 130 w 313"/>
                  <a:gd name="T89" fmla="*/ 249 h 258"/>
                  <a:gd name="T90" fmla="*/ 142 w 313"/>
                  <a:gd name="T91" fmla="*/ 246 h 258"/>
                  <a:gd name="T92" fmla="*/ 158 w 313"/>
                  <a:gd name="T93" fmla="*/ 241 h 258"/>
                  <a:gd name="T94" fmla="*/ 172 w 313"/>
                  <a:gd name="T95" fmla="*/ 244 h 258"/>
                  <a:gd name="T96" fmla="*/ 187 w 313"/>
                  <a:gd name="T97" fmla="*/ 252 h 258"/>
                  <a:gd name="T98" fmla="*/ 203 w 313"/>
                  <a:gd name="T99" fmla="*/ 254 h 258"/>
                  <a:gd name="T100" fmla="*/ 212 w 313"/>
                  <a:gd name="T101" fmla="*/ 243 h 258"/>
                  <a:gd name="T102" fmla="*/ 224 w 313"/>
                  <a:gd name="T103" fmla="*/ 232 h 258"/>
                  <a:gd name="T104" fmla="*/ 235 w 313"/>
                  <a:gd name="T105" fmla="*/ 225 h 258"/>
                  <a:gd name="T106" fmla="*/ 245 w 313"/>
                  <a:gd name="T107" fmla="*/ 216 h 258"/>
                  <a:gd name="T108" fmla="*/ 254 w 313"/>
                  <a:gd name="T109" fmla="*/ 215 h 258"/>
                  <a:gd name="T110" fmla="*/ 269 w 313"/>
                  <a:gd name="T111" fmla="*/ 219 h 258"/>
                  <a:gd name="T112" fmla="*/ 274 w 313"/>
                  <a:gd name="T113" fmla="*/ 226 h 258"/>
                  <a:gd name="T114" fmla="*/ 287 w 313"/>
                  <a:gd name="T115" fmla="*/ 231 h 258"/>
                  <a:gd name="T116" fmla="*/ 290 w 313"/>
                  <a:gd name="T117" fmla="*/ 210 h 258"/>
                  <a:gd name="T118" fmla="*/ 303 w 313"/>
                  <a:gd name="T119" fmla="*/ 211 h 258"/>
                  <a:gd name="T120" fmla="*/ 309 w 313"/>
                  <a:gd name="T121" fmla="*/ 200 h 258"/>
                  <a:gd name="T122" fmla="*/ 312 w 313"/>
                  <a:gd name="T123" fmla="*/ 190 h 25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13"/>
                  <a:gd name="T187" fmla="*/ 0 h 258"/>
                  <a:gd name="T188" fmla="*/ 313 w 313"/>
                  <a:gd name="T189" fmla="*/ 258 h 25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13" h="258">
                    <a:moveTo>
                      <a:pt x="311" y="188"/>
                    </a:moveTo>
                    <a:lnTo>
                      <a:pt x="311" y="183"/>
                    </a:lnTo>
                    <a:lnTo>
                      <a:pt x="311" y="182"/>
                    </a:lnTo>
                    <a:lnTo>
                      <a:pt x="308" y="182"/>
                    </a:lnTo>
                    <a:lnTo>
                      <a:pt x="310" y="181"/>
                    </a:lnTo>
                    <a:lnTo>
                      <a:pt x="308" y="179"/>
                    </a:lnTo>
                    <a:lnTo>
                      <a:pt x="307" y="176"/>
                    </a:lnTo>
                    <a:lnTo>
                      <a:pt x="305" y="175"/>
                    </a:lnTo>
                    <a:lnTo>
                      <a:pt x="302" y="176"/>
                    </a:lnTo>
                    <a:lnTo>
                      <a:pt x="300" y="174"/>
                    </a:lnTo>
                    <a:lnTo>
                      <a:pt x="299" y="176"/>
                    </a:lnTo>
                    <a:lnTo>
                      <a:pt x="297" y="173"/>
                    </a:lnTo>
                    <a:lnTo>
                      <a:pt x="296" y="173"/>
                    </a:lnTo>
                    <a:lnTo>
                      <a:pt x="295" y="171"/>
                    </a:lnTo>
                    <a:lnTo>
                      <a:pt x="298" y="171"/>
                    </a:lnTo>
                    <a:lnTo>
                      <a:pt x="298" y="170"/>
                    </a:lnTo>
                    <a:lnTo>
                      <a:pt x="297" y="169"/>
                    </a:lnTo>
                    <a:lnTo>
                      <a:pt x="298" y="168"/>
                    </a:lnTo>
                    <a:lnTo>
                      <a:pt x="301" y="167"/>
                    </a:lnTo>
                    <a:lnTo>
                      <a:pt x="301" y="168"/>
                    </a:lnTo>
                    <a:lnTo>
                      <a:pt x="301" y="167"/>
                    </a:lnTo>
                    <a:lnTo>
                      <a:pt x="305" y="169"/>
                    </a:lnTo>
                    <a:lnTo>
                      <a:pt x="305" y="168"/>
                    </a:lnTo>
                    <a:lnTo>
                      <a:pt x="305" y="169"/>
                    </a:lnTo>
                    <a:lnTo>
                      <a:pt x="306" y="168"/>
                    </a:lnTo>
                    <a:lnTo>
                      <a:pt x="307" y="169"/>
                    </a:lnTo>
                    <a:lnTo>
                      <a:pt x="306" y="169"/>
                    </a:lnTo>
                    <a:lnTo>
                      <a:pt x="309" y="172"/>
                    </a:lnTo>
                    <a:lnTo>
                      <a:pt x="310" y="172"/>
                    </a:lnTo>
                    <a:lnTo>
                      <a:pt x="309" y="169"/>
                    </a:lnTo>
                    <a:lnTo>
                      <a:pt x="311" y="169"/>
                    </a:lnTo>
                    <a:lnTo>
                      <a:pt x="309" y="167"/>
                    </a:lnTo>
                    <a:lnTo>
                      <a:pt x="309" y="166"/>
                    </a:lnTo>
                    <a:lnTo>
                      <a:pt x="306" y="164"/>
                    </a:lnTo>
                    <a:lnTo>
                      <a:pt x="307" y="162"/>
                    </a:lnTo>
                    <a:lnTo>
                      <a:pt x="306" y="162"/>
                    </a:lnTo>
                    <a:lnTo>
                      <a:pt x="308" y="162"/>
                    </a:lnTo>
                    <a:lnTo>
                      <a:pt x="311" y="163"/>
                    </a:lnTo>
                    <a:lnTo>
                      <a:pt x="313" y="158"/>
                    </a:lnTo>
                    <a:lnTo>
                      <a:pt x="309" y="157"/>
                    </a:lnTo>
                    <a:lnTo>
                      <a:pt x="311" y="156"/>
                    </a:lnTo>
                    <a:lnTo>
                      <a:pt x="311" y="153"/>
                    </a:lnTo>
                    <a:lnTo>
                      <a:pt x="311" y="152"/>
                    </a:lnTo>
                    <a:lnTo>
                      <a:pt x="311" y="149"/>
                    </a:lnTo>
                    <a:lnTo>
                      <a:pt x="309" y="146"/>
                    </a:lnTo>
                    <a:lnTo>
                      <a:pt x="310" y="145"/>
                    </a:lnTo>
                    <a:lnTo>
                      <a:pt x="308" y="142"/>
                    </a:lnTo>
                    <a:lnTo>
                      <a:pt x="307" y="142"/>
                    </a:lnTo>
                    <a:lnTo>
                      <a:pt x="306" y="141"/>
                    </a:lnTo>
                    <a:lnTo>
                      <a:pt x="308" y="139"/>
                    </a:lnTo>
                    <a:lnTo>
                      <a:pt x="306" y="139"/>
                    </a:lnTo>
                    <a:lnTo>
                      <a:pt x="303" y="137"/>
                    </a:lnTo>
                    <a:lnTo>
                      <a:pt x="303" y="135"/>
                    </a:lnTo>
                    <a:lnTo>
                      <a:pt x="306" y="135"/>
                    </a:lnTo>
                    <a:lnTo>
                      <a:pt x="306" y="132"/>
                    </a:lnTo>
                    <a:lnTo>
                      <a:pt x="306" y="131"/>
                    </a:lnTo>
                    <a:lnTo>
                      <a:pt x="307" y="131"/>
                    </a:lnTo>
                    <a:lnTo>
                      <a:pt x="306" y="129"/>
                    </a:lnTo>
                    <a:lnTo>
                      <a:pt x="308" y="129"/>
                    </a:lnTo>
                    <a:lnTo>
                      <a:pt x="308" y="128"/>
                    </a:lnTo>
                    <a:lnTo>
                      <a:pt x="306" y="127"/>
                    </a:lnTo>
                    <a:lnTo>
                      <a:pt x="306" y="125"/>
                    </a:lnTo>
                    <a:lnTo>
                      <a:pt x="305" y="125"/>
                    </a:lnTo>
                    <a:lnTo>
                      <a:pt x="303" y="126"/>
                    </a:lnTo>
                    <a:lnTo>
                      <a:pt x="301" y="125"/>
                    </a:lnTo>
                    <a:lnTo>
                      <a:pt x="300" y="122"/>
                    </a:lnTo>
                    <a:lnTo>
                      <a:pt x="301" y="121"/>
                    </a:lnTo>
                    <a:lnTo>
                      <a:pt x="300" y="120"/>
                    </a:lnTo>
                    <a:lnTo>
                      <a:pt x="301" y="119"/>
                    </a:lnTo>
                    <a:lnTo>
                      <a:pt x="303" y="119"/>
                    </a:lnTo>
                    <a:lnTo>
                      <a:pt x="305" y="118"/>
                    </a:lnTo>
                    <a:lnTo>
                      <a:pt x="305" y="115"/>
                    </a:lnTo>
                    <a:lnTo>
                      <a:pt x="305" y="111"/>
                    </a:lnTo>
                    <a:lnTo>
                      <a:pt x="303" y="111"/>
                    </a:lnTo>
                    <a:lnTo>
                      <a:pt x="304" y="108"/>
                    </a:lnTo>
                    <a:lnTo>
                      <a:pt x="305" y="107"/>
                    </a:lnTo>
                    <a:lnTo>
                      <a:pt x="301" y="105"/>
                    </a:lnTo>
                    <a:lnTo>
                      <a:pt x="300" y="105"/>
                    </a:lnTo>
                    <a:lnTo>
                      <a:pt x="301" y="105"/>
                    </a:lnTo>
                    <a:lnTo>
                      <a:pt x="303" y="101"/>
                    </a:lnTo>
                    <a:lnTo>
                      <a:pt x="302" y="100"/>
                    </a:lnTo>
                    <a:lnTo>
                      <a:pt x="303" y="100"/>
                    </a:lnTo>
                    <a:lnTo>
                      <a:pt x="305" y="98"/>
                    </a:lnTo>
                    <a:lnTo>
                      <a:pt x="304" y="98"/>
                    </a:lnTo>
                    <a:lnTo>
                      <a:pt x="304" y="96"/>
                    </a:lnTo>
                    <a:lnTo>
                      <a:pt x="306" y="95"/>
                    </a:lnTo>
                    <a:lnTo>
                      <a:pt x="307" y="93"/>
                    </a:lnTo>
                    <a:lnTo>
                      <a:pt x="305" y="92"/>
                    </a:lnTo>
                    <a:lnTo>
                      <a:pt x="306" y="90"/>
                    </a:lnTo>
                    <a:lnTo>
                      <a:pt x="305" y="90"/>
                    </a:lnTo>
                    <a:lnTo>
                      <a:pt x="305" y="89"/>
                    </a:lnTo>
                    <a:lnTo>
                      <a:pt x="305" y="88"/>
                    </a:lnTo>
                    <a:lnTo>
                      <a:pt x="305" y="86"/>
                    </a:lnTo>
                    <a:lnTo>
                      <a:pt x="306" y="85"/>
                    </a:lnTo>
                    <a:lnTo>
                      <a:pt x="307" y="84"/>
                    </a:lnTo>
                    <a:lnTo>
                      <a:pt x="309" y="84"/>
                    </a:lnTo>
                    <a:lnTo>
                      <a:pt x="309" y="82"/>
                    </a:lnTo>
                    <a:lnTo>
                      <a:pt x="309" y="78"/>
                    </a:lnTo>
                    <a:lnTo>
                      <a:pt x="310" y="77"/>
                    </a:lnTo>
                    <a:lnTo>
                      <a:pt x="308" y="75"/>
                    </a:lnTo>
                    <a:lnTo>
                      <a:pt x="307" y="70"/>
                    </a:lnTo>
                    <a:lnTo>
                      <a:pt x="303" y="67"/>
                    </a:lnTo>
                    <a:lnTo>
                      <a:pt x="305" y="65"/>
                    </a:lnTo>
                    <a:lnTo>
                      <a:pt x="302" y="65"/>
                    </a:lnTo>
                    <a:lnTo>
                      <a:pt x="300" y="67"/>
                    </a:lnTo>
                    <a:lnTo>
                      <a:pt x="298" y="67"/>
                    </a:lnTo>
                    <a:lnTo>
                      <a:pt x="297" y="68"/>
                    </a:lnTo>
                    <a:lnTo>
                      <a:pt x="297" y="67"/>
                    </a:lnTo>
                    <a:lnTo>
                      <a:pt x="293" y="67"/>
                    </a:lnTo>
                    <a:lnTo>
                      <a:pt x="292" y="66"/>
                    </a:lnTo>
                    <a:lnTo>
                      <a:pt x="290" y="66"/>
                    </a:lnTo>
                    <a:lnTo>
                      <a:pt x="290" y="65"/>
                    </a:lnTo>
                    <a:lnTo>
                      <a:pt x="289" y="65"/>
                    </a:lnTo>
                    <a:lnTo>
                      <a:pt x="289" y="63"/>
                    </a:lnTo>
                    <a:lnTo>
                      <a:pt x="285" y="63"/>
                    </a:lnTo>
                    <a:lnTo>
                      <a:pt x="284" y="62"/>
                    </a:lnTo>
                    <a:lnTo>
                      <a:pt x="281" y="63"/>
                    </a:lnTo>
                    <a:lnTo>
                      <a:pt x="281" y="65"/>
                    </a:lnTo>
                    <a:lnTo>
                      <a:pt x="280" y="65"/>
                    </a:lnTo>
                    <a:lnTo>
                      <a:pt x="279" y="66"/>
                    </a:lnTo>
                    <a:lnTo>
                      <a:pt x="277" y="65"/>
                    </a:lnTo>
                    <a:lnTo>
                      <a:pt x="278" y="64"/>
                    </a:lnTo>
                    <a:lnTo>
                      <a:pt x="277" y="63"/>
                    </a:lnTo>
                    <a:lnTo>
                      <a:pt x="276" y="63"/>
                    </a:lnTo>
                    <a:lnTo>
                      <a:pt x="274" y="61"/>
                    </a:lnTo>
                    <a:lnTo>
                      <a:pt x="273" y="62"/>
                    </a:lnTo>
                    <a:lnTo>
                      <a:pt x="273" y="60"/>
                    </a:lnTo>
                    <a:lnTo>
                      <a:pt x="275" y="60"/>
                    </a:lnTo>
                    <a:lnTo>
                      <a:pt x="276" y="56"/>
                    </a:lnTo>
                    <a:lnTo>
                      <a:pt x="279" y="56"/>
                    </a:lnTo>
                    <a:lnTo>
                      <a:pt x="279" y="55"/>
                    </a:lnTo>
                    <a:lnTo>
                      <a:pt x="276" y="50"/>
                    </a:lnTo>
                    <a:lnTo>
                      <a:pt x="276" y="49"/>
                    </a:lnTo>
                    <a:lnTo>
                      <a:pt x="274" y="50"/>
                    </a:lnTo>
                    <a:lnTo>
                      <a:pt x="272" y="49"/>
                    </a:lnTo>
                    <a:lnTo>
                      <a:pt x="269" y="44"/>
                    </a:lnTo>
                    <a:lnTo>
                      <a:pt x="269" y="46"/>
                    </a:lnTo>
                    <a:lnTo>
                      <a:pt x="263" y="44"/>
                    </a:lnTo>
                    <a:lnTo>
                      <a:pt x="262" y="46"/>
                    </a:lnTo>
                    <a:lnTo>
                      <a:pt x="257" y="43"/>
                    </a:lnTo>
                    <a:lnTo>
                      <a:pt x="257" y="39"/>
                    </a:lnTo>
                    <a:lnTo>
                      <a:pt x="254" y="40"/>
                    </a:lnTo>
                    <a:lnTo>
                      <a:pt x="250" y="42"/>
                    </a:lnTo>
                    <a:lnTo>
                      <a:pt x="249" y="41"/>
                    </a:lnTo>
                    <a:lnTo>
                      <a:pt x="250" y="40"/>
                    </a:lnTo>
                    <a:lnTo>
                      <a:pt x="249" y="40"/>
                    </a:lnTo>
                    <a:lnTo>
                      <a:pt x="248" y="39"/>
                    </a:lnTo>
                    <a:lnTo>
                      <a:pt x="244" y="40"/>
                    </a:lnTo>
                    <a:lnTo>
                      <a:pt x="243" y="37"/>
                    </a:lnTo>
                    <a:lnTo>
                      <a:pt x="242" y="34"/>
                    </a:lnTo>
                    <a:lnTo>
                      <a:pt x="238" y="32"/>
                    </a:lnTo>
                    <a:lnTo>
                      <a:pt x="235" y="31"/>
                    </a:lnTo>
                    <a:lnTo>
                      <a:pt x="235" y="28"/>
                    </a:lnTo>
                    <a:lnTo>
                      <a:pt x="230" y="22"/>
                    </a:lnTo>
                    <a:lnTo>
                      <a:pt x="229" y="21"/>
                    </a:lnTo>
                    <a:lnTo>
                      <a:pt x="228" y="21"/>
                    </a:lnTo>
                    <a:lnTo>
                      <a:pt x="225" y="18"/>
                    </a:lnTo>
                    <a:lnTo>
                      <a:pt x="215" y="8"/>
                    </a:lnTo>
                    <a:lnTo>
                      <a:pt x="212" y="4"/>
                    </a:lnTo>
                    <a:lnTo>
                      <a:pt x="207" y="0"/>
                    </a:lnTo>
                    <a:lnTo>
                      <a:pt x="206" y="4"/>
                    </a:lnTo>
                    <a:lnTo>
                      <a:pt x="203" y="7"/>
                    </a:lnTo>
                    <a:lnTo>
                      <a:pt x="203" y="9"/>
                    </a:lnTo>
                    <a:lnTo>
                      <a:pt x="203" y="11"/>
                    </a:lnTo>
                    <a:lnTo>
                      <a:pt x="203" y="13"/>
                    </a:lnTo>
                    <a:lnTo>
                      <a:pt x="202" y="9"/>
                    </a:lnTo>
                    <a:lnTo>
                      <a:pt x="200" y="4"/>
                    </a:lnTo>
                    <a:lnTo>
                      <a:pt x="183" y="9"/>
                    </a:lnTo>
                    <a:lnTo>
                      <a:pt x="181" y="14"/>
                    </a:lnTo>
                    <a:lnTo>
                      <a:pt x="178" y="15"/>
                    </a:lnTo>
                    <a:lnTo>
                      <a:pt x="175" y="19"/>
                    </a:lnTo>
                    <a:lnTo>
                      <a:pt x="173" y="21"/>
                    </a:lnTo>
                    <a:lnTo>
                      <a:pt x="174" y="22"/>
                    </a:lnTo>
                    <a:lnTo>
                      <a:pt x="173" y="24"/>
                    </a:lnTo>
                    <a:lnTo>
                      <a:pt x="171" y="21"/>
                    </a:lnTo>
                    <a:lnTo>
                      <a:pt x="170" y="20"/>
                    </a:lnTo>
                    <a:lnTo>
                      <a:pt x="168" y="17"/>
                    </a:lnTo>
                    <a:lnTo>
                      <a:pt x="166" y="13"/>
                    </a:lnTo>
                    <a:lnTo>
                      <a:pt x="161" y="15"/>
                    </a:lnTo>
                    <a:lnTo>
                      <a:pt x="158" y="15"/>
                    </a:lnTo>
                    <a:lnTo>
                      <a:pt x="157" y="14"/>
                    </a:lnTo>
                    <a:lnTo>
                      <a:pt x="153" y="11"/>
                    </a:lnTo>
                    <a:lnTo>
                      <a:pt x="150" y="11"/>
                    </a:lnTo>
                    <a:lnTo>
                      <a:pt x="150" y="12"/>
                    </a:lnTo>
                    <a:lnTo>
                      <a:pt x="146" y="15"/>
                    </a:lnTo>
                    <a:lnTo>
                      <a:pt x="145" y="15"/>
                    </a:lnTo>
                    <a:lnTo>
                      <a:pt x="144" y="14"/>
                    </a:lnTo>
                    <a:lnTo>
                      <a:pt x="142" y="14"/>
                    </a:lnTo>
                    <a:lnTo>
                      <a:pt x="140" y="13"/>
                    </a:lnTo>
                    <a:lnTo>
                      <a:pt x="139" y="15"/>
                    </a:lnTo>
                    <a:lnTo>
                      <a:pt x="134" y="16"/>
                    </a:lnTo>
                    <a:lnTo>
                      <a:pt x="132" y="16"/>
                    </a:lnTo>
                    <a:lnTo>
                      <a:pt x="131" y="15"/>
                    </a:lnTo>
                    <a:lnTo>
                      <a:pt x="130" y="16"/>
                    </a:lnTo>
                    <a:lnTo>
                      <a:pt x="127" y="14"/>
                    </a:lnTo>
                    <a:lnTo>
                      <a:pt x="126" y="16"/>
                    </a:lnTo>
                    <a:lnTo>
                      <a:pt x="122" y="15"/>
                    </a:lnTo>
                    <a:lnTo>
                      <a:pt x="121" y="14"/>
                    </a:lnTo>
                    <a:lnTo>
                      <a:pt x="121" y="17"/>
                    </a:lnTo>
                    <a:lnTo>
                      <a:pt x="118" y="19"/>
                    </a:lnTo>
                    <a:lnTo>
                      <a:pt x="116" y="22"/>
                    </a:lnTo>
                    <a:lnTo>
                      <a:pt x="114" y="24"/>
                    </a:lnTo>
                    <a:lnTo>
                      <a:pt x="113" y="26"/>
                    </a:lnTo>
                    <a:lnTo>
                      <a:pt x="114" y="33"/>
                    </a:lnTo>
                    <a:lnTo>
                      <a:pt x="113" y="35"/>
                    </a:lnTo>
                    <a:lnTo>
                      <a:pt x="111" y="37"/>
                    </a:lnTo>
                    <a:lnTo>
                      <a:pt x="107" y="32"/>
                    </a:lnTo>
                    <a:lnTo>
                      <a:pt x="104" y="33"/>
                    </a:lnTo>
                    <a:lnTo>
                      <a:pt x="104" y="34"/>
                    </a:lnTo>
                    <a:lnTo>
                      <a:pt x="101" y="36"/>
                    </a:lnTo>
                    <a:lnTo>
                      <a:pt x="99" y="37"/>
                    </a:lnTo>
                    <a:lnTo>
                      <a:pt x="98" y="39"/>
                    </a:lnTo>
                    <a:lnTo>
                      <a:pt x="96" y="40"/>
                    </a:lnTo>
                    <a:lnTo>
                      <a:pt x="97" y="43"/>
                    </a:lnTo>
                    <a:lnTo>
                      <a:pt x="95" y="45"/>
                    </a:lnTo>
                    <a:lnTo>
                      <a:pt x="94" y="44"/>
                    </a:lnTo>
                    <a:lnTo>
                      <a:pt x="93" y="45"/>
                    </a:lnTo>
                    <a:lnTo>
                      <a:pt x="91" y="44"/>
                    </a:lnTo>
                    <a:lnTo>
                      <a:pt x="88" y="44"/>
                    </a:lnTo>
                    <a:lnTo>
                      <a:pt x="86" y="44"/>
                    </a:lnTo>
                    <a:lnTo>
                      <a:pt x="86" y="46"/>
                    </a:lnTo>
                    <a:lnTo>
                      <a:pt x="85" y="50"/>
                    </a:lnTo>
                    <a:lnTo>
                      <a:pt x="86" y="53"/>
                    </a:lnTo>
                    <a:lnTo>
                      <a:pt x="85" y="57"/>
                    </a:lnTo>
                    <a:lnTo>
                      <a:pt x="83" y="59"/>
                    </a:lnTo>
                    <a:lnTo>
                      <a:pt x="80" y="59"/>
                    </a:lnTo>
                    <a:lnTo>
                      <a:pt x="76" y="60"/>
                    </a:lnTo>
                    <a:lnTo>
                      <a:pt x="76" y="61"/>
                    </a:lnTo>
                    <a:lnTo>
                      <a:pt x="75" y="62"/>
                    </a:lnTo>
                    <a:lnTo>
                      <a:pt x="73" y="63"/>
                    </a:lnTo>
                    <a:lnTo>
                      <a:pt x="73" y="67"/>
                    </a:lnTo>
                    <a:lnTo>
                      <a:pt x="70" y="69"/>
                    </a:lnTo>
                    <a:lnTo>
                      <a:pt x="69" y="74"/>
                    </a:lnTo>
                    <a:lnTo>
                      <a:pt x="70" y="77"/>
                    </a:lnTo>
                    <a:lnTo>
                      <a:pt x="70" y="79"/>
                    </a:lnTo>
                    <a:lnTo>
                      <a:pt x="68" y="80"/>
                    </a:lnTo>
                    <a:lnTo>
                      <a:pt x="69" y="81"/>
                    </a:lnTo>
                    <a:lnTo>
                      <a:pt x="67" y="81"/>
                    </a:lnTo>
                    <a:lnTo>
                      <a:pt x="67" y="82"/>
                    </a:lnTo>
                    <a:lnTo>
                      <a:pt x="66" y="78"/>
                    </a:lnTo>
                    <a:lnTo>
                      <a:pt x="63" y="77"/>
                    </a:lnTo>
                    <a:lnTo>
                      <a:pt x="63" y="79"/>
                    </a:lnTo>
                    <a:lnTo>
                      <a:pt x="62" y="81"/>
                    </a:lnTo>
                    <a:lnTo>
                      <a:pt x="62" y="82"/>
                    </a:lnTo>
                    <a:lnTo>
                      <a:pt x="62" y="85"/>
                    </a:lnTo>
                    <a:lnTo>
                      <a:pt x="62" y="88"/>
                    </a:lnTo>
                    <a:lnTo>
                      <a:pt x="62" y="90"/>
                    </a:lnTo>
                    <a:lnTo>
                      <a:pt x="60" y="88"/>
                    </a:lnTo>
                    <a:lnTo>
                      <a:pt x="60" y="92"/>
                    </a:lnTo>
                    <a:lnTo>
                      <a:pt x="59" y="94"/>
                    </a:lnTo>
                    <a:lnTo>
                      <a:pt x="59" y="97"/>
                    </a:lnTo>
                    <a:lnTo>
                      <a:pt x="61" y="97"/>
                    </a:lnTo>
                    <a:lnTo>
                      <a:pt x="60" y="99"/>
                    </a:lnTo>
                    <a:lnTo>
                      <a:pt x="61" y="101"/>
                    </a:lnTo>
                    <a:lnTo>
                      <a:pt x="61" y="103"/>
                    </a:lnTo>
                    <a:lnTo>
                      <a:pt x="59" y="103"/>
                    </a:lnTo>
                    <a:lnTo>
                      <a:pt x="58" y="105"/>
                    </a:lnTo>
                    <a:lnTo>
                      <a:pt x="57" y="105"/>
                    </a:lnTo>
                    <a:lnTo>
                      <a:pt x="58" y="107"/>
                    </a:lnTo>
                    <a:lnTo>
                      <a:pt x="58" y="108"/>
                    </a:lnTo>
                    <a:lnTo>
                      <a:pt x="60" y="110"/>
                    </a:lnTo>
                    <a:lnTo>
                      <a:pt x="59" y="111"/>
                    </a:lnTo>
                    <a:lnTo>
                      <a:pt x="54" y="109"/>
                    </a:lnTo>
                    <a:lnTo>
                      <a:pt x="50" y="107"/>
                    </a:lnTo>
                    <a:lnTo>
                      <a:pt x="49" y="107"/>
                    </a:lnTo>
                    <a:lnTo>
                      <a:pt x="47" y="106"/>
                    </a:lnTo>
                    <a:lnTo>
                      <a:pt x="49" y="103"/>
                    </a:lnTo>
                    <a:lnTo>
                      <a:pt x="48" y="101"/>
                    </a:lnTo>
                    <a:lnTo>
                      <a:pt x="47" y="102"/>
                    </a:lnTo>
                    <a:lnTo>
                      <a:pt x="47" y="99"/>
                    </a:lnTo>
                    <a:lnTo>
                      <a:pt x="45" y="100"/>
                    </a:lnTo>
                    <a:lnTo>
                      <a:pt x="45" y="98"/>
                    </a:lnTo>
                    <a:lnTo>
                      <a:pt x="45" y="96"/>
                    </a:lnTo>
                    <a:lnTo>
                      <a:pt x="45" y="95"/>
                    </a:lnTo>
                    <a:lnTo>
                      <a:pt x="49" y="94"/>
                    </a:lnTo>
                    <a:lnTo>
                      <a:pt x="49" y="93"/>
                    </a:lnTo>
                    <a:lnTo>
                      <a:pt x="48" y="92"/>
                    </a:lnTo>
                    <a:lnTo>
                      <a:pt x="49" y="91"/>
                    </a:lnTo>
                    <a:lnTo>
                      <a:pt x="47" y="91"/>
                    </a:lnTo>
                    <a:lnTo>
                      <a:pt x="48" y="89"/>
                    </a:lnTo>
                    <a:lnTo>
                      <a:pt x="51" y="86"/>
                    </a:lnTo>
                    <a:lnTo>
                      <a:pt x="49" y="84"/>
                    </a:lnTo>
                    <a:lnTo>
                      <a:pt x="47" y="84"/>
                    </a:lnTo>
                    <a:lnTo>
                      <a:pt x="49" y="84"/>
                    </a:lnTo>
                    <a:lnTo>
                      <a:pt x="48" y="84"/>
                    </a:lnTo>
                    <a:lnTo>
                      <a:pt x="50" y="84"/>
                    </a:lnTo>
                    <a:lnTo>
                      <a:pt x="47" y="79"/>
                    </a:lnTo>
                    <a:lnTo>
                      <a:pt x="45" y="80"/>
                    </a:lnTo>
                    <a:lnTo>
                      <a:pt x="44" y="78"/>
                    </a:lnTo>
                    <a:lnTo>
                      <a:pt x="42" y="76"/>
                    </a:lnTo>
                    <a:lnTo>
                      <a:pt x="42" y="74"/>
                    </a:lnTo>
                    <a:lnTo>
                      <a:pt x="39" y="71"/>
                    </a:lnTo>
                    <a:lnTo>
                      <a:pt x="40" y="70"/>
                    </a:lnTo>
                    <a:lnTo>
                      <a:pt x="42" y="68"/>
                    </a:lnTo>
                    <a:lnTo>
                      <a:pt x="41" y="66"/>
                    </a:lnTo>
                    <a:lnTo>
                      <a:pt x="42" y="68"/>
                    </a:lnTo>
                    <a:lnTo>
                      <a:pt x="44" y="70"/>
                    </a:lnTo>
                    <a:lnTo>
                      <a:pt x="46" y="71"/>
                    </a:lnTo>
                    <a:lnTo>
                      <a:pt x="45" y="69"/>
                    </a:lnTo>
                    <a:lnTo>
                      <a:pt x="46" y="67"/>
                    </a:lnTo>
                    <a:lnTo>
                      <a:pt x="45" y="65"/>
                    </a:lnTo>
                    <a:lnTo>
                      <a:pt x="44" y="61"/>
                    </a:lnTo>
                    <a:lnTo>
                      <a:pt x="42" y="61"/>
                    </a:lnTo>
                    <a:lnTo>
                      <a:pt x="39" y="61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1" y="57"/>
                    </a:lnTo>
                    <a:lnTo>
                      <a:pt x="31" y="56"/>
                    </a:lnTo>
                    <a:lnTo>
                      <a:pt x="32" y="50"/>
                    </a:lnTo>
                    <a:lnTo>
                      <a:pt x="31" y="48"/>
                    </a:lnTo>
                    <a:lnTo>
                      <a:pt x="33" y="40"/>
                    </a:lnTo>
                    <a:lnTo>
                      <a:pt x="32" y="41"/>
                    </a:lnTo>
                    <a:lnTo>
                      <a:pt x="31" y="39"/>
                    </a:lnTo>
                    <a:lnTo>
                      <a:pt x="29" y="38"/>
                    </a:lnTo>
                    <a:lnTo>
                      <a:pt x="29" y="36"/>
                    </a:lnTo>
                    <a:lnTo>
                      <a:pt x="29" y="33"/>
                    </a:lnTo>
                    <a:lnTo>
                      <a:pt x="24" y="33"/>
                    </a:lnTo>
                    <a:lnTo>
                      <a:pt x="20" y="31"/>
                    </a:lnTo>
                    <a:lnTo>
                      <a:pt x="15" y="32"/>
                    </a:lnTo>
                    <a:lnTo>
                      <a:pt x="13" y="33"/>
                    </a:lnTo>
                    <a:lnTo>
                      <a:pt x="10" y="33"/>
                    </a:lnTo>
                    <a:lnTo>
                      <a:pt x="11" y="31"/>
                    </a:lnTo>
                    <a:lnTo>
                      <a:pt x="10" y="31"/>
                    </a:lnTo>
                    <a:lnTo>
                      <a:pt x="9" y="29"/>
                    </a:lnTo>
                    <a:lnTo>
                      <a:pt x="7" y="31"/>
                    </a:lnTo>
                    <a:lnTo>
                      <a:pt x="8" y="33"/>
                    </a:lnTo>
                    <a:lnTo>
                      <a:pt x="10" y="34"/>
                    </a:lnTo>
                    <a:lnTo>
                      <a:pt x="13" y="37"/>
                    </a:lnTo>
                    <a:lnTo>
                      <a:pt x="13" y="38"/>
                    </a:lnTo>
                    <a:lnTo>
                      <a:pt x="11" y="40"/>
                    </a:lnTo>
                    <a:lnTo>
                      <a:pt x="11" y="44"/>
                    </a:lnTo>
                    <a:lnTo>
                      <a:pt x="14" y="49"/>
                    </a:lnTo>
                    <a:lnTo>
                      <a:pt x="14" y="50"/>
                    </a:lnTo>
                    <a:lnTo>
                      <a:pt x="15" y="51"/>
                    </a:lnTo>
                    <a:lnTo>
                      <a:pt x="14" y="53"/>
                    </a:lnTo>
                    <a:lnTo>
                      <a:pt x="10" y="55"/>
                    </a:lnTo>
                    <a:lnTo>
                      <a:pt x="9" y="55"/>
                    </a:lnTo>
                    <a:lnTo>
                      <a:pt x="9" y="56"/>
                    </a:lnTo>
                    <a:lnTo>
                      <a:pt x="7" y="55"/>
                    </a:lnTo>
                    <a:lnTo>
                      <a:pt x="5" y="56"/>
                    </a:lnTo>
                    <a:lnTo>
                      <a:pt x="2" y="57"/>
                    </a:lnTo>
                    <a:lnTo>
                      <a:pt x="4" y="59"/>
                    </a:lnTo>
                    <a:lnTo>
                      <a:pt x="3" y="60"/>
                    </a:lnTo>
                    <a:lnTo>
                      <a:pt x="2" y="61"/>
                    </a:lnTo>
                    <a:lnTo>
                      <a:pt x="0" y="61"/>
                    </a:lnTo>
                    <a:lnTo>
                      <a:pt x="0" y="62"/>
                    </a:lnTo>
                    <a:lnTo>
                      <a:pt x="2" y="65"/>
                    </a:lnTo>
                    <a:lnTo>
                      <a:pt x="4" y="65"/>
                    </a:lnTo>
                    <a:lnTo>
                      <a:pt x="4" y="68"/>
                    </a:lnTo>
                    <a:lnTo>
                      <a:pt x="8" y="72"/>
                    </a:lnTo>
                    <a:lnTo>
                      <a:pt x="12" y="74"/>
                    </a:lnTo>
                    <a:lnTo>
                      <a:pt x="12" y="73"/>
                    </a:lnTo>
                    <a:lnTo>
                      <a:pt x="15" y="72"/>
                    </a:lnTo>
                    <a:lnTo>
                      <a:pt x="15" y="73"/>
                    </a:lnTo>
                    <a:lnTo>
                      <a:pt x="12" y="74"/>
                    </a:lnTo>
                    <a:lnTo>
                      <a:pt x="15" y="75"/>
                    </a:lnTo>
                    <a:lnTo>
                      <a:pt x="16" y="77"/>
                    </a:lnTo>
                    <a:lnTo>
                      <a:pt x="15" y="78"/>
                    </a:lnTo>
                    <a:lnTo>
                      <a:pt x="17" y="78"/>
                    </a:lnTo>
                    <a:lnTo>
                      <a:pt x="16" y="80"/>
                    </a:lnTo>
                    <a:lnTo>
                      <a:pt x="17" y="80"/>
                    </a:lnTo>
                    <a:lnTo>
                      <a:pt x="15" y="82"/>
                    </a:lnTo>
                    <a:lnTo>
                      <a:pt x="15" y="84"/>
                    </a:lnTo>
                    <a:lnTo>
                      <a:pt x="17" y="83"/>
                    </a:lnTo>
                    <a:lnTo>
                      <a:pt x="20" y="84"/>
                    </a:lnTo>
                    <a:lnTo>
                      <a:pt x="20" y="88"/>
                    </a:lnTo>
                    <a:lnTo>
                      <a:pt x="21" y="88"/>
                    </a:lnTo>
                    <a:lnTo>
                      <a:pt x="21" y="89"/>
                    </a:lnTo>
                    <a:lnTo>
                      <a:pt x="20" y="90"/>
                    </a:lnTo>
                    <a:lnTo>
                      <a:pt x="22" y="90"/>
                    </a:lnTo>
                    <a:lnTo>
                      <a:pt x="23" y="91"/>
                    </a:lnTo>
                    <a:lnTo>
                      <a:pt x="24" y="91"/>
                    </a:lnTo>
                    <a:lnTo>
                      <a:pt x="22" y="91"/>
                    </a:lnTo>
                    <a:lnTo>
                      <a:pt x="21" y="93"/>
                    </a:lnTo>
                    <a:lnTo>
                      <a:pt x="25" y="97"/>
                    </a:lnTo>
                    <a:lnTo>
                      <a:pt x="25" y="101"/>
                    </a:lnTo>
                    <a:lnTo>
                      <a:pt x="25" y="103"/>
                    </a:lnTo>
                    <a:lnTo>
                      <a:pt x="25" y="105"/>
                    </a:lnTo>
                    <a:lnTo>
                      <a:pt x="27" y="107"/>
                    </a:lnTo>
                    <a:lnTo>
                      <a:pt x="25" y="110"/>
                    </a:lnTo>
                    <a:lnTo>
                      <a:pt x="21" y="113"/>
                    </a:lnTo>
                    <a:lnTo>
                      <a:pt x="22" y="114"/>
                    </a:lnTo>
                    <a:lnTo>
                      <a:pt x="22" y="116"/>
                    </a:lnTo>
                    <a:lnTo>
                      <a:pt x="20" y="116"/>
                    </a:lnTo>
                    <a:lnTo>
                      <a:pt x="19" y="118"/>
                    </a:lnTo>
                    <a:lnTo>
                      <a:pt x="20" y="120"/>
                    </a:lnTo>
                    <a:lnTo>
                      <a:pt x="19" y="127"/>
                    </a:lnTo>
                    <a:lnTo>
                      <a:pt x="20" y="130"/>
                    </a:lnTo>
                    <a:lnTo>
                      <a:pt x="19" y="132"/>
                    </a:lnTo>
                    <a:lnTo>
                      <a:pt x="20" y="135"/>
                    </a:lnTo>
                    <a:lnTo>
                      <a:pt x="21" y="137"/>
                    </a:lnTo>
                    <a:lnTo>
                      <a:pt x="24" y="137"/>
                    </a:lnTo>
                    <a:lnTo>
                      <a:pt x="26" y="138"/>
                    </a:lnTo>
                    <a:lnTo>
                      <a:pt x="25" y="140"/>
                    </a:lnTo>
                    <a:lnTo>
                      <a:pt x="26" y="142"/>
                    </a:lnTo>
                    <a:lnTo>
                      <a:pt x="28" y="141"/>
                    </a:lnTo>
                    <a:lnTo>
                      <a:pt x="29" y="141"/>
                    </a:lnTo>
                    <a:lnTo>
                      <a:pt x="29" y="142"/>
                    </a:lnTo>
                    <a:lnTo>
                      <a:pt x="29" y="144"/>
                    </a:lnTo>
                    <a:lnTo>
                      <a:pt x="31" y="145"/>
                    </a:lnTo>
                    <a:lnTo>
                      <a:pt x="31" y="146"/>
                    </a:lnTo>
                    <a:lnTo>
                      <a:pt x="33" y="148"/>
                    </a:lnTo>
                    <a:lnTo>
                      <a:pt x="34" y="150"/>
                    </a:lnTo>
                    <a:lnTo>
                      <a:pt x="36" y="152"/>
                    </a:lnTo>
                    <a:lnTo>
                      <a:pt x="31" y="158"/>
                    </a:lnTo>
                    <a:lnTo>
                      <a:pt x="31" y="160"/>
                    </a:lnTo>
                    <a:lnTo>
                      <a:pt x="34" y="159"/>
                    </a:lnTo>
                    <a:lnTo>
                      <a:pt x="36" y="162"/>
                    </a:lnTo>
                    <a:lnTo>
                      <a:pt x="41" y="162"/>
                    </a:lnTo>
                    <a:lnTo>
                      <a:pt x="45" y="163"/>
                    </a:lnTo>
                    <a:lnTo>
                      <a:pt x="45" y="165"/>
                    </a:lnTo>
                    <a:lnTo>
                      <a:pt x="46" y="165"/>
                    </a:lnTo>
                    <a:lnTo>
                      <a:pt x="46" y="167"/>
                    </a:lnTo>
                    <a:lnTo>
                      <a:pt x="45" y="168"/>
                    </a:lnTo>
                    <a:lnTo>
                      <a:pt x="47" y="172"/>
                    </a:lnTo>
                    <a:lnTo>
                      <a:pt x="47" y="175"/>
                    </a:lnTo>
                    <a:lnTo>
                      <a:pt x="48" y="175"/>
                    </a:lnTo>
                    <a:lnTo>
                      <a:pt x="50" y="173"/>
                    </a:lnTo>
                    <a:lnTo>
                      <a:pt x="53" y="173"/>
                    </a:lnTo>
                    <a:lnTo>
                      <a:pt x="53" y="175"/>
                    </a:lnTo>
                    <a:lnTo>
                      <a:pt x="53" y="176"/>
                    </a:lnTo>
                    <a:lnTo>
                      <a:pt x="57" y="182"/>
                    </a:lnTo>
                    <a:lnTo>
                      <a:pt x="58" y="184"/>
                    </a:lnTo>
                    <a:lnTo>
                      <a:pt x="60" y="184"/>
                    </a:lnTo>
                    <a:lnTo>
                      <a:pt x="60" y="186"/>
                    </a:lnTo>
                    <a:lnTo>
                      <a:pt x="62" y="187"/>
                    </a:lnTo>
                    <a:lnTo>
                      <a:pt x="66" y="187"/>
                    </a:lnTo>
                    <a:lnTo>
                      <a:pt x="66" y="188"/>
                    </a:lnTo>
                    <a:lnTo>
                      <a:pt x="64" y="190"/>
                    </a:lnTo>
                    <a:lnTo>
                      <a:pt x="66" y="190"/>
                    </a:lnTo>
                    <a:lnTo>
                      <a:pt x="66" y="192"/>
                    </a:lnTo>
                    <a:lnTo>
                      <a:pt x="70" y="192"/>
                    </a:lnTo>
                    <a:lnTo>
                      <a:pt x="71" y="194"/>
                    </a:lnTo>
                    <a:lnTo>
                      <a:pt x="73" y="194"/>
                    </a:lnTo>
                    <a:lnTo>
                      <a:pt x="74" y="196"/>
                    </a:lnTo>
                    <a:lnTo>
                      <a:pt x="74" y="198"/>
                    </a:lnTo>
                    <a:lnTo>
                      <a:pt x="71" y="199"/>
                    </a:lnTo>
                    <a:lnTo>
                      <a:pt x="72" y="201"/>
                    </a:lnTo>
                    <a:lnTo>
                      <a:pt x="72" y="203"/>
                    </a:lnTo>
                    <a:lnTo>
                      <a:pt x="75" y="202"/>
                    </a:lnTo>
                    <a:lnTo>
                      <a:pt x="76" y="201"/>
                    </a:lnTo>
                    <a:lnTo>
                      <a:pt x="78" y="200"/>
                    </a:lnTo>
                    <a:lnTo>
                      <a:pt x="79" y="199"/>
                    </a:lnTo>
                    <a:lnTo>
                      <a:pt x="80" y="199"/>
                    </a:lnTo>
                    <a:lnTo>
                      <a:pt x="83" y="202"/>
                    </a:lnTo>
                    <a:lnTo>
                      <a:pt x="82" y="203"/>
                    </a:lnTo>
                    <a:lnTo>
                      <a:pt x="84" y="206"/>
                    </a:lnTo>
                    <a:lnTo>
                      <a:pt x="87" y="207"/>
                    </a:lnTo>
                    <a:lnTo>
                      <a:pt x="89" y="211"/>
                    </a:lnTo>
                    <a:lnTo>
                      <a:pt x="88" y="213"/>
                    </a:lnTo>
                    <a:lnTo>
                      <a:pt x="86" y="217"/>
                    </a:lnTo>
                    <a:lnTo>
                      <a:pt x="83" y="217"/>
                    </a:lnTo>
                    <a:lnTo>
                      <a:pt x="83" y="218"/>
                    </a:lnTo>
                    <a:lnTo>
                      <a:pt x="80" y="221"/>
                    </a:lnTo>
                    <a:lnTo>
                      <a:pt x="80" y="223"/>
                    </a:lnTo>
                    <a:lnTo>
                      <a:pt x="81" y="227"/>
                    </a:lnTo>
                    <a:lnTo>
                      <a:pt x="85" y="228"/>
                    </a:lnTo>
                    <a:lnTo>
                      <a:pt x="85" y="229"/>
                    </a:lnTo>
                    <a:lnTo>
                      <a:pt x="86" y="229"/>
                    </a:lnTo>
                    <a:lnTo>
                      <a:pt x="87" y="232"/>
                    </a:lnTo>
                    <a:lnTo>
                      <a:pt x="90" y="233"/>
                    </a:lnTo>
                    <a:lnTo>
                      <a:pt x="93" y="233"/>
                    </a:lnTo>
                    <a:lnTo>
                      <a:pt x="95" y="236"/>
                    </a:lnTo>
                    <a:lnTo>
                      <a:pt x="98" y="237"/>
                    </a:lnTo>
                    <a:lnTo>
                      <a:pt x="98" y="238"/>
                    </a:lnTo>
                    <a:lnTo>
                      <a:pt x="98" y="245"/>
                    </a:lnTo>
                    <a:lnTo>
                      <a:pt x="102" y="247"/>
                    </a:lnTo>
                    <a:lnTo>
                      <a:pt x="106" y="247"/>
                    </a:lnTo>
                    <a:lnTo>
                      <a:pt x="109" y="250"/>
                    </a:lnTo>
                    <a:lnTo>
                      <a:pt x="110" y="253"/>
                    </a:lnTo>
                    <a:lnTo>
                      <a:pt x="111" y="250"/>
                    </a:lnTo>
                    <a:lnTo>
                      <a:pt x="114" y="252"/>
                    </a:lnTo>
                    <a:lnTo>
                      <a:pt x="114" y="247"/>
                    </a:lnTo>
                    <a:lnTo>
                      <a:pt x="116" y="247"/>
                    </a:lnTo>
                    <a:lnTo>
                      <a:pt x="118" y="247"/>
                    </a:lnTo>
                    <a:lnTo>
                      <a:pt x="118" y="245"/>
                    </a:lnTo>
                    <a:lnTo>
                      <a:pt x="119" y="246"/>
                    </a:lnTo>
                    <a:lnTo>
                      <a:pt x="119" y="244"/>
                    </a:lnTo>
                    <a:lnTo>
                      <a:pt x="124" y="244"/>
                    </a:lnTo>
                    <a:lnTo>
                      <a:pt x="128" y="247"/>
                    </a:lnTo>
                    <a:lnTo>
                      <a:pt x="130" y="249"/>
                    </a:lnTo>
                    <a:lnTo>
                      <a:pt x="130" y="255"/>
                    </a:lnTo>
                    <a:lnTo>
                      <a:pt x="130" y="256"/>
                    </a:lnTo>
                    <a:lnTo>
                      <a:pt x="130" y="257"/>
                    </a:lnTo>
                    <a:lnTo>
                      <a:pt x="133" y="258"/>
                    </a:lnTo>
                    <a:lnTo>
                      <a:pt x="133" y="256"/>
                    </a:lnTo>
                    <a:lnTo>
                      <a:pt x="133" y="252"/>
                    </a:lnTo>
                    <a:lnTo>
                      <a:pt x="132" y="250"/>
                    </a:lnTo>
                    <a:lnTo>
                      <a:pt x="137" y="249"/>
                    </a:lnTo>
                    <a:lnTo>
                      <a:pt x="142" y="250"/>
                    </a:lnTo>
                    <a:lnTo>
                      <a:pt x="142" y="246"/>
                    </a:lnTo>
                    <a:lnTo>
                      <a:pt x="140" y="243"/>
                    </a:lnTo>
                    <a:lnTo>
                      <a:pt x="141" y="243"/>
                    </a:lnTo>
                    <a:lnTo>
                      <a:pt x="143" y="244"/>
                    </a:lnTo>
                    <a:lnTo>
                      <a:pt x="146" y="246"/>
                    </a:lnTo>
                    <a:lnTo>
                      <a:pt x="148" y="246"/>
                    </a:lnTo>
                    <a:lnTo>
                      <a:pt x="151" y="243"/>
                    </a:lnTo>
                    <a:lnTo>
                      <a:pt x="152" y="241"/>
                    </a:lnTo>
                    <a:lnTo>
                      <a:pt x="154" y="243"/>
                    </a:lnTo>
                    <a:lnTo>
                      <a:pt x="157" y="243"/>
                    </a:lnTo>
                    <a:lnTo>
                      <a:pt x="157" y="242"/>
                    </a:lnTo>
                    <a:lnTo>
                      <a:pt x="158" y="241"/>
                    </a:lnTo>
                    <a:lnTo>
                      <a:pt x="158" y="243"/>
                    </a:lnTo>
                    <a:lnTo>
                      <a:pt x="160" y="244"/>
                    </a:lnTo>
                    <a:lnTo>
                      <a:pt x="162" y="243"/>
                    </a:lnTo>
                    <a:lnTo>
                      <a:pt x="164" y="242"/>
                    </a:lnTo>
                    <a:lnTo>
                      <a:pt x="165" y="240"/>
                    </a:lnTo>
                    <a:lnTo>
                      <a:pt x="167" y="240"/>
                    </a:lnTo>
                    <a:lnTo>
                      <a:pt x="168" y="242"/>
                    </a:lnTo>
                    <a:lnTo>
                      <a:pt x="170" y="242"/>
                    </a:lnTo>
                    <a:lnTo>
                      <a:pt x="171" y="243"/>
                    </a:lnTo>
                    <a:lnTo>
                      <a:pt x="171" y="244"/>
                    </a:lnTo>
                    <a:lnTo>
                      <a:pt x="172" y="244"/>
                    </a:lnTo>
                    <a:lnTo>
                      <a:pt x="171" y="245"/>
                    </a:lnTo>
                    <a:lnTo>
                      <a:pt x="172" y="247"/>
                    </a:lnTo>
                    <a:lnTo>
                      <a:pt x="173" y="247"/>
                    </a:lnTo>
                    <a:lnTo>
                      <a:pt x="173" y="245"/>
                    </a:lnTo>
                    <a:lnTo>
                      <a:pt x="175" y="247"/>
                    </a:lnTo>
                    <a:lnTo>
                      <a:pt x="178" y="245"/>
                    </a:lnTo>
                    <a:lnTo>
                      <a:pt x="180" y="248"/>
                    </a:lnTo>
                    <a:lnTo>
                      <a:pt x="180" y="251"/>
                    </a:lnTo>
                    <a:lnTo>
                      <a:pt x="181" y="250"/>
                    </a:lnTo>
                    <a:lnTo>
                      <a:pt x="184" y="250"/>
                    </a:lnTo>
                    <a:lnTo>
                      <a:pt x="187" y="252"/>
                    </a:lnTo>
                    <a:lnTo>
                      <a:pt x="191" y="248"/>
                    </a:lnTo>
                    <a:lnTo>
                      <a:pt x="193" y="249"/>
                    </a:lnTo>
                    <a:lnTo>
                      <a:pt x="195" y="250"/>
                    </a:lnTo>
                    <a:lnTo>
                      <a:pt x="195" y="251"/>
                    </a:lnTo>
                    <a:lnTo>
                      <a:pt x="196" y="253"/>
                    </a:lnTo>
                    <a:lnTo>
                      <a:pt x="199" y="256"/>
                    </a:lnTo>
                    <a:lnTo>
                      <a:pt x="200" y="256"/>
                    </a:lnTo>
                    <a:lnTo>
                      <a:pt x="200" y="253"/>
                    </a:lnTo>
                    <a:lnTo>
                      <a:pt x="203" y="254"/>
                    </a:lnTo>
                    <a:lnTo>
                      <a:pt x="203" y="253"/>
                    </a:lnTo>
                    <a:lnTo>
                      <a:pt x="204" y="253"/>
                    </a:lnTo>
                    <a:lnTo>
                      <a:pt x="206" y="251"/>
                    </a:lnTo>
                    <a:lnTo>
                      <a:pt x="207" y="250"/>
                    </a:lnTo>
                    <a:lnTo>
                      <a:pt x="208" y="249"/>
                    </a:lnTo>
                    <a:lnTo>
                      <a:pt x="210" y="250"/>
                    </a:lnTo>
                    <a:lnTo>
                      <a:pt x="211" y="249"/>
                    </a:lnTo>
                    <a:lnTo>
                      <a:pt x="212" y="247"/>
                    </a:lnTo>
                    <a:lnTo>
                      <a:pt x="212" y="245"/>
                    </a:lnTo>
                    <a:lnTo>
                      <a:pt x="211" y="244"/>
                    </a:lnTo>
                    <a:lnTo>
                      <a:pt x="212" y="243"/>
                    </a:lnTo>
                    <a:lnTo>
                      <a:pt x="211" y="243"/>
                    </a:lnTo>
                    <a:lnTo>
                      <a:pt x="212" y="242"/>
                    </a:lnTo>
                    <a:lnTo>
                      <a:pt x="214" y="243"/>
                    </a:lnTo>
                    <a:lnTo>
                      <a:pt x="214" y="241"/>
                    </a:lnTo>
                    <a:lnTo>
                      <a:pt x="211" y="236"/>
                    </a:lnTo>
                    <a:lnTo>
                      <a:pt x="212" y="233"/>
                    </a:lnTo>
                    <a:lnTo>
                      <a:pt x="214" y="232"/>
                    </a:lnTo>
                    <a:lnTo>
                      <a:pt x="217" y="232"/>
                    </a:lnTo>
                    <a:lnTo>
                      <a:pt x="220" y="233"/>
                    </a:lnTo>
                    <a:lnTo>
                      <a:pt x="222" y="231"/>
                    </a:lnTo>
                    <a:lnTo>
                      <a:pt x="224" y="232"/>
                    </a:lnTo>
                    <a:lnTo>
                      <a:pt x="223" y="233"/>
                    </a:lnTo>
                    <a:lnTo>
                      <a:pt x="224" y="233"/>
                    </a:lnTo>
                    <a:lnTo>
                      <a:pt x="224" y="227"/>
                    </a:lnTo>
                    <a:lnTo>
                      <a:pt x="228" y="227"/>
                    </a:lnTo>
                    <a:lnTo>
                      <a:pt x="229" y="229"/>
                    </a:lnTo>
                    <a:lnTo>
                      <a:pt x="230" y="228"/>
                    </a:lnTo>
                    <a:lnTo>
                      <a:pt x="230" y="227"/>
                    </a:lnTo>
                    <a:lnTo>
                      <a:pt x="232" y="226"/>
                    </a:lnTo>
                    <a:lnTo>
                      <a:pt x="234" y="226"/>
                    </a:lnTo>
                    <a:lnTo>
                      <a:pt x="235" y="225"/>
                    </a:lnTo>
                    <a:lnTo>
                      <a:pt x="235" y="223"/>
                    </a:lnTo>
                    <a:lnTo>
                      <a:pt x="238" y="223"/>
                    </a:lnTo>
                    <a:lnTo>
                      <a:pt x="239" y="223"/>
                    </a:lnTo>
                    <a:lnTo>
                      <a:pt x="240" y="221"/>
                    </a:lnTo>
                    <a:lnTo>
                      <a:pt x="241" y="220"/>
                    </a:lnTo>
                    <a:lnTo>
                      <a:pt x="244" y="222"/>
                    </a:lnTo>
                    <a:lnTo>
                      <a:pt x="246" y="220"/>
                    </a:lnTo>
                    <a:lnTo>
                      <a:pt x="246" y="219"/>
                    </a:lnTo>
                    <a:lnTo>
                      <a:pt x="244" y="219"/>
                    </a:lnTo>
                    <a:lnTo>
                      <a:pt x="245" y="216"/>
                    </a:lnTo>
                    <a:lnTo>
                      <a:pt x="247" y="218"/>
                    </a:lnTo>
                    <a:lnTo>
                      <a:pt x="249" y="218"/>
                    </a:lnTo>
                    <a:lnTo>
                      <a:pt x="249" y="214"/>
                    </a:lnTo>
                    <a:lnTo>
                      <a:pt x="249" y="213"/>
                    </a:lnTo>
                    <a:lnTo>
                      <a:pt x="249" y="214"/>
                    </a:lnTo>
                    <a:lnTo>
                      <a:pt x="251" y="213"/>
                    </a:lnTo>
                    <a:lnTo>
                      <a:pt x="254" y="210"/>
                    </a:lnTo>
                    <a:lnTo>
                      <a:pt x="254" y="213"/>
                    </a:lnTo>
                    <a:lnTo>
                      <a:pt x="254" y="215"/>
                    </a:lnTo>
                    <a:lnTo>
                      <a:pt x="256" y="216"/>
                    </a:lnTo>
                    <a:lnTo>
                      <a:pt x="257" y="215"/>
                    </a:lnTo>
                    <a:lnTo>
                      <a:pt x="259" y="218"/>
                    </a:lnTo>
                    <a:lnTo>
                      <a:pt x="260" y="216"/>
                    </a:lnTo>
                    <a:lnTo>
                      <a:pt x="262" y="218"/>
                    </a:lnTo>
                    <a:lnTo>
                      <a:pt x="262" y="217"/>
                    </a:lnTo>
                    <a:lnTo>
                      <a:pt x="264" y="218"/>
                    </a:lnTo>
                    <a:lnTo>
                      <a:pt x="267" y="216"/>
                    </a:lnTo>
                    <a:lnTo>
                      <a:pt x="267" y="218"/>
                    </a:lnTo>
                    <a:lnTo>
                      <a:pt x="266" y="218"/>
                    </a:lnTo>
                    <a:lnTo>
                      <a:pt x="269" y="219"/>
                    </a:lnTo>
                    <a:lnTo>
                      <a:pt x="270" y="219"/>
                    </a:lnTo>
                    <a:lnTo>
                      <a:pt x="270" y="221"/>
                    </a:lnTo>
                    <a:lnTo>
                      <a:pt x="271" y="221"/>
                    </a:lnTo>
                    <a:lnTo>
                      <a:pt x="271" y="220"/>
                    </a:lnTo>
                    <a:lnTo>
                      <a:pt x="272" y="222"/>
                    </a:lnTo>
                    <a:lnTo>
                      <a:pt x="273" y="222"/>
                    </a:lnTo>
                    <a:lnTo>
                      <a:pt x="273" y="223"/>
                    </a:lnTo>
                    <a:lnTo>
                      <a:pt x="274" y="223"/>
                    </a:lnTo>
                    <a:lnTo>
                      <a:pt x="274" y="226"/>
                    </a:lnTo>
                    <a:lnTo>
                      <a:pt x="275" y="227"/>
                    </a:lnTo>
                    <a:lnTo>
                      <a:pt x="276" y="223"/>
                    </a:lnTo>
                    <a:lnTo>
                      <a:pt x="276" y="225"/>
                    </a:lnTo>
                    <a:lnTo>
                      <a:pt x="276" y="226"/>
                    </a:lnTo>
                    <a:lnTo>
                      <a:pt x="278" y="228"/>
                    </a:lnTo>
                    <a:lnTo>
                      <a:pt x="281" y="233"/>
                    </a:lnTo>
                    <a:lnTo>
                      <a:pt x="285" y="236"/>
                    </a:lnTo>
                    <a:lnTo>
                      <a:pt x="287" y="235"/>
                    </a:lnTo>
                    <a:lnTo>
                      <a:pt x="289" y="234"/>
                    </a:lnTo>
                    <a:lnTo>
                      <a:pt x="287" y="231"/>
                    </a:lnTo>
                    <a:lnTo>
                      <a:pt x="287" y="227"/>
                    </a:lnTo>
                    <a:lnTo>
                      <a:pt x="290" y="223"/>
                    </a:lnTo>
                    <a:lnTo>
                      <a:pt x="292" y="223"/>
                    </a:lnTo>
                    <a:lnTo>
                      <a:pt x="292" y="222"/>
                    </a:lnTo>
                    <a:lnTo>
                      <a:pt x="290" y="216"/>
                    </a:lnTo>
                    <a:lnTo>
                      <a:pt x="292" y="216"/>
                    </a:lnTo>
                    <a:lnTo>
                      <a:pt x="290" y="214"/>
                    </a:lnTo>
                    <a:lnTo>
                      <a:pt x="289" y="214"/>
                    </a:lnTo>
                    <a:lnTo>
                      <a:pt x="290" y="213"/>
                    </a:lnTo>
                    <a:lnTo>
                      <a:pt x="291" y="212"/>
                    </a:lnTo>
                    <a:lnTo>
                      <a:pt x="290" y="210"/>
                    </a:lnTo>
                    <a:lnTo>
                      <a:pt x="292" y="210"/>
                    </a:lnTo>
                    <a:lnTo>
                      <a:pt x="293" y="212"/>
                    </a:lnTo>
                    <a:lnTo>
                      <a:pt x="294" y="213"/>
                    </a:lnTo>
                    <a:lnTo>
                      <a:pt x="295" y="210"/>
                    </a:lnTo>
                    <a:lnTo>
                      <a:pt x="295" y="213"/>
                    </a:lnTo>
                    <a:lnTo>
                      <a:pt x="297" y="213"/>
                    </a:lnTo>
                    <a:lnTo>
                      <a:pt x="297" y="210"/>
                    </a:lnTo>
                    <a:lnTo>
                      <a:pt x="300" y="211"/>
                    </a:lnTo>
                    <a:lnTo>
                      <a:pt x="301" y="210"/>
                    </a:lnTo>
                    <a:lnTo>
                      <a:pt x="303" y="211"/>
                    </a:lnTo>
                    <a:lnTo>
                      <a:pt x="304" y="210"/>
                    </a:lnTo>
                    <a:lnTo>
                      <a:pt x="303" y="206"/>
                    </a:lnTo>
                    <a:lnTo>
                      <a:pt x="303" y="207"/>
                    </a:lnTo>
                    <a:lnTo>
                      <a:pt x="305" y="209"/>
                    </a:lnTo>
                    <a:lnTo>
                      <a:pt x="308" y="208"/>
                    </a:lnTo>
                    <a:lnTo>
                      <a:pt x="308" y="205"/>
                    </a:lnTo>
                    <a:lnTo>
                      <a:pt x="309" y="204"/>
                    </a:lnTo>
                    <a:lnTo>
                      <a:pt x="309" y="202"/>
                    </a:lnTo>
                    <a:lnTo>
                      <a:pt x="309" y="200"/>
                    </a:lnTo>
                    <a:lnTo>
                      <a:pt x="306" y="201"/>
                    </a:lnTo>
                    <a:lnTo>
                      <a:pt x="305" y="199"/>
                    </a:lnTo>
                    <a:lnTo>
                      <a:pt x="309" y="192"/>
                    </a:lnTo>
                    <a:lnTo>
                      <a:pt x="308" y="191"/>
                    </a:lnTo>
                    <a:lnTo>
                      <a:pt x="307" y="190"/>
                    </a:lnTo>
                    <a:lnTo>
                      <a:pt x="309" y="190"/>
                    </a:lnTo>
                    <a:lnTo>
                      <a:pt x="309" y="191"/>
                    </a:lnTo>
                    <a:lnTo>
                      <a:pt x="311" y="192"/>
                    </a:lnTo>
                    <a:lnTo>
                      <a:pt x="312" y="191"/>
                    </a:lnTo>
                    <a:lnTo>
                      <a:pt x="312" y="190"/>
                    </a:lnTo>
                    <a:lnTo>
                      <a:pt x="311" y="190"/>
                    </a:lnTo>
                    <a:lnTo>
                      <a:pt x="311" y="188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3" name="Group 95">
              <a:extLst>
                <a:ext uri="{FF2B5EF4-FFF2-40B4-BE49-F238E27FC236}">
                  <a16:creationId xmlns:a16="http://schemas.microsoft.com/office/drawing/2014/main" id="{D7F596A8-4FCB-74CE-C4C3-7627FEACDD7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17" y="3100"/>
              <a:ext cx="129" cy="104"/>
              <a:chOff x="1017" y="3100"/>
              <a:chExt cx="129" cy="104"/>
            </a:xfrm>
          </p:grpSpPr>
          <p:sp>
            <p:nvSpPr>
              <p:cNvPr id="164" name="Freeform 93">
                <a:extLst>
                  <a:ext uri="{FF2B5EF4-FFF2-40B4-BE49-F238E27FC236}">
                    <a16:creationId xmlns:a16="http://schemas.microsoft.com/office/drawing/2014/main" id="{6CD02A55-6877-A89C-D8AB-A56EA65034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7" y="3100"/>
                <a:ext cx="129" cy="104"/>
              </a:xfrm>
              <a:custGeom>
                <a:avLst/>
                <a:gdLst>
                  <a:gd name="T0" fmla="*/ 111 w 129"/>
                  <a:gd name="T1" fmla="*/ 86 h 104"/>
                  <a:gd name="T2" fmla="*/ 107 w 129"/>
                  <a:gd name="T3" fmla="*/ 84 h 104"/>
                  <a:gd name="T4" fmla="*/ 100 w 129"/>
                  <a:gd name="T5" fmla="*/ 87 h 104"/>
                  <a:gd name="T6" fmla="*/ 98 w 129"/>
                  <a:gd name="T7" fmla="*/ 87 h 104"/>
                  <a:gd name="T8" fmla="*/ 94 w 129"/>
                  <a:gd name="T9" fmla="*/ 82 h 104"/>
                  <a:gd name="T10" fmla="*/ 92 w 129"/>
                  <a:gd name="T11" fmla="*/ 79 h 104"/>
                  <a:gd name="T12" fmla="*/ 88 w 129"/>
                  <a:gd name="T13" fmla="*/ 80 h 104"/>
                  <a:gd name="T14" fmla="*/ 85 w 129"/>
                  <a:gd name="T15" fmla="*/ 79 h 104"/>
                  <a:gd name="T16" fmla="*/ 78 w 129"/>
                  <a:gd name="T17" fmla="*/ 77 h 104"/>
                  <a:gd name="T18" fmla="*/ 73 w 129"/>
                  <a:gd name="T19" fmla="*/ 85 h 104"/>
                  <a:gd name="T20" fmla="*/ 70 w 129"/>
                  <a:gd name="T21" fmla="*/ 83 h 104"/>
                  <a:gd name="T22" fmla="*/ 60 w 129"/>
                  <a:gd name="T23" fmla="*/ 88 h 104"/>
                  <a:gd name="T24" fmla="*/ 54 w 129"/>
                  <a:gd name="T25" fmla="*/ 93 h 104"/>
                  <a:gd name="T26" fmla="*/ 44 w 129"/>
                  <a:gd name="T27" fmla="*/ 95 h 104"/>
                  <a:gd name="T28" fmla="*/ 37 w 129"/>
                  <a:gd name="T29" fmla="*/ 103 h 104"/>
                  <a:gd name="T30" fmla="*/ 31 w 129"/>
                  <a:gd name="T31" fmla="*/ 102 h 104"/>
                  <a:gd name="T32" fmla="*/ 27 w 129"/>
                  <a:gd name="T33" fmla="*/ 99 h 104"/>
                  <a:gd name="T34" fmla="*/ 20 w 129"/>
                  <a:gd name="T35" fmla="*/ 90 h 104"/>
                  <a:gd name="T36" fmla="*/ 25 w 129"/>
                  <a:gd name="T37" fmla="*/ 87 h 104"/>
                  <a:gd name="T38" fmla="*/ 24 w 129"/>
                  <a:gd name="T39" fmla="*/ 82 h 104"/>
                  <a:gd name="T40" fmla="*/ 18 w 129"/>
                  <a:gd name="T41" fmla="*/ 79 h 104"/>
                  <a:gd name="T42" fmla="*/ 14 w 129"/>
                  <a:gd name="T43" fmla="*/ 74 h 104"/>
                  <a:gd name="T44" fmla="*/ 20 w 129"/>
                  <a:gd name="T45" fmla="*/ 63 h 104"/>
                  <a:gd name="T46" fmla="*/ 8 w 129"/>
                  <a:gd name="T47" fmla="*/ 53 h 104"/>
                  <a:gd name="T48" fmla="*/ 9 w 129"/>
                  <a:gd name="T49" fmla="*/ 47 h 104"/>
                  <a:gd name="T50" fmla="*/ 4 w 129"/>
                  <a:gd name="T51" fmla="*/ 44 h 104"/>
                  <a:gd name="T52" fmla="*/ 12 w 129"/>
                  <a:gd name="T53" fmla="*/ 38 h 104"/>
                  <a:gd name="T54" fmla="*/ 16 w 129"/>
                  <a:gd name="T55" fmla="*/ 37 h 104"/>
                  <a:gd name="T56" fmla="*/ 12 w 129"/>
                  <a:gd name="T57" fmla="*/ 31 h 104"/>
                  <a:gd name="T58" fmla="*/ 9 w 129"/>
                  <a:gd name="T59" fmla="*/ 25 h 104"/>
                  <a:gd name="T60" fmla="*/ 0 w 129"/>
                  <a:gd name="T61" fmla="*/ 24 h 104"/>
                  <a:gd name="T62" fmla="*/ 5 w 129"/>
                  <a:gd name="T63" fmla="*/ 18 h 104"/>
                  <a:gd name="T64" fmla="*/ 9 w 129"/>
                  <a:gd name="T65" fmla="*/ 18 h 104"/>
                  <a:gd name="T66" fmla="*/ 18 w 129"/>
                  <a:gd name="T67" fmla="*/ 18 h 104"/>
                  <a:gd name="T68" fmla="*/ 24 w 129"/>
                  <a:gd name="T69" fmla="*/ 13 h 104"/>
                  <a:gd name="T70" fmla="*/ 26 w 129"/>
                  <a:gd name="T71" fmla="*/ 20 h 104"/>
                  <a:gd name="T72" fmla="*/ 38 w 129"/>
                  <a:gd name="T73" fmla="*/ 15 h 104"/>
                  <a:gd name="T74" fmla="*/ 38 w 129"/>
                  <a:gd name="T75" fmla="*/ 10 h 104"/>
                  <a:gd name="T76" fmla="*/ 47 w 129"/>
                  <a:gd name="T77" fmla="*/ 11 h 104"/>
                  <a:gd name="T78" fmla="*/ 55 w 129"/>
                  <a:gd name="T79" fmla="*/ 7 h 104"/>
                  <a:gd name="T80" fmla="*/ 68 w 129"/>
                  <a:gd name="T81" fmla="*/ 6 h 104"/>
                  <a:gd name="T82" fmla="*/ 72 w 129"/>
                  <a:gd name="T83" fmla="*/ 0 h 104"/>
                  <a:gd name="T84" fmla="*/ 85 w 129"/>
                  <a:gd name="T85" fmla="*/ 0 h 104"/>
                  <a:gd name="T86" fmla="*/ 88 w 129"/>
                  <a:gd name="T87" fmla="*/ 7 h 104"/>
                  <a:gd name="T88" fmla="*/ 93 w 129"/>
                  <a:gd name="T89" fmla="*/ 8 h 104"/>
                  <a:gd name="T90" fmla="*/ 95 w 129"/>
                  <a:gd name="T91" fmla="*/ 14 h 104"/>
                  <a:gd name="T92" fmla="*/ 101 w 129"/>
                  <a:gd name="T93" fmla="*/ 16 h 104"/>
                  <a:gd name="T94" fmla="*/ 103 w 129"/>
                  <a:gd name="T95" fmla="*/ 25 h 104"/>
                  <a:gd name="T96" fmla="*/ 111 w 129"/>
                  <a:gd name="T97" fmla="*/ 26 h 104"/>
                  <a:gd name="T98" fmla="*/ 119 w 129"/>
                  <a:gd name="T99" fmla="*/ 39 h 104"/>
                  <a:gd name="T100" fmla="*/ 128 w 129"/>
                  <a:gd name="T101" fmla="*/ 46 h 104"/>
                  <a:gd name="T102" fmla="*/ 118 w 129"/>
                  <a:gd name="T103" fmla="*/ 58 h 104"/>
                  <a:gd name="T104" fmla="*/ 110 w 129"/>
                  <a:gd name="T105" fmla="*/ 59 h 104"/>
                  <a:gd name="T106" fmla="*/ 109 w 129"/>
                  <a:gd name="T107" fmla="*/ 68 h 104"/>
                  <a:gd name="T108" fmla="*/ 113 w 129"/>
                  <a:gd name="T109" fmla="*/ 70 h 10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29"/>
                  <a:gd name="T166" fmla="*/ 0 h 104"/>
                  <a:gd name="T167" fmla="*/ 129 w 129"/>
                  <a:gd name="T168" fmla="*/ 104 h 10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29" h="104">
                    <a:moveTo>
                      <a:pt x="114" y="80"/>
                    </a:moveTo>
                    <a:lnTo>
                      <a:pt x="114" y="82"/>
                    </a:lnTo>
                    <a:lnTo>
                      <a:pt x="112" y="82"/>
                    </a:lnTo>
                    <a:lnTo>
                      <a:pt x="112" y="84"/>
                    </a:lnTo>
                    <a:lnTo>
                      <a:pt x="111" y="86"/>
                    </a:lnTo>
                    <a:lnTo>
                      <a:pt x="109" y="83"/>
                    </a:lnTo>
                    <a:lnTo>
                      <a:pt x="108" y="84"/>
                    </a:lnTo>
                    <a:lnTo>
                      <a:pt x="108" y="86"/>
                    </a:lnTo>
                    <a:lnTo>
                      <a:pt x="107" y="84"/>
                    </a:lnTo>
                    <a:lnTo>
                      <a:pt x="108" y="88"/>
                    </a:lnTo>
                    <a:lnTo>
                      <a:pt x="106" y="90"/>
                    </a:lnTo>
                    <a:lnTo>
                      <a:pt x="104" y="88"/>
                    </a:lnTo>
                    <a:lnTo>
                      <a:pt x="102" y="88"/>
                    </a:lnTo>
                    <a:lnTo>
                      <a:pt x="100" y="87"/>
                    </a:lnTo>
                    <a:lnTo>
                      <a:pt x="100" y="88"/>
                    </a:lnTo>
                    <a:lnTo>
                      <a:pt x="99" y="87"/>
                    </a:lnTo>
                    <a:lnTo>
                      <a:pt x="99" y="88"/>
                    </a:lnTo>
                    <a:lnTo>
                      <a:pt x="98" y="86"/>
                    </a:lnTo>
                    <a:lnTo>
                      <a:pt x="98" y="87"/>
                    </a:lnTo>
                    <a:lnTo>
                      <a:pt x="97" y="86"/>
                    </a:lnTo>
                    <a:lnTo>
                      <a:pt x="97" y="84"/>
                    </a:lnTo>
                    <a:lnTo>
                      <a:pt x="96" y="85"/>
                    </a:lnTo>
                    <a:lnTo>
                      <a:pt x="96" y="81"/>
                    </a:lnTo>
                    <a:lnTo>
                      <a:pt x="94" y="82"/>
                    </a:lnTo>
                    <a:lnTo>
                      <a:pt x="94" y="81"/>
                    </a:lnTo>
                    <a:lnTo>
                      <a:pt x="93" y="80"/>
                    </a:lnTo>
                    <a:lnTo>
                      <a:pt x="92" y="81"/>
                    </a:lnTo>
                    <a:lnTo>
                      <a:pt x="92" y="80"/>
                    </a:lnTo>
                    <a:lnTo>
                      <a:pt x="92" y="79"/>
                    </a:lnTo>
                    <a:lnTo>
                      <a:pt x="91" y="80"/>
                    </a:lnTo>
                    <a:lnTo>
                      <a:pt x="91" y="77"/>
                    </a:lnTo>
                    <a:lnTo>
                      <a:pt x="90" y="78"/>
                    </a:lnTo>
                    <a:lnTo>
                      <a:pt x="89" y="79"/>
                    </a:lnTo>
                    <a:lnTo>
                      <a:pt x="88" y="80"/>
                    </a:lnTo>
                    <a:lnTo>
                      <a:pt x="87" y="80"/>
                    </a:lnTo>
                    <a:lnTo>
                      <a:pt x="86" y="80"/>
                    </a:lnTo>
                    <a:lnTo>
                      <a:pt x="86" y="79"/>
                    </a:lnTo>
                    <a:lnTo>
                      <a:pt x="85" y="79"/>
                    </a:lnTo>
                    <a:lnTo>
                      <a:pt x="83" y="78"/>
                    </a:lnTo>
                    <a:lnTo>
                      <a:pt x="83" y="79"/>
                    </a:lnTo>
                    <a:lnTo>
                      <a:pt x="82" y="80"/>
                    </a:lnTo>
                    <a:lnTo>
                      <a:pt x="80" y="80"/>
                    </a:lnTo>
                    <a:lnTo>
                      <a:pt x="78" y="77"/>
                    </a:lnTo>
                    <a:lnTo>
                      <a:pt x="77" y="78"/>
                    </a:lnTo>
                    <a:lnTo>
                      <a:pt x="74" y="79"/>
                    </a:lnTo>
                    <a:lnTo>
                      <a:pt x="76" y="82"/>
                    </a:lnTo>
                    <a:lnTo>
                      <a:pt x="73" y="84"/>
                    </a:lnTo>
                    <a:lnTo>
                      <a:pt x="73" y="85"/>
                    </a:lnTo>
                    <a:lnTo>
                      <a:pt x="72" y="84"/>
                    </a:lnTo>
                    <a:lnTo>
                      <a:pt x="72" y="85"/>
                    </a:lnTo>
                    <a:lnTo>
                      <a:pt x="71" y="86"/>
                    </a:lnTo>
                    <a:lnTo>
                      <a:pt x="70" y="86"/>
                    </a:lnTo>
                    <a:lnTo>
                      <a:pt x="70" y="83"/>
                    </a:lnTo>
                    <a:lnTo>
                      <a:pt x="64" y="84"/>
                    </a:lnTo>
                    <a:lnTo>
                      <a:pt x="64" y="87"/>
                    </a:lnTo>
                    <a:lnTo>
                      <a:pt x="64" y="88"/>
                    </a:lnTo>
                    <a:lnTo>
                      <a:pt x="60" y="88"/>
                    </a:lnTo>
                    <a:lnTo>
                      <a:pt x="60" y="90"/>
                    </a:lnTo>
                    <a:lnTo>
                      <a:pt x="58" y="88"/>
                    </a:lnTo>
                    <a:lnTo>
                      <a:pt x="57" y="92"/>
                    </a:lnTo>
                    <a:lnTo>
                      <a:pt x="56" y="93"/>
                    </a:lnTo>
                    <a:lnTo>
                      <a:pt x="54" y="93"/>
                    </a:lnTo>
                    <a:lnTo>
                      <a:pt x="53" y="92"/>
                    </a:lnTo>
                    <a:lnTo>
                      <a:pt x="52" y="92"/>
                    </a:lnTo>
                    <a:lnTo>
                      <a:pt x="50" y="93"/>
                    </a:lnTo>
                    <a:lnTo>
                      <a:pt x="46" y="95"/>
                    </a:lnTo>
                    <a:lnTo>
                      <a:pt x="44" y="95"/>
                    </a:lnTo>
                    <a:lnTo>
                      <a:pt x="40" y="90"/>
                    </a:lnTo>
                    <a:lnTo>
                      <a:pt x="39" y="91"/>
                    </a:lnTo>
                    <a:lnTo>
                      <a:pt x="37" y="99"/>
                    </a:lnTo>
                    <a:lnTo>
                      <a:pt x="37" y="102"/>
                    </a:lnTo>
                    <a:lnTo>
                      <a:pt x="37" y="103"/>
                    </a:lnTo>
                    <a:lnTo>
                      <a:pt x="37" y="104"/>
                    </a:lnTo>
                    <a:lnTo>
                      <a:pt x="36" y="103"/>
                    </a:lnTo>
                    <a:lnTo>
                      <a:pt x="35" y="101"/>
                    </a:lnTo>
                    <a:lnTo>
                      <a:pt x="33" y="100"/>
                    </a:lnTo>
                    <a:lnTo>
                      <a:pt x="31" y="102"/>
                    </a:lnTo>
                    <a:lnTo>
                      <a:pt x="31" y="101"/>
                    </a:lnTo>
                    <a:lnTo>
                      <a:pt x="31" y="99"/>
                    </a:lnTo>
                    <a:lnTo>
                      <a:pt x="30" y="99"/>
                    </a:lnTo>
                    <a:lnTo>
                      <a:pt x="27" y="100"/>
                    </a:lnTo>
                    <a:lnTo>
                      <a:pt x="27" y="99"/>
                    </a:lnTo>
                    <a:lnTo>
                      <a:pt x="22" y="99"/>
                    </a:lnTo>
                    <a:lnTo>
                      <a:pt x="21" y="97"/>
                    </a:lnTo>
                    <a:lnTo>
                      <a:pt x="19" y="95"/>
                    </a:lnTo>
                    <a:lnTo>
                      <a:pt x="18" y="93"/>
                    </a:lnTo>
                    <a:lnTo>
                      <a:pt x="20" y="90"/>
                    </a:lnTo>
                    <a:lnTo>
                      <a:pt x="22" y="90"/>
                    </a:lnTo>
                    <a:lnTo>
                      <a:pt x="23" y="91"/>
                    </a:lnTo>
                    <a:lnTo>
                      <a:pt x="25" y="88"/>
                    </a:lnTo>
                    <a:lnTo>
                      <a:pt x="25" y="87"/>
                    </a:lnTo>
                    <a:lnTo>
                      <a:pt x="21" y="88"/>
                    </a:lnTo>
                    <a:lnTo>
                      <a:pt x="20" y="88"/>
                    </a:lnTo>
                    <a:lnTo>
                      <a:pt x="20" y="87"/>
                    </a:lnTo>
                    <a:lnTo>
                      <a:pt x="24" y="84"/>
                    </a:lnTo>
                    <a:lnTo>
                      <a:pt x="24" y="82"/>
                    </a:lnTo>
                    <a:lnTo>
                      <a:pt x="23" y="80"/>
                    </a:lnTo>
                    <a:lnTo>
                      <a:pt x="25" y="80"/>
                    </a:lnTo>
                    <a:lnTo>
                      <a:pt x="23" y="78"/>
                    </a:lnTo>
                    <a:lnTo>
                      <a:pt x="18" y="79"/>
                    </a:lnTo>
                    <a:lnTo>
                      <a:pt x="18" y="76"/>
                    </a:lnTo>
                    <a:lnTo>
                      <a:pt x="17" y="76"/>
                    </a:lnTo>
                    <a:lnTo>
                      <a:pt x="16" y="75"/>
                    </a:lnTo>
                    <a:lnTo>
                      <a:pt x="14" y="75"/>
                    </a:lnTo>
                    <a:lnTo>
                      <a:pt x="14" y="74"/>
                    </a:lnTo>
                    <a:lnTo>
                      <a:pt x="14" y="72"/>
                    </a:lnTo>
                    <a:lnTo>
                      <a:pt x="14" y="71"/>
                    </a:lnTo>
                    <a:lnTo>
                      <a:pt x="15" y="67"/>
                    </a:lnTo>
                    <a:lnTo>
                      <a:pt x="18" y="70"/>
                    </a:lnTo>
                    <a:lnTo>
                      <a:pt x="20" y="63"/>
                    </a:lnTo>
                    <a:lnTo>
                      <a:pt x="15" y="62"/>
                    </a:lnTo>
                    <a:lnTo>
                      <a:pt x="13" y="59"/>
                    </a:lnTo>
                    <a:lnTo>
                      <a:pt x="12" y="58"/>
                    </a:lnTo>
                    <a:lnTo>
                      <a:pt x="8" y="53"/>
                    </a:lnTo>
                    <a:lnTo>
                      <a:pt x="8" y="52"/>
                    </a:lnTo>
                    <a:lnTo>
                      <a:pt x="9" y="50"/>
                    </a:lnTo>
                    <a:lnTo>
                      <a:pt x="8" y="50"/>
                    </a:lnTo>
                    <a:lnTo>
                      <a:pt x="9" y="48"/>
                    </a:lnTo>
                    <a:lnTo>
                      <a:pt x="9" y="47"/>
                    </a:lnTo>
                    <a:lnTo>
                      <a:pt x="8" y="47"/>
                    </a:lnTo>
                    <a:lnTo>
                      <a:pt x="8" y="46"/>
                    </a:lnTo>
                    <a:lnTo>
                      <a:pt x="6" y="46"/>
                    </a:lnTo>
                    <a:lnTo>
                      <a:pt x="6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5" y="42"/>
                    </a:lnTo>
                    <a:lnTo>
                      <a:pt x="7" y="41"/>
                    </a:lnTo>
                    <a:lnTo>
                      <a:pt x="7" y="38"/>
                    </a:lnTo>
                    <a:lnTo>
                      <a:pt x="12" y="38"/>
                    </a:lnTo>
                    <a:lnTo>
                      <a:pt x="13" y="39"/>
                    </a:lnTo>
                    <a:lnTo>
                      <a:pt x="14" y="38"/>
                    </a:lnTo>
                    <a:lnTo>
                      <a:pt x="16" y="38"/>
                    </a:lnTo>
                    <a:lnTo>
                      <a:pt x="16" y="37"/>
                    </a:lnTo>
                    <a:lnTo>
                      <a:pt x="14" y="36"/>
                    </a:lnTo>
                    <a:lnTo>
                      <a:pt x="15" y="35"/>
                    </a:lnTo>
                    <a:lnTo>
                      <a:pt x="12" y="35"/>
                    </a:lnTo>
                    <a:lnTo>
                      <a:pt x="12" y="31"/>
                    </a:lnTo>
                    <a:lnTo>
                      <a:pt x="11" y="32"/>
                    </a:lnTo>
                    <a:lnTo>
                      <a:pt x="9" y="31"/>
                    </a:lnTo>
                    <a:lnTo>
                      <a:pt x="9" y="27"/>
                    </a:lnTo>
                    <a:lnTo>
                      <a:pt x="8" y="25"/>
                    </a:lnTo>
                    <a:lnTo>
                      <a:pt x="9" y="25"/>
                    </a:lnTo>
                    <a:lnTo>
                      <a:pt x="8" y="22"/>
                    </a:lnTo>
                    <a:lnTo>
                      <a:pt x="5" y="23"/>
                    </a:lnTo>
                    <a:lnTo>
                      <a:pt x="3" y="24"/>
                    </a:lnTo>
                    <a:lnTo>
                      <a:pt x="2" y="22"/>
                    </a:lnTo>
                    <a:lnTo>
                      <a:pt x="0" y="24"/>
                    </a:lnTo>
                    <a:lnTo>
                      <a:pt x="0" y="22"/>
                    </a:lnTo>
                    <a:lnTo>
                      <a:pt x="0" y="21"/>
                    </a:lnTo>
                    <a:lnTo>
                      <a:pt x="4" y="21"/>
                    </a:lnTo>
                    <a:lnTo>
                      <a:pt x="4" y="19"/>
                    </a:lnTo>
                    <a:lnTo>
                      <a:pt x="5" y="18"/>
                    </a:lnTo>
                    <a:lnTo>
                      <a:pt x="5" y="19"/>
                    </a:lnTo>
                    <a:lnTo>
                      <a:pt x="6" y="20"/>
                    </a:lnTo>
                    <a:lnTo>
                      <a:pt x="9" y="19"/>
                    </a:lnTo>
                    <a:lnTo>
                      <a:pt x="9" y="18"/>
                    </a:lnTo>
                    <a:lnTo>
                      <a:pt x="14" y="17"/>
                    </a:lnTo>
                    <a:lnTo>
                      <a:pt x="16" y="16"/>
                    </a:lnTo>
                    <a:lnTo>
                      <a:pt x="17" y="19"/>
                    </a:lnTo>
                    <a:lnTo>
                      <a:pt x="18" y="18"/>
                    </a:lnTo>
                    <a:lnTo>
                      <a:pt x="21" y="16"/>
                    </a:lnTo>
                    <a:lnTo>
                      <a:pt x="20" y="14"/>
                    </a:lnTo>
                    <a:lnTo>
                      <a:pt x="22" y="14"/>
                    </a:lnTo>
                    <a:lnTo>
                      <a:pt x="22" y="12"/>
                    </a:lnTo>
                    <a:lnTo>
                      <a:pt x="24" y="13"/>
                    </a:lnTo>
                    <a:lnTo>
                      <a:pt x="25" y="14"/>
                    </a:lnTo>
                    <a:lnTo>
                      <a:pt x="26" y="14"/>
                    </a:lnTo>
                    <a:lnTo>
                      <a:pt x="26" y="15"/>
                    </a:lnTo>
                    <a:lnTo>
                      <a:pt x="26" y="18"/>
                    </a:lnTo>
                    <a:lnTo>
                      <a:pt x="26" y="20"/>
                    </a:lnTo>
                    <a:lnTo>
                      <a:pt x="29" y="20"/>
                    </a:lnTo>
                    <a:lnTo>
                      <a:pt x="36" y="21"/>
                    </a:lnTo>
                    <a:lnTo>
                      <a:pt x="38" y="21"/>
                    </a:lnTo>
                    <a:lnTo>
                      <a:pt x="36" y="18"/>
                    </a:lnTo>
                    <a:lnTo>
                      <a:pt x="38" y="15"/>
                    </a:lnTo>
                    <a:lnTo>
                      <a:pt x="37" y="15"/>
                    </a:lnTo>
                    <a:lnTo>
                      <a:pt x="37" y="14"/>
                    </a:lnTo>
                    <a:lnTo>
                      <a:pt x="37" y="11"/>
                    </a:lnTo>
                    <a:lnTo>
                      <a:pt x="38" y="11"/>
                    </a:lnTo>
                    <a:lnTo>
                      <a:pt x="38" y="10"/>
                    </a:lnTo>
                    <a:lnTo>
                      <a:pt x="40" y="7"/>
                    </a:lnTo>
                    <a:lnTo>
                      <a:pt x="42" y="7"/>
                    </a:lnTo>
                    <a:lnTo>
                      <a:pt x="44" y="8"/>
                    </a:lnTo>
                    <a:lnTo>
                      <a:pt x="46" y="8"/>
                    </a:lnTo>
                    <a:lnTo>
                      <a:pt x="47" y="11"/>
                    </a:lnTo>
                    <a:lnTo>
                      <a:pt x="49" y="10"/>
                    </a:lnTo>
                    <a:lnTo>
                      <a:pt x="50" y="8"/>
                    </a:lnTo>
                    <a:lnTo>
                      <a:pt x="51" y="9"/>
                    </a:lnTo>
                    <a:lnTo>
                      <a:pt x="55" y="8"/>
                    </a:lnTo>
                    <a:lnTo>
                      <a:pt x="55" y="7"/>
                    </a:lnTo>
                    <a:lnTo>
                      <a:pt x="57" y="7"/>
                    </a:lnTo>
                    <a:lnTo>
                      <a:pt x="57" y="4"/>
                    </a:lnTo>
                    <a:lnTo>
                      <a:pt x="61" y="6"/>
                    </a:lnTo>
                    <a:lnTo>
                      <a:pt x="66" y="6"/>
                    </a:lnTo>
                    <a:lnTo>
                      <a:pt x="68" y="6"/>
                    </a:lnTo>
                    <a:lnTo>
                      <a:pt x="68" y="3"/>
                    </a:lnTo>
                    <a:lnTo>
                      <a:pt x="69" y="3"/>
                    </a:lnTo>
                    <a:lnTo>
                      <a:pt x="69" y="1"/>
                    </a:lnTo>
                    <a:lnTo>
                      <a:pt x="72" y="1"/>
                    </a:lnTo>
                    <a:lnTo>
                      <a:pt x="72" y="0"/>
                    </a:lnTo>
                    <a:lnTo>
                      <a:pt x="77" y="1"/>
                    </a:lnTo>
                    <a:lnTo>
                      <a:pt x="80" y="2"/>
                    </a:lnTo>
                    <a:lnTo>
                      <a:pt x="80" y="0"/>
                    </a:lnTo>
                    <a:lnTo>
                      <a:pt x="83" y="1"/>
                    </a:lnTo>
                    <a:lnTo>
                      <a:pt x="85" y="0"/>
                    </a:lnTo>
                    <a:lnTo>
                      <a:pt x="87" y="0"/>
                    </a:lnTo>
                    <a:lnTo>
                      <a:pt x="87" y="5"/>
                    </a:lnTo>
                    <a:lnTo>
                      <a:pt x="86" y="5"/>
                    </a:lnTo>
                    <a:lnTo>
                      <a:pt x="86" y="8"/>
                    </a:lnTo>
                    <a:lnTo>
                      <a:pt x="88" y="7"/>
                    </a:lnTo>
                    <a:lnTo>
                      <a:pt x="88" y="8"/>
                    </a:lnTo>
                    <a:lnTo>
                      <a:pt x="90" y="7"/>
                    </a:lnTo>
                    <a:lnTo>
                      <a:pt x="90" y="6"/>
                    </a:lnTo>
                    <a:lnTo>
                      <a:pt x="91" y="8"/>
                    </a:lnTo>
                    <a:lnTo>
                      <a:pt x="93" y="8"/>
                    </a:lnTo>
                    <a:lnTo>
                      <a:pt x="94" y="11"/>
                    </a:lnTo>
                    <a:lnTo>
                      <a:pt x="93" y="11"/>
                    </a:lnTo>
                    <a:lnTo>
                      <a:pt x="93" y="14"/>
                    </a:lnTo>
                    <a:lnTo>
                      <a:pt x="95" y="14"/>
                    </a:lnTo>
                    <a:lnTo>
                      <a:pt x="98" y="15"/>
                    </a:lnTo>
                    <a:lnTo>
                      <a:pt x="99" y="13"/>
                    </a:lnTo>
                    <a:lnTo>
                      <a:pt x="101" y="13"/>
                    </a:lnTo>
                    <a:lnTo>
                      <a:pt x="103" y="14"/>
                    </a:lnTo>
                    <a:lnTo>
                      <a:pt x="101" y="16"/>
                    </a:lnTo>
                    <a:lnTo>
                      <a:pt x="99" y="17"/>
                    </a:lnTo>
                    <a:lnTo>
                      <a:pt x="100" y="19"/>
                    </a:lnTo>
                    <a:lnTo>
                      <a:pt x="100" y="20"/>
                    </a:lnTo>
                    <a:lnTo>
                      <a:pt x="101" y="22"/>
                    </a:lnTo>
                    <a:lnTo>
                      <a:pt x="103" y="25"/>
                    </a:lnTo>
                    <a:lnTo>
                      <a:pt x="103" y="26"/>
                    </a:lnTo>
                    <a:lnTo>
                      <a:pt x="104" y="27"/>
                    </a:lnTo>
                    <a:lnTo>
                      <a:pt x="108" y="26"/>
                    </a:lnTo>
                    <a:lnTo>
                      <a:pt x="108" y="27"/>
                    </a:lnTo>
                    <a:lnTo>
                      <a:pt x="111" y="26"/>
                    </a:lnTo>
                    <a:lnTo>
                      <a:pt x="111" y="29"/>
                    </a:lnTo>
                    <a:lnTo>
                      <a:pt x="118" y="31"/>
                    </a:lnTo>
                    <a:lnTo>
                      <a:pt x="116" y="38"/>
                    </a:lnTo>
                    <a:lnTo>
                      <a:pt x="118" y="40"/>
                    </a:lnTo>
                    <a:lnTo>
                      <a:pt x="119" y="39"/>
                    </a:lnTo>
                    <a:lnTo>
                      <a:pt x="121" y="41"/>
                    </a:lnTo>
                    <a:lnTo>
                      <a:pt x="125" y="42"/>
                    </a:lnTo>
                    <a:lnTo>
                      <a:pt x="124" y="43"/>
                    </a:lnTo>
                    <a:lnTo>
                      <a:pt x="124" y="44"/>
                    </a:lnTo>
                    <a:lnTo>
                      <a:pt x="128" y="46"/>
                    </a:lnTo>
                    <a:lnTo>
                      <a:pt x="129" y="49"/>
                    </a:lnTo>
                    <a:lnTo>
                      <a:pt x="126" y="55"/>
                    </a:lnTo>
                    <a:lnTo>
                      <a:pt x="123" y="55"/>
                    </a:lnTo>
                    <a:lnTo>
                      <a:pt x="123" y="56"/>
                    </a:lnTo>
                    <a:lnTo>
                      <a:pt x="118" y="58"/>
                    </a:lnTo>
                    <a:lnTo>
                      <a:pt x="115" y="58"/>
                    </a:lnTo>
                    <a:lnTo>
                      <a:pt x="114" y="59"/>
                    </a:lnTo>
                    <a:lnTo>
                      <a:pt x="112" y="59"/>
                    </a:lnTo>
                    <a:lnTo>
                      <a:pt x="110" y="59"/>
                    </a:lnTo>
                    <a:lnTo>
                      <a:pt x="111" y="60"/>
                    </a:lnTo>
                    <a:lnTo>
                      <a:pt x="110" y="61"/>
                    </a:lnTo>
                    <a:lnTo>
                      <a:pt x="109" y="61"/>
                    </a:lnTo>
                    <a:lnTo>
                      <a:pt x="108" y="64"/>
                    </a:lnTo>
                    <a:lnTo>
                      <a:pt x="109" y="68"/>
                    </a:lnTo>
                    <a:lnTo>
                      <a:pt x="111" y="67"/>
                    </a:lnTo>
                    <a:lnTo>
                      <a:pt x="112" y="65"/>
                    </a:lnTo>
                    <a:lnTo>
                      <a:pt x="114" y="67"/>
                    </a:lnTo>
                    <a:lnTo>
                      <a:pt x="115" y="70"/>
                    </a:lnTo>
                    <a:lnTo>
                      <a:pt x="113" y="70"/>
                    </a:lnTo>
                    <a:lnTo>
                      <a:pt x="112" y="73"/>
                    </a:lnTo>
                    <a:lnTo>
                      <a:pt x="113" y="76"/>
                    </a:lnTo>
                    <a:lnTo>
                      <a:pt x="115" y="79"/>
                    </a:lnTo>
                    <a:lnTo>
                      <a:pt x="114" y="8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5" name="Freeform 94">
                <a:extLst>
                  <a:ext uri="{FF2B5EF4-FFF2-40B4-BE49-F238E27FC236}">
                    <a16:creationId xmlns:a16="http://schemas.microsoft.com/office/drawing/2014/main" id="{03BB1A45-B5AF-7D5E-6A67-F634707B82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7" y="3100"/>
                <a:ext cx="129" cy="104"/>
              </a:xfrm>
              <a:custGeom>
                <a:avLst/>
                <a:gdLst>
                  <a:gd name="T0" fmla="*/ 111 w 129"/>
                  <a:gd name="T1" fmla="*/ 86 h 104"/>
                  <a:gd name="T2" fmla="*/ 107 w 129"/>
                  <a:gd name="T3" fmla="*/ 84 h 104"/>
                  <a:gd name="T4" fmla="*/ 100 w 129"/>
                  <a:gd name="T5" fmla="*/ 87 h 104"/>
                  <a:gd name="T6" fmla="*/ 98 w 129"/>
                  <a:gd name="T7" fmla="*/ 87 h 104"/>
                  <a:gd name="T8" fmla="*/ 94 w 129"/>
                  <a:gd name="T9" fmla="*/ 82 h 104"/>
                  <a:gd name="T10" fmla="*/ 92 w 129"/>
                  <a:gd name="T11" fmla="*/ 79 h 104"/>
                  <a:gd name="T12" fmla="*/ 88 w 129"/>
                  <a:gd name="T13" fmla="*/ 80 h 104"/>
                  <a:gd name="T14" fmla="*/ 85 w 129"/>
                  <a:gd name="T15" fmla="*/ 79 h 104"/>
                  <a:gd name="T16" fmla="*/ 78 w 129"/>
                  <a:gd name="T17" fmla="*/ 77 h 104"/>
                  <a:gd name="T18" fmla="*/ 73 w 129"/>
                  <a:gd name="T19" fmla="*/ 85 h 104"/>
                  <a:gd name="T20" fmla="*/ 70 w 129"/>
                  <a:gd name="T21" fmla="*/ 83 h 104"/>
                  <a:gd name="T22" fmla="*/ 60 w 129"/>
                  <a:gd name="T23" fmla="*/ 88 h 104"/>
                  <a:gd name="T24" fmla="*/ 54 w 129"/>
                  <a:gd name="T25" fmla="*/ 93 h 104"/>
                  <a:gd name="T26" fmla="*/ 44 w 129"/>
                  <a:gd name="T27" fmla="*/ 95 h 104"/>
                  <a:gd name="T28" fmla="*/ 37 w 129"/>
                  <a:gd name="T29" fmla="*/ 103 h 104"/>
                  <a:gd name="T30" fmla="*/ 31 w 129"/>
                  <a:gd name="T31" fmla="*/ 102 h 104"/>
                  <a:gd name="T32" fmla="*/ 27 w 129"/>
                  <a:gd name="T33" fmla="*/ 99 h 104"/>
                  <a:gd name="T34" fmla="*/ 20 w 129"/>
                  <a:gd name="T35" fmla="*/ 90 h 104"/>
                  <a:gd name="T36" fmla="*/ 25 w 129"/>
                  <a:gd name="T37" fmla="*/ 87 h 104"/>
                  <a:gd name="T38" fmla="*/ 24 w 129"/>
                  <a:gd name="T39" fmla="*/ 82 h 104"/>
                  <a:gd name="T40" fmla="*/ 18 w 129"/>
                  <a:gd name="T41" fmla="*/ 79 h 104"/>
                  <a:gd name="T42" fmla="*/ 14 w 129"/>
                  <a:gd name="T43" fmla="*/ 74 h 104"/>
                  <a:gd name="T44" fmla="*/ 20 w 129"/>
                  <a:gd name="T45" fmla="*/ 63 h 104"/>
                  <a:gd name="T46" fmla="*/ 8 w 129"/>
                  <a:gd name="T47" fmla="*/ 53 h 104"/>
                  <a:gd name="T48" fmla="*/ 9 w 129"/>
                  <a:gd name="T49" fmla="*/ 47 h 104"/>
                  <a:gd name="T50" fmla="*/ 4 w 129"/>
                  <a:gd name="T51" fmla="*/ 44 h 104"/>
                  <a:gd name="T52" fmla="*/ 12 w 129"/>
                  <a:gd name="T53" fmla="*/ 38 h 104"/>
                  <a:gd name="T54" fmla="*/ 16 w 129"/>
                  <a:gd name="T55" fmla="*/ 37 h 104"/>
                  <a:gd name="T56" fmla="*/ 12 w 129"/>
                  <a:gd name="T57" fmla="*/ 31 h 104"/>
                  <a:gd name="T58" fmla="*/ 9 w 129"/>
                  <a:gd name="T59" fmla="*/ 25 h 104"/>
                  <a:gd name="T60" fmla="*/ 0 w 129"/>
                  <a:gd name="T61" fmla="*/ 24 h 104"/>
                  <a:gd name="T62" fmla="*/ 5 w 129"/>
                  <a:gd name="T63" fmla="*/ 18 h 104"/>
                  <a:gd name="T64" fmla="*/ 9 w 129"/>
                  <a:gd name="T65" fmla="*/ 18 h 104"/>
                  <a:gd name="T66" fmla="*/ 18 w 129"/>
                  <a:gd name="T67" fmla="*/ 18 h 104"/>
                  <a:gd name="T68" fmla="*/ 24 w 129"/>
                  <a:gd name="T69" fmla="*/ 13 h 104"/>
                  <a:gd name="T70" fmla="*/ 26 w 129"/>
                  <a:gd name="T71" fmla="*/ 20 h 104"/>
                  <a:gd name="T72" fmla="*/ 38 w 129"/>
                  <a:gd name="T73" fmla="*/ 15 h 104"/>
                  <a:gd name="T74" fmla="*/ 38 w 129"/>
                  <a:gd name="T75" fmla="*/ 10 h 104"/>
                  <a:gd name="T76" fmla="*/ 47 w 129"/>
                  <a:gd name="T77" fmla="*/ 11 h 104"/>
                  <a:gd name="T78" fmla="*/ 55 w 129"/>
                  <a:gd name="T79" fmla="*/ 7 h 104"/>
                  <a:gd name="T80" fmla="*/ 68 w 129"/>
                  <a:gd name="T81" fmla="*/ 6 h 104"/>
                  <a:gd name="T82" fmla="*/ 72 w 129"/>
                  <a:gd name="T83" fmla="*/ 0 h 104"/>
                  <a:gd name="T84" fmla="*/ 85 w 129"/>
                  <a:gd name="T85" fmla="*/ 0 h 104"/>
                  <a:gd name="T86" fmla="*/ 88 w 129"/>
                  <a:gd name="T87" fmla="*/ 7 h 104"/>
                  <a:gd name="T88" fmla="*/ 93 w 129"/>
                  <a:gd name="T89" fmla="*/ 8 h 104"/>
                  <a:gd name="T90" fmla="*/ 95 w 129"/>
                  <a:gd name="T91" fmla="*/ 14 h 104"/>
                  <a:gd name="T92" fmla="*/ 101 w 129"/>
                  <a:gd name="T93" fmla="*/ 16 h 104"/>
                  <a:gd name="T94" fmla="*/ 103 w 129"/>
                  <a:gd name="T95" fmla="*/ 25 h 104"/>
                  <a:gd name="T96" fmla="*/ 111 w 129"/>
                  <a:gd name="T97" fmla="*/ 26 h 104"/>
                  <a:gd name="T98" fmla="*/ 119 w 129"/>
                  <a:gd name="T99" fmla="*/ 39 h 104"/>
                  <a:gd name="T100" fmla="*/ 128 w 129"/>
                  <a:gd name="T101" fmla="*/ 46 h 104"/>
                  <a:gd name="T102" fmla="*/ 118 w 129"/>
                  <a:gd name="T103" fmla="*/ 58 h 104"/>
                  <a:gd name="T104" fmla="*/ 110 w 129"/>
                  <a:gd name="T105" fmla="*/ 59 h 104"/>
                  <a:gd name="T106" fmla="*/ 109 w 129"/>
                  <a:gd name="T107" fmla="*/ 68 h 104"/>
                  <a:gd name="T108" fmla="*/ 113 w 129"/>
                  <a:gd name="T109" fmla="*/ 70 h 10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29"/>
                  <a:gd name="T166" fmla="*/ 0 h 104"/>
                  <a:gd name="T167" fmla="*/ 129 w 129"/>
                  <a:gd name="T168" fmla="*/ 104 h 10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29" h="104">
                    <a:moveTo>
                      <a:pt x="114" y="80"/>
                    </a:moveTo>
                    <a:lnTo>
                      <a:pt x="114" y="82"/>
                    </a:lnTo>
                    <a:lnTo>
                      <a:pt x="112" y="82"/>
                    </a:lnTo>
                    <a:lnTo>
                      <a:pt x="112" y="84"/>
                    </a:lnTo>
                    <a:lnTo>
                      <a:pt x="111" y="86"/>
                    </a:lnTo>
                    <a:lnTo>
                      <a:pt x="109" y="83"/>
                    </a:lnTo>
                    <a:lnTo>
                      <a:pt x="108" y="84"/>
                    </a:lnTo>
                    <a:lnTo>
                      <a:pt x="108" y="86"/>
                    </a:lnTo>
                    <a:lnTo>
                      <a:pt x="107" y="84"/>
                    </a:lnTo>
                    <a:lnTo>
                      <a:pt x="108" y="88"/>
                    </a:lnTo>
                    <a:lnTo>
                      <a:pt x="106" y="90"/>
                    </a:lnTo>
                    <a:lnTo>
                      <a:pt x="104" y="88"/>
                    </a:lnTo>
                    <a:lnTo>
                      <a:pt x="102" y="88"/>
                    </a:lnTo>
                    <a:lnTo>
                      <a:pt x="100" y="87"/>
                    </a:lnTo>
                    <a:lnTo>
                      <a:pt x="100" y="88"/>
                    </a:lnTo>
                    <a:lnTo>
                      <a:pt x="99" y="87"/>
                    </a:lnTo>
                    <a:lnTo>
                      <a:pt x="99" y="88"/>
                    </a:lnTo>
                    <a:lnTo>
                      <a:pt x="98" y="86"/>
                    </a:lnTo>
                    <a:lnTo>
                      <a:pt x="98" y="87"/>
                    </a:lnTo>
                    <a:lnTo>
                      <a:pt x="97" y="86"/>
                    </a:lnTo>
                    <a:lnTo>
                      <a:pt x="97" y="84"/>
                    </a:lnTo>
                    <a:lnTo>
                      <a:pt x="96" y="85"/>
                    </a:lnTo>
                    <a:lnTo>
                      <a:pt x="96" y="81"/>
                    </a:lnTo>
                    <a:lnTo>
                      <a:pt x="94" y="82"/>
                    </a:lnTo>
                    <a:lnTo>
                      <a:pt x="94" y="81"/>
                    </a:lnTo>
                    <a:lnTo>
                      <a:pt x="93" y="80"/>
                    </a:lnTo>
                    <a:lnTo>
                      <a:pt x="92" y="81"/>
                    </a:lnTo>
                    <a:lnTo>
                      <a:pt x="92" y="80"/>
                    </a:lnTo>
                    <a:lnTo>
                      <a:pt x="92" y="79"/>
                    </a:lnTo>
                    <a:lnTo>
                      <a:pt x="91" y="80"/>
                    </a:lnTo>
                    <a:lnTo>
                      <a:pt x="91" y="77"/>
                    </a:lnTo>
                    <a:lnTo>
                      <a:pt x="90" y="78"/>
                    </a:lnTo>
                    <a:lnTo>
                      <a:pt x="89" y="79"/>
                    </a:lnTo>
                    <a:lnTo>
                      <a:pt x="88" y="80"/>
                    </a:lnTo>
                    <a:lnTo>
                      <a:pt x="87" y="80"/>
                    </a:lnTo>
                    <a:lnTo>
                      <a:pt x="86" y="80"/>
                    </a:lnTo>
                    <a:lnTo>
                      <a:pt x="86" y="79"/>
                    </a:lnTo>
                    <a:lnTo>
                      <a:pt x="85" y="79"/>
                    </a:lnTo>
                    <a:lnTo>
                      <a:pt x="83" y="78"/>
                    </a:lnTo>
                    <a:lnTo>
                      <a:pt x="83" y="79"/>
                    </a:lnTo>
                    <a:lnTo>
                      <a:pt x="82" y="80"/>
                    </a:lnTo>
                    <a:lnTo>
                      <a:pt x="80" y="80"/>
                    </a:lnTo>
                    <a:lnTo>
                      <a:pt x="78" y="77"/>
                    </a:lnTo>
                    <a:lnTo>
                      <a:pt x="77" y="78"/>
                    </a:lnTo>
                    <a:lnTo>
                      <a:pt x="74" y="79"/>
                    </a:lnTo>
                    <a:lnTo>
                      <a:pt x="76" y="82"/>
                    </a:lnTo>
                    <a:lnTo>
                      <a:pt x="73" y="84"/>
                    </a:lnTo>
                    <a:lnTo>
                      <a:pt x="73" y="85"/>
                    </a:lnTo>
                    <a:lnTo>
                      <a:pt x="72" y="84"/>
                    </a:lnTo>
                    <a:lnTo>
                      <a:pt x="72" y="85"/>
                    </a:lnTo>
                    <a:lnTo>
                      <a:pt x="71" y="86"/>
                    </a:lnTo>
                    <a:lnTo>
                      <a:pt x="70" y="86"/>
                    </a:lnTo>
                    <a:lnTo>
                      <a:pt x="70" y="83"/>
                    </a:lnTo>
                    <a:lnTo>
                      <a:pt x="64" y="84"/>
                    </a:lnTo>
                    <a:lnTo>
                      <a:pt x="64" y="87"/>
                    </a:lnTo>
                    <a:lnTo>
                      <a:pt x="64" y="88"/>
                    </a:lnTo>
                    <a:lnTo>
                      <a:pt x="60" y="88"/>
                    </a:lnTo>
                    <a:lnTo>
                      <a:pt x="60" y="90"/>
                    </a:lnTo>
                    <a:lnTo>
                      <a:pt x="58" y="88"/>
                    </a:lnTo>
                    <a:lnTo>
                      <a:pt x="57" y="92"/>
                    </a:lnTo>
                    <a:lnTo>
                      <a:pt x="56" y="93"/>
                    </a:lnTo>
                    <a:lnTo>
                      <a:pt x="54" y="93"/>
                    </a:lnTo>
                    <a:lnTo>
                      <a:pt x="53" y="92"/>
                    </a:lnTo>
                    <a:lnTo>
                      <a:pt x="52" y="92"/>
                    </a:lnTo>
                    <a:lnTo>
                      <a:pt x="50" y="93"/>
                    </a:lnTo>
                    <a:lnTo>
                      <a:pt x="46" y="95"/>
                    </a:lnTo>
                    <a:lnTo>
                      <a:pt x="44" y="95"/>
                    </a:lnTo>
                    <a:lnTo>
                      <a:pt x="40" y="90"/>
                    </a:lnTo>
                    <a:lnTo>
                      <a:pt x="39" y="91"/>
                    </a:lnTo>
                    <a:lnTo>
                      <a:pt x="37" y="99"/>
                    </a:lnTo>
                    <a:lnTo>
                      <a:pt x="37" y="102"/>
                    </a:lnTo>
                    <a:lnTo>
                      <a:pt x="37" y="103"/>
                    </a:lnTo>
                    <a:lnTo>
                      <a:pt x="37" y="104"/>
                    </a:lnTo>
                    <a:lnTo>
                      <a:pt x="36" y="103"/>
                    </a:lnTo>
                    <a:lnTo>
                      <a:pt x="35" y="101"/>
                    </a:lnTo>
                    <a:lnTo>
                      <a:pt x="33" y="100"/>
                    </a:lnTo>
                    <a:lnTo>
                      <a:pt x="31" y="102"/>
                    </a:lnTo>
                    <a:lnTo>
                      <a:pt x="31" y="101"/>
                    </a:lnTo>
                    <a:lnTo>
                      <a:pt x="31" y="99"/>
                    </a:lnTo>
                    <a:lnTo>
                      <a:pt x="30" y="99"/>
                    </a:lnTo>
                    <a:lnTo>
                      <a:pt x="27" y="100"/>
                    </a:lnTo>
                    <a:lnTo>
                      <a:pt x="27" y="99"/>
                    </a:lnTo>
                    <a:lnTo>
                      <a:pt x="22" y="99"/>
                    </a:lnTo>
                    <a:lnTo>
                      <a:pt x="21" y="97"/>
                    </a:lnTo>
                    <a:lnTo>
                      <a:pt x="19" y="95"/>
                    </a:lnTo>
                    <a:lnTo>
                      <a:pt x="18" y="93"/>
                    </a:lnTo>
                    <a:lnTo>
                      <a:pt x="20" y="90"/>
                    </a:lnTo>
                    <a:lnTo>
                      <a:pt x="22" y="90"/>
                    </a:lnTo>
                    <a:lnTo>
                      <a:pt x="23" y="91"/>
                    </a:lnTo>
                    <a:lnTo>
                      <a:pt x="25" y="88"/>
                    </a:lnTo>
                    <a:lnTo>
                      <a:pt x="25" y="87"/>
                    </a:lnTo>
                    <a:lnTo>
                      <a:pt x="21" y="88"/>
                    </a:lnTo>
                    <a:lnTo>
                      <a:pt x="20" y="88"/>
                    </a:lnTo>
                    <a:lnTo>
                      <a:pt x="20" y="87"/>
                    </a:lnTo>
                    <a:lnTo>
                      <a:pt x="24" y="84"/>
                    </a:lnTo>
                    <a:lnTo>
                      <a:pt x="24" y="82"/>
                    </a:lnTo>
                    <a:lnTo>
                      <a:pt x="23" y="80"/>
                    </a:lnTo>
                    <a:lnTo>
                      <a:pt x="25" y="80"/>
                    </a:lnTo>
                    <a:lnTo>
                      <a:pt x="23" y="78"/>
                    </a:lnTo>
                    <a:lnTo>
                      <a:pt x="18" y="79"/>
                    </a:lnTo>
                    <a:lnTo>
                      <a:pt x="18" y="76"/>
                    </a:lnTo>
                    <a:lnTo>
                      <a:pt x="17" y="76"/>
                    </a:lnTo>
                    <a:lnTo>
                      <a:pt x="16" y="75"/>
                    </a:lnTo>
                    <a:lnTo>
                      <a:pt x="14" y="75"/>
                    </a:lnTo>
                    <a:lnTo>
                      <a:pt x="14" y="74"/>
                    </a:lnTo>
                    <a:lnTo>
                      <a:pt x="14" y="72"/>
                    </a:lnTo>
                    <a:lnTo>
                      <a:pt x="14" y="71"/>
                    </a:lnTo>
                    <a:lnTo>
                      <a:pt x="15" y="67"/>
                    </a:lnTo>
                    <a:lnTo>
                      <a:pt x="18" y="70"/>
                    </a:lnTo>
                    <a:lnTo>
                      <a:pt x="20" y="63"/>
                    </a:lnTo>
                    <a:lnTo>
                      <a:pt x="15" y="62"/>
                    </a:lnTo>
                    <a:lnTo>
                      <a:pt x="13" y="59"/>
                    </a:lnTo>
                    <a:lnTo>
                      <a:pt x="12" y="58"/>
                    </a:lnTo>
                    <a:lnTo>
                      <a:pt x="8" y="53"/>
                    </a:lnTo>
                    <a:lnTo>
                      <a:pt x="8" y="52"/>
                    </a:lnTo>
                    <a:lnTo>
                      <a:pt x="9" y="50"/>
                    </a:lnTo>
                    <a:lnTo>
                      <a:pt x="8" y="50"/>
                    </a:lnTo>
                    <a:lnTo>
                      <a:pt x="9" y="48"/>
                    </a:lnTo>
                    <a:lnTo>
                      <a:pt x="9" y="47"/>
                    </a:lnTo>
                    <a:lnTo>
                      <a:pt x="8" y="47"/>
                    </a:lnTo>
                    <a:lnTo>
                      <a:pt x="8" y="46"/>
                    </a:lnTo>
                    <a:lnTo>
                      <a:pt x="6" y="46"/>
                    </a:lnTo>
                    <a:lnTo>
                      <a:pt x="6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5" y="42"/>
                    </a:lnTo>
                    <a:lnTo>
                      <a:pt x="7" y="41"/>
                    </a:lnTo>
                    <a:lnTo>
                      <a:pt x="7" y="38"/>
                    </a:lnTo>
                    <a:lnTo>
                      <a:pt x="12" y="38"/>
                    </a:lnTo>
                    <a:lnTo>
                      <a:pt x="13" y="39"/>
                    </a:lnTo>
                    <a:lnTo>
                      <a:pt x="14" y="38"/>
                    </a:lnTo>
                    <a:lnTo>
                      <a:pt x="16" y="38"/>
                    </a:lnTo>
                    <a:lnTo>
                      <a:pt x="16" y="37"/>
                    </a:lnTo>
                    <a:lnTo>
                      <a:pt x="14" y="36"/>
                    </a:lnTo>
                    <a:lnTo>
                      <a:pt x="15" y="35"/>
                    </a:lnTo>
                    <a:lnTo>
                      <a:pt x="12" y="35"/>
                    </a:lnTo>
                    <a:lnTo>
                      <a:pt x="12" y="31"/>
                    </a:lnTo>
                    <a:lnTo>
                      <a:pt x="11" y="32"/>
                    </a:lnTo>
                    <a:lnTo>
                      <a:pt x="9" y="31"/>
                    </a:lnTo>
                    <a:lnTo>
                      <a:pt x="9" y="27"/>
                    </a:lnTo>
                    <a:lnTo>
                      <a:pt x="8" y="25"/>
                    </a:lnTo>
                    <a:lnTo>
                      <a:pt x="9" y="25"/>
                    </a:lnTo>
                    <a:lnTo>
                      <a:pt x="8" y="22"/>
                    </a:lnTo>
                    <a:lnTo>
                      <a:pt x="5" y="23"/>
                    </a:lnTo>
                    <a:lnTo>
                      <a:pt x="3" y="24"/>
                    </a:lnTo>
                    <a:lnTo>
                      <a:pt x="2" y="22"/>
                    </a:lnTo>
                    <a:lnTo>
                      <a:pt x="0" y="24"/>
                    </a:lnTo>
                    <a:lnTo>
                      <a:pt x="0" y="22"/>
                    </a:lnTo>
                    <a:lnTo>
                      <a:pt x="0" y="21"/>
                    </a:lnTo>
                    <a:lnTo>
                      <a:pt x="4" y="21"/>
                    </a:lnTo>
                    <a:lnTo>
                      <a:pt x="4" y="19"/>
                    </a:lnTo>
                    <a:lnTo>
                      <a:pt x="5" y="18"/>
                    </a:lnTo>
                    <a:lnTo>
                      <a:pt x="5" y="19"/>
                    </a:lnTo>
                    <a:lnTo>
                      <a:pt x="6" y="20"/>
                    </a:lnTo>
                    <a:lnTo>
                      <a:pt x="9" y="19"/>
                    </a:lnTo>
                    <a:lnTo>
                      <a:pt x="9" y="18"/>
                    </a:lnTo>
                    <a:lnTo>
                      <a:pt x="14" y="17"/>
                    </a:lnTo>
                    <a:lnTo>
                      <a:pt x="16" y="16"/>
                    </a:lnTo>
                    <a:lnTo>
                      <a:pt x="17" y="19"/>
                    </a:lnTo>
                    <a:lnTo>
                      <a:pt x="18" y="18"/>
                    </a:lnTo>
                    <a:lnTo>
                      <a:pt x="21" y="16"/>
                    </a:lnTo>
                    <a:lnTo>
                      <a:pt x="20" y="14"/>
                    </a:lnTo>
                    <a:lnTo>
                      <a:pt x="22" y="14"/>
                    </a:lnTo>
                    <a:lnTo>
                      <a:pt x="22" y="12"/>
                    </a:lnTo>
                    <a:lnTo>
                      <a:pt x="24" y="13"/>
                    </a:lnTo>
                    <a:lnTo>
                      <a:pt x="25" y="14"/>
                    </a:lnTo>
                    <a:lnTo>
                      <a:pt x="26" y="14"/>
                    </a:lnTo>
                    <a:lnTo>
                      <a:pt x="26" y="15"/>
                    </a:lnTo>
                    <a:lnTo>
                      <a:pt x="26" y="18"/>
                    </a:lnTo>
                    <a:lnTo>
                      <a:pt x="26" y="20"/>
                    </a:lnTo>
                    <a:lnTo>
                      <a:pt x="29" y="20"/>
                    </a:lnTo>
                    <a:lnTo>
                      <a:pt x="36" y="21"/>
                    </a:lnTo>
                    <a:lnTo>
                      <a:pt x="38" y="21"/>
                    </a:lnTo>
                    <a:lnTo>
                      <a:pt x="36" y="18"/>
                    </a:lnTo>
                    <a:lnTo>
                      <a:pt x="38" y="15"/>
                    </a:lnTo>
                    <a:lnTo>
                      <a:pt x="37" y="15"/>
                    </a:lnTo>
                    <a:lnTo>
                      <a:pt x="37" y="14"/>
                    </a:lnTo>
                    <a:lnTo>
                      <a:pt x="37" y="11"/>
                    </a:lnTo>
                    <a:lnTo>
                      <a:pt x="38" y="11"/>
                    </a:lnTo>
                    <a:lnTo>
                      <a:pt x="38" y="10"/>
                    </a:lnTo>
                    <a:lnTo>
                      <a:pt x="40" y="7"/>
                    </a:lnTo>
                    <a:lnTo>
                      <a:pt x="42" y="7"/>
                    </a:lnTo>
                    <a:lnTo>
                      <a:pt x="44" y="8"/>
                    </a:lnTo>
                    <a:lnTo>
                      <a:pt x="46" y="8"/>
                    </a:lnTo>
                    <a:lnTo>
                      <a:pt x="47" y="11"/>
                    </a:lnTo>
                    <a:lnTo>
                      <a:pt x="49" y="10"/>
                    </a:lnTo>
                    <a:lnTo>
                      <a:pt x="50" y="8"/>
                    </a:lnTo>
                    <a:lnTo>
                      <a:pt x="51" y="9"/>
                    </a:lnTo>
                    <a:lnTo>
                      <a:pt x="55" y="8"/>
                    </a:lnTo>
                    <a:lnTo>
                      <a:pt x="55" y="7"/>
                    </a:lnTo>
                    <a:lnTo>
                      <a:pt x="57" y="7"/>
                    </a:lnTo>
                    <a:lnTo>
                      <a:pt x="57" y="4"/>
                    </a:lnTo>
                    <a:lnTo>
                      <a:pt x="61" y="6"/>
                    </a:lnTo>
                    <a:lnTo>
                      <a:pt x="66" y="6"/>
                    </a:lnTo>
                    <a:lnTo>
                      <a:pt x="68" y="6"/>
                    </a:lnTo>
                    <a:lnTo>
                      <a:pt x="68" y="3"/>
                    </a:lnTo>
                    <a:lnTo>
                      <a:pt x="69" y="3"/>
                    </a:lnTo>
                    <a:lnTo>
                      <a:pt x="69" y="1"/>
                    </a:lnTo>
                    <a:lnTo>
                      <a:pt x="72" y="1"/>
                    </a:lnTo>
                    <a:lnTo>
                      <a:pt x="72" y="0"/>
                    </a:lnTo>
                    <a:lnTo>
                      <a:pt x="77" y="1"/>
                    </a:lnTo>
                    <a:lnTo>
                      <a:pt x="80" y="2"/>
                    </a:lnTo>
                    <a:lnTo>
                      <a:pt x="80" y="0"/>
                    </a:lnTo>
                    <a:lnTo>
                      <a:pt x="83" y="1"/>
                    </a:lnTo>
                    <a:lnTo>
                      <a:pt x="85" y="0"/>
                    </a:lnTo>
                    <a:lnTo>
                      <a:pt x="87" y="0"/>
                    </a:lnTo>
                    <a:lnTo>
                      <a:pt x="87" y="5"/>
                    </a:lnTo>
                    <a:lnTo>
                      <a:pt x="86" y="5"/>
                    </a:lnTo>
                    <a:lnTo>
                      <a:pt x="86" y="8"/>
                    </a:lnTo>
                    <a:lnTo>
                      <a:pt x="88" y="7"/>
                    </a:lnTo>
                    <a:lnTo>
                      <a:pt x="88" y="8"/>
                    </a:lnTo>
                    <a:lnTo>
                      <a:pt x="90" y="7"/>
                    </a:lnTo>
                    <a:lnTo>
                      <a:pt x="90" y="6"/>
                    </a:lnTo>
                    <a:lnTo>
                      <a:pt x="91" y="8"/>
                    </a:lnTo>
                    <a:lnTo>
                      <a:pt x="93" y="8"/>
                    </a:lnTo>
                    <a:lnTo>
                      <a:pt x="94" y="11"/>
                    </a:lnTo>
                    <a:lnTo>
                      <a:pt x="93" y="11"/>
                    </a:lnTo>
                    <a:lnTo>
                      <a:pt x="93" y="14"/>
                    </a:lnTo>
                    <a:lnTo>
                      <a:pt x="95" y="14"/>
                    </a:lnTo>
                    <a:lnTo>
                      <a:pt x="98" y="15"/>
                    </a:lnTo>
                    <a:lnTo>
                      <a:pt x="99" y="13"/>
                    </a:lnTo>
                    <a:lnTo>
                      <a:pt x="101" y="13"/>
                    </a:lnTo>
                    <a:lnTo>
                      <a:pt x="103" y="14"/>
                    </a:lnTo>
                    <a:lnTo>
                      <a:pt x="101" y="16"/>
                    </a:lnTo>
                    <a:lnTo>
                      <a:pt x="99" y="17"/>
                    </a:lnTo>
                    <a:lnTo>
                      <a:pt x="100" y="19"/>
                    </a:lnTo>
                    <a:lnTo>
                      <a:pt x="100" y="20"/>
                    </a:lnTo>
                    <a:lnTo>
                      <a:pt x="101" y="22"/>
                    </a:lnTo>
                    <a:lnTo>
                      <a:pt x="103" y="25"/>
                    </a:lnTo>
                    <a:lnTo>
                      <a:pt x="103" y="26"/>
                    </a:lnTo>
                    <a:lnTo>
                      <a:pt x="104" y="27"/>
                    </a:lnTo>
                    <a:lnTo>
                      <a:pt x="108" y="26"/>
                    </a:lnTo>
                    <a:lnTo>
                      <a:pt x="108" y="27"/>
                    </a:lnTo>
                    <a:lnTo>
                      <a:pt x="111" y="26"/>
                    </a:lnTo>
                    <a:lnTo>
                      <a:pt x="111" y="29"/>
                    </a:lnTo>
                    <a:lnTo>
                      <a:pt x="118" y="31"/>
                    </a:lnTo>
                    <a:lnTo>
                      <a:pt x="116" y="38"/>
                    </a:lnTo>
                    <a:lnTo>
                      <a:pt x="118" y="40"/>
                    </a:lnTo>
                    <a:lnTo>
                      <a:pt x="119" y="39"/>
                    </a:lnTo>
                    <a:lnTo>
                      <a:pt x="121" y="41"/>
                    </a:lnTo>
                    <a:lnTo>
                      <a:pt x="125" y="42"/>
                    </a:lnTo>
                    <a:lnTo>
                      <a:pt x="124" y="43"/>
                    </a:lnTo>
                    <a:lnTo>
                      <a:pt x="124" y="44"/>
                    </a:lnTo>
                    <a:lnTo>
                      <a:pt x="128" y="46"/>
                    </a:lnTo>
                    <a:lnTo>
                      <a:pt x="129" y="49"/>
                    </a:lnTo>
                    <a:lnTo>
                      <a:pt x="126" y="55"/>
                    </a:lnTo>
                    <a:lnTo>
                      <a:pt x="123" y="55"/>
                    </a:lnTo>
                    <a:lnTo>
                      <a:pt x="123" y="56"/>
                    </a:lnTo>
                    <a:lnTo>
                      <a:pt x="118" y="58"/>
                    </a:lnTo>
                    <a:lnTo>
                      <a:pt x="115" y="58"/>
                    </a:lnTo>
                    <a:lnTo>
                      <a:pt x="114" y="59"/>
                    </a:lnTo>
                    <a:lnTo>
                      <a:pt x="112" y="59"/>
                    </a:lnTo>
                    <a:lnTo>
                      <a:pt x="110" y="59"/>
                    </a:lnTo>
                    <a:lnTo>
                      <a:pt x="111" y="60"/>
                    </a:lnTo>
                    <a:lnTo>
                      <a:pt x="110" y="61"/>
                    </a:lnTo>
                    <a:lnTo>
                      <a:pt x="109" y="61"/>
                    </a:lnTo>
                    <a:lnTo>
                      <a:pt x="108" y="64"/>
                    </a:lnTo>
                    <a:lnTo>
                      <a:pt x="109" y="68"/>
                    </a:lnTo>
                    <a:lnTo>
                      <a:pt x="111" y="67"/>
                    </a:lnTo>
                    <a:lnTo>
                      <a:pt x="112" y="65"/>
                    </a:lnTo>
                    <a:lnTo>
                      <a:pt x="114" y="67"/>
                    </a:lnTo>
                    <a:lnTo>
                      <a:pt x="115" y="70"/>
                    </a:lnTo>
                    <a:lnTo>
                      <a:pt x="113" y="70"/>
                    </a:lnTo>
                    <a:lnTo>
                      <a:pt x="112" y="73"/>
                    </a:lnTo>
                    <a:lnTo>
                      <a:pt x="113" y="76"/>
                    </a:lnTo>
                    <a:lnTo>
                      <a:pt x="115" y="79"/>
                    </a:lnTo>
                    <a:lnTo>
                      <a:pt x="114" y="80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4" name="Group 98">
              <a:extLst>
                <a:ext uri="{FF2B5EF4-FFF2-40B4-BE49-F238E27FC236}">
                  <a16:creationId xmlns:a16="http://schemas.microsoft.com/office/drawing/2014/main" id="{BA1F4AE5-A2A5-3700-5B99-7733F737F63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93" y="2680"/>
              <a:ext cx="485" cy="415"/>
              <a:chOff x="693" y="2680"/>
              <a:chExt cx="485" cy="415"/>
            </a:xfrm>
          </p:grpSpPr>
          <p:sp>
            <p:nvSpPr>
              <p:cNvPr id="162" name="Freeform 96">
                <a:extLst>
                  <a:ext uri="{FF2B5EF4-FFF2-40B4-BE49-F238E27FC236}">
                    <a16:creationId xmlns:a16="http://schemas.microsoft.com/office/drawing/2014/main" id="{0A13261E-D83D-851D-3A2F-41F0C870B6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" y="2680"/>
                <a:ext cx="485" cy="415"/>
              </a:xfrm>
              <a:custGeom>
                <a:avLst/>
                <a:gdLst>
                  <a:gd name="T0" fmla="*/ 471 w 485"/>
                  <a:gd name="T1" fmla="*/ 53 h 415"/>
                  <a:gd name="T2" fmla="*/ 460 w 485"/>
                  <a:gd name="T3" fmla="*/ 30 h 415"/>
                  <a:gd name="T4" fmla="*/ 433 w 485"/>
                  <a:gd name="T5" fmla="*/ 19 h 415"/>
                  <a:gd name="T6" fmla="*/ 400 w 485"/>
                  <a:gd name="T7" fmla="*/ 0 h 415"/>
                  <a:gd name="T8" fmla="*/ 384 w 485"/>
                  <a:gd name="T9" fmla="*/ 29 h 415"/>
                  <a:gd name="T10" fmla="*/ 398 w 485"/>
                  <a:gd name="T11" fmla="*/ 46 h 415"/>
                  <a:gd name="T12" fmla="*/ 415 w 485"/>
                  <a:gd name="T13" fmla="*/ 66 h 415"/>
                  <a:gd name="T14" fmla="*/ 397 w 485"/>
                  <a:gd name="T15" fmla="*/ 78 h 415"/>
                  <a:gd name="T16" fmla="*/ 351 w 485"/>
                  <a:gd name="T17" fmla="*/ 91 h 415"/>
                  <a:gd name="T18" fmla="*/ 310 w 485"/>
                  <a:gd name="T19" fmla="*/ 102 h 415"/>
                  <a:gd name="T20" fmla="*/ 277 w 485"/>
                  <a:gd name="T21" fmla="*/ 108 h 415"/>
                  <a:gd name="T22" fmla="*/ 257 w 485"/>
                  <a:gd name="T23" fmla="*/ 133 h 415"/>
                  <a:gd name="T24" fmla="*/ 232 w 485"/>
                  <a:gd name="T25" fmla="*/ 129 h 415"/>
                  <a:gd name="T26" fmla="*/ 191 w 485"/>
                  <a:gd name="T27" fmla="*/ 129 h 415"/>
                  <a:gd name="T28" fmla="*/ 173 w 485"/>
                  <a:gd name="T29" fmla="*/ 147 h 415"/>
                  <a:gd name="T30" fmla="*/ 142 w 485"/>
                  <a:gd name="T31" fmla="*/ 168 h 415"/>
                  <a:gd name="T32" fmla="*/ 128 w 485"/>
                  <a:gd name="T33" fmla="*/ 160 h 415"/>
                  <a:gd name="T34" fmla="*/ 109 w 485"/>
                  <a:gd name="T35" fmla="*/ 179 h 415"/>
                  <a:gd name="T36" fmla="*/ 85 w 485"/>
                  <a:gd name="T37" fmla="*/ 184 h 415"/>
                  <a:gd name="T38" fmla="*/ 60 w 485"/>
                  <a:gd name="T39" fmla="*/ 202 h 415"/>
                  <a:gd name="T40" fmla="*/ 24 w 485"/>
                  <a:gd name="T41" fmla="*/ 220 h 415"/>
                  <a:gd name="T42" fmla="*/ 8 w 485"/>
                  <a:gd name="T43" fmla="*/ 251 h 415"/>
                  <a:gd name="T44" fmla="*/ 40 w 485"/>
                  <a:gd name="T45" fmla="*/ 260 h 415"/>
                  <a:gd name="T46" fmla="*/ 45 w 485"/>
                  <a:gd name="T47" fmla="*/ 276 h 415"/>
                  <a:gd name="T48" fmla="*/ 66 w 485"/>
                  <a:gd name="T49" fmla="*/ 276 h 415"/>
                  <a:gd name="T50" fmla="*/ 69 w 485"/>
                  <a:gd name="T51" fmla="*/ 300 h 415"/>
                  <a:gd name="T52" fmla="*/ 64 w 485"/>
                  <a:gd name="T53" fmla="*/ 316 h 415"/>
                  <a:gd name="T54" fmla="*/ 69 w 485"/>
                  <a:gd name="T55" fmla="*/ 336 h 415"/>
                  <a:gd name="T56" fmla="*/ 70 w 485"/>
                  <a:gd name="T57" fmla="*/ 352 h 415"/>
                  <a:gd name="T58" fmla="*/ 70 w 485"/>
                  <a:gd name="T59" fmla="*/ 375 h 415"/>
                  <a:gd name="T60" fmla="*/ 65 w 485"/>
                  <a:gd name="T61" fmla="*/ 379 h 415"/>
                  <a:gd name="T62" fmla="*/ 72 w 485"/>
                  <a:gd name="T63" fmla="*/ 390 h 415"/>
                  <a:gd name="T64" fmla="*/ 84 w 485"/>
                  <a:gd name="T65" fmla="*/ 408 h 415"/>
                  <a:gd name="T66" fmla="*/ 94 w 485"/>
                  <a:gd name="T67" fmla="*/ 413 h 415"/>
                  <a:gd name="T68" fmla="*/ 110 w 485"/>
                  <a:gd name="T69" fmla="*/ 402 h 415"/>
                  <a:gd name="T70" fmla="*/ 124 w 485"/>
                  <a:gd name="T71" fmla="*/ 396 h 415"/>
                  <a:gd name="T72" fmla="*/ 136 w 485"/>
                  <a:gd name="T73" fmla="*/ 379 h 415"/>
                  <a:gd name="T74" fmla="*/ 150 w 485"/>
                  <a:gd name="T75" fmla="*/ 368 h 415"/>
                  <a:gd name="T76" fmla="*/ 174 w 485"/>
                  <a:gd name="T77" fmla="*/ 361 h 415"/>
                  <a:gd name="T78" fmla="*/ 206 w 485"/>
                  <a:gd name="T79" fmla="*/ 359 h 415"/>
                  <a:gd name="T80" fmla="*/ 226 w 485"/>
                  <a:gd name="T81" fmla="*/ 349 h 415"/>
                  <a:gd name="T82" fmla="*/ 254 w 485"/>
                  <a:gd name="T83" fmla="*/ 347 h 415"/>
                  <a:gd name="T84" fmla="*/ 265 w 485"/>
                  <a:gd name="T85" fmla="*/ 335 h 415"/>
                  <a:gd name="T86" fmla="*/ 274 w 485"/>
                  <a:gd name="T87" fmla="*/ 321 h 415"/>
                  <a:gd name="T88" fmla="*/ 297 w 485"/>
                  <a:gd name="T89" fmla="*/ 326 h 415"/>
                  <a:gd name="T90" fmla="*/ 330 w 485"/>
                  <a:gd name="T91" fmla="*/ 329 h 415"/>
                  <a:gd name="T92" fmla="*/ 350 w 485"/>
                  <a:gd name="T93" fmla="*/ 326 h 415"/>
                  <a:gd name="T94" fmla="*/ 369 w 485"/>
                  <a:gd name="T95" fmla="*/ 327 h 415"/>
                  <a:gd name="T96" fmla="*/ 378 w 485"/>
                  <a:gd name="T97" fmla="*/ 326 h 415"/>
                  <a:gd name="T98" fmla="*/ 378 w 485"/>
                  <a:gd name="T99" fmla="*/ 305 h 415"/>
                  <a:gd name="T100" fmla="*/ 381 w 485"/>
                  <a:gd name="T101" fmla="*/ 293 h 415"/>
                  <a:gd name="T102" fmla="*/ 396 w 485"/>
                  <a:gd name="T103" fmla="*/ 293 h 415"/>
                  <a:gd name="T104" fmla="*/ 411 w 485"/>
                  <a:gd name="T105" fmla="*/ 279 h 415"/>
                  <a:gd name="T106" fmla="*/ 411 w 485"/>
                  <a:gd name="T107" fmla="*/ 253 h 415"/>
                  <a:gd name="T108" fmla="*/ 405 w 485"/>
                  <a:gd name="T109" fmla="*/ 242 h 415"/>
                  <a:gd name="T110" fmla="*/ 397 w 485"/>
                  <a:gd name="T111" fmla="*/ 219 h 415"/>
                  <a:gd name="T112" fmla="*/ 392 w 485"/>
                  <a:gd name="T113" fmla="*/ 187 h 415"/>
                  <a:gd name="T114" fmla="*/ 408 w 485"/>
                  <a:gd name="T115" fmla="*/ 157 h 415"/>
                  <a:gd name="T116" fmla="*/ 418 w 485"/>
                  <a:gd name="T117" fmla="*/ 136 h 415"/>
                  <a:gd name="T118" fmla="*/ 427 w 485"/>
                  <a:gd name="T119" fmla="*/ 123 h 415"/>
                  <a:gd name="T120" fmla="*/ 434 w 485"/>
                  <a:gd name="T121" fmla="*/ 121 h 415"/>
                  <a:gd name="T122" fmla="*/ 454 w 485"/>
                  <a:gd name="T123" fmla="*/ 122 h 415"/>
                  <a:gd name="T124" fmla="*/ 484 w 485"/>
                  <a:gd name="T125" fmla="*/ 83 h 415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485"/>
                  <a:gd name="T190" fmla="*/ 0 h 415"/>
                  <a:gd name="T191" fmla="*/ 485 w 485"/>
                  <a:gd name="T192" fmla="*/ 415 h 415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485" h="415">
                    <a:moveTo>
                      <a:pt x="484" y="72"/>
                    </a:moveTo>
                    <a:lnTo>
                      <a:pt x="482" y="71"/>
                    </a:lnTo>
                    <a:lnTo>
                      <a:pt x="478" y="73"/>
                    </a:lnTo>
                    <a:lnTo>
                      <a:pt x="475" y="73"/>
                    </a:lnTo>
                    <a:lnTo>
                      <a:pt x="473" y="74"/>
                    </a:lnTo>
                    <a:lnTo>
                      <a:pt x="470" y="74"/>
                    </a:lnTo>
                    <a:lnTo>
                      <a:pt x="465" y="77"/>
                    </a:lnTo>
                    <a:lnTo>
                      <a:pt x="464" y="76"/>
                    </a:lnTo>
                    <a:lnTo>
                      <a:pt x="461" y="74"/>
                    </a:lnTo>
                    <a:lnTo>
                      <a:pt x="460" y="71"/>
                    </a:lnTo>
                    <a:lnTo>
                      <a:pt x="463" y="66"/>
                    </a:lnTo>
                    <a:lnTo>
                      <a:pt x="467" y="62"/>
                    </a:lnTo>
                    <a:lnTo>
                      <a:pt x="468" y="60"/>
                    </a:lnTo>
                    <a:lnTo>
                      <a:pt x="471" y="55"/>
                    </a:lnTo>
                    <a:lnTo>
                      <a:pt x="471" y="53"/>
                    </a:lnTo>
                    <a:lnTo>
                      <a:pt x="472" y="52"/>
                    </a:lnTo>
                    <a:lnTo>
                      <a:pt x="472" y="49"/>
                    </a:lnTo>
                    <a:lnTo>
                      <a:pt x="473" y="48"/>
                    </a:lnTo>
                    <a:lnTo>
                      <a:pt x="474" y="43"/>
                    </a:lnTo>
                    <a:lnTo>
                      <a:pt x="473" y="43"/>
                    </a:lnTo>
                    <a:lnTo>
                      <a:pt x="470" y="40"/>
                    </a:lnTo>
                    <a:lnTo>
                      <a:pt x="470" y="37"/>
                    </a:lnTo>
                    <a:lnTo>
                      <a:pt x="467" y="33"/>
                    </a:lnTo>
                    <a:lnTo>
                      <a:pt x="466" y="32"/>
                    </a:lnTo>
                    <a:lnTo>
                      <a:pt x="465" y="32"/>
                    </a:lnTo>
                    <a:lnTo>
                      <a:pt x="459" y="33"/>
                    </a:lnTo>
                    <a:lnTo>
                      <a:pt x="458" y="32"/>
                    </a:lnTo>
                    <a:lnTo>
                      <a:pt x="459" y="31"/>
                    </a:lnTo>
                    <a:lnTo>
                      <a:pt x="460" y="30"/>
                    </a:lnTo>
                    <a:lnTo>
                      <a:pt x="460" y="29"/>
                    </a:lnTo>
                    <a:lnTo>
                      <a:pt x="458" y="26"/>
                    </a:lnTo>
                    <a:lnTo>
                      <a:pt x="450" y="23"/>
                    </a:lnTo>
                    <a:lnTo>
                      <a:pt x="451" y="19"/>
                    </a:lnTo>
                    <a:lnTo>
                      <a:pt x="453" y="14"/>
                    </a:lnTo>
                    <a:lnTo>
                      <a:pt x="452" y="12"/>
                    </a:lnTo>
                    <a:lnTo>
                      <a:pt x="449" y="13"/>
                    </a:lnTo>
                    <a:lnTo>
                      <a:pt x="449" y="17"/>
                    </a:lnTo>
                    <a:lnTo>
                      <a:pt x="448" y="22"/>
                    </a:lnTo>
                    <a:lnTo>
                      <a:pt x="444" y="21"/>
                    </a:lnTo>
                    <a:lnTo>
                      <a:pt x="444" y="19"/>
                    </a:lnTo>
                    <a:lnTo>
                      <a:pt x="443" y="18"/>
                    </a:lnTo>
                    <a:lnTo>
                      <a:pt x="441" y="15"/>
                    </a:lnTo>
                    <a:lnTo>
                      <a:pt x="439" y="15"/>
                    </a:lnTo>
                    <a:lnTo>
                      <a:pt x="433" y="19"/>
                    </a:lnTo>
                    <a:lnTo>
                      <a:pt x="432" y="19"/>
                    </a:lnTo>
                    <a:lnTo>
                      <a:pt x="429" y="21"/>
                    </a:lnTo>
                    <a:lnTo>
                      <a:pt x="427" y="21"/>
                    </a:lnTo>
                    <a:lnTo>
                      <a:pt x="423" y="19"/>
                    </a:lnTo>
                    <a:lnTo>
                      <a:pt x="421" y="18"/>
                    </a:lnTo>
                    <a:lnTo>
                      <a:pt x="419" y="16"/>
                    </a:lnTo>
                    <a:lnTo>
                      <a:pt x="419" y="11"/>
                    </a:lnTo>
                    <a:lnTo>
                      <a:pt x="418" y="10"/>
                    </a:lnTo>
                    <a:lnTo>
                      <a:pt x="415" y="7"/>
                    </a:lnTo>
                    <a:lnTo>
                      <a:pt x="411" y="8"/>
                    </a:lnTo>
                    <a:lnTo>
                      <a:pt x="410" y="8"/>
                    </a:lnTo>
                    <a:lnTo>
                      <a:pt x="408" y="8"/>
                    </a:lnTo>
                    <a:lnTo>
                      <a:pt x="406" y="4"/>
                    </a:lnTo>
                    <a:lnTo>
                      <a:pt x="403" y="0"/>
                    </a:lnTo>
                    <a:lnTo>
                      <a:pt x="400" y="0"/>
                    </a:lnTo>
                    <a:lnTo>
                      <a:pt x="398" y="2"/>
                    </a:lnTo>
                    <a:lnTo>
                      <a:pt x="395" y="6"/>
                    </a:lnTo>
                    <a:lnTo>
                      <a:pt x="392" y="5"/>
                    </a:lnTo>
                    <a:lnTo>
                      <a:pt x="392" y="7"/>
                    </a:lnTo>
                    <a:lnTo>
                      <a:pt x="393" y="8"/>
                    </a:lnTo>
                    <a:lnTo>
                      <a:pt x="394" y="10"/>
                    </a:lnTo>
                    <a:lnTo>
                      <a:pt x="394" y="13"/>
                    </a:lnTo>
                    <a:lnTo>
                      <a:pt x="392" y="15"/>
                    </a:lnTo>
                    <a:lnTo>
                      <a:pt x="392" y="17"/>
                    </a:lnTo>
                    <a:lnTo>
                      <a:pt x="388" y="19"/>
                    </a:lnTo>
                    <a:lnTo>
                      <a:pt x="387" y="19"/>
                    </a:lnTo>
                    <a:lnTo>
                      <a:pt x="386" y="21"/>
                    </a:lnTo>
                    <a:lnTo>
                      <a:pt x="388" y="24"/>
                    </a:lnTo>
                    <a:lnTo>
                      <a:pt x="385" y="27"/>
                    </a:lnTo>
                    <a:lnTo>
                      <a:pt x="384" y="29"/>
                    </a:lnTo>
                    <a:lnTo>
                      <a:pt x="386" y="31"/>
                    </a:lnTo>
                    <a:lnTo>
                      <a:pt x="389" y="32"/>
                    </a:lnTo>
                    <a:lnTo>
                      <a:pt x="391" y="35"/>
                    </a:lnTo>
                    <a:lnTo>
                      <a:pt x="392" y="35"/>
                    </a:lnTo>
                    <a:lnTo>
                      <a:pt x="394" y="35"/>
                    </a:lnTo>
                    <a:lnTo>
                      <a:pt x="398" y="33"/>
                    </a:lnTo>
                    <a:lnTo>
                      <a:pt x="401" y="33"/>
                    </a:lnTo>
                    <a:lnTo>
                      <a:pt x="402" y="35"/>
                    </a:lnTo>
                    <a:lnTo>
                      <a:pt x="402" y="36"/>
                    </a:lnTo>
                    <a:lnTo>
                      <a:pt x="402" y="39"/>
                    </a:lnTo>
                    <a:lnTo>
                      <a:pt x="400" y="39"/>
                    </a:lnTo>
                    <a:lnTo>
                      <a:pt x="398" y="38"/>
                    </a:lnTo>
                    <a:lnTo>
                      <a:pt x="394" y="42"/>
                    </a:lnTo>
                    <a:lnTo>
                      <a:pt x="398" y="45"/>
                    </a:lnTo>
                    <a:lnTo>
                      <a:pt x="398" y="46"/>
                    </a:lnTo>
                    <a:lnTo>
                      <a:pt x="397" y="47"/>
                    </a:lnTo>
                    <a:lnTo>
                      <a:pt x="400" y="50"/>
                    </a:lnTo>
                    <a:lnTo>
                      <a:pt x="405" y="51"/>
                    </a:lnTo>
                    <a:lnTo>
                      <a:pt x="406" y="53"/>
                    </a:lnTo>
                    <a:lnTo>
                      <a:pt x="407" y="53"/>
                    </a:lnTo>
                    <a:lnTo>
                      <a:pt x="409" y="55"/>
                    </a:lnTo>
                    <a:lnTo>
                      <a:pt x="411" y="55"/>
                    </a:lnTo>
                    <a:lnTo>
                      <a:pt x="411" y="57"/>
                    </a:lnTo>
                    <a:lnTo>
                      <a:pt x="412" y="57"/>
                    </a:lnTo>
                    <a:lnTo>
                      <a:pt x="416" y="56"/>
                    </a:lnTo>
                    <a:lnTo>
                      <a:pt x="418" y="59"/>
                    </a:lnTo>
                    <a:lnTo>
                      <a:pt x="419" y="61"/>
                    </a:lnTo>
                    <a:lnTo>
                      <a:pt x="418" y="62"/>
                    </a:lnTo>
                    <a:lnTo>
                      <a:pt x="418" y="65"/>
                    </a:lnTo>
                    <a:lnTo>
                      <a:pt x="415" y="66"/>
                    </a:lnTo>
                    <a:lnTo>
                      <a:pt x="416" y="66"/>
                    </a:lnTo>
                    <a:lnTo>
                      <a:pt x="416" y="68"/>
                    </a:lnTo>
                    <a:lnTo>
                      <a:pt x="414" y="67"/>
                    </a:lnTo>
                    <a:lnTo>
                      <a:pt x="414" y="68"/>
                    </a:lnTo>
                    <a:lnTo>
                      <a:pt x="414" y="72"/>
                    </a:lnTo>
                    <a:lnTo>
                      <a:pt x="413" y="76"/>
                    </a:lnTo>
                    <a:lnTo>
                      <a:pt x="410" y="76"/>
                    </a:lnTo>
                    <a:lnTo>
                      <a:pt x="405" y="74"/>
                    </a:lnTo>
                    <a:lnTo>
                      <a:pt x="405" y="75"/>
                    </a:lnTo>
                    <a:lnTo>
                      <a:pt x="403" y="73"/>
                    </a:lnTo>
                    <a:lnTo>
                      <a:pt x="403" y="76"/>
                    </a:lnTo>
                    <a:lnTo>
                      <a:pt x="402" y="78"/>
                    </a:lnTo>
                    <a:lnTo>
                      <a:pt x="397" y="78"/>
                    </a:lnTo>
                    <a:lnTo>
                      <a:pt x="395" y="78"/>
                    </a:lnTo>
                    <a:lnTo>
                      <a:pt x="390" y="79"/>
                    </a:lnTo>
                    <a:lnTo>
                      <a:pt x="387" y="78"/>
                    </a:lnTo>
                    <a:lnTo>
                      <a:pt x="386" y="75"/>
                    </a:lnTo>
                    <a:lnTo>
                      <a:pt x="382" y="73"/>
                    </a:lnTo>
                    <a:lnTo>
                      <a:pt x="377" y="76"/>
                    </a:lnTo>
                    <a:lnTo>
                      <a:pt x="375" y="76"/>
                    </a:lnTo>
                    <a:lnTo>
                      <a:pt x="372" y="75"/>
                    </a:lnTo>
                    <a:lnTo>
                      <a:pt x="372" y="79"/>
                    </a:lnTo>
                    <a:lnTo>
                      <a:pt x="367" y="87"/>
                    </a:lnTo>
                    <a:lnTo>
                      <a:pt x="366" y="87"/>
                    </a:lnTo>
                    <a:lnTo>
                      <a:pt x="361" y="90"/>
                    </a:lnTo>
                    <a:lnTo>
                      <a:pt x="360" y="90"/>
                    </a:lnTo>
                    <a:lnTo>
                      <a:pt x="358" y="91"/>
                    </a:lnTo>
                    <a:lnTo>
                      <a:pt x="351" y="91"/>
                    </a:lnTo>
                    <a:lnTo>
                      <a:pt x="342" y="96"/>
                    </a:lnTo>
                    <a:lnTo>
                      <a:pt x="340" y="95"/>
                    </a:lnTo>
                    <a:lnTo>
                      <a:pt x="337" y="97"/>
                    </a:lnTo>
                    <a:lnTo>
                      <a:pt x="335" y="97"/>
                    </a:lnTo>
                    <a:lnTo>
                      <a:pt x="333" y="98"/>
                    </a:lnTo>
                    <a:lnTo>
                      <a:pt x="330" y="98"/>
                    </a:lnTo>
                    <a:lnTo>
                      <a:pt x="327" y="101"/>
                    </a:lnTo>
                    <a:lnTo>
                      <a:pt x="326" y="103"/>
                    </a:lnTo>
                    <a:lnTo>
                      <a:pt x="325" y="104"/>
                    </a:lnTo>
                    <a:lnTo>
                      <a:pt x="322" y="104"/>
                    </a:lnTo>
                    <a:lnTo>
                      <a:pt x="321" y="103"/>
                    </a:lnTo>
                    <a:lnTo>
                      <a:pt x="318" y="103"/>
                    </a:lnTo>
                    <a:lnTo>
                      <a:pt x="316" y="103"/>
                    </a:lnTo>
                    <a:lnTo>
                      <a:pt x="314" y="106"/>
                    </a:lnTo>
                    <a:lnTo>
                      <a:pt x="310" y="102"/>
                    </a:lnTo>
                    <a:lnTo>
                      <a:pt x="307" y="101"/>
                    </a:lnTo>
                    <a:lnTo>
                      <a:pt x="307" y="99"/>
                    </a:lnTo>
                    <a:lnTo>
                      <a:pt x="304" y="96"/>
                    </a:lnTo>
                    <a:lnTo>
                      <a:pt x="302" y="98"/>
                    </a:lnTo>
                    <a:lnTo>
                      <a:pt x="298" y="100"/>
                    </a:lnTo>
                    <a:lnTo>
                      <a:pt x="294" y="100"/>
                    </a:lnTo>
                    <a:lnTo>
                      <a:pt x="293" y="100"/>
                    </a:lnTo>
                    <a:lnTo>
                      <a:pt x="293" y="104"/>
                    </a:lnTo>
                    <a:lnTo>
                      <a:pt x="291" y="105"/>
                    </a:lnTo>
                    <a:lnTo>
                      <a:pt x="290" y="106"/>
                    </a:lnTo>
                    <a:lnTo>
                      <a:pt x="288" y="108"/>
                    </a:lnTo>
                    <a:lnTo>
                      <a:pt x="283" y="107"/>
                    </a:lnTo>
                    <a:lnTo>
                      <a:pt x="280" y="104"/>
                    </a:lnTo>
                    <a:lnTo>
                      <a:pt x="277" y="106"/>
                    </a:lnTo>
                    <a:lnTo>
                      <a:pt x="277" y="108"/>
                    </a:lnTo>
                    <a:lnTo>
                      <a:pt x="276" y="111"/>
                    </a:lnTo>
                    <a:lnTo>
                      <a:pt x="275" y="113"/>
                    </a:lnTo>
                    <a:lnTo>
                      <a:pt x="273" y="116"/>
                    </a:lnTo>
                    <a:lnTo>
                      <a:pt x="274" y="119"/>
                    </a:lnTo>
                    <a:lnTo>
                      <a:pt x="276" y="123"/>
                    </a:lnTo>
                    <a:lnTo>
                      <a:pt x="274" y="127"/>
                    </a:lnTo>
                    <a:lnTo>
                      <a:pt x="271" y="129"/>
                    </a:lnTo>
                    <a:lnTo>
                      <a:pt x="269" y="130"/>
                    </a:lnTo>
                    <a:lnTo>
                      <a:pt x="267" y="127"/>
                    </a:lnTo>
                    <a:lnTo>
                      <a:pt x="265" y="127"/>
                    </a:lnTo>
                    <a:lnTo>
                      <a:pt x="264" y="130"/>
                    </a:lnTo>
                    <a:lnTo>
                      <a:pt x="263" y="134"/>
                    </a:lnTo>
                    <a:lnTo>
                      <a:pt x="260" y="134"/>
                    </a:lnTo>
                    <a:lnTo>
                      <a:pt x="257" y="133"/>
                    </a:lnTo>
                    <a:lnTo>
                      <a:pt x="256" y="134"/>
                    </a:lnTo>
                    <a:lnTo>
                      <a:pt x="255" y="134"/>
                    </a:lnTo>
                    <a:lnTo>
                      <a:pt x="252" y="130"/>
                    </a:lnTo>
                    <a:lnTo>
                      <a:pt x="250" y="129"/>
                    </a:lnTo>
                    <a:lnTo>
                      <a:pt x="248" y="128"/>
                    </a:lnTo>
                    <a:lnTo>
                      <a:pt x="246" y="129"/>
                    </a:lnTo>
                    <a:lnTo>
                      <a:pt x="245" y="127"/>
                    </a:lnTo>
                    <a:lnTo>
                      <a:pt x="244" y="128"/>
                    </a:lnTo>
                    <a:lnTo>
                      <a:pt x="243" y="126"/>
                    </a:lnTo>
                    <a:lnTo>
                      <a:pt x="241" y="127"/>
                    </a:lnTo>
                    <a:lnTo>
                      <a:pt x="239" y="126"/>
                    </a:lnTo>
                    <a:lnTo>
                      <a:pt x="237" y="126"/>
                    </a:lnTo>
                    <a:lnTo>
                      <a:pt x="236" y="128"/>
                    </a:lnTo>
                    <a:lnTo>
                      <a:pt x="234" y="129"/>
                    </a:lnTo>
                    <a:lnTo>
                      <a:pt x="232" y="129"/>
                    </a:lnTo>
                    <a:lnTo>
                      <a:pt x="229" y="125"/>
                    </a:lnTo>
                    <a:lnTo>
                      <a:pt x="225" y="129"/>
                    </a:lnTo>
                    <a:lnTo>
                      <a:pt x="223" y="129"/>
                    </a:lnTo>
                    <a:lnTo>
                      <a:pt x="224" y="131"/>
                    </a:lnTo>
                    <a:lnTo>
                      <a:pt x="223" y="133"/>
                    </a:lnTo>
                    <a:lnTo>
                      <a:pt x="219" y="130"/>
                    </a:lnTo>
                    <a:lnTo>
                      <a:pt x="217" y="127"/>
                    </a:lnTo>
                    <a:lnTo>
                      <a:pt x="212" y="123"/>
                    </a:lnTo>
                    <a:lnTo>
                      <a:pt x="207" y="123"/>
                    </a:lnTo>
                    <a:lnTo>
                      <a:pt x="204" y="125"/>
                    </a:lnTo>
                    <a:lnTo>
                      <a:pt x="201" y="126"/>
                    </a:lnTo>
                    <a:lnTo>
                      <a:pt x="201" y="129"/>
                    </a:lnTo>
                    <a:lnTo>
                      <a:pt x="197" y="129"/>
                    </a:lnTo>
                    <a:lnTo>
                      <a:pt x="195" y="130"/>
                    </a:lnTo>
                    <a:lnTo>
                      <a:pt x="191" y="129"/>
                    </a:lnTo>
                    <a:lnTo>
                      <a:pt x="187" y="127"/>
                    </a:lnTo>
                    <a:lnTo>
                      <a:pt x="186" y="128"/>
                    </a:lnTo>
                    <a:lnTo>
                      <a:pt x="184" y="127"/>
                    </a:lnTo>
                    <a:lnTo>
                      <a:pt x="182" y="127"/>
                    </a:lnTo>
                    <a:lnTo>
                      <a:pt x="179" y="127"/>
                    </a:lnTo>
                    <a:lnTo>
                      <a:pt x="177" y="130"/>
                    </a:lnTo>
                    <a:lnTo>
                      <a:pt x="174" y="129"/>
                    </a:lnTo>
                    <a:lnTo>
                      <a:pt x="174" y="133"/>
                    </a:lnTo>
                    <a:lnTo>
                      <a:pt x="176" y="137"/>
                    </a:lnTo>
                    <a:lnTo>
                      <a:pt x="177" y="139"/>
                    </a:lnTo>
                    <a:lnTo>
                      <a:pt x="177" y="143"/>
                    </a:lnTo>
                    <a:lnTo>
                      <a:pt x="176" y="144"/>
                    </a:lnTo>
                    <a:lnTo>
                      <a:pt x="176" y="147"/>
                    </a:lnTo>
                    <a:lnTo>
                      <a:pt x="175" y="147"/>
                    </a:lnTo>
                    <a:lnTo>
                      <a:pt x="173" y="147"/>
                    </a:lnTo>
                    <a:lnTo>
                      <a:pt x="167" y="153"/>
                    </a:lnTo>
                    <a:lnTo>
                      <a:pt x="168" y="156"/>
                    </a:lnTo>
                    <a:lnTo>
                      <a:pt x="170" y="156"/>
                    </a:lnTo>
                    <a:lnTo>
                      <a:pt x="170" y="160"/>
                    </a:lnTo>
                    <a:lnTo>
                      <a:pt x="168" y="161"/>
                    </a:lnTo>
                    <a:lnTo>
                      <a:pt x="163" y="161"/>
                    </a:lnTo>
                    <a:lnTo>
                      <a:pt x="162" y="163"/>
                    </a:lnTo>
                    <a:lnTo>
                      <a:pt x="161" y="166"/>
                    </a:lnTo>
                    <a:lnTo>
                      <a:pt x="155" y="169"/>
                    </a:lnTo>
                    <a:lnTo>
                      <a:pt x="155" y="170"/>
                    </a:lnTo>
                    <a:lnTo>
                      <a:pt x="154" y="172"/>
                    </a:lnTo>
                    <a:lnTo>
                      <a:pt x="151" y="174"/>
                    </a:lnTo>
                    <a:lnTo>
                      <a:pt x="146" y="170"/>
                    </a:lnTo>
                    <a:lnTo>
                      <a:pt x="143" y="169"/>
                    </a:lnTo>
                    <a:lnTo>
                      <a:pt x="142" y="168"/>
                    </a:lnTo>
                    <a:lnTo>
                      <a:pt x="142" y="166"/>
                    </a:lnTo>
                    <a:lnTo>
                      <a:pt x="139" y="166"/>
                    </a:lnTo>
                    <a:lnTo>
                      <a:pt x="139" y="165"/>
                    </a:lnTo>
                    <a:lnTo>
                      <a:pt x="139" y="163"/>
                    </a:lnTo>
                    <a:lnTo>
                      <a:pt x="138" y="157"/>
                    </a:lnTo>
                    <a:lnTo>
                      <a:pt x="135" y="153"/>
                    </a:lnTo>
                    <a:lnTo>
                      <a:pt x="135" y="151"/>
                    </a:lnTo>
                    <a:lnTo>
                      <a:pt x="133" y="150"/>
                    </a:lnTo>
                    <a:lnTo>
                      <a:pt x="133" y="151"/>
                    </a:lnTo>
                    <a:lnTo>
                      <a:pt x="131" y="149"/>
                    </a:lnTo>
                    <a:lnTo>
                      <a:pt x="130" y="147"/>
                    </a:lnTo>
                    <a:lnTo>
                      <a:pt x="130" y="157"/>
                    </a:lnTo>
                    <a:lnTo>
                      <a:pt x="130" y="159"/>
                    </a:lnTo>
                    <a:lnTo>
                      <a:pt x="128" y="160"/>
                    </a:lnTo>
                    <a:lnTo>
                      <a:pt x="127" y="162"/>
                    </a:lnTo>
                    <a:lnTo>
                      <a:pt x="126" y="163"/>
                    </a:lnTo>
                    <a:lnTo>
                      <a:pt x="125" y="163"/>
                    </a:lnTo>
                    <a:lnTo>
                      <a:pt x="124" y="163"/>
                    </a:lnTo>
                    <a:lnTo>
                      <a:pt x="118" y="164"/>
                    </a:lnTo>
                    <a:lnTo>
                      <a:pt x="119" y="165"/>
                    </a:lnTo>
                    <a:lnTo>
                      <a:pt x="118" y="166"/>
                    </a:lnTo>
                    <a:lnTo>
                      <a:pt x="114" y="166"/>
                    </a:lnTo>
                    <a:lnTo>
                      <a:pt x="114" y="167"/>
                    </a:lnTo>
                    <a:lnTo>
                      <a:pt x="113" y="168"/>
                    </a:lnTo>
                    <a:lnTo>
                      <a:pt x="113" y="171"/>
                    </a:lnTo>
                    <a:lnTo>
                      <a:pt x="113" y="174"/>
                    </a:lnTo>
                    <a:lnTo>
                      <a:pt x="113" y="175"/>
                    </a:lnTo>
                    <a:lnTo>
                      <a:pt x="113" y="178"/>
                    </a:lnTo>
                    <a:lnTo>
                      <a:pt x="109" y="179"/>
                    </a:lnTo>
                    <a:lnTo>
                      <a:pt x="106" y="178"/>
                    </a:lnTo>
                    <a:lnTo>
                      <a:pt x="104" y="180"/>
                    </a:lnTo>
                    <a:lnTo>
                      <a:pt x="103" y="174"/>
                    </a:lnTo>
                    <a:lnTo>
                      <a:pt x="103" y="173"/>
                    </a:lnTo>
                    <a:lnTo>
                      <a:pt x="102" y="171"/>
                    </a:lnTo>
                    <a:lnTo>
                      <a:pt x="97" y="170"/>
                    </a:lnTo>
                    <a:lnTo>
                      <a:pt x="95" y="168"/>
                    </a:lnTo>
                    <a:lnTo>
                      <a:pt x="93" y="170"/>
                    </a:lnTo>
                    <a:lnTo>
                      <a:pt x="93" y="172"/>
                    </a:lnTo>
                    <a:lnTo>
                      <a:pt x="91" y="173"/>
                    </a:lnTo>
                    <a:lnTo>
                      <a:pt x="89" y="175"/>
                    </a:lnTo>
                    <a:lnTo>
                      <a:pt x="89" y="176"/>
                    </a:lnTo>
                    <a:lnTo>
                      <a:pt x="89" y="179"/>
                    </a:lnTo>
                    <a:lnTo>
                      <a:pt x="85" y="182"/>
                    </a:lnTo>
                    <a:lnTo>
                      <a:pt x="85" y="184"/>
                    </a:lnTo>
                    <a:lnTo>
                      <a:pt x="85" y="186"/>
                    </a:lnTo>
                    <a:lnTo>
                      <a:pt x="85" y="189"/>
                    </a:lnTo>
                    <a:lnTo>
                      <a:pt x="84" y="190"/>
                    </a:lnTo>
                    <a:lnTo>
                      <a:pt x="83" y="192"/>
                    </a:lnTo>
                    <a:lnTo>
                      <a:pt x="79" y="197"/>
                    </a:lnTo>
                    <a:lnTo>
                      <a:pt x="78" y="200"/>
                    </a:lnTo>
                    <a:lnTo>
                      <a:pt x="74" y="202"/>
                    </a:lnTo>
                    <a:lnTo>
                      <a:pt x="74" y="208"/>
                    </a:lnTo>
                    <a:lnTo>
                      <a:pt x="73" y="208"/>
                    </a:lnTo>
                    <a:lnTo>
                      <a:pt x="72" y="208"/>
                    </a:lnTo>
                    <a:lnTo>
                      <a:pt x="69" y="207"/>
                    </a:lnTo>
                    <a:lnTo>
                      <a:pt x="63" y="204"/>
                    </a:lnTo>
                    <a:lnTo>
                      <a:pt x="61" y="205"/>
                    </a:lnTo>
                    <a:lnTo>
                      <a:pt x="59" y="204"/>
                    </a:lnTo>
                    <a:lnTo>
                      <a:pt x="60" y="202"/>
                    </a:lnTo>
                    <a:lnTo>
                      <a:pt x="59" y="200"/>
                    </a:lnTo>
                    <a:lnTo>
                      <a:pt x="58" y="198"/>
                    </a:lnTo>
                    <a:lnTo>
                      <a:pt x="54" y="200"/>
                    </a:lnTo>
                    <a:lnTo>
                      <a:pt x="49" y="204"/>
                    </a:lnTo>
                    <a:lnTo>
                      <a:pt x="46" y="204"/>
                    </a:lnTo>
                    <a:lnTo>
                      <a:pt x="45" y="205"/>
                    </a:lnTo>
                    <a:lnTo>
                      <a:pt x="37" y="203"/>
                    </a:lnTo>
                    <a:lnTo>
                      <a:pt x="36" y="201"/>
                    </a:lnTo>
                    <a:lnTo>
                      <a:pt x="35" y="198"/>
                    </a:lnTo>
                    <a:lnTo>
                      <a:pt x="33" y="198"/>
                    </a:lnTo>
                    <a:lnTo>
                      <a:pt x="31" y="198"/>
                    </a:lnTo>
                    <a:lnTo>
                      <a:pt x="30" y="202"/>
                    </a:lnTo>
                    <a:lnTo>
                      <a:pt x="27" y="208"/>
                    </a:lnTo>
                    <a:lnTo>
                      <a:pt x="25" y="216"/>
                    </a:lnTo>
                    <a:lnTo>
                      <a:pt x="24" y="220"/>
                    </a:lnTo>
                    <a:lnTo>
                      <a:pt x="24" y="224"/>
                    </a:lnTo>
                    <a:lnTo>
                      <a:pt x="23" y="228"/>
                    </a:lnTo>
                    <a:lnTo>
                      <a:pt x="17" y="231"/>
                    </a:lnTo>
                    <a:lnTo>
                      <a:pt x="15" y="233"/>
                    </a:lnTo>
                    <a:lnTo>
                      <a:pt x="13" y="237"/>
                    </a:lnTo>
                    <a:lnTo>
                      <a:pt x="12" y="238"/>
                    </a:lnTo>
                    <a:lnTo>
                      <a:pt x="7" y="239"/>
                    </a:lnTo>
                    <a:lnTo>
                      <a:pt x="2" y="239"/>
                    </a:lnTo>
                    <a:lnTo>
                      <a:pt x="0" y="240"/>
                    </a:lnTo>
                    <a:lnTo>
                      <a:pt x="0" y="241"/>
                    </a:lnTo>
                    <a:lnTo>
                      <a:pt x="2" y="242"/>
                    </a:lnTo>
                    <a:lnTo>
                      <a:pt x="2" y="243"/>
                    </a:lnTo>
                    <a:lnTo>
                      <a:pt x="6" y="245"/>
                    </a:lnTo>
                    <a:lnTo>
                      <a:pt x="7" y="248"/>
                    </a:lnTo>
                    <a:lnTo>
                      <a:pt x="8" y="251"/>
                    </a:lnTo>
                    <a:lnTo>
                      <a:pt x="12" y="250"/>
                    </a:lnTo>
                    <a:lnTo>
                      <a:pt x="13" y="251"/>
                    </a:lnTo>
                    <a:lnTo>
                      <a:pt x="14" y="251"/>
                    </a:lnTo>
                    <a:lnTo>
                      <a:pt x="13" y="252"/>
                    </a:lnTo>
                    <a:lnTo>
                      <a:pt x="14" y="253"/>
                    </a:lnTo>
                    <a:lnTo>
                      <a:pt x="18" y="251"/>
                    </a:lnTo>
                    <a:lnTo>
                      <a:pt x="21" y="250"/>
                    </a:lnTo>
                    <a:lnTo>
                      <a:pt x="21" y="254"/>
                    </a:lnTo>
                    <a:lnTo>
                      <a:pt x="26" y="257"/>
                    </a:lnTo>
                    <a:lnTo>
                      <a:pt x="27" y="255"/>
                    </a:lnTo>
                    <a:lnTo>
                      <a:pt x="33" y="257"/>
                    </a:lnTo>
                    <a:lnTo>
                      <a:pt x="33" y="255"/>
                    </a:lnTo>
                    <a:lnTo>
                      <a:pt x="36" y="260"/>
                    </a:lnTo>
                    <a:lnTo>
                      <a:pt x="38" y="261"/>
                    </a:lnTo>
                    <a:lnTo>
                      <a:pt x="40" y="260"/>
                    </a:lnTo>
                    <a:lnTo>
                      <a:pt x="40" y="261"/>
                    </a:lnTo>
                    <a:lnTo>
                      <a:pt x="43" y="266"/>
                    </a:lnTo>
                    <a:lnTo>
                      <a:pt x="43" y="267"/>
                    </a:lnTo>
                    <a:lnTo>
                      <a:pt x="40" y="267"/>
                    </a:lnTo>
                    <a:lnTo>
                      <a:pt x="39" y="270"/>
                    </a:lnTo>
                    <a:lnTo>
                      <a:pt x="37" y="271"/>
                    </a:lnTo>
                    <a:lnTo>
                      <a:pt x="37" y="273"/>
                    </a:lnTo>
                    <a:lnTo>
                      <a:pt x="38" y="272"/>
                    </a:lnTo>
                    <a:lnTo>
                      <a:pt x="40" y="274"/>
                    </a:lnTo>
                    <a:lnTo>
                      <a:pt x="41" y="274"/>
                    </a:lnTo>
                    <a:lnTo>
                      <a:pt x="42" y="275"/>
                    </a:lnTo>
                    <a:lnTo>
                      <a:pt x="41" y="275"/>
                    </a:lnTo>
                    <a:lnTo>
                      <a:pt x="43" y="277"/>
                    </a:lnTo>
                    <a:lnTo>
                      <a:pt x="44" y="276"/>
                    </a:lnTo>
                    <a:lnTo>
                      <a:pt x="45" y="276"/>
                    </a:lnTo>
                    <a:lnTo>
                      <a:pt x="45" y="274"/>
                    </a:lnTo>
                    <a:lnTo>
                      <a:pt x="48" y="273"/>
                    </a:lnTo>
                    <a:lnTo>
                      <a:pt x="49" y="274"/>
                    </a:lnTo>
                    <a:lnTo>
                      <a:pt x="53" y="274"/>
                    </a:lnTo>
                    <a:lnTo>
                      <a:pt x="53" y="276"/>
                    </a:lnTo>
                    <a:lnTo>
                      <a:pt x="54" y="276"/>
                    </a:lnTo>
                    <a:lnTo>
                      <a:pt x="54" y="277"/>
                    </a:lnTo>
                    <a:lnTo>
                      <a:pt x="56" y="277"/>
                    </a:lnTo>
                    <a:lnTo>
                      <a:pt x="57" y="278"/>
                    </a:lnTo>
                    <a:lnTo>
                      <a:pt x="61" y="278"/>
                    </a:lnTo>
                    <a:lnTo>
                      <a:pt x="61" y="279"/>
                    </a:lnTo>
                    <a:lnTo>
                      <a:pt x="62" y="278"/>
                    </a:lnTo>
                    <a:lnTo>
                      <a:pt x="64" y="278"/>
                    </a:lnTo>
                    <a:lnTo>
                      <a:pt x="66" y="276"/>
                    </a:lnTo>
                    <a:lnTo>
                      <a:pt x="69" y="275"/>
                    </a:lnTo>
                    <a:lnTo>
                      <a:pt x="69" y="276"/>
                    </a:lnTo>
                    <a:lnTo>
                      <a:pt x="67" y="278"/>
                    </a:lnTo>
                    <a:lnTo>
                      <a:pt x="71" y="281"/>
                    </a:lnTo>
                    <a:lnTo>
                      <a:pt x="72" y="286"/>
                    </a:lnTo>
                    <a:lnTo>
                      <a:pt x="74" y="288"/>
                    </a:lnTo>
                    <a:lnTo>
                      <a:pt x="73" y="289"/>
                    </a:lnTo>
                    <a:lnTo>
                      <a:pt x="73" y="292"/>
                    </a:lnTo>
                    <a:lnTo>
                      <a:pt x="73" y="293"/>
                    </a:lnTo>
                    <a:lnTo>
                      <a:pt x="73" y="295"/>
                    </a:lnTo>
                    <a:lnTo>
                      <a:pt x="71" y="295"/>
                    </a:lnTo>
                    <a:lnTo>
                      <a:pt x="70" y="296"/>
                    </a:lnTo>
                    <a:lnTo>
                      <a:pt x="69" y="297"/>
                    </a:lnTo>
                    <a:lnTo>
                      <a:pt x="69" y="298"/>
                    </a:lnTo>
                    <a:lnTo>
                      <a:pt x="69" y="300"/>
                    </a:lnTo>
                    <a:lnTo>
                      <a:pt x="69" y="301"/>
                    </a:lnTo>
                    <a:lnTo>
                      <a:pt x="70" y="301"/>
                    </a:lnTo>
                    <a:lnTo>
                      <a:pt x="69" y="303"/>
                    </a:lnTo>
                    <a:lnTo>
                      <a:pt x="71" y="304"/>
                    </a:lnTo>
                    <a:lnTo>
                      <a:pt x="70" y="306"/>
                    </a:lnTo>
                    <a:lnTo>
                      <a:pt x="68" y="307"/>
                    </a:lnTo>
                    <a:lnTo>
                      <a:pt x="68" y="309"/>
                    </a:lnTo>
                    <a:lnTo>
                      <a:pt x="69" y="309"/>
                    </a:lnTo>
                    <a:lnTo>
                      <a:pt x="67" y="311"/>
                    </a:lnTo>
                    <a:lnTo>
                      <a:pt x="66" y="311"/>
                    </a:lnTo>
                    <a:lnTo>
                      <a:pt x="67" y="312"/>
                    </a:lnTo>
                    <a:lnTo>
                      <a:pt x="65" y="315"/>
                    </a:lnTo>
                    <a:lnTo>
                      <a:pt x="64" y="315"/>
                    </a:lnTo>
                    <a:lnTo>
                      <a:pt x="64" y="316"/>
                    </a:lnTo>
                    <a:lnTo>
                      <a:pt x="65" y="316"/>
                    </a:lnTo>
                    <a:lnTo>
                      <a:pt x="69" y="318"/>
                    </a:lnTo>
                    <a:lnTo>
                      <a:pt x="68" y="319"/>
                    </a:lnTo>
                    <a:lnTo>
                      <a:pt x="67" y="321"/>
                    </a:lnTo>
                    <a:lnTo>
                      <a:pt x="69" y="322"/>
                    </a:lnTo>
                    <a:lnTo>
                      <a:pt x="69" y="326"/>
                    </a:lnTo>
                    <a:lnTo>
                      <a:pt x="69" y="329"/>
                    </a:lnTo>
                    <a:lnTo>
                      <a:pt x="67" y="330"/>
                    </a:lnTo>
                    <a:lnTo>
                      <a:pt x="65" y="330"/>
                    </a:lnTo>
                    <a:lnTo>
                      <a:pt x="64" y="331"/>
                    </a:lnTo>
                    <a:lnTo>
                      <a:pt x="65" y="332"/>
                    </a:lnTo>
                    <a:lnTo>
                      <a:pt x="64" y="332"/>
                    </a:lnTo>
                    <a:lnTo>
                      <a:pt x="65" y="336"/>
                    </a:lnTo>
                    <a:lnTo>
                      <a:pt x="67" y="337"/>
                    </a:lnTo>
                    <a:lnTo>
                      <a:pt x="69" y="336"/>
                    </a:lnTo>
                    <a:lnTo>
                      <a:pt x="70" y="336"/>
                    </a:lnTo>
                    <a:lnTo>
                      <a:pt x="70" y="338"/>
                    </a:lnTo>
                    <a:lnTo>
                      <a:pt x="72" y="339"/>
                    </a:lnTo>
                    <a:lnTo>
                      <a:pt x="70" y="340"/>
                    </a:lnTo>
                    <a:lnTo>
                      <a:pt x="71" y="342"/>
                    </a:lnTo>
                    <a:lnTo>
                      <a:pt x="70" y="342"/>
                    </a:lnTo>
                    <a:lnTo>
                      <a:pt x="70" y="343"/>
                    </a:lnTo>
                    <a:lnTo>
                      <a:pt x="70" y="345"/>
                    </a:lnTo>
                    <a:lnTo>
                      <a:pt x="67" y="345"/>
                    </a:lnTo>
                    <a:lnTo>
                      <a:pt x="67" y="348"/>
                    </a:lnTo>
                    <a:lnTo>
                      <a:pt x="70" y="349"/>
                    </a:lnTo>
                    <a:lnTo>
                      <a:pt x="72" y="349"/>
                    </a:lnTo>
                    <a:lnTo>
                      <a:pt x="72" y="350"/>
                    </a:lnTo>
                    <a:lnTo>
                      <a:pt x="70" y="352"/>
                    </a:lnTo>
                    <a:lnTo>
                      <a:pt x="71" y="353"/>
                    </a:lnTo>
                    <a:lnTo>
                      <a:pt x="72" y="353"/>
                    </a:lnTo>
                    <a:lnTo>
                      <a:pt x="74" y="355"/>
                    </a:lnTo>
                    <a:lnTo>
                      <a:pt x="73" y="357"/>
                    </a:lnTo>
                    <a:lnTo>
                      <a:pt x="75" y="360"/>
                    </a:lnTo>
                    <a:lnTo>
                      <a:pt x="75" y="363"/>
                    </a:lnTo>
                    <a:lnTo>
                      <a:pt x="75" y="364"/>
                    </a:lnTo>
                    <a:lnTo>
                      <a:pt x="75" y="366"/>
                    </a:lnTo>
                    <a:lnTo>
                      <a:pt x="73" y="368"/>
                    </a:lnTo>
                    <a:lnTo>
                      <a:pt x="77" y="368"/>
                    </a:lnTo>
                    <a:lnTo>
                      <a:pt x="75" y="374"/>
                    </a:lnTo>
                    <a:lnTo>
                      <a:pt x="72" y="372"/>
                    </a:lnTo>
                    <a:lnTo>
                      <a:pt x="70" y="373"/>
                    </a:lnTo>
                    <a:lnTo>
                      <a:pt x="71" y="373"/>
                    </a:lnTo>
                    <a:lnTo>
                      <a:pt x="70" y="375"/>
                    </a:lnTo>
                    <a:lnTo>
                      <a:pt x="73" y="377"/>
                    </a:lnTo>
                    <a:lnTo>
                      <a:pt x="73" y="378"/>
                    </a:lnTo>
                    <a:lnTo>
                      <a:pt x="75" y="379"/>
                    </a:lnTo>
                    <a:lnTo>
                      <a:pt x="73" y="380"/>
                    </a:lnTo>
                    <a:lnTo>
                      <a:pt x="74" y="383"/>
                    </a:lnTo>
                    <a:lnTo>
                      <a:pt x="73" y="383"/>
                    </a:lnTo>
                    <a:lnTo>
                      <a:pt x="70" y="380"/>
                    </a:lnTo>
                    <a:lnTo>
                      <a:pt x="71" y="379"/>
                    </a:lnTo>
                    <a:lnTo>
                      <a:pt x="70" y="379"/>
                    </a:lnTo>
                    <a:lnTo>
                      <a:pt x="69" y="379"/>
                    </a:lnTo>
                    <a:lnTo>
                      <a:pt x="65" y="378"/>
                    </a:lnTo>
                    <a:lnTo>
                      <a:pt x="65" y="379"/>
                    </a:lnTo>
                    <a:lnTo>
                      <a:pt x="65" y="378"/>
                    </a:lnTo>
                    <a:lnTo>
                      <a:pt x="62" y="379"/>
                    </a:lnTo>
                    <a:lnTo>
                      <a:pt x="61" y="380"/>
                    </a:lnTo>
                    <a:lnTo>
                      <a:pt x="62" y="381"/>
                    </a:lnTo>
                    <a:lnTo>
                      <a:pt x="62" y="382"/>
                    </a:lnTo>
                    <a:lnTo>
                      <a:pt x="59" y="382"/>
                    </a:lnTo>
                    <a:lnTo>
                      <a:pt x="60" y="383"/>
                    </a:lnTo>
                    <a:lnTo>
                      <a:pt x="61" y="383"/>
                    </a:lnTo>
                    <a:lnTo>
                      <a:pt x="63" y="387"/>
                    </a:lnTo>
                    <a:lnTo>
                      <a:pt x="64" y="385"/>
                    </a:lnTo>
                    <a:lnTo>
                      <a:pt x="66" y="387"/>
                    </a:lnTo>
                    <a:lnTo>
                      <a:pt x="69" y="386"/>
                    </a:lnTo>
                    <a:lnTo>
                      <a:pt x="71" y="387"/>
                    </a:lnTo>
                    <a:lnTo>
                      <a:pt x="72" y="389"/>
                    </a:lnTo>
                    <a:lnTo>
                      <a:pt x="72" y="390"/>
                    </a:lnTo>
                    <a:lnTo>
                      <a:pt x="74" y="392"/>
                    </a:lnTo>
                    <a:lnTo>
                      <a:pt x="72" y="393"/>
                    </a:lnTo>
                    <a:lnTo>
                      <a:pt x="75" y="393"/>
                    </a:lnTo>
                    <a:lnTo>
                      <a:pt x="75" y="394"/>
                    </a:lnTo>
                    <a:lnTo>
                      <a:pt x="75" y="399"/>
                    </a:lnTo>
                    <a:lnTo>
                      <a:pt x="75" y="400"/>
                    </a:lnTo>
                    <a:lnTo>
                      <a:pt x="76" y="401"/>
                    </a:lnTo>
                    <a:lnTo>
                      <a:pt x="77" y="400"/>
                    </a:lnTo>
                    <a:lnTo>
                      <a:pt x="82" y="402"/>
                    </a:lnTo>
                    <a:lnTo>
                      <a:pt x="82" y="400"/>
                    </a:lnTo>
                    <a:lnTo>
                      <a:pt x="83" y="400"/>
                    </a:lnTo>
                    <a:lnTo>
                      <a:pt x="83" y="404"/>
                    </a:lnTo>
                    <a:lnTo>
                      <a:pt x="82" y="408"/>
                    </a:lnTo>
                    <a:lnTo>
                      <a:pt x="84" y="408"/>
                    </a:lnTo>
                    <a:lnTo>
                      <a:pt x="85" y="406"/>
                    </a:lnTo>
                    <a:lnTo>
                      <a:pt x="87" y="406"/>
                    </a:lnTo>
                    <a:lnTo>
                      <a:pt x="87" y="404"/>
                    </a:lnTo>
                    <a:lnTo>
                      <a:pt x="88" y="403"/>
                    </a:lnTo>
                    <a:lnTo>
                      <a:pt x="89" y="403"/>
                    </a:lnTo>
                    <a:lnTo>
                      <a:pt x="91" y="402"/>
                    </a:lnTo>
                    <a:lnTo>
                      <a:pt x="92" y="403"/>
                    </a:lnTo>
                    <a:lnTo>
                      <a:pt x="90" y="403"/>
                    </a:lnTo>
                    <a:lnTo>
                      <a:pt x="92" y="405"/>
                    </a:lnTo>
                    <a:lnTo>
                      <a:pt x="91" y="408"/>
                    </a:lnTo>
                    <a:lnTo>
                      <a:pt x="92" y="408"/>
                    </a:lnTo>
                    <a:lnTo>
                      <a:pt x="93" y="408"/>
                    </a:lnTo>
                    <a:lnTo>
                      <a:pt x="94" y="408"/>
                    </a:lnTo>
                    <a:lnTo>
                      <a:pt x="94" y="413"/>
                    </a:lnTo>
                    <a:lnTo>
                      <a:pt x="95" y="415"/>
                    </a:lnTo>
                    <a:lnTo>
                      <a:pt x="98" y="413"/>
                    </a:lnTo>
                    <a:lnTo>
                      <a:pt x="99" y="413"/>
                    </a:lnTo>
                    <a:lnTo>
                      <a:pt x="100" y="414"/>
                    </a:lnTo>
                    <a:lnTo>
                      <a:pt x="100" y="413"/>
                    </a:lnTo>
                    <a:lnTo>
                      <a:pt x="103" y="413"/>
                    </a:lnTo>
                    <a:lnTo>
                      <a:pt x="103" y="410"/>
                    </a:lnTo>
                    <a:lnTo>
                      <a:pt x="104" y="411"/>
                    </a:lnTo>
                    <a:lnTo>
                      <a:pt x="105" y="408"/>
                    </a:lnTo>
                    <a:lnTo>
                      <a:pt x="104" y="407"/>
                    </a:lnTo>
                    <a:lnTo>
                      <a:pt x="106" y="406"/>
                    </a:lnTo>
                    <a:lnTo>
                      <a:pt x="107" y="406"/>
                    </a:lnTo>
                    <a:lnTo>
                      <a:pt x="108" y="405"/>
                    </a:lnTo>
                    <a:lnTo>
                      <a:pt x="110" y="405"/>
                    </a:lnTo>
                    <a:lnTo>
                      <a:pt x="110" y="402"/>
                    </a:lnTo>
                    <a:lnTo>
                      <a:pt x="114" y="403"/>
                    </a:lnTo>
                    <a:lnTo>
                      <a:pt x="118" y="406"/>
                    </a:lnTo>
                    <a:lnTo>
                      <a:pt x="119" y="406"/>
                    </a:lnTo>
                    <a:lnTo>
                      <a:pt x="120" y="403"/>
                    </a:lnTo>
                    <a:lnTo>
                      <a:pt x="119" y="403"/>
                    </a:lnTo>
                    <a:lnTo>
                      <a:pt x="120" y="402"/>
                    </a:lnTo>
                    <a:lnTo>
                      <a:pt x="121" y="402"/>
                    </a:lnTo>
                    <a:lnTo>
                      <a:pt x="122" y="402"/>
                    </a:lnTo>
                    <a:lnTo>
                      <a:pt x="122" y="399"/>
                    </a:lnTo>
                    <a:lnTo>
                      <a:pt x="122" y="398"/>
                    </a:lnTo>
                    <a:lnTo>
                      <a:pt x="123" y="394"/>
                    </a:lnTo>
                    <a:lnTo>
                      <a:pt x="123" y="395"/>
                    </a:lnTo>
                    <a:lnTo>
                      <a:pt x="124" y="395"/>
                    </a:lnTo>
                    <a:lnTo>
                      <a:pt x="124" y="396"/>
                    </a:lnTo>
                    <a:lnTo>
                      <a:pt x="126" y="397"/>
                    </a:lnTo>
                    <a:lnTo>
                      <a:pt x="128" y="398"/>
                    </a:lnTo>
                    <a:lnTo>
                      <a:pt x="129" y="396"/>
                    </a:lnTo>
                    <a:lnTo>
                      <a:pt x="129" y="393"/>
                    </a:lnTo>
                    <a:lnTo>
                      <a:pt x="129" y="391"/>
                    </a:lnTo>
                    <a:lnTo>
                      <a:pt x="127" y="389"/>
                    </a:lnTo>
                    <a:lnTo>
                      <a:pt x="131" y="389"/>
                    </a:lnTo>
                    <a:lnTo>
                      <a:pt x="131" y="387"/>
                    </a:lnTo>
                    <a:lnTo>
                      <a:pt x="130" y="383"/>
                    </a:lnTo>
                    <a:lnTo>
                      <a:pt x="131" y="382"/>
                    </a:lnTo>
                    <a:lnTo>
                      <a:pt x="131" y="378"/>
                    </a:lnTo>
                    <a:lnTo>
                      <a:pt x="132" y="380"/>
                    </a:lnTo>
                    <a:lnTo>
                      <a:pt x="132" y="379"/>
                    </a:lnTo>
                    <a:lnTo>
                      <a:pt x="135" y="379"/>
                    </a:lnTo>
                    <a:lnTo>
                      <a:pt x="136" y="379"/>
                    </a:lnTo>
                    <a:lnTo>
                      <a:pt x="136" y="378"/>
                    </a:lnTo>
                    <a:lnTo>
                      <a:pt x="138" y="378"/>
                    </a:lnTo>
                    <a:lnTo>
                      <a:pt x="138" y="377"/>
                    </a:lnTo>
                    <a:lnTo>
                      <a:pt x="139" y="377"/>
                    </a:lnTo>
                    <a:lnTo>
                      <a:pt x="139" y="376"/>
                    </a:lnTo>
                    <a:lnTo>
                      <a:pt x="139" y="374"/>
                    </a:lnTo>
                    <a:lnTo>
                      <a:pt x="141" y="374"/>
                    </a:lnTo>
                    <a:lnTo>
                      <a:pt x="141" y="373"/>
                    </a:lnTo>
                    <a:lnTo>
                      <a:pt x="144" y="373"/>
                    </a:lnTo>
                    <a:lnTo>
                      <a:pt x="145" y="370"/>
                    </a:lnTo>
                    <a:lnTo>
                      <a:pt x="148" y="370"/>
                    </a:lnTo>
                    <a:lnTo>
                      <a:pt x="149" y="370"/>
                    </a:lnTo>
                    <a:lnTo>
                      <a:pt x="149" y="369"/>
                    </a:lnTo>
                    <a:lnTo>
                      <a:pt x="150" y="368"/>
                    </a:lnTo>
                    <a:lnTo>
                      <a:pt x="153" y="373"/>
                    </a:lnTo>
                    <a:lnTo>
                      <a:pt x="154" y="374"/>
                    </a:lnTo>
                    <a:lnTo>
                      <a:pt x="155" y="373"/>
                    </a:lnTo>
                    <a:lnTo>
                      <a:pt x="158" y="373"/>
                    </a:lnTo>
                    <a:lnTo>
                      <a:pt x="162" y="370"/>
                    </a:lnTo>
                    <a:lnTo>
                      <a:pt x="163" y="372"/>
                    </a:lnTo>
                    <a:lnTo>
                      <a:pt x="163" y="370"/>
                    </a:lnTo>
                    <a:lnTo>
                      <a:pt x="169" y="368"/>
                    </a:lnTo>
                    <a:lnTo>
                      <a:pt x="168" y="365"/>
                    </a:lnTo>
                    <a:lnTo>
                      <a:pt x="171" y="366"/>
                    </a:lnTo>
                    <a:lnTo>
                      <a:pt x="172" y="365"/>
                    </a:lnTo>
                    <a:lnTo>
                      <a:pt x="174" y="362"/>
                    </a:lnTo>
                    <a:lnTo>
                      <a:pt x="173" y="361"/>
                    </a:lnTo>
                    <a:lnTo>
                      <a:pt x="174" y="361"/>
                    </a:lnTo>
                    <a:lnTo>
                      <a:pt x="176" y="361"/>
                    </a:lnTo>
                    <a:lnTo>
                      <a:pt x="178" y="359"/>
                    </a:lnTo>
                    <a:lnTo>
                      <a:pt x="183" y="353"/>
                    </a:lnTo>
                    <a:lnTo>
                      <a:pt x="184" y="355"/>
                    </a:lnTo>
                    <a:lnTo>
                      <a:pt x="183" y="355"/>
                    </a:lnTo>
                    <a:lnTo>
                      <a:pt x="183" y="361"/>
                    </a:lnTo>
                    <a:lnTo>
                      <a:pt x="187" y="360"/>
                    </a:lnTo>
                    <a:lnTo>
                      <a:pt x="188" y="361"/>
                    </a:lnTo>
                    <a:lnTo>
                      <a:pt x="190" y="362"/>
                    </a:lnTo>
                    <a:lnTo>
                      <a:pt x="191" y="362"/>
                    </a:lnTo>
                    <a:lnTo>
                      <a:pt x="195" y="361"/>
                    </a:lnTo>
                    <a:lnTo>
                      <a:pt x="202" y="362"/>
                    </a:lnTo>
                    <a:lnTo>
                      <a:pt x="204" y="364"/>
                    </a:lnTo>
                    <a:lnTo>
                      <a:pt x="205" y="361"/>
                    </a:lnTo>
                    <a:lnTo>
                      <a:pt x="206" y="359"/>
                    </a:lnTo>
                    <a:lnTo>
                      <a:pt x="206" y="360"/>
                    </a:lnTo>
                    <a:lnTo>
                      <a:pt x="208" y="356"/>
                    </a:lnTo>
                    <a:lnTo>
                      <a:pt x="209" y="358"/>
                    </a:lnTo>
                    <a:lnTo>
                      <a:pt x="208" y="361"/>
                    </a:lnTo>
                    <a:lnTo>
                      <a:pt x="209" y="361"/>
                    </a:lnTo>
                    <a:lnTo>
                      <a:pt x="211" y="359"/>
                    </a:lnTo>
                    <a:lnTo>
                      <a:pt x="212" y="359"/>
                    </a:lnTo>
                    <a:lnTo>
                      <a:pt x="215" y="355"/>
                    </a:lnTo>
                    <a:lnTo>
                      <a:pt x="218" y="352"/>
                    </a:lnTo>
                    <a:lnTo>
                      <a:pt x="219" y="349"/>
                    </a:lnTo>
                    <a:lnTo>
                      <a:pt x="220" y="349"/>
                    </a:lnTo>
                    <a:lnTo>
                      <a:pt x="223" y="348"/>
                    </a:lnTo>
                    <a:lnTo>
                      <a:pt x="224" y="348"/>
                    </a:lnTo>
                    <a:lnTo>
                      <a:pt x="225" y="351"/>
                    </a:lnTo>
                    <a:lnTo>
                      <a:pt x="226" y="349"/>
                    </a:lnTo>
                    <a:lnTo>
                      <a:pt x="227" y="350"/>
                    </a:lnTo>
                    <a:lnTo>
                      <a:pt x="229" y="356"/>
                    </a:lnTo>
                    <a:lnTo>
                      <a:pt x="228" y="359"/>
                    </a:lnTo>
                    <a:lnTo>
                      <a:pt x="229" y="360"/>
                    </a:lnTo>
                    <a:lnTo>
                      <a:pt x="236" y="359"/>
                    </a:lnTo>
                    <a:lnTo>
                      <a:pt x="236" y="355"/>
                    </a:lnTo>
                    <a:lnTo>
                      <a:pt x="237" y="355"/>
                    </a:lnTo>
                    <a:lnTo>
                      <a:pt x="237" y="352"/>
                    </a:lnTo>
                    <a:lnTo>
                      <a:pt x="239" y="350"/>
                    </a:lnTo>
                    <a:lnTo>
                      <a:pt x="241" y="348"/>
                    </a:lnTo>
                    <a:lnTo>
                      <a:pt x="244" y="348"/>
                    </a:lnTo>
                    <a:lnTo>
                      <a:pt x="250" y="347"/>
                    </a:lnTo>
                    <a:lnTo>
                      <a:pt x="251" y="347"/>
                    </a:lnTo>
                    <a:lnTo>
                      <a:pt x="250" y="348"/>
                    </a:lnTo>
                    <a:lnTo>
                      <a:pt x="254" y="347"/>
                    </a:lnTo>
                    <a:lnTo>
                      <a:pt x="255" y="345"/>
                    </a:lnTo>
                    <a:lnTo>
                      <a:pt x="256" y="345"/>
                    </a:lnTo>
                    <a:lnTo>
                      <a:pt x="258" y="345"/>
                    </a:lnTo>
                    <a:lnTo>
                      <a:pt x="259" y="342"/>
                    </a:lnTo>
                    <a:lnTo>
                      <a:pt x="260" y="342"/>
                    </a:lnTo>
                    <a:lnTo>
                      <a:pt x="261" y="342"/>
                    </a:lnTo>
                    <a:lnTo>
                      <a:pt x="263" y="341"/>
                    </a:lnTo>
                    <a:lnTo>
                      <a:pt x="263" y="339"/>
                    </a:lnTo>
                    <a:lnTo>
                      <a:pt x="263" y="335"/>
                    </a:lnTo>
                    <a:lnTo>
                      <a:pt x="262" y="335"/>
                    </a:lnTo>
                    <a:lnTo>
                      <a:pt x="263" y="335"/>
                    </a:lnTo>
                    <a:lnTo>
                      <a:pt x="263" y="334"/>
                    </a:lnTo>
                    <a:lnTo>
                      <a:pt x="265" y="335"/>
                    </a:lnTo>
                    <a:lnTo>
                      <a:pt x="268" y="335"/>
                    </a:lnTo>
                    <a:lnTo>
                      <a:pt x="268" y="336"/>
                    </a:lnTo>
                    <a:lnTo>
                      <a:pt x="272" y="337"/>
                    </a:lnTo>
                    <a:lnTo>
                      <a:pt x="274" y="337"/>
                    </a:lnTo>
                    <a:lnTo>
                      <a:pt x="274" y="336"/>
                    </a:lnTo>
                    <a:lnTo>
                      <a:pt x="273" y="335"/>
                    </a:lnTo>
                    <a:lnTo>
                      <a:pt x="274" y="335"/>
                    </a:lnTo>
                    <a:lnTo>
                      <a:pt x="273" y="334"/>
                    </a:lnTo>
                    <a:lnTo>
                      <a:pt x="274" y="331"/>
                    </a:lnTo>
                    <a:lnTo>
                      <a:pt x="273" y="329"/>
                    </a:lnTo>
                    <a:lnTo>
                      <a:pt x="272" y="329"/>
                    </a:lnTo>
                    <a:lnTo>
                      <a:pt x="272" y="322"/>
                    </a:lnTo>
                    <a:lnTo>
                      <a:pt x="275" y="322"/>
                    </a:lnTo>
                    <a:lnTo>
                      <a:pt x="274" y="321"/>
                    </a:lnTo>
                    <a:lnTo>
                      <a:pt x="276" y="321"/>
                    </a:lnTo>
                    <a:lnTo>
                      <a:pt x="277" y="319"/>
                    </a:lnTo>
                    <a:lnTo>
                      <a:pt x="279" y="319"/>
                    </a:lnTo>
                    <a:lnTo>
                      <a:pt x="280" y="318"/>
                    </a:lnTo>
                    <a:lnTo>
                      <a:pt x="283" y="318"/>
                    </a:lnTo>
                    <a:lnTo>
                      <a:pt x="285" y="321"/>
                    </a:lnTo>
                    <a:lnTo>
                      <a:pt x="286" y="321"/>
                    </a:lnTo>
                    <a:lnTo>
                      <a:pt x="286" y="319"/>
                    </a:lnTo>
                    <a:lnTo>
                      <a:pt x="288" y="319"/>
                    </a:lnTo>
                    <a:lnTo>
                      <a:pt x="292" y="322"/>
                    </a:lnTo>
                    <a:lnTo>
                      <a:pt x="296" y="323"/>
                    </a:lnTo>
                    <a:lnTo>
                      <a:pt x="296" y="325"/>
                    </a:lnTo>
                    <a:lnTo>
                      <a:pt x="297" y="325"/>
                    </a:lnTo>
                    <a:lnTo>
                      <a:pt x="297" y="326"/>
                    </a:lnTo>
                    <a:lnTo>
                      <a:pt x="298" y="326"/>
                    </a:lnTo>
                    <a:lnTo>
                      <a:pt x="303" y="326"/>
                    </a:lnTo>
                    <a:lnTo>
                      <a:pt x="309" y="327"/>
                    </a:lnTo>
                    <a:lnTo>
                      <a:pt x="309" y="329"/>
                    </a:lnTo>
                    <a:lnTo>
                      <a:pt x="311" y="329"/>
                    </a:lnTo>
                    <a:lnTo>
                      <a:pt x="315" y="330"/>
                    </a:lnTo>
                    <a:lnTo>
                      <a:pt x="315" y="331"/>
                    </a:lnTo>
                    <a:lnTo>
                      <a:pt x="316" y="330"/>
                    </a:lnTo>
                    <a:lnTo>
                      <a:pt x="322" y="330"/>
                    </a:lnTo>
                    <a:lnTo>
                      <a:pt x="323" y="329"/>
                    </a:lnTo>
                    <a:lnTo>
                      <a:pt x="326" y="331"/>
                    </a:lnTo>
                    <a:lnTo>
                      <a:pt x="327" y="328"/>
                    </a:lnTo>
                    <a:lnTo>
                      <a:pt x="326" y="326"/>
                    </a:lnTo>
                    <a:lnTo>
                      <a:pt x="330" y="328"/>
                    </a:lnTo>
                    <a:lnTo>
                      <a:pt x="330" y="329"/>
                    </a:lnTo>
                    <a:lnTo>
                      <a:pt x="331" y="331"/>
                    </a:lnTo>
                    <a:lnTo>
                      <a:pt x="331" y="330"/>
                    </a:lnTo>
                    <a:lnTo>
                      <a:pt x="334" y="332"/>
                    </a:lnTo>
                    <a:lnTo>
                      <a:pt x="334" y="331"/>
                    </a:lnTo>
                    <a:lnTo>
                      <a:pt x="335" y="331"/>
                    </a:lnTo>
                    <a:lnTo>
                      <a:pt x="336" y="329"/>
                    </a:lnTo>
                    <a:lnTo>
                      <a:pt x="341" y="334"/>
                    </a:lnTo>
                    <a:lnTo>
                      <a:pt x="343" y="335"/>
                    </a:lnTo>
                    <a:lnTo>
                      <a:pt x="343" y="336"/>
                    </a:lnTo>
                    <a:lnTo>
                      <a:pt x="344" y="336"/>
                    </a:lnTo>
                    <a:lnTo>
                      <a:pt x="346" y="332"/>
                    </a:lnTo>
                    <a:lnTo>
                      <a:pt x="348" y="331"/>
                    </a:lnTo>
                    <a:lnTo>
                      <a:pt x="348" y="330"/>
                    </a:lnTo>
                    <a:lnTo>
                      <a:pt x="350" y="326"/>
                    </a:lnTo>
                    <a:lnTo>
                      <a:pt x="351" y="327"/>
                    </a:lnTo>
                    <a:lnTo>
                      <a:pt x="353" y="325"/>
                    </a:lnTo>
                    <a:lnTo>
                      <a:pt x="355" y="328"/>
                    </a:lnTo>
                    <a:lnTo>
                      <a:pt x="357" y="329"/>
                    </a:lnTo>
                    <a:lnTo>
                      <a:pt x="358" y="328"/>
                    </a:lnTo>
                    <a:lnTo>
                      <a:pt x="358" y="327"/>
                    </a:lnTo>
                    <a:lnTo>
                      <a:pt x="359" y="329"/>
                    </a:lnTo>
                    <a:lnTo>
                      <a:pt x="361" y="329"/>
                    </a:lnTo>
                    <a:lnTo>
                      <a:pt x="361" y="326"/>
                    </a:lnTo>
                    <a:lnTo>
                      <a:pt x="365" y="328"/>
                    </a:lnTo>
                    <a:lnTo>
                      <a:pt x="365" y="326"/>
                    </a:lnTo>
                    <a:lnTo>
                      <a:pt x="366" y="326"/>
                    </a:lnTo>
                    <a:lnTo>
                      <a:pt x="367" y="326"/>
                    </a:lnTo>
                    <a:lnTo>
                      <a:pt x="369" y="326"/>
                    </a:lnTo>
                    <a:lnTo>
                      <a:pt x="369" y="327"/>
                    </a:lnTo>
                    <a:lnTo>
                      <a:pt x="370" y="328"/>
                    </a:lnTo>
                    <a:lnTo>
                      <a:pt x="370" y="329"/>
                    </a:lnTo>
                    <a:lnTo>
                      <a:pt x="372" y="329"/>
                    </a:lnTo>
                    <a:lnTo>
                      <a:pt x="372" y="331"/>
                    </a:lnTo>
                    <a:lnTo>
                      <a:pt x="372" y="330"/>
                    </a:lnTo>
                    <a:lnTo>
                      <a:pt x="374" y="331"/>
                    </a:lnTo>
                    <a:lnTo>
                      <a:pt x="372" y="329"/>
                    </a:lnTo>
                    <a:lnTo>
                      <a:pt x="374" y="329"/>
                    </a:lnTo>
                    <a:lnTo>
                      <a:pt x="374" y="330"/>
                    </a:lnTo>
                    <a:lnTo>
                      <a:pt x="374" y="331"/>
                    </a:lnTo>
                    <a:lnTo>
                      <a:pt x="375" y="330"/>
                    </a:lnTo>
                    <a:lnTo>
                      <a:pt x="376" y="330"/>
                    </a:lnTo>
                    <a:lnTo>
                      <a:pt x="378" y="326"/>
                    </a:lnTo>
                    <a:lnTo>
                      <a:pt x="378" y="324"/>
                    </a:lnTo>
                    <a:lnTo>
                      <a:pt x="378" y="323"/>
                    </a:lnTo>
                    <a:lnTo>
                      <a:pt x="377" y="322"/>
                    </a:lnTo>
                    <a:lnTo>
                      <a:pt x="378" y="322"/>
                    </a:lnTo>
                    <a:lnTo>
                      <a:pt x="378" y="318"/>
                    </a:lnTo>
                    <a:lnTo>
                      <a:pt x="381" y="319"/>
                    </a:lnTo>
                    <a:lnTo>
                      <a:pt x="381" y="314"/>
                    </a:lnTo>
                    <a:lnTo>
                      <a:pt x="381" y="312"/>
                    </a:lnTo>
                    <a:lnTo>
                      <a:pt x="382" y="312"/>
                    </a:lnTo>
                    <a:lnTo>
                      <a:pt x="382" y="310"/>
                    </a:lnTo>
                    <a:lnTo>
                      <a:pt x="381" y="309"/>
                    </a:lnTo>
                    <a:lnTo>
                      <a:pt x="380" y="308"/>
                    </a:lnTo>
                    <a:lnTo>
                      <a:pt x="380" y="306"/>
                    </a:lnTo>
                    <a:lnTo>
                      <a:pt x="378" y="305"/>
                    </a:lnTo>
                    <a:lnTo>
                      <a:pt x="378" y="304"/>
                    </a:lnTo>
                    <a:lnTo>
                      <a:pt x="381" y="302"/>
                    </a:lnTo>
                    <a:lnTo>
                      <a:pt x="381" y="304"/>
                    </a:lnTo>
                    <a:lnTo>
                      <a:pt x="382" y="303"/>
                    </a:lnTo>
                    <a:lnTo>
                      <a:pt x="381" y="302"/>
                    </a:lnTo>
                    <a:lnTo>
                      <a:pt x="381" y="301"/>
                    </a:lnTo>
                    <a:lnTo>
                      <a:pt x="380" y="299"/>
                    </a:lnTo>
                    <a:lnTo>
                      <a:pt x="381" y="298"/>
                    </a:lnTo>
                    <a:lnTo>
                      <a:pt x="381" y="297"/>
                    </a:lnTo>
                    <a:lnTo>
                      <a:pt x="381" y="296"/>
                    </a:lnTo>
                    <a:lnTo>
                      <a:pt x="379" y="295"/>
                    </a:lnTo>
                    <a:lnTo>
                      <a:pt x="379" y="294"/>
                    </a:lnTo>
                    <a:lnTo>
                      <a:pt x="381" y="293"/>
                    </a:lnTo>
                    <a:lnTo>
                      <a:pt x="382" y="293"/>
                    </a:lnTo>
                    <a:lnTo>
                      <a:pt x="382" y="292"/>
                    </a:lnTo>
                    <a:lnTo>
                      <a:pt x="384" y="291"/>
                    </a:lnTo>
                    <a:lnTo>
                      <a:pt x="388" y="296"/>
                    </a:lnTo>
                    <a:lnTo>
                      <a:pt x="394" y="300"/>
                    </a:lnTo>
                    <a:lnTo>
                      <a:pt x="394" y="298"/>
                    </a:lnTo>
                    <a:lnTo>
                      <a:pt x="395" y="299"/>
                    </a:lnTo>
                    <a:lnTo>
                      <a:pt x="394" y="298"/>
                    </a:lnTo>
                    <a:lnTo>
                      <a:pt x="395" y="296"/>
                    </a:lnTo>
                    <a:lnTo>
                      <a:pt x="393" y="296"/>
                    </a:lnTo>
                    <a:lnTo>
                      <a:pt x="392" y="295"/>
                    </a:lnTo>
                    <a:lnTo>
                      <a:pt x="394" y="293"/>
                    </a:lnTo>
                    <a:lnTo>
                      <a:pt x="395" y="295"/>
                    </a:lnTo>
                    <a:lnTo>
                      <a:pt x="396" y="293"/>
                    </a:lnTo>
                    <a:lnTo>
                      <a:pt x="395" y="292"/>
                    </a:lnTo>
                    <a:lnTo>
                      <a:pt x="397" y="292"/>
                    </a:lnTo>
                    <a:lnTo>
                      <a:pt x="397" y="285"/>
                    </a:lnTo>
                    <a:lnTo>
                      <a:pt x="401" y="289"/>
                    </a:lnTo>
                    <a:lnTo>
                      <a:pt x="404" y="289"/>
                    </a:lnTo>
                    <a:lnTo>
                      <a:pt x="404" y="286"/>
                    </a:lnTo>
                    <a:lnTo>
                      <a:pt x="407" y="289"/>
                    </a:lnTo>
                    <a:lnTo>
                      <a:pt x="410" y="289"/>
                    </a:lnTo>
                    <a:lnTo>
                      <a:pt x="410" y="285"/>
                    </a:lnTo>
                    <a:lnTo>
                      <a:pt x="411" y="284"/>
                    </a:lnTo>
                    <a:lnTo>
                      <a:pt x="411" y="281"/>
                    </a:lnTo>
                    <a:lnTo>
                      <a:pt x="411" y="280"/>
                    </a:lnTo>
                    <a:lnTo>
                      <a:pt x="410" y="279"/>
                    </a:lnTo>
                    <a:lnTo>
                      <a:pt x="411" y="279"/>
                    </a:lnTo>
                    <a:lnTo>
                      <a:pt x="411" y="275"/>
                    </a:lnTo>
                    <a:lnTo>
                      <a:pt x="408" y="267"/>
                    </a:lnTo>
                    <a:lnTo>
                      <a:pt x="413" y="266"/>
                    </a:lnTo>
                    <a:lnTo>
                      <a:pt x="413" y="261"/>
                    </a:lnTo>
                    <a:lnTo>
                      <a:pt x="417" y="264"/>
                    </a:lnTo>
                    <a:lnTo>
                      <a:pt x="416" y="261"/>
                    </a:lnTo>
                    <a:lnTo>
                      <a:pt x="416" y="258"/>
                    </a:lnTo>
                    <a:lnTo>
                      <a:pt x="414" y="258"/>
                    </a:lnTo>
                    <a:lnTo>
                      <a:pt x="415" y="255"/>
                    </a:lnTo>
                    <a:lnTo>
                      <a:pt x="413" y="254"/>
                    </a:lnTo>
                    <a:lnTo>
                      <a:pt x="414" y="254"/>
                    </a:lnTo>
                    <a:lnTo>
                      <a:pt x="414" y="253"/>
                    </a:lnTo>
                    <a:lnTo>
                      <a:pt x="413" y="253"/>
                    </a:lnTo>
                    <a:lnTo>
                      <a:pt x="411" y="252"/>
                    </a:lnTo>
                    <a:lnTo>
                      <a:pt x="411" y="253"/>
                    </a:lnTo>
                    <a:lnTo>
                      <a:pt x="410" y="252"/>
                    </a:lnTo>
                    <a:lnTo>
                      <a:pt x="410" y="251"/>
                    </a:lnTo>
                    <a:lnTo>
                      <a:pt x="410" y="252"/>
                    </a:lnTo>
                    <a:lnTo>
                      <a:pt x="406" y="251"/>
                    </a:lnTo>
                    <a:lnTo>
                      <a:pt x="407" y="248"/>
                    </a:lnTo>
                    <a:lnTo>
                      <a:pt x="406" y="249"/>
                    </a:lnTo>
                    <a:lnTo>
                      <a:pt x="406" y="248"/>
                    </a:lnTo>
                    <a:lnTo>
                      <a:pt x="406" y="245"/>
                    </a:lnTo>
                    <a:lnTo>
                      <a:pt x="405" y="245"/>
                    </a:lnTo>
                    <a:lnTo>
                      <a:pt x="406" y="244"/>
                    </a:lnTo>
                    <a:lnTo>
                      <a:pt x="405" y="244"/>
                    </a:lnTo>
                    <a:lnTo>
                      <a:pt x="406" y="242"/>
                    </a:lnTo>
                    <a:lnTo>
                      <a:pt x="405" y="242"/>
                    </a:lnTo>
                    <a:lnTo>
                      <a:pt x="405" y="241"/>
                    </a:lnTo>
                    <a:lnTo>
                      <a:pt x="404" y="238"/>
                    </a:lnTo>
                    <a:lnTo>
                      <a:pt x="402" y="237"/>
                    </a:lnTo>
                    <a:lnTo>
                      <a:pt x="402" y="235"/>
                    </a:lnTo>
                    <a:lnTo>
                      <a:pt x="402" y="231"/>
                    </a:lnTo>
                    <a:lnTo>
                      <a:pt x="402" y="230"/>
                    </a:lnTo>
                    <a:lnTo>
                      <a:pt x="402" y="228"/>
                    </a:lnTo>
                    <a:lnTo>
                      <a:pt x="401" y="228"/>
                    </a:lnTo>
                    <a:lnTo>
                      <a:pt x="401" y="225"/>
                    </a:lnTo>
                    <a:lnTo>
                      <a:pt x="400" y="225"/>
                    </a:lnTo>
                    <a:lnTo>
                      <a:pt x="400" y="224"/>
                    </a:lnTo>
                    <a:lnTo>
                      <a:pt x="400" y="221"/>
                    </a:lnTo>
                    <a:lnTo>
                      <a:pt x="397" y="219"/>
                    </a:lnTo>
                    <a:lnTo>
                      <a:pt x="397" y="218"/>
                    </a:lnTo>
                    <a:lnTo>
                      <a:pt x="396" y="215"/>
                    </a:lnTo>
                    <a:lnTo>
                      <a:pt x="394" y="215"/>
                    </a:lnTo>
                    <a:lnTo>
                      <a:pt x="395" y="213"/>
                    </a:lnTo>
                    <a:lnTo>
                      <a:pt x="395" y="208"/>
                    </a:lnTo>
                    <a:lnTo>
                      <a:pt x="392" y="206"/>
                    </a:lnTo>
                    <a:lnTo>
                      <a:pt x="392" y="204"/>
                    </a:lnTo>
                    <a:lnTo>
                      <a:pt x="393" y="204"/>
                    </a:lnTo>
                    <a:lnTo>
                      <a:pt x="390" y="201"/>
                    </a:lnTo>
                    <a:lnTo>
                      <a:pt x="392" y="197"/>
                    </a:lnTo>
                    <a:lnTo>
                      <a:pt x="392" y="196"/>
                    </a:lnTo>
                    <a:lnTo>
                      <a:pt x="392" y="192"/>
                    </a:lnTo>
                    <a:lnTo>
                      <a:pt x="392" y="191"/>
                    </a:lnTo>
                    <a:lnTo>
                      <a:pt x="392" y="190"/>
                    </a:lnTo>
                    <a:lnTo>
                      <a:pt x="392" y="187"/>
                    </a:lnTo>
                    <a:lnTo>
                      <a:pt x="390" y="187"/>
                    </a:lnTo>
                    <a:lnTo>
                      <a:pt x="388" y="187"/>
                    </a:lnTo>
                    <a:lnTo>
                      <a:pt x="389" y="182"/>
                    </a:lnTo>
                    <a:lnTo>
                      <a:pt x="392" y="177"/>
                    </a:lnTo>
                    <a:lnTo>
                      <a:pt x="398" y="173"/>
                    </a:lnTo>
                    <a:lnTo>
                      <a:pt x="398" y="171"/>
                    </a:lnTo>
                    <a:lnTo>
                      <a:pt x="396" y="169"/>
                    </a:lnTo>
                    <a:lnTo>
                      <a:pt x="397" y="166"/>
                    </a:lnTo>
                    <a:lnTo>
                      <a:pt x="398" y="164"/>
                    </a:lnTo>
                    <a:lnTo>
                      <a:pt x="398" y="161"/>
                    </a:lnTo>
                    <a:lnTo>
                      <a:pt x="400" y="159"/>
                    </a:lnTo>
                    <a:lnTo>
                      <a:pt x="404" y="158"/>
                    </a:lnTo>
                    <a:lnTo>
                      <a:pt x="408" y="157"/>
                    </a:lnTo>
                    <a:lnTo>
                      <a:pt x="410" y="153"/>
                    </a:lnTo>
                    <a:lnTo>
                      <a:pt x="411" y="151"/>
                    </a:lnTo>
                    <a:lnTo>
                      <a:pt x="411" y="153"/>
                    </a:lnTo>
                    <a:lnTo>
                      <a:pt x="411" y="155"/>
                    </a:lnTo>
                    <a:lnTo>
                      <a:pt x="414" y="155"/>
                    </a:lnTo>
                    <a:lnTo>
                      <a:pt x="415" y="153"/>
                    </a:lnTo>
                    <a:lnTo>
                      <a:pt x="412" y="150"/>
                    </a:lnTo>
                    <a:lnTo>
                      <a:pt x="413" y="147"/>
                    </a:lnTo>
                    <a:lnTo>
                      <a:pt x="414" y="147"/>
                    </a:lnTo>
                    <a:lnTo>
                      <a:pt x="414" y="145"/>
                    </a:lnTo>
                    <a:lnTo>
                      <a:pt x="416" y="140"/>
                    </a:lnTo>
                    <a:lnTo>
                      <a:pt x="418" y="137"/>
                    </a:lnTo>
                    <a:lnTo>
                      <a:pt x="418" y="136"/>
                    </a:lnTo>
                    <a:lnTo>
                      <a:pt x="420" y="136"/>
                    </a:lnTo>
                    <a:lnTo>
                      <a:pt x="422" y="138"/>
                    </a:lnTo>
                    <a:lnTo>
                      <a:pt x="424" y="134"/>
                    </a:lnTo>
                    <a:lnTo>
                      <a:pt x="422" y="132"/>
                    </a:lnTo>
                    <a:lnTo>
                      <a:pt x="423" y="130"/>
                    </a:lnTo>
                    <a:lnTo>
                      <a:pt x="426" y="129"/>
                    </a:lnTo>
                    <a:lnTo>
                      <a:pt x="426" y="128"/>
                    </a:lnTo>
                    <a:lnTo>
                      <a:pt x="425" y="127"/>
                    </a:lnTo>
                    <a:lnTo>
                      <a:pt x="424" y="127"/>
                    </a:lnTo>
                    <a:lnTo>
                      <a:pt x="424" y="125"/>
                    </a:lnTo>
                    <a:lnTo>
                      <a:pt x="424" y="124"/>
                    </a:lnTo>
                    <a:lnTo>
                      <a:pt x="425" y="122"/>
                    </a:lnTo>
                    <a:lnTo>
                      <a:pt x="427" y="123"/>
                    </a:lnTo>
                    <a:lnTo>
                      <a:pt x="427" y="122"/>
                    </a:lnTo>
                    <a:lnTo>
                      <a:pt x="425" y="121"/>
                    </a:lnTo>
                    <a:lnTo>
                      <a:pt x="424" y="122"/>
                    </a:lnTo>
                    <a:lnTo>
                      <a:pt x="423" y="121"/>
                    </a:lnTo>
                    <a:lnTo>
                      <a:pt x="424" y="121"/>
                    </a:lnTo>
                    <a:lnTo>
                      <a:pt x="422" y="119"/>
                    </a:lnTo>
                    <a:lnTo>
                      <a:pt x="425" y="118"/>
                    </a:lnTo>
                    <a:lnTo>
                      <a:pt x="427" y="121"/>
                    </a:lnTo>
                    <a:lnTo>
                      <a:pt x="429" y="119"/>
                    </a:lnTo>
                    <a:lnTo>
                      <a:pt x="432" y="118"/>
                    </a:lnTo>
                    <a:lnTo>
                      <a:pt x="433" y="119"/>
                    </a:lnTo>
                    <a:lnTo>
                      <a:pt x="434" y="119"/>
                    </a:lnTo>
                    <a:lnTo>
                      <a:pt x="433" y="121"/>
                    </a:lnTo>
                    <a:lnTo>
                      <a:pt x="432" y="122"/>
                    </a:lnTo>
                    <a:lnTo>
                      <a:pt x="434" y="121"/>
                    </a:lnTo>
                    <a:lnTo>
                      <a:pt x="435" y="122"/>
                    </a:lnTo>
                    <a:lnTo>
                      <a:pt x="435" y="121"/>
                    </a:lnTo>
                    <a:lnTo>
                      <a:pt x="436" y="121"/>
                    </a:lnTo>
                    <a:lnTo>
                      <a:pt x="439" y="124"/>
                    </a:lnTo>
                    <a:lnTo>
                      <a:pt x="440" y="127"/>
                    </a:lnTo>
                    <a:lnTo>
                      <a:pt x="443" y="128"/>
                    </a:lnTo>
                    <a:lnTo>
                      <a:pt x="444" y="129"/>
                    </a:lnTo>
                    <a:lnTo>
                      <a:pt x="446" y="129"/>
                    </a:lnTo>
                    <a:lnTo>
                      <a:pt x="447" y="131"/>
                    </a:lnTo>
                    <a:lnTo>
                      <a:pt x="448" y="129"/>
                    </a:lnTo>
                    <a:lnTo>
                      <a:pt x="448" y="130"/>
                    </a:lnTo>
                    <a:lnTo>
                      <a:pt x="450" y="130"/>
                    </a:lnTo>
                    <a:lnTo>
                      <a:pt x="453" y="129"/>
                    </a:lnTo>
                    <a:lnTo>
                      <a:pt x="454" y="126"/>
                    </a:lnTo>
                    <a:lnTo>
                      <a:pt x="454" y="122"/>
                    </a:lnTo>
                    <a:lnTo>
                      <a:pt x="455" y="120"/>
                    </a:lnTo>
                    <a:lnTo>
                      <a:pt x="455" y="117"/>
                    </a:lnTo>
                    <a:lnTo>
                      <a:pt x="457" y="116"/>
                    </a:lnTo>
                    <a:lnTo>
                      <a:pt x="457" y="112"/>
                    </a:lnTo>
                    <a:lnTo>
                      <a:pt x="457" y="111"/>
                    </a:lnTo>
                    <a:lnTo>
                      <a:pt x="463" y="113"/>
                    </a:lnTo>
                    <a:lnTo>
                      <a:pt x="465" y="112"/>
                    </a:lnTo>
                    <a:lnTo>
                      <a:pt x="467" y="112"/>
                    </a:lnTo>
                    <a:lnTo>
                      <a:pt x="468" y="111"/>
                    </a:lnTo>
                    <a:lnTo>
                      <a:pt x="471" y="104"/>
                    </a:lnTo>
                    <a:lnTo>
                      <a:pt x="472" y="101"/>
                    </a:lnTo>
                    <a:lnTo>
                      <a:pt x="473" y="100"/>
                    </a:lnTo>
                    <a:lnTo>
                      <a:pt x="477" y="91"/>
                    </a:lnTo>
                    <a:lnTo>
                      <a:pt x="479" y="86"/>
                    </a:lnTo>
                    <a:lnTo>
                      <a:pt x="484" y="83"/>
                    </a:lnTo>
                    <a:lnTo>
                      <a:pt x="485" y="74"/>
                    </a:lnTo>
                    <a:lnTo>
                      <a:pt x="484" y="7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3" name="Freeform 97">
                <a:extLst>
                  <a:ext uri="{FF2B5EF4-FFF2-40B4-BE49-F238E27FC236}">
                    <a16:creationId xmlns:a16="http://schemas.microsoft.com/office/drawing/2014/main" id="{49E92089-A3F7-C90D-67AA-2BD251CF11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" y="2680"/>
                <a:ext cx="485" cy="415"/>
              </a:xfrm>
              <a:custGeom>
                <a:avLst/>
                <a:gdLst>
                  <a:gd name="T0" fmla="*/ 471 w 485"/>
                  <a:gd name="T1" fmla="*/ 53 h 415"/>
                  <a:gd name="T2" fmla="*/ 460 w 485"/>
                  <a:gd name="T3" fmla="*/ 30 h 415"/>
                  <a:gd name="T4" fmla="*/ 433 w 485"/>
                  <a:gd name="T5" fmla="*/ 19 h 415"/>
                  <a:gd name="T6" fmla="*/ 400 w 485"/>
                  <a:gd name="T7" fmla="*/ 0 h 415"/>
                  <a:gd name="T8" fmla="*/ 384 w 485"/>
                  <a:gd name="T9" fmla="*/ 29 h 415"/>
                  <a:gd name="T10" fmla="*/ 398 w 485"/>
                  <a:gd name="T11" fmla="*/ 46 h 415"/>
                  <a:gd name="T12" fmla="*/ 415 w 485"/>
                  <a:gd name="T13" fmla="*/ 66 h 415"/>
                  <a:gd name="T14" fmla="*/ 397 w 485"/>
                  <a:gd name="T15" fmla="*/ 78 h 415"/>
                  <a:gd name="T16" fmla="*/ 351 w 485"/>
                  <a:gd name="T17" fmla="*/ 91 h 415"/>
                  <a:gd name="T18" fmla="*/ 310 w 485"/>
                  <a:gd name="T19" fmla="*/ 102 h 415"/>
                  <a:gd name="T20" fmla="*/ 277 w 485"/>
                  <a:gd name="T21" fmla="*/ 108 h 415"/>
                  <a:gd name="T22" fmla="*/ 257 w 485"/>
                  <a:gd name="T23" fmla="*/ 133 h 415"/>
                  <a:gd name="T24" fmla="*/ 232 w 485"/>
                  <a:gd name="T25" fmla="*/ 129 h 415"/>
                  <a:gd name="T26" fmla="*/ 191 w 485"/>
                  <a:gd name="T27" fmla="*/ 129 h 415"/>
                  <a:gd name="T28" fmla="*/ 173 w 485"/>
                  <a:gd name="T29" fmla="*/ 147 h 415"/>
                  <a:gd name="T30" fmla="*/ 142 w 485"/>
                  <a:gd name="T31" fmla="*/ 168 h 415"/>
                  <a:gd name="T32" fmla="*/ 128 w 485"/>
                  <a:gd name="T33" fmla="*/ 160 h 415"/>
                  <a:gd name="T34" fmla="*/ 109 w 485"/>
                  <a:gd name="T35" fmla="*/ 179 h 415"/>
                  <a:gd name="T36" fmla="*/ 85 w 485"/>
                  <a:gd name="T37" fmla="*/ 184 h 415"/>
                  <a:gd name="T38" fmla="*/ 60 w 485"/>
                  <a:gd name="T39" fmla="*/ 202 h 415"/>
                  <a:gd name="T40" fmla="*/ 24 w 485"/>
                  <a:gd name="T41" fmla="*/ 220 h 415"/>
                  <a:gd name="T42" fmla="*/ 8 w 485"/>
                  <a:gd name="T43" fmla="*/ 251 h 415"/>
                  <a:gd name="T44" fmla="*/ 40 w 485"/>
                  <a:gd name="T45" fmla="*/ 260 h 415"/>
                  <a:gd name="T46" fmla="*/ 45 w 485"/>
                  <a:gd name="T47" fmla="*/ 276 h 415"/>
                  <a:gd name="T48" fmla="*/ 66 w 485"/>
                  <a:gd name="T49" fmla="*/ 276 h 415"/>
                  <a:gd name="T50" fmla="*/ 69 w 485"/>
                  <a:gd name="T51" fmla="*/ 300 h 415"/>
                  <a:gd name="T52" fmla="*/ 64 w 485"/>
                  <a:gd name="T53" fmla="*/ 316 h 415"/>
                  <a:gd name="T54" fmla="*/ 69 w 485"/>
                  <a:gd name="T55" fmla="*/ 336 h 415"/>
                  <a:gd name="T56" fmla="*/ 70 w 485"/>
                  <a:gd name="T57" fmla="*/ 352 h 415"/>
                  <a:gd name="T58" fmla="*/ 70 w 485"/>
                  <a:gd name="T59" fmla="*/ 375 h 415"/>
                  <a:gd name="T60" fmla="*/ 65 w 485"/>
                  <a:gd name="T61" fmla="*/ 379 h 415"/>
                  <a:gd name="T62" fmla="*/ 72 w 485"/>
                  <a:gd name="T63" fmla="*/ 390 h 415"/>
                  <a:gd name="T64" fmla="*/ 84 w 485"/>
                  <a:gd name="T65" fmla="*/ 408 h 415"/>
                  <a:gd name="T66" fmla="*/ 94 w 485"/>
                  <a:gd name="T67" fmla="*/ 413 h 415"/>
                  <a:gd name="T68" fmla="*/ 110 w 485"/>
                  <a:gd name="T69" fmla="*/ 402 h 415"/>
                  <a:gd name="T70" fmla="*/ 124 w 485"/>
                  <a:gd name="T71" fmla="*/ 396 h 415"/>
                  <a:gd name="T72" fmla="*/ 136 w 485"/>
                  <a:gd name="T73" fmla="*/ 379 h 415"/>
                  <a:gd name="T74" fmla="*/ 150 w 485"/>
                  <a:gd name="T75" fmla="*/ 368 h 415"/>
                  <a:gd name="T76" fmla="*/ 174 w 485"/>
                  <a:gd name="T77" fmla="*/ 361 h 415"/>
                  <a:gd name="T78" fmla="*/ 206 w 485"/>
                  <a:gd name="T79" fmla="*/ 359 h 415"/>
                  <a:gd name="T80" fmla="*/ 226 w 485"/>
                  <a:gd name="T81" fmla="*/ 349 h 415"/>
                  <a:gd name="T82" fmla="*/ 254 w 485"/>
                  <a:gd name="T83" fmla="*/ 347 h 415"/>
                  <a:gd name="T84" fmla="*/ 265 w 485"/>
                  <a:gd name="T85" fmla="*/ 335 h 415"/>
                  <a:gd name="T86" fmla="*/ 274 w 485"/>
                  <a:gd name="T87" fmla="*/ 321 h 415"/>
                  <a:gd name="T88" fmla="*/ 297 w 485"/>
                  <a:gd name="T89" fmla="*/ 326 h 415"/>
                  <a:gd name="T90" fmla="*/ 330 w 485"/>
                  <a:gd name="T91" fmla="*/ 329 h 415"/>
                  <a:gd name="T92" fmla="*/ 350 w 485"/>
                  <a:gd name="T93" fmla="*/ 326 h 415"/>
                  <a:gd name="T94" fmla="*/ 369 w 485"/>
                  <a:gd name="T95" fmla="*/ 327 h 415"/>
                  <a:gd name="T96" fmla="*/ 378 w 485"/>
                  <a:gd name="T97" fmla="*/ 326 h 415"/>
                  <a:gd name="T98" fmla="*/ 378 w 485"/>
                  <a:gd name="T99" fmla="*/ 305 h 415"/>
                  <a:gd name="T100" fmla="*/ 381 w 485"/>
                  <a:gd name="T101" fmla="*/ 293 h 415"/>
                  <a:gd name="T102" fmla="*/ 396 w 485"/>
                  <a:gd name="T103" fmla="*/ 293 h 415"/>
                  <a:gd name="T104" fmla="*/ 411 w 485"/>
                  <a:gd name="T105" fmla="*/ 279 h 415"/>
                  <a:gd name="T106" fmla="*/ 411 w 485"/>
                  <a:gd name="T107" fmla="*/ 253 h 415"/>
                  <a:gd name="T108" fmla="*/ 405 w 485"/>
                  <a:gd name="T109" fmla="*/ 242 h 415"/>
                  <a:gd name="T110" fmla="*/ 397 w 485"/>
                  <a:gd name="T111" fmla="*/ 219 h 415"/>
                  <a:gd name="T112" fmla="*/ 392 w 485"/>
                  <a:gd name="T113" fmla="*/ 187 h 415"/>
                  <a:gd name="T114" fmla="*/ 408 w 485"/>
                  <a:gd name="T115" fmla="*/ 157 h 415"/>
                  <a:gd name="T116" fmla="*/ 418 w 485"/>
                  <a:gd name="T117" fmla="*/ 136 h 415"/>
                  <a:gd name="T118" fmla="*/ 427 w 485"/>
                  <a:gd name="T119" fmla="*/ 123 h 415"/>
                  <a:gd name="T120" fmla="*/ 434 w 485"/>
                  <a:gd name="T121" fmla="*/ 121 h 415"/>
                  <a:gd name="T122" fmla="*/ 454 w 485"/>
                  <a:gd name="T123" fmla="*/ 122 h 415"/>
                  <a:gd name="T124" fmla="*/ 484 w 485"/>
                  <a:gd name="T125" fmla="*/ 83 h 415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485"/>
                  <a:gd name="T190" fmla="*/ 0 h 415"/>
                  <a:gd name="T191" fmla="*/ 485 w 485"/>
                  <a:gd name="T192" fmla="*/ 415 h 415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485" h="415">
                    <a:moveTo>
                      <a:pt x="484" y="72"/>
                    </a:moveTo>
                    <a:lnTo>
                      <a:pt x="482" y="71"/>
                    </a:lnTo>
                    <a:lnTo>
                      <a:pt x="478" y="73"/>
                    </a:lnTo>
                    <a:lnTo>
                      <a:pt x="475" y="73"/>
                    </a:lnTo>
                    <a:lnTo>
                      <a:pt x="473" y="74"/>
                    </a:lnTo>
                    <a:lnTo>
                      <a:pt x="470" y="74"/>
                    </a:lnTo>
                    <a:lnTo>
                      <a:pt x="465" y="77"/>
                    </a:lnTo>
                    <a:lnTo>
                      <a:pt x="464" y="76"/>
                    </a:lnTo>
                    <a:lnTo>
                      <a:pt x="461" y="74"/>
                    </a:lnTo>
                    <a:lnTo>
                      <a:pt x="460" y="71"/>
                    </a:lnTo>
                    <a:lnTo>
                      <a:pt x="463" y="66"/>
                    </a:lnTo>
                    <a:lnTo>
                      <a:pt x="467" y="62"/>
                    </a:lnTo>
                    <a:lnTo>
                      <a:pt x="468" y="60"/>
                    </a:lnTo>
                    <a:lnTo>
                      <a:pt x="471" y="55"/>
                    </a:lnTo>
                    <a:lnTo>
                      <a:pt x="471" y="53"/>
                    </a:lnTo>
                    <a:lnTo>
                      <a:pt x="472" y="52"/>
                    </a:lnTo>
                    <a:lnTo>
                      <a:pt x="472" y="49"/>
                    </a:lnTo>
                    <a:lnTo>
                      <a:pt x="473" y="48"/>
                    </a:lnTo>
                    <a:lnTo>
                      <a:pt x="474" y="43"/>
                    </a:lnTo>
                    <a:lnTo>
                      <a:pt x="473" y="43"/>
                    </a:lnTo>
                    <a:lnTo>
                      <a:pt x="470" y="40"/>
                    </a:lnTo>
                    <a:lnTo>
                      <a:pt x="470" y="37"/>
                    </a:lnTo>
                    <a:lnTo>
                      <a:pt x="467" y="33"/>
                    </a:lnTo>
                    <a:lnTo>
                      <a:pt x="466" y="32"/>
                    </a:lnTo>
                    <a:lnTo>
                      <a:pt x="465" y="32"/>
                    </a:lnTo>
                    <a:lnTo>
                      <a:pt x="459" y="33"/>
                    </a:lnTo>
                    <a:lnTo>
                      <a:pt x="458" y="32"/>
                    </a:lnTo>
                    <a:lnTo>
                      <a:pt x="459" y="31"/>
                    </a:lnTo>
                    <a:lnTo>
                      <a:pt x="460" y="30"/>
                    </a:lnTo>
                    <a:lnTo>
                      <a:pt x="460" y="29"/>
                    </a:lnTo>
                    <a:lnTo>
                      <a:pt x="458" y="26"/>
                    </a:lnTo>
                    <a:lnTo>
                      <a:pt x="450" y="23"/>
                    </a:lnTo>
                    <a:lnTo>
                      <a:pt x="451" y="19"/>
                    </a:lnTo>
                    <a:lnTo>
                      <a:pt x="453" y="14"/>
                    </a:lnTo>
                    <a:lnTo>
                      <a:pt x="452" y="12"/>
                    </a:lnTo>
                    <a:lnTo>
                      <a:pt x="449" y="13"/>
                    </a:lnTo>
                    <a:lnTo>
                      <a:pt x="449" y="17"/>
                    </a:lnTo>
                    <a:lnTo>
                      <a:pt x="448" y="22"/>
                    </a:lnTo>
                    <a:lnTo>
                      <a:pt x="444" y="21"/>
                    </a:lnTo>
                    <a:lnTo>
                      <a:pt x="444" y="19"/>
                    </a:lnTo>
                    <a:lnTo>
                      <a:pt x="443" y="18"/>
                    </a:lnTo>
                    <a:lnTo>
                      <a:pt x="441" y="15"/>
                    </a:lnTo>
                    <a:lnTo>
                      <a:pt x="439" y="15"/>
                    </a:lnTo>
                    <a:lnTo>
                      <a:pt x="433" y="19"/>
                    </a:lnTo>
                    <a:lnTo>
                      <a:pt x="432" y="19"/>
                    </a:lnTo>
                    <a:lnTo>
                      <a:pt x="429" y="21"/>
                    </a:lnTo>
                    <a:lnTo>
                      <a:pt x="427" y="21"/>
                    </a:lnTo>
                    <a:lnTo>
                      <a:pt x="423" y="19"/>
                    </a:lnTo>
                    <a:lnTo>
                      <a:pt x="421" y="18"/>
                    </a:lnTo>
                    <a:lnTo>
                      <a:pt x="419" y="16"/>
                    </a:lnTo>
                    <a:lnTo>
                      <a:pt x="419" y="11"/>
                    </a:lnTo>
                    <a:lnTo>
                      <a:pt x="418" y="10"/>
                    </a:lnTo>
                    <a:lnTo>
                      <a:pt x="415" y="7"/>
                    </a:lnTo>
                    <a:lnTo>
                      <a:pt x="411" y="8"/>
                    </a:lnTo>
                    <a:lnTo>
                      <a:pt x="410" y="8"/>
                    </a:lnTo>
                    <a:lnTo>
                      <a:pt x="408" y="8"/>
                    </a:lnTo>
                    <a:lnTo>
                      <a:pt x="406" y="4"/>
                    </a:lnTo>
                    <a:lnTo>
                      <a:pt x="403" y="0"/>
                    </a:lnTo>
                    <a:lnTo>
                      <a:pt x="400" y="0"/>
                    </a:lnTo>
                    <a:lnTo>
                      <a:pt x="398" y="2"/>
                    </a:lnTo>
                    <a:lnTo>
                      <a:pt x="395" y="6"/>
                    </a:lnTo>
                    <a:lnTo>
                      <a:pt x="392" y="5"/>
                    </a:lnTo>
                    <a:lnTo>
                      <a:pt x="392" y="7"/>
                    </a:lnTo>
                    <a:lnTo>
                      <a:pt x="393" y="8"/>
                    </a:lnTo>
                    <a:lnTo>
                      <a:pt x="394" y="10"/>
                    </a:lnTo>
                    <a:lnTo>
                      <a:pt x="394" y="13"/>
                    </a:lnTo>
                    <a:lnTo>
                      <a:pt x="392" y="15"/>
                    </a:lnTo>
                    <a:lnTo>
                      <a:pt x="392" y="17"/>
                    </a:lnTo>
                    <a:lnTo>
                      <a:pt x="388" y="19"/>
                    </a:lnTo>
                    <a:lnTo>
                      <a:pt x="387" y="19"/>
                    </a:lnTo>
                    <a:lnTo>
                      <a:pt x="386" y="21"/>
                    </a:lnTo>
                    <a:lnTo>
                      <a:pt x="388" y="24"/>
                    </a:lnTo>
                    <a:lnTo>
                      <a:pt x="385" y="27"/>
                    </a:lnTo>
                    <a:lnTo>
                      <a:pt x="384" y="29"/>
                    </a:lnTo>
                    <a:lnTo>
                      <a:pt x="386" y="31"/>
                    </a:lnTo>
                    <a:lnTo>
                      <a:pt x="389" y="32"/>
                    </a:lnTo>
                    <a:lnTo>
                      <a:pt x="391" y="35"/>
                    </a:lnTo>
                    <a:lnTo>
                      <a:pt x="392" y="35"/>
                    </a:lnTo>
                    <a:lnTo>
                      <a:pt x="394" y="35"/>
                    </a:lnTo>
                    <a:lnTo>
                      <a:pt x="398" y="33"/>
                    </a:lnTo>
                    <a:lnTo>
                      <a:pt x="401" y="33"/>
                    </a:lnTo>
                    <a:lnTo>
                      <a:pt x="402" y="35"/>
                    </a:lnTo>
                    <a:lnTo>
                      <a:pt x="402" y="36"/>
                    </a:lnTo>
                    <a:lnTo>
                      <a:pt x="402" y="39"/>
                    </a:lnTo>
                    <a:lnTo>
                      <a:pt x="400" y="39"/>
                    </a:lnTo>
                    <a:lnTo>
                      <a:pt x="398" y="38"/>
                    </a:lnTo>
                    <a:lnTo>
                      <a:pt x="394" y="42"/>
                    </a:lnTo>
                    <a:lnTo>
                      <a:pt x="398" y="45"/>
                    </a:lnTo>
                    <a:lnTo>
                      <a:pt x="398" y="46"/>
                    </a:lnTo>
                    <a:lnTo>
                      <a:pt x="397" y="47"/>
                    </a:lnTo>
                    <a:lnTo>
                      <a:pt x="400" y="50"/>
                    </a:lnTo>
                    <a:lnTo>
                      <a:pt x="405" y="51"/>
                    </a:lnTo>
                    <a:lnTo>
                      <a:pt x="406" y="53"/>
                    </a:lnTo>
                    <a:lnTo>
                      <a:pt x="407" y="53"/>
                    </a:lnTo>
                    <a:lnTo>
                      <a:pt x="409" y="55"/>
                    </a:lnTo>
                    <a:lnTo>
                      <a:pt x="411" y="55"/>
                    </a:lnTo>
                    <a:lnTo>
                      <a:pt x="411" y="57"/>
                    </a:lnTo>
                    <a:lnTo>
                      <a:pt x="412" y="57"/>
                    </a:lnTo>
                    <a:lnTo>
                      <a:pt x="416" y="56"/>
                    </a:lnTo>
                    <a:lnTo>
                      <a:pt x="418" y="59"/>
                    </a:lnTo>
                    <a:lnTo>
                      <a:pt x="419" y="61"/>
                    </a:lnTo>
                    <a:lnTo>
                      <a:pt x="418" y="62"/>
                    </a:lnTo>
                    <a:lnTo>
                      <a:pt x="418" y="65"/>
                    </a:lnTo>
                    <a:lnTo>
                      <a:pt x="415" y="66"/>
                    </a:lnTo>
                    <a:lnTo>
                      <a:pt x="416" y="66"/>
                    </a:lnTo>
                    <a:lnTo>
                      <a:pt x="416" y="68"/>
                    </a:lnTo>
                    <a:lnTo>
                      <a:pt x="414" y="67"/>
                    </a:lnTo>
                    <a:lnTo>
                      <a:pt x="414" y="68"/>
                    </a:lnTo>
                    <a:lnTo>
                      <a:pt x="414" y="72"/>
                    </a:lnTo>
                    <a:lnTo>
                      <a:pt x="413" y="76"/>
                    </a:lnTo>
                    <a:lnTo>
                      <a:pt x="410" y="76"/>
                    </a:lnTo>
                    <a:lnTo>
                      <a:pt x="405" y="74"/>
                    </a:lnTo>
                    <a:lnTo>
                      <a:pt x="405" y="75"/>
                    </a:lnTo>
                    <a:lnTo>
                      <a:pt x="403" y="73"/>
                    </a:lnTo>
                    <a:lnTo>
                      <a:pt x="403" y="76"/>
                    </a:lnTo>
                    <a:lnTo>
                      <a:pt x="402" y="78"/>
                    </a:lnTo>
                    <a:lnTo>
                      <a:pt x="397" y="78"/>
                    </a:lnTo>
                    <a:lnTo>
                      <a:pt x="395" y="78"/>
                    </a:lnTo>
                    <a:lnTo>
                      <a:pt x="390" y="79"/>
                    </a:lnTo>
                    <a:lnTo>
                      <a:pt x="387" y="78"/>
                    </a:lnTo>
                    <a:lnTo>
                      <a:pt x="386" y="75"/>
                    </a:lnTo>
                    <a:lnTo>
                      <a:pt x="382" y="73"/>
                    </a:lnTo>
                    <a:lnTo>
                      <a:pt x="377" y="76"/>
                    </a:lnTo>
                    <a:lnTo>
                      <a:pt x="375" y="76"/>
                    </a:lnTo>
                    <a:lnTo>
                      <a:pt x="372" y="75"/>
                    </a:lnTo>
                    <a:lnTo>
                      <a:pt x="372" y="79"/>
                    </a:lnTo>
                    <a:lnTo>
                      <a:pt x="367" y="87"/>
                    </a:lnTo>
                    <a:lnTo>
                      <a:pt x="366" y="87"/>
                    </a:lnTo>
                    <a:lnTo>
                      <a:pt x="361" y="90"/>
                    </a:lnTo>
                    <a:lnTo>
                      <a:pt x="360" y="90"/>
                    </a:lnTo>
                    <a:lnTo>
                      <a:pt x="358" y="91"/>
                    </a:lnTo>
                    <a:lnTo>
                      <a:pt x="351" y="91"/>
                    </a:lnTo>
                    <a:lnTo>
                      <a:pt x="342" y="96"/>
                    </a:lnTo>
                    <a:lnTo>
                      <a:pt x="340" y="95"/>
                    </a:lnTo>
                    <a:lnTo>
                      <a:pt x="337" y="97"/>
                    </a:lnTo>
                    <a:lnTo>
                      <a:pt x="335" y="97"/>
                    </a:lnTo>
                    <a:lnTo>
                      <a:pt x="333" y="98"/>
                    </a:lnTo>
                    <a:lnTo>
                      <a:pt x="330" y="98"/>
                    </a:lnTo>
                    <a:lnTo>
                      <a:pt x="327" y="101"/>
                    </a:lnTo>
                    <a:lnTo>
                      <a:pt x="326" y="103"/>
                    </a:lnTo>
                    <a:lnTo>
                      <a:pt x="325" y="104"/>
                    </a:lnTo>
                    <a:lnTo>
                      <a:pt x="322" y="104"/>
                    </a:lnTo>
                    <a:lnTo>
                      <a:pt x="321" y="103"/>
                    </a:lnTo>
                    <a:lnTo>
                      <a:pt x="318" y="103"/>
                    </a:lnTo>
                    <a:lnTo>
                      <a:pt x="316" y="103"/>
                    </a:lnTo>
                    <a:lnTo>
                      <a:pt x="314" y="106"/>
                    </a:lnTo>
                    <a:lnTo>
                      <a:pt x="310" y="102"/>
                    </a:lnTo>
                    <a:lnTo>
                      <a:pt x="307" y="101"/>
                    </a:lnTo>
                    <a:lnTo>
                      <a:pt x="307" y="99"/>
                    </a:lnTo>
                    <a:lnTo>
                      <a:pt x="304" y="96"/>
                    </a:lnTo>
                    <a:lnTo>
                      <a:pt x="302" y="98"/>
                    </a:lnTo>
                    <a:lnTo>
                      <a:pt x="298" y="100"/>
                    </a:lnTo>
                    <a:lnTo>
                      <a:pt x="294" y="100"/>
                    </a:lnTo>
                    <a:lnTo>
                      <a:pt x="293" y="100"/>
                    </a:lnTo>
                    <a:lnTo>
                      <a:pt x="293" y="104"/>
                    </a:lnTo>
                    <a:lnTo>
                      <a:pt x="291" y="105"/>
                    </a:lnTo>
                    <a:lnTo>
                      <a:pt x="290" y="106"/>
                    </a:lnTo>
                    <a:lnTo>
                      <a:pt x="288" y="108"/>
                    </a:lnTo>
                    <a:lnTo>
                      <a:pt x="283" y="107"/>
                    </a:lnTo>
                    <a:lnTo>
                      <a:pt x="280" y="104"/>
                    </a:lnTo>
                    <a:lnTo>
                      <a:pt x="277" y="106"/>
                    </a:lnTo>
                    <a:lnTo>
                      <a:pt x="277" y="108"/>
                    </a:lnTo>
                    <a:lnTo>
                      <a:pt x="276" y="111"/>
                    </a:lnTo>
                    <a:lnTo>
                      <a:pt x="275" y="113"/>
                    </a:lnTo>
                    <a:lnTo>
                      <a:pt x="273" y="116"/>
                    </a:lnTo>
                    <a:lnTo>
                      <a:pt x="274" y="119"/>
                    </a:lnTo>
                    <a:lnTo>
                      <a:pt x="276" y="123"/>
                    </a:lnTo>
                    <a:lnTo>
                      <a:pt x="274" y="127"/>
                    </a:lnTo>
                    <a:lnTo>
                      <a:pt x="271" y="129"/>
                    </a:lnTo>
                    <a:lnTo>
                      <a:pt x="269" y="130"/>
                    </a:lnTo>
                    <a:lnTo>
                      <a:pt x="267" y="127"/>
                    </a:lnTo>
                    <a:lnTo>
                      <a:pt x="265" y="127"/>
                    </a:lnTo>
                    <a:lnTo>
                      <a:pt x="264" y="130"/>
                    </a:lnTo>
                    <a:lnTo>
                      <a:pt x="263" y="134"/>
                    </a:lnTo>
                    <a:lnTo>
                      <a:pt x="260" y="134"/>
                    </a:lnTo>
                    <a:lnTo>
                      <a:pt x="257" y="133"/>
                    </a:lnTo>
                    <a:lnTo>
                      <a:pt x="256" y="134"/>
                    </a:lnTo>
                    <a:lnTo>
                      <a:pt x="255" y="134"/>
                    </a:lnTo>
                    <a:lnTo>
                      <a:pt x="252" y="130"/>
                    </a:lnTo>
                    <a:lnTo>
                      <a:pt x="250" y="129"/>
                    </a:lnTo>
                    <a:lnTo>
                      <a:pt x="248" y="128"/>
                    </a:lnTo>
                    <a:lnTo>
                      <a:pt x="246" y="129"/>
                    </a:lnTo>
                    <a:lnTo>
                      <a:pt x="245" y="127"/>
                    </a:lnTo>
                    <a:lnTo>
                      <a:pt x="244" y="128"/>
                    </a:lnTo>
                    <a:lnTo>
                      <a:pt x="243" y="126"/>
                    </a:lnTo>
                    <a:lnTo>
                      <a:pt x="241" y="127"/>
                    </a:lnTo>
                    <a:lnTo>
                      <a:pt x="239" y="126"/>
                    </a:lnTo>
                    <a:lnTo>
                      <a:pt x="237" y="126"/>
                    </a:lnTo>
                    <a:lnTo>
                      <a:pt x="236" y="128"/>
                    </a:lnTo>
                    <a:lnTo>
                      <a:pt x="234" y="129"/>
                    </a:lnTo>
                    <a:lnTo>
                      <a:pt x="232" y="129"/>
                    </a:lnTo>
                    <a:lnTo>
                      <a:pt x="229" y="125"/>
                    </a:lnTo>
                    <a:lnTo>
                      <a:pt x="225" y="129"/>
                    </a:lnTo>
                    <a:lnTo>
                      <a:pt x="223" y="129"/>
                    </a:lnTo>
                    <a:lnTo>
                      <a:pt x="224" y="131"/>
                    </a:lnTo>
                    <a:lnTo>
                      <a:pt x="223" y="133"/>
                    </a:lnTo>
                    <a:lnTo>
                      <a:pt x="219" y="130"/>
                    </a:lnTo>
                    <a:lnTo>
                      <a:pt x="217" y="127"/>
                    </a:lnTo>
                    <a:lnTo>
                      <a:pt x="212" y="123"/>
                    </a:lnTo>
                    <a:lnTo>
                      <a:pt x="207" y="123"/>
                    </a:lnTo>
                    <a:lnTo>
                      <a:pt x="204" y="125"/>
                    </a:lnTo>
                    <a:lnTo>
                      <a:pt x="201" y="126"/>
                    </a:lnTo>
                    <a:lnTo>
                      <a:pt x="201" y="129"/>
                    </a:lnTo>
                    <a:lnTo>
                      <a:pt x="197" y="129"/>
                    </a:lnTo>
                    <a:lnTo>
                      <a:pt x="195" y="130"/>
                    </a:lnTo>
                    <a:lnTo>
                      <a:pt x="191" y="129"/>
                    </a:lnTo>
                    <a:lnTo>
                      <a:pt x="187" y="127"/>
                    </a:lnTo>
                    <a:lnTo>
                      <a:pt x="186" y="128"/>
                    </a:lnTo>
                    <a:lnTo>
                      <a:pt x="184" y="127"/>
                    </a:lnTo>
                    <a:lnTo>
                      <a:pt x="182" y="127"/>
                    </a:lnTo>
                    <a:lnTo>
                      <a:pt x="179" y="127"/>
                    </a:lnTo>
                    <a:lnTo>
                      <a:pt x="177" y="130"/>
                    </a:lnTo>
                    <a:lnTo>
                      <a:pt x="174" y="129"/>
                    </a:lnTo>
                    <a:lnTo>
                      <a:pt x="174" y="133"/>
                    </a:lnTo>
                    <a:lnTo>
                      <a:pt x="176" y="137"/>
                    </a:lnTo>
                    <a:lnTo>
                      <a:pt x="177" y="139"/>
                    </a:lnTo>
                    <a:lnTo>
                      <a:pt x="177" y="143"/>
                    </a:lnTo>
                    <a:lnTo>
                      <a:pt x="176" y="144"/>
                    </a:lnTo>
                    <a:lnTo>
                      <a:pt x="176" y="147"/>
                    </a:lnTo>
                    <a:lnTo>
                      <a:pt x="175" y="147"/>
                    </a:lnTo>
                    <a:lnTo>
                      <a:pt x="173" y="147"/>
                    </a:lnTo>
                    <a:lnTo>
                      <a:pt x="167" y="153"/>
                    </a:lnTo>
                    <a:lnTo>
                      <a:pt x="168" y="156"/>
                    </a:lnTo>
                    <a:lnTo>
                      <a:pt x="170" y="156"/>
                    </a:lnTo>
                    <a:lnTo>
                      <a:pt x="170" y="160"/>
                    </a:lnTo>
                    <a:lnTo>
                      <a:pt x="168" y="161"/>
                    </a:lnTo>
                    <a:lnTo>
                      <a:pt x="163" y="161"/>
                    </a:lnTo>
                    <a:lnTo>
                      <a:pt x="162" y="163"/>
                    </a:lnTo>
                    <a:lnTo>
                      <a:pt x="161" y="166"/>
                    </a:lnTo>
                    <a:lnTo>
                      <a:pt x="155" y="169"/>
                    </a:lnTo>
                    <a:lnTo>
                      <a:pt x="155" y="170"/>
                    </a:lnTo>
                    <a:lnTo>
                      <a:pt x="154" y="172"/>
                    </a:lnTo>
                    <a:lnTo>
                      <a:pt x="151" y="174"/>
                    </a:lnTo>
                    <a:lnTo>
                      <a:pt x="146" y="170"/>
                    </a:lnTo>
                    <a:lnTo>
                      <a:pt x="143" y="169"/>
                    </a:lnTo>
                    <a:lnTo>
                      <a:pt x="142" y="168"/>
                    </a:lnTo>
                    <a:lnTo>
                      <a:pt x="142" y="166"/>
                    </a:lnTo>
                    <a:lnTo>
                      <a:pt x="139" y="166"/>
                    </a:lnTo>
                    <a:lnTo>
                      <a:pt x="139" y="165"/>
                    </a:lnTo>
                    <a:lnTo>
                      <a:pt x="139" y="163"/>
                    </a:lnTo>
                    <a:lnTo>
                      <a:pt x="138" y="157"/>
                    </a:lnTo>
                    <a:lnTo>
                      <a:pt x="135" y="153"/>
                    </a:lnTo>
                    <a:lnTo>
                      <a:pt x="135" y="151"/>
                    </a:lnTo>
                    <a:lnTo>
                      <a:pt x="133" y="150"/>
                    </a:lnTo>
                    <a:lnTo>
                      <a:pt x="133" y="151"/>
                    </a:lnTo>
                    <a:lnTo>
                      <a:pt x="131" y="149"/>
                    </a:lnTo>
                    <a:lnTo>
                      <a:pt x="130" y="147"/>
                    </a:lnTo>
                    <a:lnTo>
                      <a:pt x="130" y="157"/>
                    </a:lnTo>
                    <a:lnTo>
                      <a:pt x="130" y="159"/>
                    </a:lnTo>
                    <a:lnTo>
                      <a:pt x="128" y="160"/>
                    </a:lnTo>
                    <a:lnTo>
                      <a:pt x="127" y="162"/>
                    </a:lnTo>
                    <a:lnTo>
                      <a:pt x="126" y="163"/>
                    </a:lnTo>
                    <a:lnTo>
                      <a:pt x="125" y="163"/>
                    </a:lnTo>
                    <a:lnTo>
                      <a:pt x="124" y="163"/>
                    </a:lnTo>
                    <a:lnTo>
                      <a:pt x="118" y="164"/>
                    </a:lnTo>
                    <a:lnTo>
                      <a:pt x="119" y="165"/>
                    </a:lnTo>
                    <a:lnTo>
                      <a:pt x="118" y="166"/>
                    </a:lnTo>
                    <a:lnTo>
                      <a:pt x="114" y="166"/>
                    </a:lnTo>
                    <a:lnTo>
                      <a:pt x="114" y="167"/>
                    </a:lnTo>
                    <a:lnTo>
                      <a:pt x="113" y="168"/>
                    </a:lnTo>
                    <a:lnTo>
                      <a:pt x="113" y="171"/>
                    </a:lnTo>
                    <a:lnTo>
                      <a:pt x="113" y="174"/>
                    </a:lnTo>
                    <a:lnTo>
                      <a:pt x="113" y="175"/>
                    </a:lnTo>
                    <a:lnTo>
                      <a:pt x="113" y="178"/>
                    </a:lnTo>
                    <a:lnTo>
                      <a:pt x="109" y="179"/>
                    </a:lnTo>
                    <a:lnTo>
                      <a:pt x="106" y="178"/>
                    </a:lnTo>
                    <a:lnTo>
                      <a:pt x="104" y="180"/>
                    </a:lnTo>
                    <a:lnTo>
                      <a:pt x="103" y="174"/>
                    </a:lnTo>
                    <a:lnTo>
                      <a:pt x="103" y="173"/>
                    </a:lnTo>
                    <a:lnTo>
                      <a:pt x="102" y="171"/>
                    </a:lnTo>
                    <a:lnTo>
                      <a:pt x="97" y="170"/>
                    </a:lnTo>
                    <a:lnTo>
                      <a:pt x="95" y="168"/>
                    </a:lnTo>
                    <a:lnTo>
                      <a:pt x="93" y="170"/>
                    </a:lnTo>
                    <a:lnTo>
                      <a:pt x="93" y="172"/>
                    </a:lnTo>
                    <a:lnTo>
                      <a:pt x="91" y="173"/>
                    </a:lnTo>
                    <a:lnTo>
                      <a:pt x="89" y="175"/>
                    </a:lnTo>
                    <a:lnTo>
                      <a:pt x="89" y="176"/>
                    </a:lnTo>
                    <a:lnTo>
                      <a:pt x="89" y="179"/>
                    </a:lnTo>
                    <a:lnTo>
                      <a:pt x="85" y="182"/>
                    </a:lnTo>
                    <a:lnTo>
                      <a:pt x="85" y="184"/>
                    </a:lnTo>
                    <a:lnTo>
                      <a:pt x="85" y="186"/>
                    </a:lnTo>
                    <a:lnTo>
                      <a:pt x="85" y="189"/>
                    </a:lnTo>
                    <a:lnTo>
                      <a:pt x="84" y="190"/>
                    </a:lnTo>
                    <a:lnTo>
                      <a:pt x="83" y="192"/>
                    </a:lnTo>
                    <a:lnTo>
                      <a:pt x="79" y="197"/>
                    </a:lnTo>
                    <a:lnTo>
                      <a:pt x="78" y="200"/>
                    </a:lnTo>
                    <a:lnTo>
                      <a:pt x="74" y="202"/>
                    </a:lnTo>
                    <a:lnTo>
                      <a:pt x="74" y="208"/>
                    </a:lnTo>
                    <a:lnTo>
                      <a:pt x="73" y="208"/>
                    </a:lnTo>
                    <a:lnTo>
                      <a:pt x="72" y="208"/>
                    </a:lnTo>
                    <a:lnTo>
                      <a:pt x="69" y="207"/>
                    </a:lnTo>
                    <a:lnTo>
                      <a:pt x="63" y="204"/>
                    </a:lnTo>
                    <a:lnTo>
                      <a:pt x="61" y="205"/>
                    </a:lnTo>
                    <a:lnTo>
                      <a:pt x="59" y="204"/>
                    </a:lnTo>
                    <a:lnTo>
                      <a:pt x="60" y="202"/>
                    </a:lnTo>
                    <a:lnTo>
                      <a:pt x="59" y="200"/>
                    </a:lnTo>
                    <a:lnTo>
                      <a:pt x="58" y="198"/>
                    </a:lnTo>
                    <a:lnTo>
                      <a:pt x="54" y="200"/>
                    </a:lnTo>
                    <a:lnTo>
                      <a:pt x="49" y="204"/>
                    </a:lnTo>
                    <a:lnTo>
                      <a:pt x="46" y="204"/>
                    </a:lnTo>
                    <a:lnTo>
                      <a:pt x="45" y="205"/>
                    </a:lnTo>
                    <a:lnTo>
                      <a:pt x="37" y="203"/>
                    </a:lnTo>
                    <a:lnTo>
                      <a:pt x="36" y="201"/>
                    </a:lnTo>
                    <a:lnTo>
                      <a:pt x="35" y="198"/>
                    </a:lnTo>
                    <a:lnTo>
                      <a:pt x="33" y="198"/>
                    </a:lnTo>
                    <a:lnTo>
                      <a:pt x="31" y="198"/>
                    </a:lnTo>
                    <a:lnTo>
                      <a:pt x="30" y="202"/>
                    </a:lnTo>
                    <a:lnTo>
                      <a:pt x="27" y="208"/>
                    </a:lnTo>
                    <a:lnTo>
                      <a:pt x="25" y="216"/>
                    </a:lnTo>
                    <a:lnTo>
                      <a:pt x="24" y="220"/>
                    </a:lnTo>
                    <a:lnTo>
                      <a:pt x="24" y="224"/>
                    </a:lnTo>
                    <a:lnTo>
                      <a:pt x="23" y="228"/>
                    </a:lnTo>
                    <a:lnTo>
                      <a:pt x="17" y="231"/>
                    </a:lnTo>
                    <a:lnTo>
                      <a:pt x="15" y="233"/>
                    </a:lnTo>
                    <a:lnTo>
                      <a:pt x="13" y="237"/>
                    </a:lnTo>
                    <a:lnTo>
                      <a:pt x="12" y="238"/>
                    </a:lnTo>
                    <a:lnTo>
                      <a:pt x="7" y="239"/>
                    </a:lnTo>
                    <a:lnTo>
                      <a:pt x="2" y="239"/>
                    </a:lnTo>
                    <a:lnTo>
                      <a:pt x="0" y="240"/>
                    </a:lnTo>
                    <a:lnTo>
                      <a:pt x="0" y="241"/>
                    </a:lnTo>
                    <a:lnTo>
                      <a:pt x="2" y="242"/>
                    </a:lnTo>
                    <a:lnTo>
                      <a:pt x="2" y="243"/>
                    </a:lnTo>
                    <a:lnTo>
                      <a:pt x="6" y="245"/>
                    </a:lnTo>
                    <a:lnTo>
                      <a:pt x="7" y="248"/>
                    </a:lnTo>
                    <a:lnTo>
                      <a:pt x="8" y="251"/>
                    </a:lnTo>
                    <a:lnTo>
                      <a:pt x="12" y="250"/>
                    </a:lnTo>
                    <a:lnTo>
                      <a:pt x="13" y="251"/>
                    </a:lnTo>
                    <a:lnTo>
                      <a:pt x="14" y="251"/>
                    </a:lnTo>
                    <a:lnTo>
                      <a:pt x="13" y="252"/>
                    </a:lnTo>
                    <a:lnTo>
                      <a:pt x="14" y="253"/>
                    </a:lnTo>
                    <a:lnTo>
                      <a:pt x="18" y="251"/>
                    </a:lnTo>
                    <a:lnTo>
                      <a:pt x="21" y="250"/>
                    </a:lnTo>
                    <a:lnTo>
                      <a:pt x="21" y="254"/>
                    </a:lnTo>
                    <a:lnTo>
                      <a:pt x="26" y="257"/>
                    </a:lnTo>
                    <a:lnTo>
                      <a:pt x="27" y="255"/>
                    </a:lnTo>
                    <a:lnTo>
                      <a:pt x="33" y="257"/>
                    </a:lnTo>
                    <a:lnTo>
                      <a:pt x="33" y="255"/>
                    </a:lnTo>
                    <a:lnTo>
                      <a:pt x="36" y="260"/>
                    </a:lnTo>
                    <a:lnTo>
                      <a:pt x="38" y="261"/>
                    </a:lnTo>
                    <a:lnTo>
                      <a:pt x="40" y="260"/>
                    </a:lnTo>
                    <a:lnTo>
                      <a:pt x="40" y="261"/>
                    </a:lnTo>
                    <a:lnTo>
                      <a:pt x="43" y="266"/>
                    </a:lnTo>
                    <a:lnTo>
                      <a:pt x="43" y="267"/>
                    </a:lnTo>
                    <a:lnTo>
                      <a:pt x="40" y="267"/>
                    </a:lnTo>
                    <a:lnTo>
                      <a:pt x="39" y="270"/>
                    </a:lnTo>
                    <a:lnTo>
                      <a:pt x="37" y="271"/>
                    </a:lnTo>
                    <a:lnTo>
                      <a:pt x="37" y="273"/>
                    </a:lnTo>
                    <a:lnTo>
                      <a:pt x="38" y="272"/>
                    </a:lnTo>
                    <a:lnTo>
                      <a:pt x="40" y="274"/>
                    </a:lnTo>
                    <a:lnTo>
                      <a:pt x="41" y="274"/>
                    </a:lnTo>
                    <a:lnTo>
                      <a:pt x="42" y="275"/>
                    </a:lnTo>
                    <a:lnTo>
                      <a:pt x="41" y="275"/>
                    </a:lnTo>
                    <a:lnTo>
                      <a:pt x="43" y="277"/>
                    </a:lnTo>
                    <a:lnTo>
                      <a:pt x="44" y="276"/>
                    </a:lnTo>
                    <a:lnTo>
                      <a:pt x="45" y="276"/>
                    </a:lnTo>
                    <a:lnTo>
                      <a:pt x="45" y="274"/>
                    </a:lnTo>
                    <a:lnTo>
                      <a:pt x="48" y="273"/>
                    </a:lnTo>
                    <a:lnTo>
                      <a:pt x="49" y="274"/>
                    </a:lnTo>
                    <a:lnTo>
                      <a:pt x="53" y="274"/>
                    </a:lnTo>
                    <a:lnTo>
                      <a:pt x="53" y="276"/>
                    </a:lnTo>
                    <a:lnTo>
                      <a:pt x="54" y="276"/>
                    </a:lnTo>
                    <a:lnTo>
                      <a:pt x="54" y="277"/>
                    </a:lnTo>
                    <a:lnTo>
                      <a:pt x="56" y="277"/>
                    </a:lnTo>
                    <a:lnTo>
                      <a:pt x="57" y="278"/>
                    </a:lnTo>
                    <a:lnTo>
                      <a:pt x="61" y="278"/>
                    </a:lnTo>
                    <a:lnTo>
                      <a:pt x="61" y="279"/>
                    </a:lnTo>
                    <a:lnTo>
                      <a:pt x="62" y="278"/>
                    </a:lnTo>
                    <a:lnTo>
                      <a:pt x="64" y="278"/>
                    </a:lnTo>
                    <a:lnTo>
                      <a:pt x="66" y="276"/>
                    </a:lnTo>
                    <a:lnTo>
                      <a:pt x="69" y="275"/>
                    </a:lnTo>
                    <a:lnTo>
                      <a:pt x="69" y="276"/>
                    </a:lnTo>
                    <a:lnTo>
                      <a:pt x="67" y="278"/>
                    </a:lnTo>
                    <a:lnTo>
                      <a:pt x="71" y="281"/>
                    </a:lnTo>
                    <a:lnTo>
                      <a:pt x="72" y="286"/>
                    </a:lnTo>
                    <a:lnTo>
                      <a:pt x="74" y="288"/>
                    </a:lnTo>
                    <a:lnTo>
                      <a:pt x="73" y="289"/>
                    </a:lnTo>
                    <a:lnTo>
                      <a:pt x="73" y="292"/>
                    </a:lnTo>
                    <a:lnTo>
                      <a:pt x="73" y="293"/>
                    </a:lnTo>
                    <a:lnTo>
                      <a:pt x="73" y="295"/>
                    </a:lnTo>
                    <a:lnTo>
                      <a:pt x="71" y="295"/>
                    </a:lnTo>
                    <a:lnTo>
                      <a:pt x="70" y="296"/>
                    </a:lnTo>
                    <a:lnTo>
                      <a:pt x="69" y="297"/>
                    </a:lnTo>
                    <a:lnTo>
                      <a:pt x="69" y="298"/>
                    </a:lnTo>
                    <a:lnTo>
                      <a:pt x="69" y="300"/>
                    </a:lnTo>
                    <a:lnTo>
                      <a:pt x="69" y="301"/>
                    </a:lnTo>
                    <a:lnTo>
                      <a:pt x="70" y="301"/>
                    </a:lnTo>
                    <a:lnTo>
                      <a:pt x="69" y="303"/>
                    </a:lnTo>
                    <a:lnTo>
                      <a:pt x="71" y="304"/>
                    </a:lnTo>
                    <a:lnTo>
                      <a:pt x="70" y="306"/>
                    </a:lnTo>
                    <a:lnTo>
                      <a:pt x="68" y="307"/>
                    </a:lnTo>
                    <a:lnTo>
                      <a:pt x="68" y="309"/>
                    </a:lnTo>
                    <a:lnTo>
                      <a:pt x="69" y="309"/>
                    </a:lnTo>
                    <a:lnTo>
                      <a:pt x="67" y="311"/>
                    </a:lnTo>
                    <a:lnTo>
                      <a:pt x="66" y="311"/>
                    </a:lnTo>
                    <a:lnTo>
                      <a:pt x="67" y="312"/>
                    </a:lnTo>
                    <a:lnTo>
                      <a:pt x="65" y="315"/>
                    </a:lnTo>
                    <a:lnTo>
                      <a:pt x="64" y="315"/>
                    </a:lnTo>
                    <a:lnTo>
                      <a:pt x="64" y="316"/>
                    </a:lnTo>
                    <a:lnTo>
                      <a:pt x="65" y="316"/>
                    </a:lnTo>
                    <a:lnTo>
                      <a:pt x="69" y="318"/>
                    </a:lnTo>
                    <a:lnTo>
                      <a:pt x="68" y="319"/>
                    </a:lnTo>
                    <a:lnTo>
                      <a:pt x="67" y="321"/>
                    </a:lnTo>
                    <a:lnTo>
                      <a:pt x="69" y="322"/>
                    </a:lnTo>
                    <a:lnTo>
                      <a:pt x="69" y="326"/>
                    </a:lnTo>
                    <a:lnTo>
                      <a:pt x="69" y="329"/>
                    </a:lnTo>
                    <a:lnTo>
                      <a:pt x="67" y="330"/>
                    </a:lnTo>
                    <a:lnTo>
                      <a:pt x="65" y="330"/>
                    </a:lnTo>
                    <a:lnTo>
                      <a:pt x="64" y="331"/>
                    </a:lnTo>
                    <a:lnTo>
                      <a:pt x="65" y="332"/>
                    </a:lnTo>
                    <a:lnTo>
                      <a:pt x="64" y="332"/>
                    </a:lnTo>
                    <a:lnTo>
                      <a:pt x="65" y="336"/>
                    </a:lnTo>
                    <a:lnTo>
                      <a:pt x="67" y="337"/>
                    </a:lnTo>
                    <a:lnTo>
                      <a:pt x="69" y="336"/>
                    </a:lnTo>
                    <a:lnTo>
                      <a:pt x="70" y="336"/>
                    </a:lnTo>
                    <a:lnTo>
                      <a:pt x="70" y="338"/>
                    </a:lnTo>
                    <a:lnTo>
                      <a:pt x="72" y="339"/>
                    </a:lnTo>
                    <a:lnTo>
                      <a:pt x="70" y="340"/>
                    </a:lnTo>
                    <a:lnTo>
                      <a:pt x="71" y="342"/>
                    </a:lnTo>
                    <a:lnTo>
                      <a:pt x="70" y="342"/>
                    </a:lnTo>
                    <a:lnTo>
                      <a:pt x="70" y="343"/>
                    </a:lnTo>
                    <a:lnTo>
                      <a:pt x="70" y="345"/>
                    </a:lnTo>
                    <a:lnTo>
                      <a:pt x="67" y="345"/>
                    </a:lnTo>
                    <a:lnTo>
                      <a:pt x="67" y="348"/>
                    </a:lnTo>
                    <a:lnTo>
                      <a:pt x="70" y="349"/>
                    </a:lnTo>
                    <a:lnTo>
                      <a:pt x="72" y="349"/>
                    </a:lnTo>
                    <a:lnTo>
                      <a:pt x="72" y="350"/>
                    </a:lnTo>
                    <a:lnTo>
                      <a:pt x="70" y="352"/>
                    </a:lnTo>
                    <a:lnTo>
                      <a:pt x="71" y="353"/>
                    </a:lnTo>
                    <a:lnTo>
                      <a:pt x="72" y="353"/>
                    </a:lnTo>
                    <a:lnTo>
                      <a:pt x="74" y="355"/>
                    </a:lnTo>
                    <a:lnTo>
                      <a:pt x="73" y="357"/>
                    </a:lnTo>
                    <a:lnTo>
                      <a:pt x="75" y="360"/>
                    </a:lnTo>
                    <a:lnTo>
                      <a:pt x="75" y="363"/>
                    </a:lnTo>
                    <a:lnTo>
                      <a:pt x="75" y="364"/>
                    </a:lnTo>
                    <a:lnTo>
                      <a:pt x="75" y="366"/>
                    </a:lnTo>
                    <a:lnTo>
                      <a:pt x="73" y="368"/>
                    </a:lnTo>
                    <a:lnTo>
                      <a:pt x="77" y="368"/>
                    </a:lnTo>
                    <a:lnTo>
                      <a:pt x="75" y="374"/>
                    </a:lnTo>
                    <a:lnTo>
                      <a:pt x="72" y="372"/>
                    </a:lnTo>
                    <a:lnTo>
                      <a:pt x="70" y="373"/>
                    </a:lnTo>
                    <a:lnTo>
                      <a:pt x="71" y="373"/>
                    </a:lnTo>
                    <a:lnTo>
                      <a:pt x="70" y="375"/>
                    </a:lnTo>
                    <a:lnTo>
                      <a:pt x="73" y="377"/>
                    </a:lnTo>
                    <a:lnTo>
                      <a:pt x="73" y="378"/>
                    </a:lnTo>
                    <a:lnTo>
                      <a:pt x="75" y="379"/>
                    </a:lnTo>
                    <a:lnTo>
                      <a:pt x="73" y="380"/>
                    </a:lnTo>
                    <a:lnTo>
                      <a:pt x="74" y="383"/>
                    </a:lnTo>
                    <a:lnTo>
                      <a:pt x="73" y="383"/>
                    </a:lnTo>
                    <a:lnTo>
                      <a:pt x="70" y="380"/>
                    </a:lnTo>
                    <a:lnTo>
                      <a:pt x="71" y="379"/>
                    </a:lnTo>
                    <a:lnTo>
                      <a:pt x="70" y="379"/>
                    </a:lnTo>
                    <a:lnTo>
                      <a:pt x="69" y="379"/>
                    </a:lnTo>
                    <a:lnTo>
                      <a:pt x="65" y="378"/>
                    </a:lnTo>
                    <a:lnTo>
                      <a:pt x="65" y="379"/>
                    </a:lnTo>
                    <a:lnTo>
                      <a:pt x="65" y="378"/>
                    </a:lnTo>
                    <a:lnTo>
                      <a:pt x="62" y="379"/>
                    </a:lnTo>
                    <a:lnTo>
                      <a:pt x="61" y="380"/>
                    </a:lnTo>
                    <a:lnTo>
                      <a:pt x="62" y="381"/>
                    </a:lnTo>
                    <a:lnTo>
                      <a:pt x="62" y="382"/>
                    </a:lnTo>
                    <a:lnTo>
                      <a:pt x="59" y="382"/>
                    </a:lnTo>
                    <a:lnTo>
                      <a:pt x="60" y="383"/>
                    </a:lnTo>
                    <a:lnTo>
                      <a:pt x="61" y="383"/>
                    </a:lnTo>
                    <a:lnTo>
                      <a:pt x="63" y="387"/>
                    </a:lnTo>
                    <a:lnTo>
                      <a:pt x="64" y="385"/>
                    </a:lnTo>
                    <a:lnTo>
                      <a:pt x="66" y="387"/>
                    </a:lnTo>
                    <a:lnTo>
                      <a:pt x="69" y="386"/>
                    </a:lnTo>
                    <a:lnTo>
                      <a:pt x="71" y="387"/>
                    </a:lnTo>
                    <a:lnTo>
                      <a:pt x="72" y="389"/>
                    </a:lnTo>
                    <a:lnTo>
                      <a:pt x="72" y="390"/>
                    </a:lnTo>
                    <a:lnTo>
                      <a:pt x="74" y="392"/>
                    </a:lnTo>
                    <a:lnTo>
                      <a:pt x="72" y="393"/>
                    </a:lnTo>
                    <a:lnTo>
                      <a:pt x="75" y="393"/>
                    </a:lnTo>
                    <a:lnTo>
                      <a:pt x="75" y="394"/>
                    </a:lnTo>
                    <a:lnTo>
                      <a:pt x="75" y="399"/>
                    </a:lnTo>
                    <a:lnTo>
                      <a:pt x="75" y="400"/>
                    </a:lnTo>
                    <a:lnTo>
                      <a:pt x="76" y="401"/>
                    </a:lnTo>
                    <a:lnTo>
                      <a:pt x="77" y="400"/>
                    </a:lnTo>
                    <a:lnTo>
                      <a:pt x="82" y="402"/>
                    </a:lnTo>
                    <a:lnTo>
                      <a:pt x="82" y="400"/>
                    </a:lnTo>
                    <a:lnTo>
                      <a:pt x="83" y="400"/>
                    </a:lnTo>
                    <a:lnTo>
                      <a:pt x="83" y="404"/>
                    </a:lnTo>
                    <a:lnTo>
                      <a:pt x="82" y="408"/>
                    </a:lnTo>
                    <a:lnTo>
                      <a:pt x="84" y="408"/>
                    </a:lnTo>
                    <a:lnTo>
                      <a:pt x="85" y="406"/>
                    </a:lnTo>
                    <a:lnTo>
                      <a:pt x="87" y="406"/>
                    </a:lnTo>
                    <a:lnTo>
                      <a:pt x="87" y="404"/>
                    </a:lnTo>
                    <a:lnTo>
                      <a:pt x="88" y="403"/>
                    </a:lnTo>
                    <a:lnTo>
                      <a:pt x="89" y="403"/>
                    </a:lnTo>
                    <a:lnTo>
                      <a:pt x="91" y="402"/>
                    </a:lnTo>
                    <a:lnTo>
                      <a:pt x="92" y="403"/>
                    </a:lnTo>
                    <a:lnTo>
                      <a:pt x="90" y="403"/>
                    </a:lnTo>
                    <a:lnTo>
                      <a:pt x="92" y="405"/>
                    </a:lnTo>
                    <a:lnTo>
                      <a:pt x="91" y="408"/>
                    </a:lnTo>
                    <a:lnTo>
                      <a:pt x="92" y="408"/>
                    </a:lnTo>
                    <a:lnTo>
                      <a:pt x="93" y="408"/>
                    </a:lnTo>
                    <a:lnTo>
                      <a:pt x="94" y="408"/>
                    </a:lnTo>
                    <a:lnTo>
                      <a:pt x="94" y="413"/>
                    </a:lnTo>
                    <a:lnTo>
                      <a:pt x="95" y="415"/>
                    </a:lnTo>
                    <a:lnTo>
                      <a:pt x="98" y="413"/>
                    </a:lnTo>
                    <a:lnTo>
                      <a:pt x="99" y="413"/>
                    </a:lnTo>
                    <a:lnTo>
                      <a:pt x="100" y="414"/>
                    </a:lnTo>
                    <a:lnTo>
                      <a:pt x="100" y="413"/>
                    </a:lnTo>
                    <a:lnTo>
                      <a:pt x="103" y="413"/>
                    </a:lnTo>
                    <a:lnTo>
                      <a:pt x="103" y="410"/>
                    </a:lnTo>
                    <a:lnTo>
                      <a:pt x="104" y="411"/>
                    </a:lnTo>
                    <a:lnTo>
                      <a:pt x="105" y="408"/>
                    </a:lnTo>
                    <a:lnTo>
                      <a:pt x="104" y="407"/>
                    </a:lnTo>
                    <a:lnTo>
                      <a:pt x="106" y="406"/>
                    </a:lnTo>
                    <a:lnTo>
                      <a:pt x="107" y="406"/>
                    </a:lnTo>
                    <a:lnTo>
                      <a:pt x="108" y="405"/>
                    </a:lnTo>
                    <a:lnTo>
                      <a:pt x="110" y="405"/>
                    </a:lnTo>
                    <a:lnTo>
                      <a:pt x="110" y="402"/>
                    </a:lnTo>
                    <a:lnTo>
                      <a:pt x="114" y="403"/>
                    </a:lnTo>
                    <a:lnTo>
                      <a:pt x="118" y="406"/>
                    </a:lnTo>
                    <a:lnTo>
                      <a:pt x="119" y="406"/>
                    </a:lnTo>
                    <a:lnTo>
                      <a:pt x="120" y="403"/>
                    </a:lnTo>
                    <a:lnTo>
                      <a:pt x="119" y="403"/>
                    </a:lnTo>
                    <a:lnTo>
                      <a:pt x="120" y="402"/>
                    </a:lnTo>
                    <a:lnTo>
                      <a:pt x="121" y="402"/>
                    </a:lnTo>
                    <a:lnTo>
                      <a:pt x="122" y="402"/>
                    </a:lnTo>
                    <a:lnTo>
                      <a:pt x="122" y="399"/>
                    </a:lnTo>
                    <a:lnTo>
                      <a:pt x="122" y="398"/>
                    </a:lnTo>
                    <a:lnTo>
                      <a:pt x="123" y="394"/>
                    </a:lnTo>
                    <a:lnTo>
                      <a:pt x="123" y="395"/>
                    </a:lnTo>
                    <a:lnTo>
                      <a:pt x="124" y="395"/>
                    </a:lnTo>
                    <a:lnTo>
                      <a:pt x="124" y="396"/>
                    </a:lnTo>
                    <a:lnTo>
                      <a:pt x="126" y="397"/>
                    </a:lnTo>
                    <a:lnTo>
                      <a:pt x="128" y="398"/>
                    </a:lnTo>
                    <a:lnTo>
                      <a:pt x="129" y="396"/>
                    </a:lnTo>
                    <a:lnTo>
                      <a:pt x="129" y="393"/>
                    </a:lnTo>
                    <a:lnTo>
                      <a:pt x="129" y="391"/>
                    </a:lnTo>
                    <a:lnTo>
                      <a:pt x="127" y="389"/>
                    </a:lnTo>
                    <a:lnTo>
                      <a:pt x="131" y="389"/>
                    </a:lnTo>
                    <a:lnTo>
                      <a:pt x="131" y="387"/>
                    </a:lnTo>
                    <a:lnTo>
                      <a:pt x="130" y="383"/>
                    </a:lnTo>
                    <a:lnTo>
                      <a:pt x="131" y="382"/>
                    </a:lnTo>
                    <a:lnTo>
                      <a:pt x="131" y="378"/>
                    </a:lnTo>
                    <a:lnTo>
                      <a:pt x="132" y="380"/>
                    </a:lnTo>
                    <a:lnTo>
                      <a:pt x="132" y="379"/>
                    </a:lnTo>
                    <a:lnTo>
                      <a:pt x="135" y="379"/>
                    </a:lnTo>
                    <a:lnTo>
                      <a:pt x="136" y="379"/>
                    </a:lnTo>
                    <a:lnTo>
                      <a:pt x="136" y="378"/>
                    </a:lnTo>
                    <a:lnTo>
                      <a:pt x="138" y="378"/>
                    </a:lnTo>
                    <a:lnTo>
                      <a:pt x="138" y="377"/>
                    </a:lnTo>
                    <a:lnTo>
                      <a:pt x="139" y="377"/>
                    </a:lnTo>
                    <a:lnTo>
                      <a:pt x="139" y="376"/>
                    </a:lnTo>
                    <a:lnTo>
                      <a:pt x="139" y="374"/>
                    </a:lnTo>
                    <a:lnTo>
                      <a:pt x="141" y="374"/>
                    </a:lnTo>
                    <a:lnTo>
                      <a:pt x="141" y="373"/>
                    </a:lnTo>
                    <a:lnTo>
                      <a:pt x="144" y="373"/>
                    </a:lnTo>
                    <a:lnTo>
                      <a:pt x="145" y="370"/>
                    </a:lnTo>
                    <a:lnTo>
                      <a:pt x="148" y="370"/>
                    </a:lnTo>
                    <a:lnTo>
                      <a:pt x="149" y="370"/>
                    </a:lnTo>
                    <a:lnTo>
                      <a:pt x="149" y="369"/>
                    </a:lnTo>
                    <a:lnTo>
                      <a:pt x="150" y="368"/>
                    </a:lnTo>
                    <a:lnTo>
                      <a:pt x="153" y="373"/>
                    </a:lnTo>
                    <a:lnTo>
                      <a:pt x="154" y="374"/>
                    </a:lnTo>
                    <a:lnTo>
                      <a:pt x="155" y="373"/>
                    </a:lnTo>
                    <a:lnTo>
                      <a:pt x="158" y="373"/>
                    </a:lnTo>
                    <a:lnTo>
                      <a:pt x="162" y="370"/>
                    </a:lnTo>
                    <a:lnTo>
                      <a:pt x="163" y="372"/>
                    </a:lnTo>
                    <a:lnTo>
                      <a:pt x="163" y="370"/>
                    </a:lnTo>
                    <a:lnTo>
                      <a:pt x="169" y="368"/>
                    </a:lnTo>
                    <a:lnTo>
                      <a:pt x="168" y="365"/>
                    </a:lnTo>
                    <a:lnTo>
                      <a:pt x="171" y="366"/>
                    </a:lnTo>
                    <a:lnTo>
                      <a:pt x="172" y="365"/>
                    </a:lnTo>
                    <a:lnTo>
                      <a:pt x="174" y="362"/>
                    </a:lnTo>
                    <a:lnTo>
                      <a:pt x="173" y="361"/>
                    </a:lnTo>
                    <a:lnTo>
                      <a:pt x="174" y="361"/>
                    </a:lnTo>
                    <a:lnTo>
                      <a:pt x="176" y="361"/>
                    </a:lnTo>
                    <a:lnTo>
                      <a:pt x="178" y="359"/>
                    </a:lnTo>
                    <a:lnTo>
                      <a:pt x="183" y="353"/>
                    </a:lnTo>
                    <a:lnTo>
                      <a:pt x="184" y="355"/>
                    </a:lnTo>
                    <a:lnTo>
                      <a:pt x="183" y="355"/>
                    </a:lnTo>
                    <a:lnTo>
                      <a:pt x="183" y="361"/>
                    </a:lnTo>
                    <a:lnTo>
                      <a:pt x="187" y="360"/>
                    </a:lnTo>
                    <a:lnTo>
                      <a:pt x="188" y="361"/>
                    </a:lnTo>
                    <a:lnTo>
                      <a:pt x="190" y="362"/>
                    </a:lnTo>
                    <a:lnTo>
                      <a:pt x="191" y="362"/>
                    </a:lnTo>
                    <a:lnTo>
                      <a:pt x="195" y="361"/>
                    </a:lnTo>
                    <a:lnTo>
                      <a:pt x="202" y="362"/>
                    </a:lnTo>
                    <a:lnTo>
                      <a:pt x="204" y="364"/>
                    </a:lnTo>
                    <a:lnTo>
                      <a:pt x="205" y="361"/>
                    </a:lnTo>
                    <a:lnTo>
                      <a:pt x="206" y="359"/>
                    </a:lnTo>
                    <a:lnTo>
                      <a:pt x="206" y="360"/>
                    </a:lnTo>
                    <a:lnTo>
                      <a:pt x="208" y="356"/>
                    </a:lnTo>
                    <a:lnTo>
                      <a:pt x="209" y="358"/>
                    </a:lnTo>
                    <a:lnTo>
                      <a:pt x="208" y="361"/>
                    </a:lnTo>
                    <a:lnTo>
                      <a:pt x="209" y="361"/>
                    </a:lnTo>
                    <a:lnTo>
                      <a:pt x="211" y="359"/>
                    </a:lnTo>
                    <a:lnTo>
                      <a:pt x="212" y="359"/>
                    </a:lnTo>
                    <a:lnTo>
                      <a:pt x="215" y="355"/>
                    </a:lnTo>
                    <a:lnTo>
                      <a:pt x="218" y="352"/>
                    </a:lnTo>
                    <a:lnTo>
                      <a:pt x="219" y="349"/>
                    </a:lnTo>
                    <a:lnTo>
                      <a:pt x="220" y="349"/>
                    </a:lnTo>
                    <a:lnTo>
                      <a:pt x="223" y="348"/>
                    </a:lnTo>
                    <a:lnTo>
                      <a:pt x="224" y="348"/>
                    </a:lnTo>
                    <a:lnTo>
                      <a:pt x="225" y="351"/>
                    </a:lnTo>
                    <a:lnTo>
                      <a:pt x="226" y="349"/>
                    </a:lnTo>
                    <a:lnTo>
                      <a:pt x="227" y="350"/>
                    </a:lnTo>
                    <a:lnTo>
                      <a:pt x="229" y="356"/>
                    </a:lnTo>
                    <a:lnTo>
                      <a:pt x="228" y="359"/>
                    </a:lnTo>
                    <a:lnTo>
                      <a:pt x="229" y="360"/>
                    </a:lnTo>
                    <a:lnTo>
                      <a:pt x="236" y="359"/>
                    </a:lnTo>
                    <a:lnTo>
                      <a:pt x="236" y="355"/>
                    </a:lnTo>
                    <a:lnTo>
                      <a:pt x="237" y="355"/>
                    </a:lnTo>
                    <a:lnTo>
                      <a:pt x="237" y="352"/>
                    </a:lnTo>
                    <a:lnTo>
                      <a:pt x="239" y="350"/>
                    </a:lnTo>
                    <a:lnTo>
                      <a:pt x="241" y="348"/>
                    </a:lnTo>
                    <a:lnTo>
                      <a:pt x="244" y="348"/>
                    </a:lnTo>
                    <a:lnTo>
                      <a:pt x="250" y="347"/>
                    </a:lnTo>
                    <a:lnTo>
                      <a:pt x="251" y="347"/>
                    </a:lnTo>
                    <a:lnTo>
                      <a:pt x="250" y="348"/>
                    </a:lnTo>
                    <a:lnTo>
                      <a:pt x="254" y="347"/>
                    </a:lnTo>
                    <a:lnTo>
                      <a:pt x="255" y="345"/>
                    </a:lnTo>
                    <a:lnTo>
                      <a:pt x="256" y="345"/>
                    </a:lnTo>
                    <a:lnTo>
                      <a:pt x="258" y="345"/>
                    </a:lnTo>
                    <a:lnTo>
                      <a:pt x="259" y="342"/>
                    </a:lnTo>
                    <a:lnTo>
                      <a:pt x="260" y="342"/>
                    </a:lnTo>
                    <a:lnTo>
                      <a:pt x="261" y="342"/>
                    </a:lnTo>
                    <a:lnTo>
                      <a:pt x="263" y="341"/>
                    </a:lnTo>
                    <a:lnTo>
                      <a:pt x="263" y="339"/>
                    </a:lnTo>
                    <a:lnTo>
                      <a:pt x="263" y="335"/>
                    </a:lnTo>
                    <a:lnTo>
                      <a:pt x="262" y="335"/>
                    </a:lnTo>
                    <a:lnTo>
                      <a:pt x="263" y="335"/>
                    </a:lnTo>
                    <a:lnTo>
                      <a:pt x="263" y="334"/>
                    </a:lnTo>
                    <a:lnTo>
                      <a:pt x="265" y="335"/>
                    </a:lnTo>
                    <a:lnTo>
                      <a:pt x="268" y="335"/>
                    </a:lnTo>
                    <a:lnTo>
                      <a:pt x="268" y="336"/>
                    </a:lnTo>
                    <a:lnTo>
                      <a:pt x="272" y="337"/>
                    </a:lnTo>
                    <a:lnTo>
                      <a:pt x="274" y="337"/>
                    </a:lnTo>
                    <a:lnTo>
                      <a:pt x="274" y="336"/>
                    </a:lnTo>
                    <a:lnTo>
                      <a:pt x="273" y="335"/>
                    </a:lnTo>
                    <a:lnTo>
                      <a:pt x="274" y="335"/>
                    </a:lnTo>
                    <a:lnTo>
                      <a:pt x="273" y="334"/>
                    </a:lnTo>
                    <a:lnTo>
                      <a:pt x="274" y="331"/>
                    </a:lnTo>
                    <a:lnTo>
                      <a:pt x="273" y="329"/>
                    </a:lnTo>
                    <a:lnTo>
                      <a:pt x="272" y="329"/>
                    </a:lnTo>
                    <a:lnTo>
                      <a:pt x="272" y="322"/>
                    </a:lnTo>
                    <a:lnTo>
                      <a:pt x="275" y="322"/>
                    </a:lnTo>
                    <a:lnTo>
                      <a:pt x="274" y="321"/>
                    </a:lnTo>
                    <a:lnTo>
                      <a:pt x="276" y="321"/>
                    </a:lnTo>
                    <a:lnTo>
                      <a:pt x="277" y="319"/>
                    </a:lnTo>
                    <a:lnTo>
                      <a:pt x="279" y="319"/>
                    </a:lnTo>
                    <a:lnTo>
                      <a:pt x="280" y="318"/>
                    </a:lnTo>
                    <a:lnTo>
                      <a:pt x="283" y="318"/>
                    </a:lnTo>
                    <a:lnTo>
                      <a:pt x="285" y="321"/>
                    </a:lnTo>
                    <a:lnTo>
                      <a:pt x="286" y="321"/>
                    </a:lnTo>
                    <a:lnTo>
                      <a:pt x="286" y="319"/>
                    </a:lnTo>
                    <a:lnTo>
                      <a:pt x="288" y="319"/>
                    </a:lnTo>
                    <a:lnTo>
                      <a:pt x="292" y="322"/>
                    </a:lnTo>
                    <a:lnTo>
                      <a:pt x="296" y="323"/>
                    </a:lnTo>
                    <a:lnTo>
                      <a:pt x="296" y="325"/>
                    </a:lnTo>
                    <a:lnTo>
                      <a:pt x="297" y="325"/>
                    </a:lnTo>
                    <a:lnTo>
                      <a:pt x="297" y="326"/>
                    </a:lnTo>
                    <a:lnTo>
                      <a:pt x="298" y="326"/>
                    </a:lnTo>
                    <a:lnTo>
                      <a:pt x="303" y="326"/>
                    </a:lnTo>
                    <a:lnTo>
                      <a:pt x="309" y="327"/>
                    </a:lnTo>
                    <a:lnTo>
                      <a:pt x="309" y="329"/>
                    </a:lnTo>
                    <a:lnTo>
                      <a:pt x="311" y="329"/>
                    </a:lnTo>
                    <a:lnTo>
                      <a:pt x="315" y="330"/>
                    </a:lnTo>
                    <a:lnTo>
                      <a:pt x="315" y="331"/>
                    </a:lnTo>
                    <a:lnTo>
                      <a:pt x="316" y="330"/>
                    </a:lnTo>
                    <a:lnTo>
                      <a:pt x="322" y="330"/>
                    </a:lnTo>
                    <a:lnTo>
                      <a:pt x="323" y="329"/>
                    </a:lnTo>
                    <a:lnTo>
                      <a:pt x="326" y="331"/>
                    </a:lnTo>
                    <a:lnTo>
                      <a:pt x="327" y="328"/>
                    </a:lnTo>
                    <a:lnTo>
                      <a:pt x="326" y="326"/>
                    </a:lnTo>
                    <a:lnTo>
                      <a:pt x="330" y="328"/>
                    </a:lnTo>
                    <a:lnTo>
                      <a:pt x="330" y="329"/>
                    </a:lnTo>
                    <a:lnTo>
                      <a:pt x="331" y="331"/>
                    </a:lnTo>
                    <a:lnTo>
                      <a:pt x="331" y="330"/>
                    </a:lnTo>
                    <a:lnTo>
                      <a:pt x="334" y="332"/>
                    </a:lnTo>
                    <a:lnTo>
                      <a:pt x="334" y="331"/>
                    </a:lnTo>
                    <a:lnTo>
                      <a:pt x="335" y="331"/>
                    </a:lnTo>
                    <a:lnTo>
                      <a:pt x="336" y="329"/>
                    </a:lnTo>
                    <a:lnTo>
                      <a:pt x="341" y="334"/>
                    </a:lnTo>
                    <a:lnTo>
                      <a:pt x="343" y="335"/>
                    </a:lnTo>
                    <a:lnTo>
                      <a:pt x="343" y="336"/>
                    </a:lnTo>
                    <a:lnTo>
                      <a:pt x="344" y="336"/>
                    </a:lnTo>
                    <a:lnTo>
                      <a:pt x="346" y="332"/>
                    </a:lnTo>
                    <a:lnTo>
                      <a:pt x="348" y="331"/>
                    </a:lnTo>
                    <a:lnTo>
                      <a:pt x="348" y="330"/>
                    </a:lnTo>
                    <a:lnTo>
                      <a:pt x="350" y="326"/>
                    </a:lnTo>
                    <a:lnTo>
                      <a:pt x="351" y="327"/>
                    </a:lnTo>
                    <a:lnTo>
                      <a:pt x="353" y="325"/>
                    </a:lnTo>
                    <a:lnTo>
                      <a:pt x="355" y="328"/>
                    </a:lnTo>
                    <a:lnTo>
                      <a:pt x="357" y="329"/>
                    </a:lnTo>
                    <a:lnTo>
                      <a:pt x="358" y="328"/>
                    </a:lnTo>
                    <a:lnTo>
                      <a:pt x="358" y="327"/>
                    </a:lnTo>
                    <a:lnTo>
                      <a:pt x="359" y="329"/>
                    </a:lnTo>
                    <a:lnTo>
                      <a:pt x="361" y="329"/>
                    </a:lnTo>
                    <a:lnTo>
                      <a:pt x="361" y="326"/>
                    </a:lnTo>
                    <a:lnTo>
                      <a:pt x="365" y="328"/>
                    </a:lnTo>
                    <a:lnTo>
                      <a:pt x="365" y="326"/>
                    </a:lnTo>
                    <a:lnTo>
                      <a:pt x="366" y="326"/>
                    </a:lnTo>
                    <a:lnTo>
                      <a:pt x="367" y="326"/>
                    </a:lnTo>
                    <a:lnTo>
                      <a:pt x="369" y="326"/>
                    </a:lnTo>
                    <a:lnTo>
                      <a:pt x="369" y="327"/>
                    </a:lnTo>
                    <a:lnTo>
                      <a:pt x="370" y="328"/>
                    </a:lnTo>
                    <a:lnTo>
                      <a:pt x="370" y="329"/>
                    </a:lnTo>
                    <a:lnTo>
                      <a:pt x="372" y="329"/>
                    </a:lnTo>
                    <a:lnTo>
                      <a:pt x="372" y="331"/>
                    </a:lnTo>
                    <a:lnTo>
                      <a:pt x="372" y="330"/>
                    </a:lnTo>
                    <a:lnTo>
                      <a:pt x="374" y="331"/>
                    </a:lnTo>
                    <a:lnTo>
                      <a:pt x="372" y="329"/>
                    </a:lnTo>
                    <a:lnTo>
                      <a:pt x="374" y="329"/>
                    </a:lnTo>
                    <a:lnTo>
                      <a:pt x="374" y="330"/>
                    </a:lnTo>
                    <a:lnTo>
                      <a:pt x="374" y="331"/>
                    </a:lnTo>
                    <a:lnTo>
                      <a:pt x="375" y="330"/>
                    </a:lnTo>
                    <a:lnTo>
                      <a:pt x="376" y="330"/>
                    </a:lnTo>
                    <a:lnTo>
                      <a:pt x="378" y="326"/>
                    </a:lnTo>
                    <a:lnTo>
                      <a:pt x="378" y="324"/>
                    </a:lnTo>
                    <a:lnTo>
                      <a:pt x="378" y="323"/>
                    </a:lnTo>
                    <a:lnTo>
                      <a:pt x="377" y="322"/>
                    </a:lnTo>
                    <a:lnTo>
                      <a:pt x="378" y="322"/>
                    </a:lnTo>
                    <a:lnTo>
                      <a:pt x="378" y="318"/>
                    </a:lnTo>
                    <a:lnTo>
                      <a:pt x="381" y="319"/>
                    </a:lnTo>
                    <a:lnTo>
                      <a:pt x="381" y="314"/>
                    </a:lnTo>
                    <a:lnTo>
                      <a:pt x="381" y="312"/>
                    </a:lnTo>
                    <a:lnTo>
                      <a:pt x="382" y="312"/>
                    </a:lnTo>
                    <a:lnTo>
                      <a:pt x="382" y="310"/>
                    </a:lnTo>
                    <a:lnTo>
                      <a:pt x="381" y="309"/>
                    </a:lnTo>
                    <a:lnTo>
                      <a:pt x="380" y="308"/>
                    </a:lnTo>
                    <a:lnTo>
                      <a:pt x="380" y="306"/>
                    </a:lnTo>
                    <a:lnTo>
                      <a:pt x="378" y="305"/>
                    </a:lnTo>
                    <a:lnTo>
                      <a:pt x="378" y="304"/>
                    </a:lnTo>
                    <a:lnTo>
                      <a:pt x="381" y="302"/>
                    </a:lnTo>
                    <a:lnTo>
                      <a:pt x="381" y="304"/>
                    </a:lnTo>
                    <a:lnTo>
                      <a:pt x="382" y="303"/>
                    </a:lnTo>
                    <a:lnTo>
                      <a:pt x="381" y="302"/>
                    </a:lnTo>
                    <a:lnTo>
                      <a:pt x="381" y="301"/>
                    </a:lnTo>
                    <a:lnTo>
                      <a:pt x="380" y="299"/>
                    </a:lnTo>
                    <a:lnTo>
                      <a:pt x="381" y="298"/>
                    </a:lnTo>
                    <a:lnTo>
                      <a:pt x="381" y="297"/>
                    </a:lnTo>
                    <a:lnTo>
                      <a:pt x="381" y="296"/>
                    </a:lnTo>
                    <a:lnTo>
                      <a:pt x="379" y="295"/>
                    </a:lnTo>
                    <a:lnTo>
                      <a:pt x="379" y="294"/>
                    </a:lnTo>
                    <a:lnTo>
                      <a:pt x="381" y="293"/>
                    </a:lnTo>
                    <a:lnTo>
                      <a:pt x="382" y="293"/>
                    </a:lnTo>
                    <a:lnTo>
                      <a:pt x="382" y="292"/>
                    </a:lnTo>
                    <a:lnTo>
                      <a:pt x="384" y="291"/>
                    </a:lnTo>
                    <a:lnTo>
                      <a:pt x="388" y="296"/>
                    </a:lnTo>
                    <a:lnTo>
                      <a:pt x="394" y="300"/>
                    </a:lnTo>
                    <a:lnTo>
                      <a:pt x="394" y="298"/>
                    </a:lnTo>
                    <a:lnTo>
                      <a:pt x="395" y="299"/>
                    </a:lnTo>
                    <a:lnTo>
                      <a:pt x="394" y="298"/>
                    </a:lnTo>
                    <a:lnTo>
                      <a:pt x="395" y="296"/>
                    </a:lnTo>
                    <a:lnTo>
                      <a:pt x="393" y="296"/>
                    </a:lnTo>
                    <a:lnTo>
                      <a:pt x="392" y="295"/>
                    </a:lnTo>
                    <a:lnTo>
                      <a:pt x="394" y="293"/>
                    </a:lnTo>
                    <a:lnTo>
                      <a:pt x="395" y="295"/>
                    </a:lnTo>
                    <a:lnTo>
                      <a:pt x="396" y="293"/>
                    </a:lnTo>
                    <a:lnTo>
                      <a:pt x="395" y="292"/>
                    </a:lnTo>
                    <a:lnTo>
                      <a:pt x="397" y="292"/>
                    </a:lnTo>
                    <a:lnTo>
                      <a:pt x="397" y="285"/>
                    </a:lnTo>
                    <a:lnTo>
                      <a:pt x="401" y="289"/>
                    </a:lnTo>
                    <a:lnTo>
                      <a:pt x="404" y="289"/>
                    </a:lnTo>
                    <a:lnTo>
                      <a:pt x="404" y="286"/>
                    </a:lnTo>
                    <a:lnTo>
                      <a:pt x="407" y="289"/>
                    </a:lnTo>
                    <a:lnTo>
                      <a:pt x="410" y="289"/>
                    </a:lnTo>
                    <a:lnTo>
                      <a:pt x="410" y="285"/>
                    </a:lnTo>
                    <a:lnTo>
                      <a:pt x="411" y="284"/>
                    </a:lnTo>
                    <a:lnTo>
                      <a:pt x="411" y="281"/>
                    </a:lnTo>
                    <a:lnTo>
                      <a:pt x="411" y="280"/>
                    </a:lnTo>
                    <a:lnTo>
                      <a:pt x="410" y="279"/>
                    </a:lnTo>
                    <a:lnTo>
                      <a:pt x="411" y="279"/>
                    </a:lnTo>
                    <a:lnTo>
                      <a:pt x="411" y="275"/>
                    </a:lnTo>
                    <a:lnTo>
                      <a:pt x="408" y="267"/>
                    </a:lnTo>
                    <a:lnTo>
                      <a:pt x="413" y="266"/>
                    </a:lnTo>
                    <a:lnTo>
                      <a:pt x="413" y="261"/>
                    </a:lnTo>
                    <a:lnTo>
                      <a:pt x="417" y="264"/>
                    </a:lnTo>
                    <a:lnTo>
                      <a:pt x="416" y="261"/>
                    </a:lnTo>
                    <a:lnTo>
                      <a:pt x="416" y="258"/>
                    </a:lnTo>
                    <a:lnTo>
                      <a:pt x="414" y="258"/>
                    </a:lnTo>
                    <a:lnTo>
                      <a:pt x="415" y="255"/>
                    </a:lnTo>
                    <a:lnTo>
                      <a:pt x="413" y="254"/>
                    </a:lnTo>
                    <a:lnTo>
                      <a:pt x="414" y="254"/>
                    </a:lnTo>
                    <a:lnTo>
                      <a:pt x="414" y="253"/>
                    </a:lnTo>
                    <a:lnTo>
                      <a:pt x="413" y="253"/>
                    </a:lnTo>
                    <a:lnTo>
                      <a:pt x="411" y="252"/>
                    </a:lnTo>
                    <a:lnTo>
                      <a:pt x="411" y="253"/>
                    </a:lnTo>
                    <a:lnTo>
                      <a:pt x="410" y="252"/>
                    </a:lnTo>
                    <a:lnTo>
                      <a:pt x="410" y="251"/>
                    </a:lnTo>
                    <a:lnTo>
                      <a:pt x="410" y="252"/>
                    </a:lnTo>
                    <a:lnTo>
                      <a:pt x="406" y="251"/>
                    </a:lnTo>
                    <a:lnTo>
                      <a:pt x="407" y="248"/>
                    </a:lnTo>
                    <a:lnTo>
                      <a:pt x="406" y="249"/>
                    </a:lnTo>
                    <a:lnTo>
                      <a:pt x="406" y="248"/>
                    </a:lnTo>
                    <a:lnTo>
                      <a:pt x="406" y="245"/>
                    </a:lnTo>
                    <a:lnTo>
                      <a:pt x="405" y="245"/>
                    </a:lnTo>
                    <a:lnTo>
                      <a:pt x="406" y="244"/>
                    </a:lnTo>
                    <a:lnTo>
                      <a:pt x="405" y="244"/>
                    </a:lnTo>
                    <a:lnTo>
                      <a:pt x="406" y="242"/>
                    </a:lnTo>
                    <a:lnTo>
                      <a:pt x="405" y="242"/>
                    </a:lnTo>
                    <a:lnTo>
                      <a:pt x="405" y="241"/>
                    </a:lnTo>
                    <a:lnTo>
                      <a:pt x="404" y="238"/>
                    </a:lnTo>
                    <a:lnTo>
                      <a:pt x="402" y="237"/>
                    </a:lnTo>
                    <a:lnTo>
                      <a:pt x="402" y="235"/>
                    </a:lnTo>
                    <a:lnTo>
                      <a:pt x="402" y="231"/>
                    </a:lnTo>
                    <a:lnTo>
                      <a:pt x="402" y="230"/>
                    </a:lnTo>
                    <a:lnTo>
                      <a:pt x="402" y="228"/>
                    </a:lnTo>
                    <a:lnTo>
                      <a:pt x="401" y="228"/>
                    </a:lnTo>
                    <a:lnTo>
                      <a:pt x="401" y="225"/>
                    </a:lnTo>
                    <a:lnTo>
                      <a:pt x="400" y="225"/>
                    </a:lnTo>
                    <a:lnTo>
                      <a:pt x="400" y="224"/>
                    </a:lnTo>
                    <a:lnTo>
                      <a:pt x="400" y="221"/>
                    </a:lnTo>
                    <a:lnTo>
                      <a:pt x="397" y="219"/>
                    </a:lnTo>
                    <a:lnTo>
                      <a:pt x="397" y="218"/>
                    </a:lnTo>
                    <a:lnTo>
                      <a:pt x="396" y="215"/>
                    </a:lnTo>
                    <a:lnTo>
                      <a:pt x="394" y="215"/>
                    </a:lnTo>
                    <a:lnTo>
                      <a:pt x="395" y="213"/>
                    </a:lnTo>
                    <a:lnTo>
                      <a:pt x="395" y="208"/>
                    </a:lnTo>
                    <a:lnTo>
                      <a:pt x="392" y="206"/>
                    </a:lnTo>
                    <a:lnTo>
                      <a:pt x="392" y="204"/>
                    </a:lnTo>
                    <a:lnTo>
                      <a:pt x="393" y="204"/>
                    </a:lnTo>
                    <a:lnTo>
                      <a:pt x="390" y="201"/>
                    </a:lnTo>
                    <a:lnTo>
                      <a:pt x="392" y="197"/>
                    </a:lnTo>
                    <a:lnTo>
                      <a:pt x="392" y="196"/>
                    </a:lnTo>
                    <a:lnTo>
                      <a:pt x="392" y="192"/>
                    </a:lnTo>
                    <a:lnTo>
                      <a:pt x="392" y="191"/>
                    </a:lnTo>
                    <a:lnTo>
                      <a:pt x="392" y="190"/>
                    </a:lnTo>
                    <a:lnTo>
                      <a:pt x="392" y="187"/>
                    </a:lnTo>
                    <a:lnTo>
                      <a:pt x="390" y="187"/>
                    </a:lnTo>
                    <a:lnTo>
                      <a:pt x="388" y="187"/>
                    </a:lnTo>
                    <a:lnTo>
                      <a:pt x="389" y="182"/>
                    </a:lnTo>
                    <a:lnTo>
                      <a:pt x="392" y="177"/>
                    </a:lnTo>
                    <a:lnTo>
                      <a:pt x="398" y="173"/>
                    </a:lnTo>
                    <a:lnTo>
                      <a:pt x="398" y="171"/>
                    </a:lnTo>
                    <a:lnTo>
                      <a:pt x="396" y="169"/>
                    </a:lnTo>
                    <a:lnTo>
                      <a:pt x="397" y="166"/>
                    </a:lnTo>
                    <a:lnTo>
                      <a:pt x="398" y="164"/>
                    </a:lnTo>
                    <a:lnTo>
                      <a:pt x="398" y="161"/>
                    </a:lnTo>
                    <a:lnTo>
                      <a:pt x="400" y="159"/>
                    </a:lnTo>
                    <a:lnTo>
                      <a:pt x="404" y="158"/>
                    </a:lnTo>
                    <a:lnTo>
                      <a:pt x="408" y="157"/>
                    </a:lnTo>
                    <a:lnTo>
                      <a:pt x="410" y="153"/>
                    </a:lnTo>
                    <a:lnTo>
                      <a:pt x="411" y="151"/>
                    </a:lnTo>
                    <a:lnTo>
                      <a:pt x="411" y="153"/>
                    </a:lnTo>
                    <a:lnTo>
                      <a:pt x="411" y="155"/>
                    </a:lnTo>
                    <a:lnTo>
                      <a:pt x="414" y="155"/>
                    </a:lnTo>
                    <a:lnTo>
                      <a:pt x="415" y="153"/>
                    </a:lnTo>
                    <a:lnTo>
                      <a:pt x="412" y="150"/>
                    </a:lnTo>
                    <a:lnTo>
                      <a:pt x="413" y="147"/>
                    </a:lnTo>
                    <a:lnTo>
                      <a:pt x="414" y="147"/>
                    </a:lnTo>
                    <a:lnTo>
                      <a:pt x="414" y="145"/>
                    </a:lnTo>
                    <a:lnTo>
                      <a:pt x="416" y="140"/>
                    </a:lnTo>
                    <a:lnTo>
                      <a:pt x="418" y="137"/>
                    </a:lnTo>
                    <a:lnTo>
                      <a:pt x="418" y="136"/>
                    </a:lnTo>
                    <a:lnTo>
                      <a:pt x="420" y="136"/>
                    </a:lnTo>
                    <a:lnTo>
                      <a:pt x="422" y="138"/>
                    </a:lnTo>
                    <a:lnTo>
                      <a:pt x="424" y="134"/>
                    </a:lnTo>
                    <a:lnTo>
                      <a:pt x="422" y="132"/>
                    </a:lnTo>
                    <a:lnTo>
                      <a:pt x="423" y="130"/>
                    </a:lnTo>
                    <a:lnTo>
                      <a:pt x="426" y="129"/>
                    </a:lnTo>
                    <a:lnTo>
                      <a:pt x="426" y="128"/>
                    </a:lnTo>
                    <a:lnTo>
                      <a:pt x="425" y="127"/>
                    </a:lnTo>
                    <a:lnTo>
                      <a:pt x="424" y="127"/>
                    </a:lnTo>
                    <a:lnTo>
                      <a:pt x="424" y="125"/>
                    </a:lnTo>
                    <a:lnTo>
                      <a:pt x="424" y="124"/>
                    </a:lnTo>
                    <a:lnTo>
                      <a:pt x="425" y="122"/>
                    </a:lnTo>
                    <a:lnTo>
                      <a:pt x="427" y="123"/>
                    </a:lnTo>
                    <a:lnTo>
                      <a:pt x="427" y="122"/>
                    </a:lnTo>
                    <a:lnTo>
                      <a:pt x="425" y="121"/>
                    </a:lnTo>
                    <a:lnTo>
                      <a:pt x="424" y="122"/>
                    </a:lnTo>
                    <a:lnTo>
                      <a:pt x="423" y="121"/>
                    </a:lnTo>
                    <a:lnTo>
                      <a:pt x="424" y="121"/>
                    </a:lnTo>
                    <a:lnTo>
                      <a:pt x="422" y="119"/>
                    </a:lnTo>
                    <a:lnTo>
                      <a:pt x="425" y="118"/>
                    </a:lnTo>
                    <a:lnTo>
                      <a:pt x="427" y="121"/>
                    </a:lnTo>
                    <a:lnTo>
                      <a:pt x="429" y="119"/>
                    </a:lnTo>
                    <a:lnTo>
                      <a:pt x="432" y="118"/>
                    </a:lnTo>
                    <a:lnTo>
                      <a:pt x="433" y="119"/>
                    </a:lnTo>
                    <a:lnTo>
                      <a:pt x="434" y="119"/>
                    </a:lnTo>
                    <a:lnTo>
                      <a:pt x="433" y="121"/>
                    </a:lnTo>
                    <a:lnTo>
                      <a:pt x="432" y="122"/>
                    </a:lnTo>
                    <a:lnTo>
                      <a:pt x="434" y="121"/>
                    </a:lnTo>
                    <a:lnTo>
                      <a:pt x="435" y="122"/>
                    </a:lnTo>
                    <a:lnTo>
                      <a:pt x="435" y="121"/>
                    </a:lnTo>
                    <a:lnTo>
                      <a:pt x="436" y="121"/>
                    </a:lnTo>
                    <a:lnTo>
                      <a:pt x="439" y="124"/>
                    </a:lnTo>
                    <a:lnTo>
                      <a:pt x="440" y="127"/>
                    </a:lnTo>
                    <a:lnTo>
                      <a:pt x="443" y="128"/>
                    </a:lnTo>
                    <a:lnTo>
                      <a:pt x="444" y="129"/>
                    </a:lnTo>
                    <a:lnTo>
                      <a:pt x="446" y="129"/>
                    </a:lnTo>
                    <a:lnTo>
                      <a:pt x="447" y="131"/>
                    </a:lnTo>
                    <a:lnTo>
                      <a:pt x="448" y="129"/>
                    </a:lnTo>
                    <a:lnTo>
                      <a:pt x="448" y="130"/>
                    </a:lnTo>
                    <a:lnTo>
                      <a:pt x="450" y="130"/>
                    </a:lnTo>
                    <a:lnTo>
                      <a:pt x="453" y="129"/>
                    </a:lnTo>
                    <a:lnTo>
                      <a:pt x="454" y="126"/>
                    </a:lnTo>
                    <a:lnTo>
                      <a:pt x="454" y="122"/>
                    </a:lnTo>
                    <a:lnTo>
                      <a:pt x="455" y="120"/>
                    </a:lnTo>
                    <a:lnTo>
                      <a:pt x="455" y="117"/>
                    </a:lnTo>
                    <a:lnTo>
                      <a:pt x="457" y="116"/>
                    </a:lnTo>
                    <a:lnTo>
                      <a:pt x="457" y="112"/>
                    </a:lnTo>
                    <a:lnTo>
                      <a:pt x="457" y="111"/>
                    </a:lnTo>
                    <a:lnTo>
                      <a:pt x="463" y="113"/>
                    </a:lnTo>
                    <a:lnTo>
                      <a:pt x="465" y="112"/>
                    </a:lnTo>
                    <a:lnTo>
                      <a:pt x="467" y="112"/>
                    </a:lnTo>
                    <a:lnTo>
                      <a:pt x="468" y="111"/>
                    </a:lnTo>
                    <a:lnTo>
                      <a:pt x="471" y="104"/>
                    </a:lnTo>
                    <a:lnTo>
                      <a:pt x="472" y="101"/>
                    </a:lnTo>
                    <a:lnTo>
                      <a:pt x="473" y="100"/>
                    </a:lnTo>
                    <a:lnTo>
                      <a:pt x="477" y="91"/>
                    </a:lnTo>
                    <a:lnTo>
                      <a:pt x="479" y="86"/>
                    </a:lnTo>
                    <a:lnTo>
                      <a:pt x="484" y="83"/>
                    </a:lnTo>
                    <a:lnTo>
                      <a:pt x="485" y="74"/>
                    </a:lnTo>
                    <a:lnTo>
                      <a:pt x="484" y="72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5" name="Group 101">
              <a:extLst>
                <a:ext uri="{FF2B5EF4-FFF2-40B4-BE49-F238E27FC236}">
                  <a16:creationId xmlns:a16="http://schemas.microsoft.com/office/drawing/2014/main" id="{DF214C44-6CC5-A786-F9B3-4823179E8A3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67" y="2858"/>
              <a:ext cx="386" cy="374"/>
              <a:chOff x="1267" y="2858"/>
              <a:chExt cx="386" cy="374"/>
            </a:xfrm>
          </p:grpSpPr>
          <p:sp>
            <p:nvSpPr>
              <p:cNvPr id="160" name="Freeform 99">
                <a:extLst>
                  <a:ext uri="{FF2B5EF4-FFF2-40B4-BE49-F238E27FC236}">
                    <a16:creationId xmlns:a16="http://schemas.microsoft.com/office/drawing/2014/main" id="{13E5372E-8D40-C7D7-1C3F-E815895A8C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7" y="2858"/>
                <a:ext cx="386" cy="374"/>
              </a:xfrm>
              <a:custGeom>
                <a:avLst/>
                <a:gdLst>
                  <a:gd name="T0" fmla="*/ 383 w 386"/>
                  <a:gd name="T1" fmla="*/ 303 h 374"/>
                  <a:gd name="T2" fmla="*/ 367 w 386"/>
                  <a:gd name="T3" fmla="*/ 276 h 374"/>
                  <a:gd name="T4" fmla="*/ 348 w 386"/>
                  <a:gd name="T5" fmla="*/ 244 h 374"/>
                  <a:gd name="T6" fmla="*/ 334 w 386"/>
                  <a:gd name="T7" fmla="*/ 216 h 374"/>
                  <a:gd name="T8" fmla="*/ 311 w 386"/>
                  <a:gd name="T9" fmla="*/ 206 h 374"/>
                  <a:gd name="T10" fmla="*/ 295 w 386"/>
                  <a:gd name="T11" fmla="*/ 185 h 374"/>
                  <a:gd name="T12" fmla="*/ 307 w 386"/>
                  <a:gd name="T13" fmla="*/ 174 h 374"/>
                  <a:gd name="T14" fmla="*/ 325 w 386"/>
                  <a:gd name="T15" fmla="*/ 164 h 374"/>
                  <a:gd name="T16" fmla="*/ 354 w 386"/>
                  <a:gd name="T17" fmla="*/ 146 h 374"/>
                  <a:gd name="T18" fmla="*/ 364 w 386"/>
                  <a:gd name="T19" fmla="*/ 111 h 374"/>
                  <a:gd name="T20" fmla="*/ 336 w 386"/>
                  <a:gd name="T21" fmla="*/ 82 h 374"/>
                  <a:gd name="T22" fmla="*/ 304 w 386"/>
                  <a:gd name="T23" fmla="*/ 92 h 374"/>
                  <a:gd name="T24" fmla="*/ 278 w 386"/>
                  <a:gd name="T25" fmla="*/ 79 h 374"/>
                  <a:gd name="T26" fmla="*/ 249 w 386"/>
                  <a:gd name="T27" fmla="*/ 95 h 374"/>
                  <a:gd name="T28" fmla="*/ 252 w 386"/>
                  <a:gd name="T29" fmla="*/ 63 h 374"/>
                  <a:gd name="T30" fmla="*/ 218 w 386"/>
                  <a:gd name="T31" fmla="*/ 56 h 374"/>
                  <a:gd name="T32" fmla="*/ 188 w 386"/>
                  <a:gd name="T33" fmla="*/ 27 h 374"/>
                  <a:gd name="T34" fmla="*/ 142 w 386"/>
                  <a:gd name="T35" fmla="*/ 3 h 374"/>
                  <a:gd name="T36" fmla="*/ 138 w 386"/>
                  <a:gd name="T37" fmla="*/ 47 h 374"/>
                  <a:gd name="T38" fmla="*/ 137 w 386"/>
                  <a:gd name="T39" fmla="*/ 97 h 374"/>
                  <a:gd name="T40" fmla="*/ 149 w 386"/>
                  <a:gd name="T41" fmla="*/ 122 h 374"/>
                  <a:gd name="T42" fmla="*/ 132 w 386"/>
                  <a:gd name="T43" fmla="*/ 119 h 374"/>
                  <a:gd name="T44" fmla="*/ 114 w 386"/>
                  <a:gd name="T45" fmla="*/ 111 h 374"/>
                  <a:gd name="T46" fmla="*/ 97 w 386"/>
                  <a:gd name="T47" fmla="*/ 116 h 374"/>
                  <a:gd name="T48" fmla="*/ 92 w 386"/>
                  <a:gd name="T49" fmla="*/ 134 h 374"/>
                  <a:gd name="T50" fmla="*/ 83 w 386"/>
                  <a:gd name="T51" fmla="*/ 130 h 374"/>
                  <a:gd name="T52" fmla="*/ 71 w 386"/>
                  <a:gd name="T53" fmla="*/ 117 h 374"/>
                  <a:gd name="T54" fmla="*/ 51 w 386"/>
                  <a:gd name="T55" fmla="*/ 110 h 374"/>
                  <a:gd name="T56" fmla="*/ 35 w 386"/>
                  <a:gd name="T57" fmla="*/ 118 h 374"/>
                  <a:gd name="T58" fmla="*/ 15 w 386"/>
                  <a:gd name="T59" fmla="*/ 109 h 374"/>
                  <a:gd name="T60" fmla="*/ 14 w 386"/>
                  <a:gd name="T61" fmla="*/ 129 h 374"/>
                  <a:gd name="T62" fmla="*/ 17 w 386"/>
                  <a:gd name="T63" fmla="*/ 145 h 374"/>
                  <a:gd name="T64" fmla="*/ 11 w 386"/>
                  <a:gd name="T65" fmla="*/ 164 h 374"/>
                  <a:gd name="T66" fmla="*/ 2 w 386"/>
                  <a:gd name="T67" fmla="*/ 175 h 374"/>
                  <a:gd name="T68" fmla="*/ 21 w 386"/>
                  <a:gd name="T69" fmla="*/ 193 h 374"/>
                  <a:gd name="T70" fmla="*/ 26 w 386"/>
                  <a:gd name="T71" fmla="*/ 205 h 374"/>
                  <a:gd name="T72" fmla="*/ 32 w 386"/>
                  <a:gd name="T73" fmla="*/ 219 h 374"/>
                  <a:gd name="T74" fmla="*/ 49 w 386"/>
                  <a:gd name="T75" fmla="*/ 225 h 374"/>
                  <a:gd name="T76" fmla="*/ 66 w 386"/>
                  <a:gd name="T77" fmla="*/ 223 h 374"/>
                  <a:gd name="T78" fmla="*/ 64 w 386"/>
                  <a:gd name="T79" fmla="*/ 242 h 374"/>
                  <a:gd name="T80" fmla="*/ 69 w 386"/>
                  <a:gd name="T81" fmla="*/ 267 h 374"/>
                  <a:gd name="T82" fmla="*/ 59 w 386"/>
                  <a:gd name="T83" fmla="*/ 278 h 374"/>
                  <a:gd name="T84" fmla="*/ 65 w 386"/>
                  <a:gd name="T85" fmla="*/ 295 h 374"/>
                  <a:gd name="T86" fmla="*/ 79 w 386"/>
                  <a:gd name="T87" fmla="*/ 316 h 374"/>
                  <a:gd name="T88" fmla="*/ 98 w 386"/>
                  <a:gd name="T89" fmla="*/ 309 h 374"/>
                  <a:gd name="T90" fmla="*/ 110 w 386"/>
                  <a:gd name="T91" fmla="*/ 299 h 374"/>
                  <a:gd name="T92" fmla="*/ 120 w 386"/>
                  <a:gd name="T93" fmla="*/ 305 h 374"/>
                  <a:gd name="T94" fmla="*/ 128 w 386"/>
                  <a:gd name="T95" fmla="*/ 303 h 374"/>
                  <a:gd name="T96" fmla="*/ 141 w 386"/>
                  <a:gd name="T97" fmla="*/ 311 h 374"/>
                  <a:gd name="T98" fmla="*/ 156 w 386"/>
                  <a:gd name="T99" fmla="*/ 305 h 374"/>
                  <a:gd name="T100" fmla="*/ 172 w 386"/>
                  <a:gd name="T101" fmla="*/ 293 h 374"/>
                  <a:gd name="T102" fmla="*/ 185 w 386"/>
                  <a:gd name="T103" fmla="*/ 312 h 374"/>
                  <a:gd name="T104" fmla="*/ 227 w 386"/>
                  <a:gd name="T105" fmla="*/ 306 h 374"/>
                  <a:gd name="T106" fmla="*/ 255 w 386"/>
                  <a:gd name="T107" fmla="*/ 345 h 374"/>
                  <a:gd name="T108" fmla="*/ 275 w 386"/>
                  <a:gd name="T109" fmla="*/ 365 h 374"/>
                  <a:gd name="T110" fmla="*/ 290 w 386"/>
                  <a:gd name="T111" fmla="*/ 363 h 374"/>
                  <a:gd name="T112" fmla="*/ 302 w 386"/>
                  <a:gd name="T113" fmla="*/ 368 h 374"/>
                  <a:gd name="T114" fmla="*/ 314 w 386"/>
                  <a:gd name="T115" fmla="*/ 361 h 374"/>
                  <a:gd name="T116" fmla="*/ 333 w 386"/>
                  <a:gd name="T117" fmla="*/ 340 h 374"/>
                  <a:gd name="T118" fmla="*/ 345 w 386"/>
                  <a:gd name="T119" fmla="*/ 335 h 374"/>
                  <a:gd name="T120" fmla="*/ 369 w 386"/>
                  <a:gd name="T121" fmla="*/ 323 h 37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86"/>
                  <a:gd name="T184" fmla="*/ 0 h 374"/>
                  <a:gd name="T185" fmla="*/ 386 w 386"/>
                  <a:gd name="T186" fmla="*/ 374 h 374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86" h="374">
                    <a:moveTo>
                      <a:pt x="386" y="329"/>
                    </a:moveTo>
                    <a:lnTo>
                      <a:pt x="385" y="328"/>
                    </a:lnTo>
                    <a:lnTo>
                      <a:pt x="385" y="326"/>
                    </a:lnTo>
                    <a:lnTo>
                      <a:pt x="381" y="323"/>
                    </a:lnTo>
                    <a:lnTo>
                      <a:pt x="380" y="320"/>
                    </a:lnTo>
                    <a:lnTo>
                      <a:pt x="380" y="319"/>
                    </a:lnTo>
                    <a:lnTo>
                      <a:pt x="382" y="316"/>
                    </a:lnTo>
                    <a:lnTo>
                      <a:pt x="381" y="314"/>
                    </a:lnTo>
                    <a:lnTo>
                      <a:pt x="380" y="313"/>
                    </a:lnTo>
                    <a:lnTo>
                      <a:pt x="381" y="312"/>
                    </a:lnTo>
                    <a:lnTo>
                      <a:pt x="380" y="309"/>
                    </a:lnTo>
                    <a:lnTo>
                      <a:pt x="381" y="306"/>
                    </a:lnTo>
                    <a:lnTo>
                      <a:pt x="381" y="305"/>
                    </a:lnTo>
                    <a:lnTo>
                      <a:pt x="382" y="304"/>
                    </a:lnTo>
                    <a:lnTo>
                      <a:pt x="383" y="303"/>
                    </a:lnTo>
                    <a:lnTo>
                      <a:pt x="382" y="299"/>
                    </a:lnTo>
                    <a:lnTo>
                      <a:pt x="381" y="299"/>
                    </a:lnTo>
                    <a:lnTo>
                      <a:pt x="382" y="296"/>
                    </a:lnTo>
                    <a:lnTo>
                      <a:pt x="380" y="295"/>
                    </a:lnTo>
                    <a:lnTo>
                      <a:pt x="380" y="292"/>
                    </a:lnTo>
                    <a:lnTo>
                      <a:pt x="378" y="289"/>
                    </a:lnTo>
                    <a:lnTo>
                      <a:pt x="378" y="288"/>
                    </a:lnTo>
                    <a:lnTo>
                      <a:pt x="375" y="288"/>
                    </a:lnTo>
                    <a:lnTo>
                      <a:pt x="373" y="287"/>
                    </a:lnTo>
                    <a:lnTo>
                      <a:pt x="371" y="282"/>
                    </a:lnTo>
                    <a:lnTo>
                      <a:pt x="372" y="280"/>
                    </a:lnTo>
                    <a:lnTo>
                      <a:pt x="370" y="279"/>
                    </a:lnTo>
                    <a:lnTo>
                      <a:pt x="370" y="276"/>
                    </a:lnTo>
                    <a:lnTo>
                      <a:pt x="369" y="276"/>
                    </a:lnTo>
                    <a:lnTo>
                      <a:pt x="367" y="276"/>
                    </a:lnTo>
                    <a:lnTo>
                      <a:pt x="366" y="275"/>
                    </a:lnTo>
                    <a:lnTo>
                      <a:pt x="366" y="274"/>
                    </a:lnTo>
                    <a:lnTo>
                      <a:pt x="366" y="272"/>
                    </a:lnTo>
                    <a:lnTo>
                      <a:pt x="363" y="270"/>
                    </a:lnTo>
                    <a:lnTo>
                      <a:pt x="363" y="268"/>
                    </a:lnTo>
                    <a:lnTo>
                      <a:pt x="360" y="262"/>
                    </a:lnTo>
                    <a:lnTo>
                      <a:pt x="361" y="261"/>
                    </a:lnTo>
                    <a:lnTo>
                      <a:pt x="360" y="259"/>
                    </a:lnTo>
                    <a:lnTo>
                      <a:pt x="360" y="258"/>
                    </a:lnTo>
                    <a:lnTo>
                      <a:pt x="357" y="254"/>
                    </a:lnTo>
                    <a:lnTo>
                      <a:pt x="355" y="249"/>
                    </a:lnTo>
                    <a:lnTo>
                      <a:pt x="354" y="248"/>
                    </a:lnTo>
                    <a:lnTo>
                      <a:pt x="354" y="245"/>
                    </a:lnTo>
                    <a:lnTo>
                      <a:pt x="353" y="244"/>
                    </a:lnTo>
                    <a:lnTo>
                      <a:pt x="348" y="244"/>
                    </a:lnTo>
                    <a:lnTo>
                      <a:pt x="347" y="243"/>
                    </a:lnTo>
                    <a:lnTo>
                      <a:pt x="346" y="244"/>
                    </a:lnTo>
                    <a:lnTo>
                      <a:pt x="345" y="245"/>
                    </a:lnTo>
                    <a:lnTo>
                      <a:pt x="344" y="245"/>
                    </a:lnTo>
                    <a:lnTo>
                      <a:pt x="340" y="240"/>
                    </a:lnTo>
                    <a:lnTo>
                      <a:pt x="339" y="233"/>
                    </a:lnTo>
                    <a:lnTo>
                      <a:pt x="336" y="229"/>
                    </a:lnTo>
                    <a:lnTo>
                      <a:pt x="336" y="228"/>
                    </a:lnTo>
                    <a:lnTo>
                      <a:pt x="337" y="226"/>
                    </a:lnTo>
                    <a:lnTo>
                      <a:pt x="337" y="223"/>
                    </a:lnTo>
                    <a:lnTo>
                      <a:pt x="338" y="222"/>
                    </a:lnTo>
                    <a:lnTo>
                      <a:pt x="337" y="219"/>
                    </a:lnTo>
                    <a:lnTo>
                      <a:pt x="337" y="217"/>
                    </a:lnTo>
                    <a:lnTo>
                      <a:pt x="336" y="215"/>
                    </a:lnTo>
                    <a:lnTo>
                      <a:pt x="334" y="216"/>
                    </a:lnTo>
                    <a:lnTo>
                      <a:pt x="333" y="215"/>
                    </a:lnTo>
                    <a:lnTo>
                      <a:pt x="331" y="215"/>
                    </a:lnTo>
                    <a:lnTo>
                      <a:pt x="327" y="214"/>
                    </a:lnTo>
                    <a:lnTo>
                      <a:pt x="325" y="214"/>
                    </a:lnTo>
                    <a:lnTo>
                      <a:pt x="322" y="212"/>
                    </a:lnTo>
                    <a:lnTo>
                      <a:pt x="320" y="213"/>
                    </a:lnTo>
                    <a:lnTo>
                      <a:pt x="318" y="216"/>
                    </a:lnTo>
                    <a:lnTo>
                      <a:pt x="318" y="217"/>
                    </a:lnTo>
                    <a:lnTo>
                      <a:pt x="316" y="219"/>
                    </a:lnTo>
                    <a:lnTo>
                      <a:pt x="314" y="219"/>
                    </a:lnTo>
                    <a:lnTo>
                      <a:pt x="314" y="214"/>
                    </a:lnTo>
                    <a:lnTo>
                      <a:pt x="311" y="211"/>
                    </a:lnTo>
                    <a:lnTo>
                      <a:pt x="312" y="210"/>
                    </a:lnTo>
                    <a:lnTo>
                      <a:pt x="311" y="206"/>
                    </a:lnTo>
                    <a:lnTo>
                      <a:pt x="311" y="205"/>
                    </a:lnTo>
                    <a:lnTo>
                      <a:pt x="307" y="205"/>
                    </a:lnTo>
                    <a:lnTo>
                      <a:pt x="307" y="204"/>
                    </a:lnTo>
                    <a:lnTo>
                      <a:pt x="309" y="200"/>
                    </a:lnTo>
                    <a:lnTo>
                      <a:pt x="308" y="200"/>
                    </a:lnTo>
                    <a:lnTo>
                      <a:pt x="306" y="198"/>
                    </a:lnTo>
                    <a:lnTo>
                      <a:pt x="306" y="196"/>
                    </a:lnTo>
                    <a:lnTo>
                      <a:pt x="304" y="195"/>
                    </a:lnTo>
                    <a:lnTo>
                      <a:pt x="301" y="198"/>
                    </a:lnTo>
                    <a:lnTo>
                      <a:pt x="298" y="196"/>
                    </a:lnTo>
                    <a:lnTo>
                      <a:pt x="299" y="194"/>
                    </a:lnTo>
                    <a:lnTo>
                      <a:pt x="298" y="188"/>
                    </a:lnTo>
                    <a:lnTo>
                      <a:pt x="296" y="187"/>
                    </a:lnTo>
                    <a:lnTo>
                      <a:pt x="295" y="187"/>
                    </a:lnTo>
                    <a:lnTo>
                      <a:pt x="295" y="185"/>
                    </a:lnTo>
                    <a:lnTo>
                      <a:pt x="295" y="184"/>
                    </a:lnTo>
                    <a:lnTo>
                      <a:pt x="296" y="181"/>
                    </a:lnTo>
                    <a:lnTo>
                      <a:pt x="298" y="179"/>
                    </a:lnTo>
                    <a:lnTo>
                      <a:pt x="300" y="177"/>
                    </a:lnTo>
                    <a:lnTo>
                      <a:pt x="302" y="177"/>
                    </a:lnTo>
                    <a:lnTo>
                      <a:pt x="302" y="179"/>
                    </a:lnTo>
                    <a:lnTo>
                      <a:pt x="303" y="181"/>
                    </a:lnTo>
                    <a:lnTo>
                      <a:pt x="305" y="181"/>
                    </a:lnTo>
                    <a:lnTo>
                      <a:pt x="306" y="179"/>
                    </a:lnTo>
                    <a:lnTo>
                      <a:pt x="305" y="176"/>
                    </a:lnTo>
                    <a:lnTo>
                      <a:pt x="304" y="175"/>
                    </a:lnTo>
                    <a:lnTo>
                      <a:pt x="303" y="174"/>
                    </a:lnTo>
                    <a:lnTo>
                      <a:pt x="304" y="174"/>
                    </a:lnTo>
                    <a:lnTo>
                      <a:pt x="307" y="174"/>
                    </a:lnTo>
                    <a:lnTo>
                      <a:pt x="306" y="171"/>
                    </a:lnTo>
                    <a:lnTo>
                      <a:pt x="309" y="172"/>
                    </a:lnTo>
                    <a:lnTo>
                      <a:pt x="312" y="171"/>
                    </a:lnTo>
                    <a:lnTo>
                      <a:pt x="311" y="168"/>
                    </a:lnTo>
                    <a:lnTo>
                      <a:pt x="314" y="166"/>
                    </a:lnTo>
                    <a:lnTo>
                      <a:pt x="316" y="166"/>
                    </a:lnTo>
                    <a:lnTo>
                      <a:pt x="317" y="167"/>
                    </a:lnTo>
                    <a:lnTo>
                      <a:pt x="318" y="167"/>
                    </a:lnTo>
                    <a:lnTo>
                      <a:pt x="317" y="164"/>
                    </a:lnTo>
                    <a:lnTo>
                      <a:pt x="318" y="165"/>
                    </a:lnTo>
                    <a:lnTo>
                      <a:pt x="320" y="166"/>
                    </a:lnTo>
                    <a:lnTo>
                      <a:pt x="322" y="166"/>
                    </a:lnTo>
                    <a:lnTo>
                      <a:pt x="323" y="167"/>
                    </a:lnTo>
                    <a:lnTo>
                      <a:pt x="325" y="164"/>
                    </a:lnTo>
                    <a:lnTo>
                      <a:pt x="325" y="162"/>
                    </a:lnTo>
                    <a:lnTo>
                      <a:pt x="328" y="161"/>
                    </a:lnTo>
                    <a:lnTo>
                      <a:pt x="328" y="160"/>
                    </a:lnTo>
                    <a:lnTo>
                      <a:pt x="328" y="156"/>
                    </a:lnTo>
                    <a:lnTo>
                      <a:pt x="328" y="155"/>
                    </a:lnTo>
                    <a:lnTo>
                      <a:pt x="331" y="155"/>
                    </a:lnTo>
                    <a:lnTo>
                      <a:pt x="332" y="155"/>
                    </a:lnTo>
                    <a:lnTo>
                      <a:pt x="334" y="156"/>
                    </a:lnTo>
                    <a:lnTo>
                      <a:pt x="335" y="158"/>
                    </a:lnTo>
                    <a:lnTo>
                      <a:pt x="337" y="160"/>
                    </a:lnTo>
                    <a:lnTo>
                      <a:pt x="342" y="159"/>
                    </a:lnTo>
                    <a:lnTo>
                      <a:pt x="346" y="152"/>
                    </a:lnTo>
                    <a:lnTo>
                      <a:pt x="350" y="150"/>
                    </a:lnTo>
                    <a:lnTo>
                      <a:pt x="354" y="147"/>
                    </a:lnTo>
                    <a:lnTo>
                      <a:pt x="354" y="146"/>
                    </a:lnTo>
                    <a:lnTo>
                      <a:pt x="353" y="145"/>
                    </a:lnTo>
                    <a:lnTo>
                      <a:pt x="354" y="145"/>
                    </a:lnTo>
                    <a:lnTo>
                      <a:pt x="351" y="140"/>
                    </a:lnTo>
                    <a:lnTo>
                      <a:pt x="353" y="140"/>
                    </a:lnTo>
                    <a:lnTo>
                      <a:pt x="358" y="138"/>
                    </a:lnTo>
                    <a:lnTo>
                      <a:pt x="358" y="134"/>
                    </a:lnTo>
                    <a:lnTo>
                      <a:pt x="357" y="130"/>
                    </a:lnTo>
                    <a:lnTo>
                      <a:pt x="357" y="129"/>
                    </a:lnTo>
                    <a:lnTo>
                      <a:pt x="361" y="129"/>
                    </a:lnTo>
                    <a:lnTo>
                      <a:pt x="363" y="129"/>
                    </a:lnTo>
                    <a:lnTo>
                      <a:pt x="368" y="125"/>
                    </a:lnTo>
                    <a:lnTo>
                      <a:pt x="368" y="122"/>
                    </a:lnTo>
                    <a:lnTo>
                      <a:pt x="368" y="119"/>
                    </a:lnTo>
                    <a:lnTo>
                      <a:pt x="365" y="115"/>
                    </a:lnTo>
                    <a:lnTo>
                      <a:pt x="364" y="111"/>
                    </a:lnTo>
                    <a:lnTo>
                      <a:pt x="361" y="109"/>
                    </a:lnTo>
                    <a:lnTo>
                      <a:pt x="360" y="106"/>
                    </a:lnTo>
                    <a:lnTo>
                      <a:pt x="357" y="105"/>
                    </a:lnTo>
                    <a:lnTo>
                      <a:pt x="353" y="98"/>
                    </a:lnTo>
                    <a:lnTo>
                      <a:pt x="353" y="96"/>
                    </a:lnTo>
                    <a:lnTo>
                      <a:pt x="352" y="96"/>
                    </a:lnTo>
                    <a:lnTo>
                      <a:pt x="351" y="94"/>
                    </a:lnTo>
                    <a:lnTo>
                      <a:pt x="350" y="90"/>
                    </a:lnTo>
                    <a:lnTo>
                      <a:pt x="347" y="90"/>
                    </a:lnTo>
                    <a:lnTo>
                      <a:pt x="347" y="88"/>
                    </a:lnTo>
                    <a:lnTo>
                      <a:pt x="345" y="82"/>
                    </a:lnTo>
                    <a:lnTo>
                      <a:pt x="340" y="80"/>
                    </a:lnTo>
                    <a:lnTo>
                      <a:pt x="337" y="80"/>
                    </a:lnTo>
                    <a:lnTo>
                      <a:pt x="336" y="82"/>
                    </a:lnTo>
                    <a:lnTo>
                      <a:pt x="333" y="82"/>
                    </a:lnTo>
                    <a:lnTo>
                      <a:pt x="328" y="81"/>
                    </a:lnTo>
                    <a:lnTo>
                      <a:pt x="328" y="77"/>
                    </a:lnTo>
                    <a:lnTo>
                      <a:pt x="327" y="77"/>
                    </a:lnTo>
                    <a:lnTo>
                      <a:pt x="324" y="77"/>
                    </a:lnTo>
                    <a:lnTo>
                      <a:pt x="322" y="77"/>
                    </a:lnTo>
                    <a:lnTo>
                      <a:pt x="317" y="75"/>
                    </a:lnTo>
                    <a:lnTo>
                      <a:pt x="316" y="75"/>
                    </a:lnTo>
                    <a:lnTo>
                      <a:pt x="311" y="84"/>
                    </a:lnTo>
                    <a:lnTo>
                      <a:pt x="311" y="89"/>
                    </a:lnTo>
                    <a:lnTo>
                      <a:pt x="311" y="91"/>
                    </a:lnTo>
                    <a:lnTo>
                      <a:pt x="310" y="92"/>
                    </a:lnTo>
                    <a:lnTo>
                      <a:pt x="304" y="92"/>
                    </a:lnTo>
                    <a:lnTo>
                      <a:pt x="301" y="94"/>
                    </a:lnTo>
                    <a:lnTo>
                      <a:pt x="300" y="92"/>
                    </a:lnTo>
                    <a:lnTo>
                      <a:pt x="300" y="88"/>
                    </a:lnTo>
                    <a:lnTo>
                      <a:pt x="298" y="85"/>
                    </a:lnTo>
                    <a:lnTo>
                      <a:pt x="293" y="80"/>
                    </a:lnTo>
                    <a:lnTo>
                      <a:pt x="290" y="81"/>
                    </a:lnTo>
                    <a:lnTo>
                      <a:pt x="289" y="78"/>
                    </a:lnTo>
                    <a:lnTo>
                      <a:pt x="288" y="77"/>
                    </a:lnTo>
                    <a:lnTo>
                      <a:pt x="287" y="76"/>
                    </a:lnTo>
                    <a:lnTo>
                      <a:pt x="284" y="76"/>
                    </a:lnTo>
                    <a:lnTo>
                      <a:pt x="283" y="75"/>
                    </a:lnTo>
                    <a:lnTo>
                      <a:pt x="280" y="75"/>
                    </a:lnTo>
                    <a:lnTo>
                      <a:pt x="279" y="78"/>
                    </a:lnTo>
                    <a:lnTo>
                      <a:pt x="278" y="79"/>
                    </a:lnTo>
                    <a:lnTo>
                      <a:pt x="276" y="79"/>
                    </a:lnTo>
                    <a:lnTo>
                      <a:pt x="276" y="81"/>
                    </a:lnTo>
                    <a:lnTo>
                      <a:pt x="272" y="84"/>
                    </a:lnTo>
                    <a:lnTo>
                      <a:pt x="270" y="84"/>
                    </a:lnTo>
                    <a:lnTo>
                      <a:pt x="270" y="85"/>
                    </a:lnTo>
                    <a:lnTo>
                      <a:pt x="268" y="87"/>
                    </a:lnTo>
                    <a:lnTo>
                      <a:pt x="267" y="94"/>
                    </a:lnTo>
                    <a:lnTo>
                      <a:pt x="267" y="96"/>
                    </a:lnTo>
                    <a:lnTo>
                      <a:pt x="266" y="97"/>
                    </a:lnTo>
                    <a:lnTo>
                      <a:pt x="262" y="95"/>
                    </a:lnTo>
                    <a:lnTo>
                      <a:pt x="257" y="102"/>
                    </a:lnTo>
                    <a:lnTo>
                      <a:pt x="255" y="99"/>
                    </a:lnTo>
                    <a:lnTo>
                      <a:pt x="255" y="98"/>
                    </a:lnTo>
                    <a:lnTo>
                      <a:pt x="253" y="98"/>
                    </a:lnTo>
                    <a:lnTo>
                      <a:pt x="249" y="95"/>
                    </a:lnTo>
                    <a:lnTo>
                      <a:pt x="248" y="94"/>
                    </a:lnTo>
                    <a:lnTo>
                      <a:pt x="248" y="92"/>
                    </a:lnTo>
                    <a:lnTo>
                      <a:pt x="251" y="90"/>
                    </a:lnTo>
                    <a:lnTo>
                      <a:pt x="254" y="89"/>
                    </a:lnTo>
                    <a:lnTo>
                      <a:pt x="258" y="86"/>
                    </a:lnTo>
                    <a:lnTo>
                      <a:pt x="257" y="85"/>
                    </a:lnTo>
                    <a:lnTo>
                      <a:pt x="254" y="84"/>
                    </a:lnTo>
                    <a:lnTo>
                      <a:pt x="254" y="80"/>
                    </a:lnTo>
                    <a:lnTo>
                      <a:pt x="253" y="79"/>
                    </a:lnTo>
                    <a:lnTo>
                      <a:pt x="254" y="77"/>
                    </a:lnTo>
                    <a:lnTo>
                      <a:pt x="254" y="72"/>
                    </a:lnTo>
                    <a:lnTo>
                      <a:pt x="254" y="69"/>
                    </a:lnTo>
                    <a:lnTo>
                      <a:pt x="254" y="66"/>
                    </a:lnTo>
                    <a:lnTo>
                      <a:pt x="253" y="65"/>
                    </a:lnTo>
                    <a:lnTo>
                      <a:pt x="252" y="63"/>
                    </a:lnTo>
                    <a:lnTo>
                      <a:pt x="252" y="61"/>
                    </a:lnTo>
                    <a:lnTo>
                      <a:pt x="252" y="60"/>
                    </a:lnTo>
                    <a:lnTo>
                      <a:pt x="246" y="56"/>
                    </a:lnTo>
                    <a:lnTo>
                      <a:pt x="242" y="56"/>
                    </a:lnTo>
                    <a:lnTo>
                      <a:pt x="241" y="56"/>
                    </a:lnTo>
                    <a:lnTo>
                      <a:pt x="239" y="58"/>
                    </a:lnTo>
                    <a:lnTo>
                      <a:pt x="237" y="57"/>
                    </a:lnTo>
                    <a:lnTo>
                      <a:pt x="235" y="59"/>
                    </a:lnTo>
                    <a:lnTo>
                      <a:pt x="233" y="58"/>
                    </a:lnTo>
                    <a:lnTo>
                      <a:pt x="230" y="59"/>
                    </a:lnTo>
                    <a:lnTo>
                      <a:pt x="224" y="61"/>
                    </a:lnTo>
                    <a:lnTo>
                      <a:pt x="223" y="63"/>
                    </a:lnTo>
                    <a:lnTo>
                      <a:pt x="218" y="60"/>
                    </a:lnTo>
                    <a:lnTo>
                      <a:pt x="218" y="58"/>
                    </a:lnTo>
                    <a:lnTo>
                      <a:pt x="218" y="56"/>
                    </a:lnTo>
                    <a:lnTo>
                      <a:pt x="218" y="50"/>
                    </a:lnTo>
                    <a:lnTo>
                      <a:pt x="216" y="48"/>
                    </a:lnTo>
                    <a:lnTo>
                      <a:pt x="216" y="44"/>
                    </a:lnTo>
                    <a:lnTo>
                      <a:pt x="215" y="43"/>
                    </a:lnTo>
                    <a:lnTo>
                      <a:pt x="213" y="38"/>
                    </a:lnTo>
                    <a:lnTo>
                      <a:pt x="211" y="35"/>
                    </a:lnTo>
                    <a:lnTo>
                      <a:pt x="213" y="27"/>
                    </a:lnTo>
                    <a:lnTo>
                      <a:pt x="210" y="24"/>
                    </a:lnTo>
                    <a:lnTo>
                      <a:pt x="210" y="21"/>
                    </a:lnTo>
                    <a:lnTo>
                      <a:pt x="202" y="22"/>
                    </a:lnTo>
                    <a:lnTo>
                      <a:pt x="202" y="24"/>
                    </a:lnTo>
                    <a:lnTo>
                      <a:pt x="199" y="26"/>
                    </a:lnTo>
                    <a:lnTo>
                      <a:pt x="194" y="24"/>
                    </a:lnTo>
                    <a:lnTo>
                      <a:pt x="190" y="26"/>
                    </a:lnTo>
                    <a:lnTo>
                      <a:pt x="188" y="27"/>
                    </a:lnTo>
                    <a:lnTo>
                      <a:pt x="187" y="27"/>
                    </a:lnTo>
                    <a:lnTo>
                      <a:pt x="183" y="24"/>
                    </a:lnTo>
                    <a:lnTo>
                      <a:pt x="179" y="25"/>
                    </a:lnTo>
                    <a:lnTo>
                      <a:pt x="177" y="24"/>
                    </a:lnTo>
                    <a:lnTo>
                      <a:pt x="175" y="22"/>
                    </a:lnTo>
                    <a:lnTo>
                      <a:pt x="174" y="18"/>
                    </a:lnTo>
                    <a:lnTo>
                      <a:pt x="173" y="17"/>
                    </a:lnTo>
                    <a:lnTo>
                      <a:pt x="170" y="15"/>
                    </a:lnTo>
                    <a:lnTo>
                      <a:pt x="168" y="13"/>
                    </a:lnTo>
                    <a:lnTo>
                      <a:pt x="165" y="13"/>
                    </a:lnTo>
                    <a:lnTo>
                      <a:pt x="158" y="10"/>
                    </a:lnTo>
                    <a:lnTo>
                      <a:pt x="157" y="5"/>
                    </a:lnTo>
                    <a:lnTo>
                      <a:pt x="154" y="3"/>
                    </a:lnTo>
                    <a:lnTo>
                      <a:pt x="147" y="1"/>
                    </a:lnTo>
                    <a:lnTo>
                      <a:pt x="142" y="3"/>
                    </a:lnTo>
                    <a:lnTo>
                      <a:pt x="140" y="0"/>
                    </a:lnTo>
                    <a:lnTo>
                      <a:pt x="136" y="0"/>
                    </a:lnTo>
                    <a:lnTo>
                      <a:pt x="136" y="6"/>
                    </a:lnTo>
                    <a:lnTo>
                      <a:pt x="136" y="9"/>
                    </a:lnTo>
                    <a:lnTo>
                      <a:pt x="137" y="12"/>
                    </a:lnTo>
                    <a:lnTo>
                      <a:pt x="142" y="17"/>
                    </a:lnTo>
                    <a:lnTo>
                      <a:pt x="144" y="22"/>
                    </a:lnTo>
                    <a:lnTo>
                      <a:pt x="142" y="25"/>
                    </a:lnTo>
                    <a:lnTo>
                      <a:pt x="139" y="30"/>
                    </a:lnTo>
                    <a:lnTo>
                      <a:pt x="138" y="31"/>
                    </a:lnTo>
                    <a:lnTo>
                      <a:pt x="141" y="34"/>
                    </a:lnTo>
                    <a:lnTo>
                      <a:pt x="139" y="39"/>
                    </a:lnTo>
                    <a:lnTo>
                      <a:pt x="140" y="41"/>
                    </a:lnTo>
                    <a:lnTo>
                      <a:pt x="138" y="44"/>
                    </a:lnTo>
                    <a:lnTo>
                      <a:pt x="138" y="47"/>
                    </a:lnTo>
                    <a:lnTo>
                      <a:pt x="139" y="47"/>
                    </a:lnTo>
                    <a:lnTo>
                      <a:pt x="140" y="58"/>
                    </a:lnTo>
                    <a:lnTo>
                      <a:pt x="142" y="60"/>
                    </a:lnTo>
                    <a:lnTo>
                      <a:pt x="139" y="63"/>
                    </a:lnTo>
                    <a:lnTo>
                      <a:pt x="137" y="67"/>
                    </a:lnTo>
                    <a:lnTo>
                      <a:pt x="137" y="68"/>
                    </a:lnTo>
                    <a:lnTo>
                      <a:pt x="141" y="71"/>
                    </a:lnTo>
                    <a:lnTo>
                      <a:pt x="142" y="74"/>
                    </a:lnTo>
                    <a:lnTo>
                      <a:pt x="142" y="77"/>
                    </a:lnTo>
                    <a:lnTo>
                      <a:pt x="145" y="79"/>
                    </a:lnTo>
                    <a:lnTo>
                      <a:pt x="142" y="81"/>
                    </a:lnTo>
                    <a:lnTo>
                      <a:pt x="139" y="85"/>
                    </a:lnTo>
                    <a:lnTo>
                      <a:pt x="140" y="87"/>
                    </a:lnTo>
                    <a:lnTo>
                      <a:pt x="135" y="94"/>
                    </a:lnTo>
                    <a:lnTo>
                      <a:pt x="137" y="97"/>
                    </a:lnTo>
                    <a:lnTo>
                      <a:pt x="141" y="98"/>
                    </a:lnTo>
                    <a:lnTo>
                      <a:pt x="140" y="99"/>
                    </a:lnTo>
                    <a:lnTo>
                      <a:pt x="138" y="100"/>
                    </a:lnTo>
                    <a:lnTo>
                      <a:pt x="142" y="105"/>
                    </a:lnTo>
                    <a:lnTo>
                      <a:pt x="140" y="105"/>
                    </a:lnTo>
                    <a:lnTo>
                      <a:pt x="142" y="106"/>
                    </a:lnTo>
                    <a:lnTo>
                      <a:pt x="143" y="109"/>
                    </a:lnTo>
                    <a:lnTo>
                      <a:pt x="145" y="111"/>
                    </a:lnTo>
                    <a:lnTo>
                      <a:pt x="145" y="112"/>
                    </a:lnTo>
                    <a:lnTo>
                      <a:pt x="146" y="113"/>
                    </a:lnTo>
                    <a:lnTo>
                      <a:pt x="147" y="116"/>
                    </a:lnTo>
                    <a:lnTo>
                      <a:pt x="148" y="116"/>
                    </a:lnTo>
                    <a:lnTo>
                      <a:pt x="148" y="119"/>
                    </a:lnTo>
                    <a:lnTo>
                      <a:pt x="149" y="122"/>
                    </a:lnTo>
                    <a:lnTo>
                      <a:pt x="149" y="123"/>
                    </a:lnTo>
                    <a:lnTo>
                      <a:pt x="140" y="123"/>
                    </a:lnTo>
                    <a:lnTo>
                      <a:pt x="138" y="124"/>
                    </a:lnTo>
                    <a:lnTo>
                      <a:pt x="137" y="125"/>
                    </a:lnTo>
                    <a:lnTo>
                      <a:pt x="137" y="122"/>
                    </a:lnTo>
                    <a:lnTo>
                      <a:pt x="136" y="124"/>
                    </a:lnTo>
                    <a:lnTo>
                      <a:pt x="136" y="125"/>
                    </a:lnTo>
                    <a:lnTo>
                      <a:pt x="135" y="125"/>
                    </a:lnTo>
                    <a:lnTo>
                      <a:pt x="135" y="121"/>
                    </a:lnTo>
                    <a:lnTo>
                      <a:pt x="134" y="121"/>
                    </a:lnTo>
                    <a:lnTo>
                      <a:pt x="134" y="122"/>
                    </a:lnTo>
                    <a:lnTo>
                      <a:pt x="133" y="121"/>
                    </a:lnTo>
                    <a:lnTo>
                      <a:pt x="133" y="120"/>
                    </a:lnTo>
                    <a:lnTo>
                      <a:pt x="132" y="120"/>
                    </a:lnTo>
                    <a:lnTo>
                      <a:pt x="132" y="119"/>
                    </a:lnTo>
                    <a:lnTo>
                      <a:pt x="131" y="119"/>
                    </a:lnTo>
                    <a:lnTo>
                      <a:pt x="129" y="120"/>
                    </a:lnTo>
                    <a:lnTo>
                      <a:pt x="128" y="120"/>
                    </a:lnTo>
                    <a:lnTo>
                      <a:pt x="126" y="121"/>
                    </a:lnTo>
                    <a:lnTo>
                      <a:pt x="125" y="120"/>
                    </a:lnTo>
                    <a:lnTo>
                      <a:pt x="125" y="124"/>
                    </a:lnTo>
                    <a:lnTo>
                      <a:pt x="122" y="124"/>
                    </a:lnTo>
                    <a:lnTo>
                      <a:pt x="121" y="122"/>
                    </a:lnTo>
                    <a:lnTo>
                      <a:pt x="120" y="122"/>
                    </a:lnTo>
                    <a:lnTo>
                      <a:pt x="119" y="121"/>
                    </a:lnTo>
                    <a:lnTo>
                      <a:pt x="117" y="121"/>
                    </a:lnTo>
                    <a:lnTo>
                      <a:pt x="117" y="119"/>
                    </a:lnTo>
                    <a:lnTo>
                      <a:pt x="113" y="113"/>
                    </a:lnTo>
                    <a:lnTo>
                      <a:pt x="113" y="111"/>
                    </a:lnTo>
                    <a:lnTo>
                      <a:pt x="114" y="111"/>
                    </a:lnTo>
                    <a:lnTo>
                      <a:pt x="114" y="110"/>
                    </a:lnTo>
                    <a:lnTo>
                      <a:pt x="113" y="109"/>
                    </a:lnTo>
                    <a:lnTo>
                      <a:pt x="109" y="106"/>
                    </a:lnTo>
                    <a:lnTo>
                      <a:pt x="109" y="108"/>
                    </a:lnTo>
                    <a:lnTo>
                      <a:pt x="108" y="109"/>
                    </a:lnTo>
                    <a:lnTo>
                      <a:pt x="109" y="111"/>
                    </a:lnTo>
                    <a:lnTo>
                      <a:pt x="109" y="113"/>
                    </a:lnTo>
                    <a:lnTo>
                      <a:pt x="108" y="113"/>
                    </a:lnTo>
                    <a:lnTo>
                      <a:pt x="107" y="113"/>
                    </a:lnTo>
                    <a:lnTo>
                      <a:pt x="105" y="111"/>
                    </a:lnTo>
                    <a:lnTo>
                      <a:pt x="104" y="116"/>
                    </a:lnTo>
                    <a:lnTo>
                      <a:pt x="101" y="116"/>
                    </a:lnTo>
                    <a:lnTo>
                      <a:pt x="97" y="116"/>
                    </a:lnTo>
                    <a:lnTo>
                      <a:pt x="96" y="119"/>
                    </a:lnTo>
                    <a:lnTo>
                      <a:pt x="97" y="121"/>
                    </a:lnTo>
                    <a:lnTo>
                      <a:pt x="97" y="125"/>
                    </a:lnTo>
                    <a:lnTo>
                      <a:pt x="100" y="127"/>
                    </a:lnTo>
                    <a:lnTo>
                      <a:pt x="99" y="129"/>
                    </a:lnTo>
                    <a:lnTo>
                      <a:pt x="97" y="129"/>
                    </a:lnTo>
                    <a:lnTo>
                      <a:pt x="98" y="130"/>
                    </a:lnTo>
                    <a:lnTo>
                      <a:pt x="96" y="132"/>
                    </a:lnTo>
                    <a:lnTo>
                      <a:pt x="96" y="133"/>
                    </a:lnTo>
                    <a:lnTo>
                      <a:pt x="94" y="133"/>
                    </a:lnTo>
                    <a:lnTo>
                      <a:pt x="93" y="130"/>
                    </a:lnTo>
                    <a:lnTo>
                      <a:pt x="92" y="131"/>
                    </a:lnTo>
                    <a:lnTo>
                      <a:pt x="91" y="132"/>
                    </a:lnTo>
                    <a:lnTo>
                      <a:pt x="92" y="134"/>
                    </a:lnTo>
                    <a:lnTo>
                      <a:pt x="92" y="135"/>
                    </a:lnTo>
                    <a:lnTo>
                      <a:pt x="91" y="134"/>
                    </a:lnTo>
                    <a:lnTo>
                      <a:pt x="91" y="135"/>
                    </a:lnTo>
                    <a:lnTo>
                      <a:pt x="89" y="133"/>
                    </a:lnTo>
                    <a:lnTo>
                      <a:pt x="88" y="135"/>
                    </a:lnTo>
                    <a:lnTo>
                      <a:pt x="87" y="134"/>
                    </a:lnTo>
                    <a:lnTo>
                      <a:pt x="85" y="135"/>
                    </a:lnTo>
                    <a:lnTo>
                      <a:pt x="82" y="134"/>
                    </a:lnTo>
                    <a:lnTo>
                      <a:pt x="82" y="132"/>
                    </a:lnTo>
                    <a:lnTo>
                      <a:pt x="81" y="132"/>
                    </a:lnTo>
                    <a:lnTo>
                      <a:pt x="82" y="132"/>
                    </a:lnTo>
                    <a:lnTo>
                      <a:pt x="82" y="130"/>
                    </a:lnTo>
                    <a:lnTo>
                      <a:pt x="80" y="130"/>
                    </a:lnTo>
                    <a:lnTo>
                      <a:pt x="80" y="129"/>
                    </a:lnTo>
                    <a:lnTo>
                      <a:pt x="83" y="130"/>
                    </a:lnTo>
                    <a:lnTo>
                      <a:pt x="83" y="129"/>
                    </a:lnTo>
                    <a:lnTo>
                      <a:pt x="82" y="129"/>
                    </a:lnTo>
                    <a:lnTo>
                      <a:pt x="81" y="126"/>
                    </a:lnTo>
                    <a:lnTo>
                      <a:pt x="82" y="126"/>
                    </a:lnTo>
                    <a:lnTo>
                      <a:pt x="81" y="123"/>
                    </a:lnTo>
                    <a:lnTo>
                      <a:pt x="82" y="122"/>
                    </a:lnTo>
                    <a:lnTo>
                      <a:pt x="80" y="121"/>
                    </a:lnTo>
                    <a:lnTo>
                      <a:pt x="78" y="122"/>
                    </a:lnTo>
                    <a:lnTo>
                      <a:pt x="77" y="127"/>
                    </a:lnTo>
                    <a:lnTo>
                      <a:pt x="75" y="125"/>
                    </a:lnTo>
                    <a:lnTo>
                      <a:pt x="74" y="123"/>
                    </a:lnTo>
                    <a:lnTo>
                      <a:pt x="72" y="122"/>
                    </a:lnTo>
                    <a:lnTo>
                      <a:pt x="71" y="122"/>
                    </a:lnTo>
                    <a:lnTo>
                      <a:pt x="70" y="119"/>
                    </a:lnTo>
                    <a:lnTo>
                      <a:pt x="71" y="117"/>
                    </a:lnTo>
                    <a:lnTo>
                      <a:pt x="68" y="116"/>
                    </a:lnTo>
                    <a:lnTo>
                      <a:pt x="67" y="117"/>
                    </a:lnTo>
                    <a:lnTo>
                      <a:pt x="66" y="117"/>
                    </a:lnTo>
                    <a:lnTo>
                      <a:pt x="66" y="115"/>
                    </a:lnTo>
                    <a:lnTo>
                      <a:pt x="64" y="117"/>
                    </a:lnTo>
                    <a:lnTo>
                      <a:pt x="63" y="116"/>
                    </a:lnTo>
                    <a:lnTo>
                      <a:pt x="60" y="115"/>
                    </a:lnTo>
                    <a:lnTo>
                      <a:pt x="60" y="113"/>
                    </a:lnTo>
                    <a:lnTo>
                      <a:pt x="57" y="111"/>
                    </a:lnTo>
                    <a:lnTo>
                      <a:pt x="56" y="110"/>
                    </a:lnTo>
                    <a:lnTo>
                      <a:pt x="54" y="110"/>
                    </a:lnTo>
                    <a:lnTo>
                      <a:pt x="53" y="111"/>
                    </a:lnTo>
                    <a:lnTo>
                      <a:pt x="52" y="109"/>
                    </a:lnTo>
                    <a:lnTo>
                      <a:pt x="51" y="110"/>
                    </a:lnTo>
                    <a:lnTo>
                      <a:pt x="50" y="110"/>
                    </a:lnTo>
                    <a:lnTo>
                      <a:pt x="49" y="111"/>
                    </a:lnTo>
                    <a:lnTo>
                      <a:pt x="48" y="113"/>
                    </a:lnTo>
                    <a:lnTo>
                      <a:pt x="45" y="114"/>
                    </a:lnTo>
                    <a:lnTo>
                      <a:pt x="45" y="116"/>
                    </a:lnTo>
                    <a:lnTo>
                      <a:pt x="43" y="116"/>
                    </a:lnTo>
                    <a:lnTo>
                      <a:pt x="44" y="117"/>
                    </a:lnTo>
                    <a:lnTo>
                      <a:pt x="43" y="120"/>
                    </a:lnTo>
                    <a:lnTo>
                      <a:pt x="43" y="121"/>
                    </a:lnTo>
                    <a:lnTo>
                      <a:pt x="41" y="121"/>
                    </a:lnTo>
                    <a:lnTo>
                      <a:pt x="40" y="121"/>
                    </a:lnTo>
                    <a:lnTo>
                      <a:pt x="38" y="122"/>
                    </a:lnTo>
                    <a:lnTo>
                      <a:pt x="35" y="118"/>
                    </a:lnTo>
                    <a:lnTo>
                      <a:pt x="32" y="116"/>
                    </a:lnTo>
                    <a:lnTo>
                      <a:pt x="29" y="115"/>
                    </a:lnTo>
                    <a:lnTo>
                      <a:pt x="28" y="113"/>
                    </a:lnTo>
                    <a:lnTo>
                      <a:pt x="27" y="111"/>
                    </a:lnTo>
                    <a:lnTo>
                      <a:pt x="22" y="108"/>
                    </a:lnTo>
                    <a:lnTo>
                      <a:pt x="22" y="109"/>
                    </a:lnTo>
                    <a:lnTo>
                      <a:pt x="20" y="108"/>
                    </a:lnTo>
                    <a:lnTo>
                      <a:pt x="20" y="106"/>
                    </a:lnTo>
                    <a:lnTo>
                      <a:pt x="19" y="105"/>
                    </a:lnTo>
                    <a:lnTo>
                      <a:pt x="19" y="106"/>
                    </a:lnTo>
                    <a:lnTo>
                      <a:pt x="18" y="106"/>
                    </a:lnTo>
                    <a:lnTo>
                      <a:pt x="18" y="108"/>
                    </a:lnTo>
                    <a:lnTo>
                      <a:pt x="17" y="108"/>
                    </a:lnTo>
                    <a:lnTo>
                      <a:pt x="17" y="109"/>
                    </a:lnTo>
                    <a:lnTo>
                      <a:pt x="15" y="109"/>
                    </a:lnTo>
                    <a:lnTo>
                      <a:pt x="15" y="110"/>
                    </a:lnTo>
                    <a:lnTo>
                      <a:pt x="11" y="110"/>
                    </a:lnTo>
                    <a:lnTo>
                      <a:pt x="10" y="111"/>
                    </a:lnTo>
                    <a:lnTo>
                      <a:pt x="10" y="115"/>
                    </a:lnTo>
                    <a:lnTo>
                      <a:pt x="10" y="116"/>
                    </a:lnTo>
                    <a:lnTo>
                      <a:pt x="11" y="116"/>
                    </a:lnTo>
                    <a:lnTo>
                      <a:pt x="14" y="120"/>
                    </a:lnTo>
                    <a:lnTo>
                      <a:pt x="14" y="122"/>
                    </a:lnTo>
                    <a:lnTo>
                      <a:pt x="13" y="124"/>
                    </a:lnTo>
                    <a:lnTo>
                      <a:pt x="13" y="125"/>
                    </a:lnTo>
                    <a:lnTo>
                      <a:pt x="14" y="125"/>
                    </a:lnTo>
                    <a:lnTo>
                      <a:pt x="16" y="127"/>
                    </a:lnTo>
                    <a:lnTo>
                      <a:pt x="15" y="128"/>
                    </a:lnTo>
                    <a:lnTo>
                      <a:pt x="15" y="129"/>
                    </a:lnTo>
                    <a:lnTo>
                      <a:pt x="14" y="129"/>
                    </a:lnTo>
                    <a:lnTo>
                      <a:pt x="13" y="129"/>
                    </a:lnTo>
                    <a:lnTo>
                      <a:pt x="14" y="129"/>
                    </a:lnTo>
                    <a:lnTo>
                      <a:pt x="14" y="130"/>
                    </a:lnTo>
                    <a:lnTo>
                      <a:pt x="13" y="132"/>
                    </a:lnTo>
                    <a:lnTo>
                      <a:pt x="14" y="132"/>
                    </a:lnTo>
                    <a:lnTo>
                      <a:pt x="13" y="134"/>
                    </a:lnTo>
                    <a:lnTo>
                      <a:pt x="13" y="136"/>
                    </a:lnTo>
                    <a:lnTo>
                      <a:pt x="11" y="138"/>
                    </a:lnTo>
                    <a:lnTo>
                      <a:pt x="11" y="140"/>
                    </a:lnTo>
                    <a:lnTo>
                      <a:pt x="13" y="139"/>
                    </a:lnTo>
                    <a:lnTo>
                      <a:pt x="13" y="141"/>
                    </a:lnTo>
                    <a:lnTo>
                      <a:pt x="15" y="140"/>
                    </a:lnTo>
                    <a:lnTo>
                      <a:pt x="15" y="141"/>
                    </a:lnTo>
                    <a:lnTo>
                      <a:pt x="17" y="145"/>
                    </a:lnTo>
                    <a:lnTo>
                      <a:pt x="17" y="146"/>
                    </a:lnTo>
                    <a:lnTo>
                      <a:pt x="15" y="146"/>
                    </a:lnTo>
                    <a:lnTo>
                      <a:pt x="15" y="148"/>
                    </a:lnTo>
                    <a:lnTo>
                      <a:pt x="16" y="149"/>
                    </a:lnTo>
                    <a:lnTo>
                      <a:pt x="16" y="150"/>
                    </a:lnTo>
                    <a:lnTo>
                      <a:pt x="19" y="151"/>
                    </a:lnTo>
                    <a:lnTo>
                      <a:pt x="15" y="160"/>
                    </a:lnTo>
                    <a:lnTo>
                      <a:pt x="15" y="159"/>
                    </a:lnTo>
                    <a:lnTo>
                      <a:pt x="14" y="160"/>
                    </a:lnTo>
                    <a:lnTo>
                      <a:pt x="13" y="159"/>
                    </a:lnTo>
                    <a:lnTo>
                      <a:pt x="13" y="160"/>
                    </a:lnTo>
                    <a:lnTo>
                      <a:pt x="10" y="160"/>
                    </a:lnTo>
                    <a:lnTo>
                      <a:pt x="10" y="163"/>
                    </a:lnTo>
                    <a:lnTo>
                      <a:pt x="11" y="163"/>
                    </a:lnTo>
                    <a:lnTo>
                      <a:pt x="11" y="164"/>
                    </a:lnTo>
                    <a:lnTo>
                      <a:pt x="10" y="165"/>
                    </a:lnTo>
                    <a:lnTo>
                      <a:pt x="11" y="167"/>
                    </a:lnTo>
                    <a:lnTo>
                      <a:pt x="11" y="168"/>
                    </a:lnTo>
                    <a:lnTo>
                      <a:pt x="10" y="168"/>
                    </a:lnTo>
                    <a:lnTo>
                      <a:pt x="9" y="169"/>
                    </a:lnTo>
                    <a:lnTo>
                      <a:pt x="8" y="169"/>
                    </a:lnTo>
                    <a:lnTo>
                      <a:pt x="9" y="168"/>
                    </a:lnTo>
                    <a:lnTo>
                      <a:pt x="8" y="168"/>
                    </a:lnTo>
                    <a:lnTo>
                      <a:pt x="7" y="168"/>
                    </a:lnTo>
                    <a:lnTo>
                      <a:pt x="6" y="168"/>
                    </a:lnTo>
                    <a:lnTo>
                      <a:pt x="5" y="167"/>
                    </a:lnTo>
                    <a:lnTo>
                      <a:pt x="3" y="169"/>
                    </a:lnTo>
                    <a:lnTo>
                      <a:pt x="0" y="172"/>
                    </a:lnTo>
                    <a:lnTo>
                      <a:pt x="2" y="175"/>
                    </a:lnTo>
                    <a:lnTo>
                      <a:pt x="3" y="177"/>
                    </a:lnTo>
                    <a:lnTo>
                      <a:pt x="5" y="177"/>
                    </a:lnTo>
                    <a:lnTo>
                      <a:pt x="7" y="180"/>
                    </a:lnTo>
                    <a:lnTo>
                      <a:pt x="6" y="180"/>
                    </a:lnTo>
                    <a:lnTo>
                      <a:pt x="4" y="181"/>
                    </a:lnTo>
                    <a:lnTo>
                      <a:pt x="5" y="185"/>
                    </a:lnTo>
                    <a:lnTo>
                      <a:pt x="5" y="187"/>
                    </a:lnTo>
                    <a:lnTo>
                      <a:pt x="7" y="189"/>
                    </a:lnTo>
                    <a:lnTo>
                      <a:pt x="9" y="191"/>
                    </a:lnTo>
                    <a:lnTo>
                      <a:pt x="11" y="192"/>
                    </a:lnTo>
                    <a:lnTo>
                      <a:pt x="13" y="191"/>
                    </a:lnTo>
                    <a:lnTo>
                      <a:pt x="15" y="188"/>
                    </a:lnTo>
                    <a:lnTo>
                      <a:pt x="16" y="191"/>
                    </a:lnTo>
                    <a:lnTo>
                      <a:pt x="20" y="193"/>
                    </a:lnTo>
                    <a:lnTo>
                      <a:pt x="21" y="193"/>
                    </a:lnTo>
                    <a:lnTo>
                      <a:pt x="20" y="194"/>
                    </a:lnTo>
                    <a:lnTo>
                      <a:pt x="19" y="194"/>
                    </a:lnTo>
                    <a:lnTo>
                      <a:pt x="19" y="198"/>
                    </a:lnTo>
                    <a:lnTo>
                      <a:pt x="20" y="198"/>
                    </a:lnTo>
                    <a:lnTo>
                      <a:pt x="22" y="197"/>
                    </a:lnTo>
                    <a:lnTo>
                      <a:pt x="22" y="198"/>
                    </a:lnTo>
                    <a:lnTo>
                      <a:pt x="23" y="200"/>
                    </a:lnTo>
                    <a:lnTo>
                      <a:pt x="24" y="200"/>
                    </a:lnTo>
                    <a:lnTo>
                      <a:pt x="25" y="202"/>
                    </a:lnTo>
                    <a:lnTo>
                      <a:pt x="26" y="202"/>
                    </a:lnTo>
                    <a:lnTo>
                      <a:pt x="27" y="204"/>
                    </a:lnTo>
                    <a:lnTo>
                      <a:pt x="27" y="206"/>
                    </a:lnTo>
                    <a:lnTo>
                      <a:pt x="26" y="205"/>
                    </a:lnTo>
                    <a:lnTo>
                      <a:pt x="23" y="206"/>
                    </a:lnTo>
                    <a:lnTo>
                      <a:pt x="23" y="208"/>
                    </a:lnTo>
                    <a:lnTo>
                      <a:pt x="25" y="209"/>
                    </a:lnTo>
                    <a:lnTo>
                      <a:pt x="25" y="211"/>
                    </a:lnTo>
                    <a:lnTo>
                      <a:pt x="23" y="213"/>
                    </a:lnTo>
                    <a:lnTo>
                      <a:pt x="25" y="214"/>
                    </a:lnTo>
                    <a:lnTo>
                      <a:pt x="28" y="217"/>
                    </a:lnTo>
                    <a:lnTo>
                      <a:pt x="28" y="218"/>
                    </a:lnTo>
                    <a:lnTo>
                      <a:pt x="29" y="219"/>
                    </a:lnTo>
                    <a:lnTo>
                      <a:pt x="30" y="217"/>
                    </a:lnTo>
                    <a:lnTo>
                      <a:pt x="30" y="219"/>
                    </a:lnTo>
                    <a:lnTo>
                      <a:pt x="31" y="219"/>
                    </a:lnTo>
                    <a:lnTo>
                      <a:pt x="32" y="219"/>
                    </a:lnTo>
                    <a:lnTo>
                      <a:pt x="32" y="217"/>
                    </a:lnTo>
                    <a:lnTo>
                      <a:pt x="36" y="218"/>
                    </a:lnTo>
                    <a:lnTo>
                      <a:pt x="38" y="216"/>
                    </a:lnTo>
                    <a:lnTo>
                      <a:pt x="39" y="216"/>
                    </a:lnTo>
                    <a:lnTo>
                      <a:pt x="39" y="217"/>
                    </a:lnTo>
                    <a:lnTo>
                      <a:pt x="41" y="219"/>
                    </a:lnTo>
                    <a:lnTo>
                      <a:pt x="42" y="219"/>
                    </a:lnTo>
                    <a:lnTo>
                      <a:pt x="43" y="220"/>
                    </a:lnTo>
                    <a:lnTo>
                      <a:pt x="44" y="219"/>
                    </a:lnTo>
                    <a:lnTo>
                      <a:pt x="46" y="221"/>
                    </a:lnTo>
                    <a:lnTo>
                      <a:pt x="49" y="223"/>
                    </a:lnTo>
                    <a:lnTo>
                      <a:pt x="48" y="223"/>
                    </a:lnTo>
                    <a:lnTo>
                      <a:pt x="49" y="225"/>
                    </a:lnTo>
                    <a:lnTo>
                      <a:pt x="50" y="224"/>
                    </a:lnTo>
                    <a:lnTo>
                      <a:pt x="52" y="223"/>
                    </a:lnTo>
                    <a:lnTo>
                      <a:pt x="53" y="220"/>
                    </a:lnTo>
                    <a:lnTo>
                      <a:pt x="56" y="221"/>
                    </a:lnTo>
                    <a:lnTo>
                      <a:pt x="57" y="219"/>
                    </a:lnTo>
                    <a:lnTo>
                      <a:pt x="59" y="219"/>
                    </a:lnTo>
                    <a:lnTo>
                      <a:pt x="60" y="219"/>
                    </a:lnTo>
                    <a:lnTo>
                      <a:pt x="62" y="219"/>
                    </a:lnTo>
                    <a:lnTo>
                      <a:pt x="63" y="217"/>
                    </a:lnTo>
                    <a:lnTo>
                      <a:pt x="63" y="219"/>
                    </a:lnTo>
                    <a:lnTo>
                      <a:pt x="63" y="222"/>
                    </a:lnTo>
                    <a:lnTo>
                      <a:pt x="64" y="222"/>
                    </a:lnTo>
                    <a:lnTo>
                      <a:pt x="64" y="223"/>
                    </a:lnTo>
                    <a:lnTo>
                      <a:pt x="66" y="223"/>
                    </a:lnTo>
                    <a:lnTo>
                      <a:pt x="67" y="224"/>
                    </a:lnTo>
                    <a:lnTo>
                      <a:pt x="67" y="225"/>
                    </a:lnTo>
                    <a:lnTo>
                      <a:pt x="69" y="225"/>
                    </a:lnTo>
                    <a:lnTo>
                      <a:pt x="69" y="227"/>
                    </a:lnTo>
                    <a:lnTo>
                      <a:pt x="68" y="228"/>
                    </a:lnTo>
                    <a:lnTo>
                      <a:pt x="68" y="230"/>
                    </a:lnTo>
                    <a:lnTo>
                      <a:pt x="68" y="231"/>
                    </a:lnTo>
                    <a:lnTo>
                      <a:pt x="68" y="234"/>
                    </a:lnTo>
                    <a:lnTo>
                      <a:pt x="68" y="237"/>
                    </a:lnTo>
                    <a:lnTo>
                      <a:pt x="69" y="240"/>
                    </a:lnTo>
                    <a:lnTo>
                      <a:pt x="68" y="241"/>
                    </a:lnTo>
                    <a:lnTo>
                      <a:pt x="66" y="241"/>
                    </a:lnTo>
                    <a:lnTo>
                      <a:pt x="64" y="242"/>
                    </a:lnTo>
                    <a:lnTo>
                      <a:pt x="66" y="243"/>
                    </a:lnTo>
                    <a:lnTo>
                      <a:pt x="66" y="249"/>
                    </a:lnTo>
                    <a:lnTo>
                      <a:pt x="64" y="252"/>
                    </a:lnTo>
                    <a:lnTo>
                      <a:pt x="66" y="253"/>
                    </a:lnTo>
                    <a:lnTo>
                      <a:pt x="66" y="255"/>
                    </a:lnTo>
                    <a:lnTo>
                      <a:pt x="67" y="255"/>
                    </a:lnTo>
                    <a:lnTo>
                      <a:pt x="69" y="257"/>
                    </a:lnTo>
                    <a:lnTo>
                      <a:pt x="68" y="261"/>
                    </a:lnTo>
                    <a:lnTo>
                      <a:pt x="69" y="259"/>
                    </a:lnTo>
                    <a:lnTo>
                      <a:pt x="69" y="261"/>
                    </a:lnTo>
                    <a:lnTo>
                      <a:pt x="70" y="261"/>
                    </a:lnTo>
                    <a:lnTo>
                      <a:pt x="69" y="263"/>
                    </a:lnTo>
                    <a:lnTo>
                      <a:pt x="71" y="262"/>
                    </a:lnTo>
                    <a:lnTo>
                      <a:pt x="69" y="265"/>
                    </a:lnTo>
                    <a:lnTo>
                      <a:pt x="69" y="267"/>
                    </a:lnTo>
                    <a:lnTo>
                      <a:pt x="68" y="269"/>
                    </a:lnTo>
                    <a:lnTo>
                      <a:pt x="68" y="268"/>
                    </a:lnTo>
                    <a:lnTo>
                      <a:pt x="66" y="270"/>
                    </a:lnTo>
                    <a:lnTo>
                      <a:pt x="67" y="271"/>
                    </a:lnTo>
                    <a:lnTo>
                      <a:pt x="68" y="272"/>
                    </a:lnTo>
                    <a:lnTo>
                      <a:pt x="67" y="272"/>
                    </a:lnTo>
                    <a:lnTo>
                      <a:pt x="66" y="274"/>
                    </a:lnTo>
                    <a:lnTo>
                      <a:pt x="66" y="273"/>
                    </a:lnTo>
                    <a:lnTo>
                      <a:pt x="66" y="275"/>
                    </a:lnTo>
                    <a:lnTo>
                      <a:pt x="64" y="275"/>
                    </a:lnTo>
                    <a:lnTo>
                      <a:pt x="63" y="277"/>
                    </a:lnTo>
                    <a:lnTo>
                      <a:pt x="61" y="276"/>
                    </a:lnTo>
                    <a:lnTo>
                      <a:pt x="60" y="279"/>
                    </a:lnTo>
                    <a:lnTo>
                      <a:pt x="60" y="278"/>
                    </a:lnTo>
                    <a:lnTo>
                      <a:pt x="59" y="278"/>
                    </a:lnTo>
                    <a:lnTo>
                      <a:pt x="59" y="280"/>
                    </a:lnTo>
                    <a:lnTo>
                      <a:pt x="58" y="280"/>
                    </a:lnTo>
                    <a:lnTo>
                      <a:pt x="57" y="279"/>
                    </a:lnTo>
                    <a:lnTo>
                      <a:pt x="56" y="282"/>
                    </a:lnTo>
                    <a:lnTo>
                      <a:pt x="58" y="282"/>
                    </a:lnTo>
                    <a:lnTo>
                      <a:pt x="61" y="284"/>
                    </a:lnTo>
                    <a:lnTo>
                      <a:pt x="61" y="285"/>
                    </a:lnTo>
                    <a:lnTo>
                      <a:pt x="57" y="288"/>
                    </a:lnTo>
                    <a:lnTo>
                      <a:pt x="54" y="289"/>
                    </a:lnTo>
                    <a:lnTo>
                      <a:pt x="58" y="291"/>
                    </a:lnTo>
                    <a:lnTo>
                      <a:pt x="62" y="290"/>
                    </a:lnTo>
                    <a:lnTo>
                      <a:pt x="64" y="293"/>
                    </a:lnTo>
                    <a:lnTo>
                      <a:pt x="65" y="295"/>
                    </a:lnTo>
                    <a:lnTo>
                      <a:pt x="68" y="296"/>
                    </a:lnTo>
                    <a:lnTo>
                      <a:pt x="68" y="295"/>
                    </a:lnTo>
                    <a:lnTo>
                      <a:pt x="68" y="293"/>
                    </a:lnTo>
                    <a:lnTo>
                      <a:pt x="69" y="295"/>
                    </a:lnTo>
                    <a:lnTo>
                      <a:pt x="71" y="295"/>
                    </a:lnTo>
                    <a:lnTo>
                      <a:pt x="70" y="296"/>
                    </a:lnTo>
                    <a:lnTo>
                      <a:pt x="74" y="300"/>
                    </a:lnTo>
                    <a:lnTo>
                      <a:pt x="76" y="301"/>
                    </a:lnTo>
                    <a:lnTo>
                      <a:pt x="77" y="301"/>
                    </a:lnTo>
                    <a:lnTo>
                      <a:pt x="79" y="303"/>
                    </a:lnTo>
                    <a:lnTo>
                      <a:pt x="76" y="306"/>
                    </a:lnTo>
                    <a:lnTo>
                      <a:pt x="76" y="309"/>
                    </a:lnTo>
                    <a:lnTo>
                      <a:pt x="79" y="316"/>
                    </a:lnTo>
                    <a:lnTo>
                      <a:pt x="84" y="315"/>
                    </a:lnTo>
                    <a:lnTo>
                      <a:pt x="85" y="313"/>
                    </a:lnTo>
                    <a:lnTo>
                      <a:pt x="86" y="313"/>
                    </a:lnTo>
                    <a:lnTo>
                      <a:pt x="88" y="312"/>
                    </a:lnTo>
                    <a:lnTo>
                      <a:pt x="88" y="311"/>
                    </a:lnTo>
                    <a:lnTo>
                      <a:pt x="90" y="312"/>
                    </a:lnTo>
                    <a:lnTo>
                      <a:pt x="91" y="311"/>
                    </a:lnTo>
                    <a:lnTo>
                      <a:pt x="89" y="311"/>
                    </a:lnTo>
                    <a:lnTo>
                      <a:pt x="89" y="309"/>
                    </a:lnTo>
                    <a:lnTo>
                      <a:pt x="93" y="310"/>
                    </a:lnTo>
                    <a:lnTo>
                      <a:pt x="94" y="310"/>
                    </a:lnTo>
                    <a:lnTo>
                      <a:pt x="96" y="309"/>
                    </a:lnTo>
                    <a:lnTo>
                      <a:pt x="97" y="308"/>
                    </a:lnTo>
                    <a:lnTo>
                      <a:pt x="98" y="309"/>
                    </a:lnTo>
                    <a:lnTo>
                      <a:pt x="99" y="309"/>
                    </a:lnTo>
                    <a:lnTo>
                      <a:pt x="98" y="306"/>
                    </a:lnTo>
                    <a:lnTo>
                      <a:pt x="98" y="305"/>
                    </a:lnTo>
                    <a:lnTo>
                      <a:pt x="99" y="301"/>
                    </a:lnTo>
                    <a:lnTo>
                      <a:pt x="100" y="301"/>
                    </a:lnTo>
                    <a:lnTo>
                      <a:pt x="104" y="299"/>
                    </a:lnTo>
                    <a:lnTo>
                      <a:pt x="105" y="299"/>
                    </a:lnTo>
                    <a:lnTo>
                      <a:pt x="106" y="300"/>
                    </a:lnTo>
                    <a:lnTo>
                      <a:pt x="107" y="299"/>
                    </a:lnTo>
                    <a:lnTo>
                      <a:pt x="107" y="301"/>
                    </a:lnTo>
                    <a:lnTo>
                      <a:pt x="108" y="302"/>
                    </a:lnTo>
                    <a:lnTo>
                      <a:pt x="110" y="301"/>
                    </a:lnTo>
                    <a:lnTo>
                      <a:pt x="110" y="299"/>
                    </a:lnTo>
                    <a:lnTo>
                      <a:pt x="111" y="299"/>
                    </a:lnTo>
                    <a:lnTo>
                      <a:pt x="113" y="299"/>
                    </a:lnTo>
                    <a:lnTo>
                      <a:pt x="112" y="297"/>
                    </a:lnTo>
                    <a:lnTo>
                      <a:pt x="112" y="295"/>
                    </a:lnTo>
                    <a:lnTo>
                      <a:pt x="113" y="295"/>
                    </a:lnTo>
                    <a:lnTo>
                      <a:pt x="116" y="297"/>
                    </a:lnTo>
                    <a:lnTo>
                      <a:pt x="115" y="302"/>
                    </a:lnTo>
                    <a:lnTo>
                      <a:pt x="117" y="302"/>
                    </a:lnTo>
                    <a:lnTo>
                      <a:pt x="117" y="304"/>
                    </a:lnTo>
                    <a:lnTo>
                      <a:pt x="118" y="304"/>
                    </a:lnTo>
                    <a:lnTo>
                      <a:pt x="118" y="303"/>
                    </a:lnTo>
                    <a:lnTo>
                      <a:pt x="120" y="304"/>
                    </a:lnTo>
                    <a:lnTo>
                      <a:pt x="120" y="305"/>
                    </a:lnTo>
                    <a:lnTo>
                      <a:pt x="121" y="304"/>
                    </a:lnTo>
                    <a:lnTo>
                      <a:pt x="120" y="304"/>
                    </a:lnTo>
                    <a:lnTo>
                      <a:pt x="120" y="301"/>
                    </a:lnTo>
                    <a:lnTo>
                      <a:pt x="120" y="303"/>
                    </a:lnTo>
                    <a:lnTo>
                      <a:pt x="121" y="302"/>
                    </a:lnTo>
                    <a:lnTo>
                      <a:pt x="121" y="303"/>
                    </a:lnTo>
                    <a:lnTo>
                      <a:pt x="123" y="303"/>
                    </a:lnTo>
                    <a:lnTo>
                      <a:pt x="123" y="304"/>
                    </a:lnTo>
                    <a:lnTo>
                      <a:pt x="125" y="303"/>
                    </a:lnTo>
                    <a:lnTo>
                      <a:pt x="127" y="304"/>
                    </a:lnTo>
                    <a:lnTo>
                      <a:pt x="128" y="303"/>
                    </a:lnTo>
                    <a:lnTo>
                      <a:pt x="128" y="304"/>
                    </a:lnTo>
                    <a:lnTo>
                      <a:pt x="128" y="305"/>
                    </a:lnTo>
                    <a:lnTo>
                      <a:pt x="129" y="305"/>
                    </a:lnTo>
                    <a:lnTo>
                      <a:pt x="131" y="306"/>
                    </a:lnTo>
                    <a:lnTo>
                      <a:pt x="131" y="305"/>
                    </a:lnTo>
                    <a:lnTo>
                      <a:pt x="133" y="306"/>
                    </a:lnTo>
                    <a:lnTo>
                      <a:pt x="133" y="303"/>
                    </a:lnTo>
                    <a:lnTo>
                      <a:pt x="134" y="304"/>
                    </a:lnTo>
                    <a:lnTo>
                      <a:pt x="134" y="305"/>
                    </a:lnTo>
                    <a:lnTo>
                      <a:pt x="138" y="307"/>
                    </a:lnTo>
                    <a:lnTo>
                      <a:pt x="138" y="308"/>
                    </a:lnTo>
                    <a:lnTo>
                      <a:pt x="140" y="309"/>
                    </a:lnTo>
                    <a:lnTo>
                      <a:pt x="140" y="310"/>
                    </a:lnTo>
                    <a:lnTo>
                      <a:pt x="141" y="311"/>
                    </a:lnTo>
                    <a:lnTo>
                      <a:pt x="142" y="310"/>
                    </a:lnTo>
                    <a:lnTo>
                      <a:pt x="144" y="311"/>
                    </a:lnTo>
                    <a:lnTo>
                      <a:pt x="145" y="310"/>
                    </a:lnTo>
                    <a:lnTo>
                      <a:pt x="145" y="309"/>
                    </a:lnTo>
                    <a:lnTo>
                      <a:pt x="147" y="306"/>
                    </a:lnTo>
                    <a:lnTo>
                      <a:pt x="148" y="306"/>
                    </a:lnTo>
                    <a:lnTo>
                      <a:pt x="149" y="305"/>
                    </a:lnTo>
                    <a:lnTo>
                      <a:pt x="150" y="306"/>
                    </a:lnTo>
                    <a:lnTo>
                      <a:pt x="151" y="306"/>
                    </a:lnTo>
                    <a:lnTo>
                      <a:pt x="153" y="306"/>
                    </a:lnTo>
                    <a:lnTo>
                      <a:pt x="154" y="309"/>
                    </a:lnTo>
                    <a:lnTo>
                      <a:pt x="156" y="305"/>
                    </a:lnTo>
                    <a:lnTo>
                      <a:pt x="157" y="306"/>
                    </a:lnTo>
                    <a:lnTo>
                      <a:pt x="158" y="306"/>
                    </a:lnTo>
                    <a:lnTo>
                      <a:pt x="159" y="305"/>
                    </a:lnTo>
                    <a:lnTo>
                      <a:pt x="160" y="300"/>
                    </a:lnTo>
                    <a:lnTo>
                      <a:pt x="159" y="299"/>
                    </a:lnTo>
                    <a:lnTo>
                      <a:pt x="159" y="296"/>
                    </a:lnTo>
                    <a:lnTo>
                      <a:pt x="161" y="296"/>
                    </a:lnTo>
                    <a:lnTo>
                      <a:pt x="161" y="295"/>
                    </a:lnTo>
                    <a:lnTo>
                      <a:pt x="163" y="295"/>
                    </a:lnTo>
                    <a:lnTo>
                      <a:pt x="164" y="293"/>
                    </a:lnTo>
                    <a:lnTo>
                      <a:pt x="167" y="295"/>
                    </a:lnTo>
                    <a:lnTo>
                      <a:pt x="168" y="292"/>
                    </a:lnTo>
                    <a:lnTo>
                      <a:pt x="170" y="291"/>
                    </a:lnTo>
                    <a:lnTo>
                      <a:pt x="172" y="293"/>
                    </a:lnTo>
                    <a:lnTo>
                      <a:pt x="173" y="295"/>
                    </a:lnTo>
                    <a:lnTo>
                      <a:pt x="177" y="295"/>
                    </a:lnTo>
                    <a:lnTo>
                      <a:pt x="177" y="296"/>
                    </a:lnTo>
                    <a:lnTo>
                      <a:pt x="176" y="298"/>
                    </a:lnTo>
                    <a:lnTo>
                      <a:pt x="178" y="299"/>
                    </a:lnTo>
                    <a:lnTo>
                      <a:pt x="176" y="303"/>
                    </a:lnTo>
                    <a:lnTo>
                      <a:pt x="175" y="306"/>
                    </a:lnTo>
                    <a:lnTo>
                      <a:pt x="176" y="309"/>
                    </a:lnTo>
                    <a:lnTo>
                      <a:pt x="178" y="310"/>
                    </a:lnTo>
                    <a:lnTo>
                      <a:pt x="178" y="311"/>
                    </a:lnTo>
                    <a:lnTo>
                      <a:pt x="179" y="311"/>
                    </a:lnTo>
                    <a:lnTo>
                      <a:pt x="183" y="312"/>
                    </a:lnTo>
                    <a:lnTo>
                      <a:pt x="183" y="314"/>
                    </a:lnTo>
                    <a:lnTo>
                      <a:pt x="185" y="313"/>
                    </a:lnTo>
                    <a:lnTo>
                      <a:pt x="185" y="312"/>
                    </a:lnTo>
                    <a:lnTo>
                      <a:pt x="188" y="310"/>
                    </a:lnTo>
                    <a:lnTo>
                      <a:pt x="189" y="306"/>
                    </a:lnTo>
                    <a:lnTo>
                      <a:pt x="194" y="307"/>
                    </a:lnTo>
                    <a:lnTo>
                      <a:pt x="198" y="308"/>
                    </a:lnTo>
                    <a:lnTo>
                      <a:pt x="199" y="301"/>
                    </a:lnTo>
                    <a:lnTo>
                      <a:pt x="207" y="301"/>
                    </a:lnTo>
                    <a:lnTo>
                      <a:pt x="208" y="301"/>
                    </a:lnTo>
                    <a:lnTo>
                      <a:pt x="208" y="298"/>
                    </a:lnTo>
                    <a:lnTo>
                      <a:pt x="210" y="299"/>
                    </a:lnTo>
                    <a:lnTo>
                      <a:pt x="214" y="304"/>
                    </a:lnTo>
                    <a:lnTo>
                      <a:pt x="216" y="302"/>
                    </a:lnTo>
                    <a:lnTo>
                      <a:pt x="216" y="304"/>
                    </a:lnTo>
                    <a:lnTo>
                      <a:pt x="218" y="304"/>
                    </a:lnTo>
                    <a:lnTo>
                      <a:pt x="219" y="306"/>
                    </a:lnTo>
                    <a:lnTo>
                      <a:pt x="227" y="306"/>
                    </a:lnTo>
                    <a:lnTo>
                      <a:pt x="226" y="312"/>
                    </a:lnTo>
                    <a:lnTo>
                      <a:pt x="231" y="314"/>
                    </a:lnTo>
                    <a:lnTo>
                      <a:pt x="231" y="318"/>
                    </a:lnTo>
                    <a:lnTo>
                      <a:pt x="230" y="328"/>
                    </a:lnTo>
                    <a:lnTo>
                      <a:pt x="242" y="330"/>
                    </a:lnTo>
                    <a:lnTo>
                      <a:pt x="244" y="331"/>
                    </a:lnTo>
                    <a:lnTo>
                      <a:pt x="246" y="339"/>
                    </a:lnTo>
                    <a:lnTo>
                      <a:pt x="246" y="342"/>
                    </a:lnTo>
                    <a:lnTo>
                      <a:pt x="246" y="343"/>
                    </a:lnTo>
                    <a:lnTo>
                      <a:pt x="247" y="343"/>
                    </a:lnTo>
                    <a:lnTo>
                      <a:pt x="250" y="344"/>
                    </a:lnTo>
                    <a:lnTo>
                      <a:pt x="251" y="345"/>
                    </a:lnTo>
                    <a:lnTo>
                      <a:pt x="252" y="345"/>
                    </a:lnTo>
                    <a:lnTo>
                      <a:pt x="253" y="346"/>
                    </a:lnTo>
                    <a:lnTo>
                      <a:pt x="255" y="345"/>
                    </a:lnTo>
                    <a:lnTo>
                      <a:pt x="259" y="348"/>
                    </a:lnTo>
                    <a:lnTo>
                      <a:pt x="259" y="353"/>
                    </a:lnTo>
                    <a:lnTo>
                      <a:pt x="262" y="356"/>
                    </a:lnTo>
                    <a:lnTo>
                      <a:pt x="263" y="356"/>
                    </a:lnTo>
                    <a:lnTo>
                      <a:pt x="263" y="355"/>
                    </a:lnTo>
                    <a:lnTo>
                      <a:pt x="265" y="354"/>
                    </a:lnTo>
                    <a:lnTo>
                      <a:pt x="267" y="358"/>
                    </a:lnTo>
                    <a:lnTo>
                      <a:pt x="268" y="358"/>
                    </a:lnTo>
                    <a:lnTo>
                      <a:pt x="269" y="359"/>
                    </a:lnTo>
                    <a:lnTo>
                      <a:pt x="270" y="358"/>
                    </a:lnTo>
                    <a:lnTo>
                      <a:pt x="270" y="359"/>
                    </a:lnTo>
                    <a:lnTo>
                      <a:pt x="271" y="359"/>
                    </a:lnTo>
                    <a:lnTo>
                      <a:pt x="273" y="363"/>
                    </a:lnTo>
                    <a:lnTo>
                      <a:pt x="275" y="365"/>
                    </a:lnTo>
                    <a:lnTo>
                      <a:pt x="275" y="366"/>
                    </a:lnTo>
                    <a:lnTo>
                      <a:pt x="275" y="367"/>
                    </a:lnTo>
                    <a:lnTo>
                      <a:pt x="276" y="369"/>
                    </a:lnTo>
                    <a:lnTo>
                      <a:pt x="277" y="369"/>
                    </a:lnTo>
                    <a:lnTo>
                      <a:pt x="279" y="369"/>
                    </a:lnTo>
                    <a:lnTo>
                      <a:pt x="280" y="367"/>
                    </a:lnTo>
                    <a:lnTo>
                      <a:pt x="283" y="368"/>
                    </a:lnTo>
                    <a:lnTo>
                      <a:pt x="284" y="367"/>
                    </a:lnTo>
                    <a:lnTo>
                      <a:pt x="285" y="369"/>
                    </a:lnTo>
                    <a:lnTo>
                      <a:pt x="289" y="367"/>
                    </a:lnTo>
                    <a:lnTo>
                      <a:pt x="289" y="366"/>
                    </a:lnTo>
                    <a:lnTo>
                      <a:pt x="290" y="365"/>
                    </a:lnTo>
                    <a:lnTo>
                      <a:pt x="289" y="363"/>
                    </a:lnTo>
                    <a:lnTo>
                      <a:pt x="290" y="363"/>
                    </a:lnTo>
                    <a:lnTo>
                      <a:pt x="290" y="364"/>
                    </a:lnTo>
                    <a:lnTo>
                      <a:pt x="292" y="364"/>
                    </a:lnTo>
                    <a:lnTo>
                      <a:pt x="292" y="365"/>
                    </a:lnTo>
                    <a:lnTo>
                      <a:pt x="290" y="367"/>
                    </a:lnTo>
                    <a:lnTo>
                      <a:pt x="290" y="369"/>
                    </a:lnTo>
                    <a:lnTo>
                      <a:pt x="295" y="369"/>
                    </a:lnTo>
                    <a:lnTo>
                      <a:pt x="296" y="369"/>
                    </a:lnTo>
                    <a:lnTo>
                      <a:pt x="297" y="369"/>
                    </a:lnTo>
                    <a:lnTo>
                      <a:pt x="298" y="368"/>
                    </a:lnTo>
                    <a:lnTo>
                      <a:pt x="300" y="369"/>
                    </a:lnTo>
                    <a:lnTo>
                      <a:pt x="300" y="367"/>
                    </a:lnTo>
                    <a:lnTo>
                      <a:pt x="302" y="368"/>
                    </a:lnTo>
                    <a:lnTo>
                      <a:pt x="303" y="367"/>
                    </a:lnTo>
                    <a:lnTo>
                      <a:pt x="304" y="369"/>
                    </a:lnTo>
                    <a:lnTo>
                      <a:pt x="306" y="370"/>
                    </a:lnTo>
                    <a:lnTo>
                      <a:pt x="313" y="374"/>
                    </a:lnTo>
                    <a:lnTo>
                      <a:pt x="313" y="369"/>
                    </a:lnTo>
                    <a:lnTo>
                      <a:pt x="312" y="369"/>
                    </a:lnTo>
                    <a:lnTo>
                      <a:pt x="311" y="366"/>
                    </a:lnTo>
                    <a:lnTo>
                      <a:pt x="309" y="365"/>
                    </a:lnTo>
                    <a:lnTo>
                      <a:pt x="309" y="363"/>
                    </a:lnTo>
                    <a:lnTo>
                      <a:pt x="310" y="363"/>
                    </a:lnTo>
                    <a:lnTo>
                      <a:pt x="311" y="362"/>
                    </a:lnTo>
                    <a:lnTo>
                      <a:pt x="310" y="360"/>
                    </a:lnTo>
                    <a:lnTo>
                      <a:pt x="312" y="360"/>
                    </a:lnTo>
                    <a:lnTo>
                      <a:pt x="314" y="361"/>
                    </a:lnTo>
                    <a:lnTo>
                      <a:pt x="316" y="360"/>
                    </a:lnTo>
                    <a:lnTo>
                      <a:pt x="318" y="360"/>
                    </a:lnTo>
                    <a:lnTo>
                      <a:pt x="319" y="358"/>
                    </a:lnTo>
                    <a:lnTo>
                      <a:pt x="321" y="357"/>
                    </a:lnTo>
                    <a:lnTo>
                      <a:pt x="319" y="355"/>
                    </a:lnTo>
                    <a:lnTo>
                      <a:pt x="318" y="353"/>
                    </a:lnTo>
                    <a:lnTo>
                      <a:pt x="317" y="354"/>
                    </a:lnTo>
                    <a:lnTo>
                      <a:pt x="317" y="351"/>
                    </a:lnTo>
                    <a:lnTo>
                      <a:pt x="319" y="348"/>
                    </a:lnTo>
                    <a:lnTo>
                      <a:pt x="321" y="348"/>
                    </a:lnTo>
                    <a:lnTo>
                      <a:pt x="321" y="346"/>
                    </a:lnTo>
                    <a:lnTo>
                      <a:pt x="323" y="346"/>
                    </a:lnTo>
                    <a:lnTo>
                      <a:pt x="327" y="346"/>
                    </a:lnTo>
                    <a:lnTo>
                      <a:pt x="333" y="340"/>
                    </a:lnTo>
                    <a:lnTo>
                      <a:pt x="335" y="340"/>
                    </a:lnTo>
                    <a:lnTo>
                      <a:pt x="336" y="340"/>
                    </a:lnTo>
                    <a:lnTo>
                      <a:pt x="337" y="341"/>
                    </a:lnTo>
                    <a:lnTo>
                      <a:pt x="337" y="340"/>
                    </a:lnTo>
                    <a:lnTo>
                      <a:pt x="338" y="340"/>
                    </a:lnTo>
                    <a:lnTo>
                      <a:pt x="338" y="339"/>
                    </a:lnTo>
                    <a:lnTo>
                      <a:pt x="339" y="339"/>
                    </a:lnTo>
                    <a:lnTo>
                      <a:pt x="340" y="338"/>
                    </a:lnTo>
                    <a:lnTo>
                      <a:pt x="342" y="340"/>
                    </a:lnTo>
                    <a:lnTo>
                      <a:pt x="343" y="339"/>
                    </a:lnTo>
                    <a:lnTo>
                      <a:pt x="343" y="337"/>
                    </a:lnTo>
                    <a:lnTo>
                      <a:pt x="342" y="337"/>
                    </a:lnTo>
                    <a:lnTo>
                      <a:pt x="345" y="336"/>
                    </a:lnTo>
                    <a:lnTo>
                      <a:pt x="345" y="335"/>
                    </a:lnTo>
                    <a:lnTo>
                      <a:pt x="345" y="336"/>
                    </a:lnTo>
                    <a:lnTo>
                      <a:pt x="349" y="336"/>
                    </a:lnTo>
                    <a:lnTo>
                      <a:pt x="349" y="337"/>
                    </a:lnTo>
                    <a:lnTo>
                      <a:pt x="350" y="335"/>
                    </a:lnTo>
                    <a:lnTo>
                      <a:pt x="351" y="335"/>
                    </a:lnTo>
                    <a:lnTo>
                      <a:pt x="352" y="333"/>
                    </a:lnTo>
                    <a:lnTo>
                      <a:pt x="355" y="333"/>
                    </a:lnTo>
                    <a:lnTo>
                      <a:pt x="357" y="331"/>
                    </a:lnTo>
                    <a:lnTo>
                      <a:pt x="358" y="322"/>
                    </a:lnTo>
                    <a:lnTo>
                      <a:pt x="360" y="320"/>
                    </a:lnTo>
                    <a:lnTo>
                      <a:pt x="363" y="320"/>
                    </a:lnTo>
                    <a:lnTo>
                      <a:pt x="365" y="322"/>
                    </a:lnTo>
                    <a:lnTo>
                      <a:pt x="366" y="322"/>
                    </a:lnTo>
                    <a:lnTo>
                      <a:pt x="369" y="323"/>
                    </a:lnTo>
                    <a:lnTo>
                      <a:pt x="369" y="328"/>
                    </a:lnTo>
                    <a:lnTo>
                      <a:pt x="371" y="327"/>
                    </a:lnTo>
                    <a:lnTo>
                      <a:pt x="372" y="329"/>
                    </a:lnTo>
                    <a:lnTo>
                      <a:pt x="373" y="330"/>
                    </a:lnTo>
                    <a:lnTo>
                      <a:pt x="374" y="329"/>
                    </a:lnTo>
                    <a:lnTo>
                      <a:pt x="381" y="335"/>
                    </a:lnTo>
                    <a:lnTo>
                      <a:pt x="382" y="335"/>
                    </a:lnTo>
                    <a:lnTo>
                      <a:pt x="383" y="335"/>
                    </a:lnTo>
                    <a:lnTo>
                      <a:pt x="385" y="334"/>
                    </a:lnTo>
                    <a:lnTo>
                      <a:pt x="386" y="333"/>
                    </a:lnTo>
                    <a:lnTo>
                      <a:pt x="385" y="331"/>
                    </a:lnTo>
                    <a:lnTo>
                      <a:pt x="386" y="32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1" name="Freeform 100">
                <a:extLst>
                  <a:ext uri="{FF2B5EF4-FFF2-40B4-BE49-F238E27FC236}">
                    <a16:creationId xmlns:a16="http://schemas.microsoft.com/office/drawing/2014/main" id="{3F3C7046-864A-66B7-A516-D30DDD4DB4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7" y="2858"/>
                <a:ext cx="386" cy="374"/>
              </a:xfrm>
              <a:custGeom>
                <a:avLst/>
                <a:gdLst>
                  <a:gd name="T0" fmla="*/ 383 w 386"/>
                  <a:gd name="T1" fmla="*/ 303 h 374"/>
                  <a:gd name="T2" fmla="*/ 367 w 386"/>
                  <a:gd name="T3" fmla="*/ 276 h 374"/>
                  <a:gd name="T4" fmla="*/ 348 w 386"/>
                  <a:gd name="T5" fmla="*/ 244 h 374"/>
                  <a:gd name="T6" fmla="*/ 334 w 386"/>
                  <a:gd name="T7" fmla="*/ 216 h 374"/>
                  <a:gd name="T8" fmla="*/ 311 w 386"/>
                  <a:gd name="T9" fmla="*/ 206 h 374"/>
                  <a:gd name="T10" fmla="*/ 295 w 386"/>
                  <a:gd name="T11" fmla="*/ 185 h 374"/>
                  <a:gd name="T12" fmla="*/ 307 w 386"/>
                  <a:gd name="T13" fmla="*/ 174 h 374"/>
                  <a:gd name="T14" fmla="*/ 325 w 386"/>
                  <a:gd name="T15" fmla="*/ 164 h 374"/>
                  <a:gd name="T16" fmla="*/ 354 w 386"/>
                  <a:gd name="T17" fmla="*/ 146 h 374"/>
                  <a:gd name="T18" fmla="*/ 364 w 386"/>
                  <a:gd name="T19" fmla="*/ 111 h 374"/>
                  <a:gd name="T20" fmla="*/ 336 w 386"/>
                  <a:gd name="T21" fmla="*/ 82 h 374"/>
                  <a:gd name="T22" fmla="*/ 304 w 386"/>
                  <a:gd name="T23" fmla="*/ 92 h 374"/>
                  <a:gd name="T24" fmla="*/ 278 w 386"/>
                  <a:gd name="T25" fmla="*/ 79 h 374"/>
                  <a:gd name="T26" fmla="*/ 249 w 386"/>
                  <a:gd name="T27" fmla="*/ 95 h 374"/>
                  <a:gd name="T28" fmla="*/ 252 w 386"/>
                  <a:gd name="T29" fmla="*/ 63 h 374"/>
                  <a:gd name="T30" fmla="*/ 218 w 386"/>
                  <a:gd name="T31" fmla="*/ 56 h 374"/>
                  <a:gd name="T32" fmla="*/ 188 w 386"/>
                  <a:gd name="T33" fmla="*/ 27 h 374"/>
                  <a:gd name="T34" fmla="*/ 142 w 386"/>
                  <a:gd name="T35" fmla="*/ 3 h 374"/>
                  <a:gd name="T36" fmla="*/ 138 w 386"/>
                  <a:gd name="T37" fmla="*/ 47 h 374"/>
                  <a:gd name="T38" fmla="*/ 137 w 386"/>
                  <a:gd name="T39" fmla="*/ 97 h 374"/>
                  <a:gd name="T40" fmla="*/ 149 w 386"/>
                  <a:gd name="T41" fmla="*/ 122 h 374"/>
                  <a:gd name="T42" fmla="*/ 132 w 386"/>
                  <a:gd name="T43" fmla="*/ 119 h 374"/>
                  <a:gd name="T44" fmla="*/ 114 w 386"/>
                  <a:gd name="T45" fmla="*/ 111 h 374"/>
                  <a:gd name="T46" fmla="*/ 97 w 386"/>
                  <a:gd name="T47" fmla="*/ 116 h 374"/>
                  <a:gd name="T48" fmla="*/ 92 w 386"/>
                  <a:gd name="T49" fmla="*/ 134 h 374"/>
                  <a:gd name="T50" fmla="*/ 83 w 386"/>
                  <a:gd name="T51" fmla="*/ 130 h 374"/>
                  <a:gd name="T52" fmla="*/ 71 w 386"/>
                  <a:gd name="T53" fmla="*/ 117 h 374"/>
                  <a:gd name="T54" fmla="*/ 51 w 386"/>
                  <a:gd name="T55" fmla="*/ 110 h 374"/>
                  <a:gd name="T56" fmla="*/ 35 w 386"/>
                  <a:gd name="T57" fmla="*/ 118 h 374"/>
                  <a:gd name="T58" fmla="*/ 15 w 386"/>
                  <a:gd name="T59" fmla="*/ 109 h 374"/>
                  <a:gd name="T60" fmla="*/ 14 w 386"/>
                  <a:gd name="T61" fmla="*/ 129 h 374"/>
                  <a:gd name="T62" fmla="*/ 17 w 386"/>
                  <a:gd name="T63" fmla="*/ 145 h 374"/>
                  <a:gd name="T64" fmla="*/ 11 w 386"/>
                  <a:gd name="T65" fmla="*/ 164 h 374"/>
                  <a:gd name="T66" fmla="*/ 2 w 386"/>
                  <a:gd name="T67" fmla="*/ 175 h 374"/>
                  <a:gd name="T68" fmla="*/ 21 w 386"/>
                  <a:gd name="T69" fmla="*/ 193 h 374"/>
                  <a:gd name="T70" fmla="*/ 26 w 386"/>
                  <a:gd name="T71" fmla="*/ 205 h 374"/>
                  <a:gd name="T72" fmla="*/ 32 w 386"/>
                  <a:gd name="T73" fmla="*/ 219 h 374"/>
                  <a:gd name="T74" fmla="*/ 49 w 386"/>
                  <a:gd name="T75" fmla="*/ 225 h 374"/>
                  <a:gd name="T76" fmla="*/ 66 w 386"/>
                  <a:gd name="T77" fmla="*/ 223 h 374"/>
                  <a:gd name="T78" fmla="*/ 64 w 386"/>
                  <a:gd name="T79" fmla="*/ 242 h 374"/>
                  <a:gd name="T80" fmla="*/ 69 w 386"/>
                  <a:gd name="T81" fmla="*/ 267 h 374"/>
                  <a:gd name="T82" fmla="*/ 59 w 386"/>
                  <a:gd name="T83" fmla="*/ 278 h 374"/>
                  <a:gd name="T84" fmla="*/ 65 w 386"/>
                  <a:gd name="T85" fmla="*/ 295 h 374"/>
                  <a:gd name="T86" fmla="*/ 79 w 386"/>
                  <a:gd name="T87" fmla="*/ 316 h 374"/>
                  <a:gd name="T88" fmla="*/ 98 w 386"/>
                  <a:gd name="T89" fmla="*/ 309 h 374"/>
                  <a:gd name="T90" fmla="*/ 110 w 386"/>
                  <a:gd name="T91" fmla="*/ 299 h 374"/>
                  <a:gd name="T92" fmla="*/ 120 w 386"/>
                  <a:gd name="T93" fmla="*/ 305 h 374"/>
                  <a:gd name="T94" fmla="*/ 128 w 386"/>
                  <a:gd name="T95" fmla="*/ 303 h 374"/>
                  <a:gd name="T96" fmla="*/ 141 w 386"/>
                  <a:gd name="T97" fmla="*/ 311 h 374"/>
                  <a:gd name="T98" fmla="*/ 156 w 386"/>
                  <a:gd name="T99" fmla="*/ 305 h 374"/>
                  <a:gd name="T100" fmla="*/ 172 w 386"/>
                  <a:gd name="T101" fmla="*/ 293 h 374"/>
                  <a:gd name="T102" fmla="*/ 185 w 386"/>
                  <a:gd name="T103" fmla="*/ 312 h 374"/>
                  <a:gd name="T104" fmla="*/ 227 w 386"/>
                  <a:gd name="T105" fmla="*/ 306 h 374"/>
                  <a:gd name="T106" fmla="*/ 255 w 386"/>
                  <a:gd name="T107" fmla="*/ 345 h 374"/>
                  <a:gd name="T108" fmla="*/ 275 w 386"/>
                  <a:gd name="T109" fmla="*/ 365 h 374"/>
                  <a:gd name="T110" fmla="*/ 290 w 386"/>
                  <a:gd name="T111" fmla="*/ 363 h 374"/>
                  <a:gd name="T112" fmla="*/ 302 w 386"/>
                  <a:gd name="T113" fmla="*/ 368 h 374"/>
                  <a:gd name="T114" fmla="*/ 314 w 386"/>
                  <a:gd name="T115" fmla="*/ 361 h 374"/>
                  <a:gd name="T116" fmla="*/ 333 w 386"/>
                  <a:gd name="T117" fmla="*/ 340 h 374"/>
                  <a:gd name="T118" fmla="*/ 345 w 386"/>
                  <a:gd name="T119" fmla="*/ 335 h 374"/>
                  <a:gd name="T120" fmla="*/ 369 w 386"/>
                  <a:gd name="T121" fmla="*/ 323 h 37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86"/>
                  <a:gd name="T184" fmla="*/ 0 h 374"/>
                  <a:gd name="T185" fmla="*/ 386 w 386"/>
                  <a:gd name="T186" fmla="*/ 374 h 374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86" h="374">
                    <a:moveTo>
                      <a:pt x="386" y="329"/>
                    </a:moveTo>
                    <a:lnTo>
                      <a:pt x="385" y="328"/>
                    </a:lnTo>
                    <a:lnTo>
                      <a:pt x="385" y="326"/>
                    </a:lnTo>
                    <a:lnTo>
                      <a:pt x="381" y="323"/>
                    </a:lnTo>
                    <a:lnTo>
                      <a:pt x="380" y="320"/>
                    </a:lnTo>
                    <a:lnTo>
                      <a:pt x="380" y="319"/>
                    </a:lnTo>
                    <a:lnTo>
                      <a:pt x="382" y="316"/>
                    </a:lnTo>
                    <a:lnTo>
                      <a:pt x="381" y="314"/>
                    </a:lnTo>
                    <a:lnTo>
                      <a:pt x="380" y="313"/>
                    </a:lnTo>
                    <a:lnTo>
                      <a:pt x="381" y="312"/>
                    </a:lnTo>
                    <a:lnTo>
                      <a:pt x="380" y="309"/>
                    </a:lnTo>
                    <a:lnTo>
                      <a:pt x="381" y="306"/>
                    </a:lnTo>
                    <a:lnTo>
                      <a:pt x="381" y="305"/>
                    </a:lnTo>
                    <a:lnTo>
                      <a:pt x="382" y="304"/>
                    </a:lnTo>
                    <a:lnTo>
                      <a:pt x="383" y="303"/>
                    </a:lnTo>
                    <a:lnTo>
                      <a:pt x="382" y="299"/>
                    </a:lnTo>
                    <a:lnTo>
                      <a:pt x="381" y="299"/>
                    </a:lnTo>
                    <a:lnTo>
                      <a:pt x="382" y="296"/>
                    </a:lnTo>
                    <a:lnTo>
                      <a:pt x="380" y="295"/>
                    </a:lnTo>
                    <a:lnTo>
                      <a:pt x="380" y="292"/>
                    </a:lnTo>
                    <a:lnTo>
                      <a:pt x="378" y="289"/>
                    </a:lnTo>
                    <a:lnTo>
                      <a:pt x="378" y="288"/>
                    </a:lnTo>
                    <a:lnTo>
                      <a:pt x="375" y="288"/>
                    </a:lnTo>
                    <a:lnTo>
                      <a:pt x="373" y="287"/>
                    </a:lnTo>
                    <a:lnTo>
                      <a:pt x="371" y="282"/>
                    </a:lnTo>
                    <a:lnTo>
                      <a:pt x="372" y="280"/>
                    </a:lnTo>
                    <a:lnTo>
                      <a:pt x="370" y="279"/>
                    </a:lnTo>
                    <a:lnTo>
                      <a:pt x="370" y="276"/>
                    </a:lnTo>
                    <a:lnTo>
                      <a:pt x="369" y="276"/>
                    </a:lnTo>
                    <a:lnTo>
                      <a:pt x="367" y="276"/>
                    </a:lnTo>
                    <a:lnTo>
                      <a:pt x="366" y="275"/>
                    </a:lnTo>
                    <a:lnTo>
                      <a:pt x="366" y="274"/>
                    </a:lnTo>
                    <a:lnTo>
                      <a:pt x="366" y="272"/>
                    </a:lnTo>
                    <a:lnTo>
                      <a:pt x="363" y="270"/>
                    </a:lnTo>
                    <a:lnTo>
                      <a:pt x="363" y="268"/>
                    </a:lnTo>
                    <a:lnTo>
                      <a:pt x="360" y="262"/>
                    </a:lnTo>
                    <a:lnTo>
                      <a:pt x="361" y="261"/>
                    </a:lnTo>
                    <a:lnTo>
                      <a:pt x="360" y="259"/>
                    </a:lnTo>
                    <a:lnTo>
                      <a:pt x="360" y="258"/>
                    </a:lnTo>
                    <a:lnTo>
                      <a:pt x="357" y="254"/>
                    </a:lnTo>
                    <a:lnTo>
                      <a:pt x="355" y="249"/>
                    </a:lnTo>
                    <a:lnTo>
                      <a:pt x="354" y="248"/>
                    </a:lnTo>
                    <a:lnTo>
                      <a:pt x="354" y="245"/>
                    </a:lnTo>
                    <a:lnTo>
                      <a:pt x="353" y="244"/>
                    </a:lnTo>
                    <a:lnTo>
                      <a:pt x="348" y="244"/>
                    </a:lnTo>
                    <a:lnTo>
                      <a:pt x="347" y="243"/>
                    </a:lnTo>
                    <a:lnTo>
                      <a:pt x="346" y="244"/>
                    </a:lnTo>
                    <a:lnTo>
                      <a:pt x="345" y="245"/>
                    </a:lnTo>
                    <a:lnTo>
                      <a:pt x="344" y="245"/>
                    </a:lnTo>
                    <a:lnTo>
                      <a:pt x="340" y="240"/>
                    </a:lnTo>
                    <a:lnTo>
                      <a:pt x="339" y="233"/>
                    </a:lnTo>
                    <a:lnTo>
                      <a:pt x="336" y="229"/>
                    </a:lnTo>
                    <a:lnTo>
                      <a:pt x="336" y="228"/>
                    </a:lnTo>
                    <a:lnTo>
                      <a:pt x="337" y="226"/>
                    </a:lnTo>
                    <a:lnTo>
                      <a:pt x="337" y="223"/>
                    </a:lnTo>
                    <a:lnTo>
                      <a:pt x="338" y="222"/>
                    </a:lnTo>
                    <a:lnTo>
                      <a:pt x="337" y="219"/>
                    </a:lnTo>
                    <a:lnTo>
                      <a:pt x="337" y="217"/>
                    </a:lnTo>
                    <a:lnTo>
                      <a:pt x="336" y="215"/>
                    </a:lnTo>
                    <a:lnTo>
                      <a:pt x="334" y="216"/>
                    </a:lnTo>
                    <a:lnTo>
                      <a:pt x="333" y="215"/>
                    </a:lnTo>
                    <a:lnTo>
                      <a:pt x="331" y="215"/>
                    </a:lnTo>
                    <a:lnTo>
                      <a:pt x="327" y="214"/>
                    </a:lnTo>
                    <a:lnTo>
                      <a:pt x="325" y="214"/>
                    </a:lnTo>
                    <a:lnTo>
                      <a:pt x="322" y="212"/>
                    </a:lnTo>
                    <a:lnTo>
                      <a:pt x="320" y="213"/>
                    </a:lnTo>
                    <a:lnTo>
                      <a:pt x="318" y="216"/>
                    </a:lnTo>
                    <a:lnTo>
                      <a:pt x="318" y="217"/>
                    </a:lnTo>
                    <a:lnTo>
                      <a:pt x="316" y="219"/>
                    </a:lnTo>
                    <a:lnTo>
                      <a:pt x="314" y="219"/>
                    </a:lnTo>
                    <a:lnTo>
                      <a:pt x="314" y="214"/>
                    </a:lnTo>
                    <a:lnTo>
                      <a:pt x="311" y="211"/>
                    </a:lnTo>
                    <a:lnTo>
                      <a:pt x="312" y="210"/>
                    </a:lnTo>
                    <a:lnTo>
                      <a:pt x="311" y="206"/>
                    </a:lnTo>
                    <a:lnTo>
                      <a:pt x="311" y="205"/>
                    </a:lnTo>
                    <a:lnTo>
                      <a:pt x="307" y="205"/>
                    </a:lnTo>
                    <a:lnTo>
                      <a:pt x="307" y="204"/>
                    </a:lnTo>
                    <a:lnTo>
                      <a:pt x="309" y="200"/>
                    </a:lnTo>
                    <a:lnTo>
                      <a:pt x="308" y="200"/>
                    </a:lnTo>
                    <a:lnTo>
                      <a:pt x="306" y="198"/>
                    </a:lnTo>
                    <a:lnTo>
                      <a:pt x="306" y="196"/>
                    </a:lnTo>
                    <a:lnTo>
                      <a:pt x="304" y="195"/>
                    </a:lnTo>
                    <a:lnTo>
                      <a:pt x="301" y="198"/>
                    </a:lnTo>
                    <a:lnTo>
                      <a:pt x="298" y="196"/>
                    </a:lnTo>
                    <a:lnTo>
                      <a:pt x="299" y="194"/>
                    </a:lnTo>
                    <a:lnTo>
                      <a:pt x="298" y="188"/>
                    </a:lnTo>
                    <a:lnTo>
                      <a:pt x="296" y="187"/>
                    </a:lnTo>
                    <a:lnTo>
                      <a:pt x="295" y="187"/>
                    </a:lnTo>
                    <a:lnTo>
                      <a:pt x="295" y="185"/>
                    </a:lnTo>
                    <a:lnTo>
                      <a:pt x="295" y="184"/>
                    </a:lnTo>
                    <a:lnTo>
                      <a:pt x="296" y="181"/>
                    </a:lnTo>
                    <a:lnTo>
                      <a:pt x="298" y="179"/>
                    </a:lnTo>
                    <a:lnTo>
                      <a:pt x="300" y="177"/>
                    </a:lnTo>
                    <a:lnTo>
                      <a:pt x="302" y="177"/>
                    </a:lnTo>
                    <a:lnTo>
                      <a:pt x="302" y="179"/>
                    </a:lnTo>
                    <a:lnTo>
                      <a:pt x="303" y="181"/>
                    </a:lnTo>
                    <a:lnTo>
                      <a:pt x="305" y="181"/>
                    </a:lnTo>
                    <a:lnTo>
                      <a:pt x="306" y="179"/>
                    </a:lnTo>
                    <a:lnTo>
                      <a:pt x="305" y="176"/>
                    </a:lnTo>
                    <a:lnTo>
                      <a:pt x="304" y="175"/>
                    </a:lnTo>
                    <a:lnTo>
                      <a:pt x="303" y="174"/>
                    </a:lnTo>
                    <a:lnTo>
                      <a:pt x="304" y="174"/>
                    </a:lnTo>
                    <a:lnTo>
                      <a:pt x="307" y="174"/>
                    </a:lnTo>
                    <a:lnTo>
                      <a:pt x="306" y="171"/>
                    </a:lnTo>
                    <a:lnTo>
                      <a:pt x="309" y="172"/>
                    </a:lnTo>
                    <a:lnTo>
                      <a:pt x="312" y="171"/>
                    </a:lnTo>
                    <a:lnTo>
                      <a:pt x="311" y="168"/>
                    </a:lnTo>
                    <a:lnTo>
                      <a:pt x="314" y="166"/>
                    </a:lnTo>
                    <a:lnTo>
                      <a:pt x="316" y="166"/>
                    </a:lnTo>
                    <a:lnTo>
                      <a:pt x="317" y="167"/>
                    </a:lnTo>
                    <a:lnTo>
                      <a:pt x="318" y="167"/>
                    </a:lnTo>
                    <a:lnTo>
                      <a:pt x="317" y="164"/>
                    </a:lnTo>
                    <a:lnTo>
                      <a:pt x="318" y="165"/>
                    </a:lnTo>
                    <a:lnTo>
                      <a:pt x="320" y="166"/>
                    </a:lnTo>
                    <a:lnTo>
                      <a:pt x="322" y="166"/>
                    </a:lnTo>
                    <a:lnTo>
                      <a:pt x="323" y="167"/>
                    </a:lnTo>
                    <a:lnTo>
                      <a:pt x="325" y="164"/>
                    </a:lnTo>
                    <a:lnTo>
                      <a:pt x="325" y="162"/>
                    </a:lnTo>
                    <a:lnTo>
                      <a:pt x="328" y="161"/>
                    </a:lnTo>
                    <a:lnTo>
                      <a:pt x="328" y="160"/>
                    </a:lnTo>
                    <a:lnTo>
                      <a:pt x="328" y="156"/>
                    </a:lnTo>
                    <a:lnTo>
                      <a:pt x="328" y="155"/>
                    </a:lnTo>
                    <a:lnTo>
                      <a:pt x="331" y="155"/>
                    </a:lnTo>
                    <a:lnTo>
                      <a:pt x="332" y="155"/>
                    </a:lnTo>
                    <a:lnTo>
                      <a:pt x="334" y="156"/>
                    </a:lnTo>
                    <a:lnTo>
                      <a:pt x="335" y="158"/>
                    </a:lnTo>
                    <a:lnTo>
                      <a:pt x="337" y="160"/>
                    </a:lnTo>
                    <a:lnTo>
                      <a:pt x="342" y="159"/>
                    </a:lnTo>
                    <a:lnTo>
                      <a:pt x="346" y="152"/>
                    </a:lnTo>
                    <a:lnTo>
                      <a:pt x="350" y="150"/>
                    </a:lnTo>
                    <a:lnTo>
                      <a:pt x="354" y="147"/>
                    </a:lnTo>
                    <a:lnTo>
                      <a:pt x="354" y="146"/>
                    </a:lnTo>
                    <a:lnTo>
                      <a:pt x="353" y="145"/>
                    </a:lnTo>
                    <a:lnTo>
                      <a:pt x="354" y="145"/>
                    </a:lnTo>
                    <a:lnTo>
                      <a:pt x="351" y="140"/>
                    </a:lnTo>
                    <a:lnTo>
                      <a:pt x="353" y="140"/>
                    </a:lnTo>
                    <a:lnTo>
                      <a:pt x="358" y="138"/>
                    </a:lnTo>
                    <a:lnTo>
                      <a:pt x="358" y="134"/>
                    </a:lnTo>
                    <a:lnTo>
                      <a:pt x="357" y="130"/>
                    </a:lnTo>
                    <a:lnTo>
                      <a:pt x="357" y="129"/>
                    </a:lnTo>
                    <a:lnTo>
                      <a:pt x="361" y="129"/>
                    </a:lnTo>
                    <a:lnTo>
                      <a:pt x="363" y="129"/>
                    </a:lnTo>
                    <a:lnTo>
                      <a:pt x="368" y="125"/>
                    </a:lnTo>
                    <a:lnTo>
                      <a:pt x="368" y="122"/>
                    </a:lnTo>
                    <a:lnTo>
                      <a:pt x="368" y="119"/>
                    </a:lnTo>
                    <a:lnTo>
                      <a:pt x="365" y="115"/>
                    </a:lnTo>
                    <a:lnTo>
                      <a:pt x="364" y="111"/>
                    </a:lnTo>
                    <a:lnTo>
                      <a:pt x="361" y="109"/>
                    </a:lnTo>
                    <a:lnTo>
                      <a:pt x="360" y="106"/>
                    </a:lnTo>
                    <a:lnTo>
                      <a:pt x="357" y="105"/>
                    </a:lnTo>
                    <a:lnTo>
                      <a:pt x="353" y="98"/>
                    </a:lnTo>
                    <a:lnTo>
                      <a:pt x="353" y="96"/>
                    </a:lnTo>
                    <a:lnTo>
                      <a:pt x="352" y="96"/>
                    </a:lnTo>
                    <a:lnTo>
                      <a:pt x="351" y="94"/>
                    </a:lnTo>
                    <a:lnTo>
                      <a:pt x="350" y="90"/>
                    </a:lnTo>
                    <a:lnTo>
                      <a:pt x="347" y="90"/>
                    </a:lnTo>
                    <a:lnTo>
                      <a:pt x="347" y="88"/>
                    </a:lnTo>
                    <a:lnTo>
                      <a:pt x="345" y="82"/>
                    </a:lnTo>
                    <a:lnTo>
                      <a:pt x="340" y="80"/>
                    </a:lnTo>
                    <a:lnTo>
                      <a:pt x="337" y="80"/>
                    </a:lnTo>
                    <a:lnTo>
                      <a:pt x="336" y="82"/>
                    </a:lnTo>
                    <a:lnTo>
                      <a:pt x="333" y="82"/>
                    </a:lnTo>
                    <a:lnTo>
                      <a:pt x="328" y="81"/>
                    </a:lnTo>
                    <a:lnTo>
                      <a:pt x="328" y="77"/>
                    </a:lnTo>
                    <a:lnTo>
                      <a:pt x="327" y="77"/>
                    </a:lnTo>
                    <a:lnTo>
                      <a:pt x="324" y="77"/>
                    </a:lnTo>
                    <a:lnTo>
                      <a:pt x="322" y="77"/>
                    </a:lnTo>
                    <a:lnTo>
                      <a:pt x="317" y="75"/>
                    </a:lnTo>
                    <a:lnTo>
                      <a:pt x="316" y="75"/>
                    </a:lnTo>
                    <a:lnTo>
                      <a:pt x="311" y="84"/>
                    </a:lnTo>
                    <a:lnTo>
                      <a:pt x="311" y="89"/>
                    </a:lnTo>
                    <a:lnTo>
                      <a:pt x="311" y="91"/>
                    </a:lnTo>
                    <a:lnTo>
                      <a:pt x="310" y="92"/>
                    </a:lnTo>
                    <a:lnTo>
                      <a:pt x="304" y="92"/>
                    </a:lnTo>
                    <a:lnTo>
                      <a:pt x="301" y="94"/>
                    </a:lnTo>
                    <a:lnTo>
                      <a:pt x="300" y="92"/>
                    </a:lnTo>
                    <a:lnTo>
                      <a:pt x="300" y="88"/>
                    </a:lnTo>
                    <a:lnTo>
                      <a:pt x="298" y="85"/>
                    </a:lnTo>
                    <a:lnTo>
                      <a:pt x="293" y="80"/>
                    </a:lnTo>
                    <a:lnTo>
                      <a:pt x="290" y="81"/>
                    </a:lnTo>
                    <a:lnTo>
                      <a:pt x="289" y="78"/>
                    </a:lnTo>
                    <a:lnTo>
                      <a:pt x="288" y="77"/>
                    </a:lnTo>
                    <a:lnTo>
                      <a:pt x="287" y="76"/>
                    </a:lnTo>
                    <a:lnTo>
                      <a:pt x="284" y="76"/>
                    </a:lnTo>
                    <a:lnTo>
                      <a:pt x="283" y="75"/>
                    </a:lnTo>
                    <a:lnTo>
                      <a:pt x="280" y="75"/>
                    </a:lnTo>
                    <a:lnTo>
                      <a:pt x="279" y="78"/>
                    </a:lnTo>
                    <a:lnTo>
                      <a:pt x="278" y="79"/>
                    </a:lnTo>
                    <a:lnTo>
                      <a:pt x="276" y="79"/>
                    </a:lnTo>
                    <a:lnTo>
                      <a:pt x="276" y="81"/>
                    </a:lnTo>
                    <a:lnTo>
                      <a:pt x="272" y="84"/>
                    </a:lnTo>
                    <a:lnTo>
                      <a:pt x="270" y="84"/>
                    </a:lnTo>
                    <a:lnTo>
                      <a:pt x="270" y="85"/>
                    </a:lnTo>
                    <a:lnTo>
                      <a:pt x="268" y="87"/>
                    </a:lnTo>
                    <a:lnTo>
                      <a:pt x="267" y="94"/>
                    </a:lnTo>
                    <a:lnTo>
                      <a:pt x="267" y="96"/>
                    </a:lnTo>
                    <a:lnTo>
                      <a:pt x="266" y="97"/>
                    </a:lnTo>
                    <a:lnTo>
                      <a:pt x="262" y="95"/>
                    </a:lnTo>
                    <a:lnTo>
                      <a:pt x="257" y="102"/>
                    </a:lnTo>
                    <a:lnTo>
                      <a:pt x="255" y="99"/>
                    </a:lnTo>
                    <a:lnTo>
                      <a:pt x="255" y="98"/>
                    </a:lnTo>
                    <a:lnTo>
                      <a:pt x="253" y="98"/>
                    </a:lnTo>
                    <a:lnTo>
                      <a:pt x="249" y="95"/>
                    </a:lnTo>
                    <a:lnTo>
                      <a:pt x="248" y="94"/>
                    </a:lnTo>
                    <a:lnTo>
                      <a:pt x="248" y="92"/>
                    </a:lnTo>
                    <a:lnTo>
                      <a:pt x="251" y="90"/>
                    </a:lnTo>
                    <a:lnTo>
                      <a:pt x="254" y="89"/>
                    </a:lnTo>
                    <a:lnTo>
                      <a:pt x="258" y="86"/>
                    </a:lnTo>
                    <a:lnTo>
                      <a:pt x="257" y="85"/>
                    </a:lnTo>
                    <a:lnTo>
                      <a:pt x="254" y="84"/>
                    </a:lnTo>
                    <a:lnTo>
                      <a:pt x="254" y="80"/>
                    </a:lnTo>
                    <a:lnTo>
                      <a:pt x="253" y="79"/>
                    </a:lnTo>
                    <a:lnTo>
                      <a:pt x="254" y="77"/>
                    </a:lnTo>
                    <a:lnTo>
                      <a:pt x="254" y="72"/>
                    </a:lnTo>
                    <a:lnTo>
                      <a:pt x="254" y="69"/>
                    </a:lnTo>
                    <a:lnTo>
                      <a:pt x="254" y="66"/>
                    </a:lnTo>
                    <a:lnTo>
                      <a:pt x="253" y="65"/>
                    </a:lnTo>
                    <a:lnTo>
                      <a:pt x="252" y="63"/>
                    </a:lnTo>
                    <a:lnTo>
                      <a:pt x="252" y="61"/>
                    </a:lnTo>
                    <a:lnTo>
                      <a:pt x="252" y="60"/>
                    </a:lnTo>
                    <a:lnTo>
                      <a:pt x="246" y="56"/>
                    </a:lnTo>
                    <a:lnTo>
                      <a:pt x="242" y="56"/>
                    </a:lnTo>
                    <a:lnTo>
                      <a:pt x="241" y="56"/>
                    </a:lnTo>
                    <a:lnTo>
                      <a:pt x="239" y="58"/>
                    </a:lnTo>
                    <a:lnTo>
                      <a:pt x="237" y="57"/>
                    </a:lnTo>
                    <a:lnTo>
                      <a:pt x="235" y="59"/>
                    </a:lnTo>
                    <a:lnTo>
                      <a:pt x="233" y="58"/>
                    </a:lnTo>
                    <a:lnTo>
                      <a:pt x="230" y="59"/>
                    </a:lnTo>
                    <a:lnTo>
                      <a:pt x="224" y="61"/>
                    </a:lnTo>
                    <a:lnTo>
                      <a:pt x="223" y="63"/>
                    </a:lnTo>
                    <a:lnTo>
                      <a:pt x="218" y="60"/>
                    </a:lnTo>
                    <a:lnTo>
                      <a:pt x="218" y="58"/>
                    </a:lnTo>
                    <a:lnTo>
                      <a:pt x="218" y="56"/>
                    </a:lnTo>
                    <a:lnTo>
                      <a:pt x="218" y="50"/>
                    </a:lnTo>
                    <a:lnTo>
                      <a:pt x="216" y="48"/>
                    </a:lnTo>
                    <a:lnTo>
                      <a:pt x="216" y="44"/>
                    </a:lnTo>
                    <a:lnTo>
                      <a:pt x="215" y="43"/>
                    </a:lnTo>
                    <a:lnTo>
                      <a:pt x="213" y="38"/>
                    </a:lnTo>
                    <a:lnTo>
                      <a:pt x="211" y="35"/>
                    </a:lnTo>
                    <a:lnTo>
                      <a:pt x="213" y="27"/>
                    </a:lnTo>
                    <a:lnTo>
                      <a:pt x="210" y="24"/>
                    </a:lnTo>
                    <a:lnTo>
                      <a:pt x="210" y="21"/>
                    </a:lnTo>
                    <a:lnTo>
                      <a:pt x="202" y="22"/>
                    </a:lnTo>
                    <a:lnTo>
                      <a:pt x="202" y="24"/>
                    </a:lnTo>
                    <a:lnTo>
                      <a:pt x="199" y="26"/>
                    </a:lnTo>
                    <a:lnTo>
                      <a:pt x="194" y="24"/>
                    </a:lnTo>
                    <a:lnTo>
                      <a:pt x="190" y="26"/>
                    </a:lnTo>
                    <a:lnTo>
                      <a:pt x="188" y="27"/>
                    </a:lnTo>
                    <a:lnTo>
                      <a:pt x="187" y="27"/>
                    </a:lnTo>
                    <a:lnTo>
                      <a:pt x="183" y="24"/>
                    </a:lnTo>
                    <a:lnTo>
                      <a:pt x="179" y="25"/>
                    </a:lnTo>
                    <a:lnTo>
                      <a:pt x="177" y="24"/>
                    </a:lnTo>
                    <a:lnTo>
                      <a:pt x="175" y="22"/>
                    </a:lnTo>
                    <a:lnTo>
                      <a:pt x="174" y="18"/>
                    </a:lnTo>
                    <a:lnTo>
                      <a:pt x="173" y="17"/>
                    </a:lnTo>
                    <a:lnTo>
                      <a:pt x="170" y="15"/>
                    </a:lnTo>
                    <a:lnTo>
                      <a:pt x="168" y="13"/>
                    </a:lnTo>
                    <a:lnTo>
                      <a:pt x="165" y="13"/>
                    </a:lnTo>
                    <a:lnTo>
                      <a:pt x="158" y="10"/>
                    </a:lnTo>
                    <a:lnTo>
                      <a:pt x="157" y="5"/>
                    </a:lnTo>
                    <a:lnTo>
                      <a:pt x="154" y="3"/>
                    </a:lnTo>
                    <a:lnTo>
                      <a:pt x="147" y="1"/>
                    </a:lnTo>
                    <a:lnTo>
                      <a:pt x="142" y="3"/>
                    </a:lnTo>
                    <a:lnTo>
                      <a:pt x="140" y="0"/>
                    </a:lnTo>
                    <a:lnTo>
                      <a:pt x="136" y="0"/>
                    </a:lnTo>
                    <a:lnTo>
                      <a:pt x="136" y="6"/>
                    </a:lnTo>
                    <a:lnTo>
                      <a:pt x="136" y="9"/>
                    </a:lnTo>
                    <a:lnTo>
                      <a:pt x="137" y="12"/>
                    </a:lnTo>
                    <a:lnTo>
                      <a:pt x="142" y="17"/>
                    </a:lnTo>
                    <a:lnTo>
                      <a:pt x="144" y="22"/>
                    </a:lnTo>
                    <a:lnTo>
                      <a:pt x="142" y="25"/>
                    </a:lnTo>
                    <a:lnTo>
                      <a:pt x="139" y="30"/>
                    </a:lnTo>
                    <a:lnTo>
                      <a:pt x="138" y="31"/>
                    </a:lnTo>
                    <a:lnTo>
                      <a:pt x="141" y="34"/>
                    </a:lnTo>
                    <a:lnTo>
                      <a:pt x="139" y="39"/>
                    </a:lnTo>
                    <a:lnTo>
                      <a:pt x="140" y="41"/>
                    </a:lnTo>
                    <a:lnTo>
                      <a:pt x="138" y="44"/>
                    </a:lnTo>
                    <a:lnTo>
                      <a:pt x="138" y="47"/>
                    </a:lnTo>
                    <a:lnTo>
                      <a:pt x="139" y="47"/>
                    </a:lnTo>
                    <a:lnTo>
                      <a:pt x="140" y="58"/>
                    </a:lnTo>
                    <a:lnTo>
                      <a:pt x="142" y="60"/>
                    </a:lnTo>
                    <a:lnTo>
                      <a:pt x="139" y="63"/>
                    </a:lnTo>
                    <a:lnTo>
                      <a:pt x="137" y="67"/>
                    </a:lnTo>
                    <a:lnTo>
                      <a:pt x="137" y="68"/>
                    </a:lnTo>
                    <a:lnTo>
                      <a:pt x="141" y="71"/>
                    </a:lnTo>
                    <a:lnTo>
                      <a:pt x="142" y="74"/>
                    </a:lnTo>
                    <a:lnTo>
                      <a:pt x="142" y="77"/>
                    </a:lnTo>
                    <a:lnTo>
                      <a:pt x="145" y="79"/>
                    </a:lnTo>
                    <a:lnTo>
                      <a:pt x="142" y="81"/>
                    </a:lnTo>
                    <a:lnTo>
                      <a:pt x="139" y="85"/>
                    </a:lnTo>
                    <a:lnTo>
                      <a:pt x="140" y="87"/>
                    </a:lnTo>
                    <a:lnTo>
                      <a:pt x="135" y="94"/>
                    </a:lnTo>
                    <a:lnTo>
                      <a:pt x="137" y="97"/>
                    </a:lnTo>
                    <a:lnTo>
                      <a:pt x="141" y="98"/>
                    </a:lnTo>
                    <a:lnTo>
                      <a:pt x="140" y="99"/>
                    </a:lnTo>
                    <a:lnTo>
                      <a:pt x="138" y="100"/>
                    </a:lnTo>
                    <a:lnTo>
                      <a:pt x="142" y="105"/>
                    </a:lnTo>
                    <a:lnTo>
                      <a:pt x="140" y="105"/>
                    </a:lnTo>
                    <a:lnTo>
                      <a:pt x="142" y="106"/>
                    </a:lnTo>
                    <a:lnTo>
                      <a:pt x="143" y="109"/>
                    </a:lnTo>
                    <a:lnTo>
                      <a:pt x="145" y="111"/>
                    </a:lnTo>
                    <a:lnTo>
                      <a:pt x="145" y="112"/>
                    </a:lnTo>
                    <a:lnTo>
                      <a:pt x="146" y="113"/>
                    </a:lnTo>
                    <a:lnTo>
                      <a:pt x="147" y="116"/>
                    </a:lnTo>
                    <a:lnTo>
                      <a:pt x="148" y="116"/>
                    </a:lnTo>
                    <a:lnTo>
                      <a:pt x="148" y="119"/>
                    </a:lnTo>
                    <a:lnTo>
                      <a:pt x="149" y="122"/>
                    </a:lnTo>
                    <a:lnTo>
                      <a:pt x="149" y="123"/>
                    </a:lnTo>
                    <a:lnTo>
                      <a:pt x="140" y="123"/>
                    </a:lnTo>
                    <a:lnTo>
                      <a:pt x="138" y="124"/>
                    </a:lnTo>
                    <a:lnTo>
                      <a:pt x="137" y="125"/>
                    </a:lnTo>
                    <a:lnTo>
                      <a:pt x="137" y="122"/>
                    </a:lnTo>
                    <a:lnTo>
                      <a:pt x="136" y="124"/>
                    </a:lnTo>
                    <a:lnTo>
                      <a:pt x="136" y="125"/>
                    </a:lnTo>
                    <a:lnTo>
                      <a:pt x="135" y="125"/>
                    </a:lnTo>
                    <a:lnTo>
                      <a:pt x="135" y="121"/>
                    </a:lnTo>
                    <a:lnTo>
                      <a:pt x="134" y="121"/>
                    </a:lnTo>
                    <a:lnTo>
                      <a:pt x="134" y="122"/>
                    </a:lnTo>
                    <a:lnTo>
                      <a:pt x="133" y="121"/>
                    </a:lnTo>
                    <a:lnTo>
                      <a:pt x="133" y="120"/>
                    </a:lnTo>
                    <a:lnTo>
                      <a:pt x="132" y="120"/>
                    </a:lnTo>
                    <a:lnTo>
                      <a:pt x="132" y="119"/>
                    </a:lnTo>
                    <a:lnTo>
                      <a:pt x="131" y="119"/>
                    </a:lnTo>
                    <a:lnTo>
                      <a:pt x="129" y="120"/>
                    </a:lnTo>
                    <a:lnTo>
                      <a:pt x="128" y="120"/>
                    </a:lnTo>
                    <a:lnTo>
                      <a:pt x="126" y="121"/>
                    </a:lnTo>
                    <a:lnTo>
                      <a:pt x="125" y="120"/>
                    </a:lnTo>
                    <a:lnTo>
                      <a:pt x="125" y="124"/>
                    </a:lnTo>
                    <a:lnTo>
                      <a:pt x="122" y="124"/>
                    </a:lnTo>
                    <a:lnTo>
                      <a:pt x="121" y="122"/>
                    </a:lnTo>
                    <a:lnTo>
                      <a:pt x="120" y="122"/>
                    </a:lnTo>
                    <a:lnTo>
                      <a:pt x="119" y="121"/>
                    </a:lnTo>
                    <a:lnTo>
                      <a:pt x="117" y="121"/>
                    </a:lnTo>
                    <a:lnTo>
                      <a:pt x="117" y="119"/>
                    </a:lnTo>
                    <a:lnTo>
                      <a:pt x="113" y="113"/>
                    </a:lnTo>
                    <a:lnTo>
                      <a:pt x="113" y="111"/>
                    </a:lnTo>
                    <a:lnTo>
                      <a:pt x="114" y="111"/>
                    </a:lnTo>
                    <a:lnTo>
                      <a:pt x="114" y="110"/>
                    </a:lnTo>
                    <a:lnTo>
                      <a:pt x="113" y="109"/>
                    </a:lnTo>
                    <a:lnTo>
                      <a:pt x="109" y="106"/>
                    </a:lnTo>
                    <a:lnTo>
                      <a:pt x="109" y="108"/>
                    </a:lnTo>
                    <a:lnTo>
                      <a:pt x="108" y="109"/>
                    </a:lnTo>
                    <a:lnTo>
                      <a:pt x="109" y="111"/>
                    </a:lnTo>
                    <a:lnTo>
                      <a:pt x="109" y="113"/>
                    </a:lnTo>
                    <a:lnTo>
                      <a:pt x="108" y="113"/>
                    </a:lnTo>
                    <a:lnTo>
                      <a:pt x="107" y="113"/>
                    </a:lnTo>
                    <a:lnTo>
                      <a:pt x="105" y="111"/>
                    </a:lnTo>
                    <a:lnTo>
                      <a:pt x="104" y="116"/>
                    </a:lnTo>
                    <a:lnTo>
                      <a:pt x="101" y="116"/>
                    </a:lnTo>
                    <a:lnTo>
                      <a:pt x="97" y="116"/>
                    </a:lnTo>
                    <a:lnTo>
                      <a:pt x="96" y="119"/>
                    </a:lnTo>
                    <a:lnTo>
                      <a:pt x="97" y="121"/>
                    </a:lnTo>
                    <a:lnTo>
                      <a:pt x="97" y="125"/>
                    </a:lnTo>
                    <a:lnTo>
                      <a:pt x="100" y="127"/>
                    </a:lnTo>
                    <a:lnTo>
                      <a:pt x="99" y="129"/>
                    </a:lnTo>
                    <a:lnTo>
                      <a:pt x="97" y="129"/>
                    </a:lnTo>
                    <a:lnTo>
                      <a:pt x="98" y="130"/>
                    </a:lnTo>
                    <a:lnTo>
                      <a:pt x="96" y="132"/>
                    </a:lnTo>
                    <a:lnTo>
                      <a:pt x="96" y="133"/>
                    </a:lnTo>
                    <a:lnTo>
                      <a:pt x="94" y="133"/>
                    </a:lnTo>
                    <a:lnTo>
                      <a:pt x="93" y="130"/>
                    </a:lnTo>
                    <a:lnTo>
                      <a:pt x="92" y="131"/>
                    </a:lnTo>
                    <a:lnTo>
                      <a:pt x="91" y="132"/>
                    </a:lnTo>
                    <a:lnTo>
                      <a:pt x="92" y="134"/>
                    </a:lnTo>
                    <a:lnTo>
                      <a:pt x="92" y="135"/>
                    </a:lnTo>
                    <a:lnTo>
                      <a:pt x="91" y="134"/>
                    </a:lnTo>
                    <a:lnTo>
                      <a:pt x="91" y="135"/>
                    </a:lnTo>
                    <a:lnTo>
                      <a:pt x="89" y="133"/>
                    </a:lnTo>
                    <a:lnTo>
                      <a:pt x="88" y="135"/>
                    </a:lnTo>
                    <a:lnTo>
                      <a:pt x="87" y="134"/>
                    </a:lnTo>
                    <a:lnTo>
                      <a:pt x="85" y="135"/>
                    </a:lnTo>
                    <a:lnTo>
                      <a:pt x="82" y="134"/>
                    </a:lnTo>
                    <a:lnTo>
                      <a:pt x="82" y="132"/>
                    </a:lnTo>
                    <a:lnTo>
                      <a:pt x="81" y="132"/>
                    </a:lnTo>
                    <a:lnTo>
                      <a:pt x="82" y="132"/>
                    </a:lnTo>
                    <a:lnTo>
                      <a:pt x="82" y="130"/>
                    </a:lnTo>
                    <a:lnTo>
                      <a:pt x="80" y="130"/>
                    </a:lnTo>
                    <a:lnTo>
                      <a:pt x="80" y="129"/>
                    </a:lnTo>
                    <a:lnTo>
                      <a:pt x="83" y="130"/>
                    </a:lnTo>
                    <a:lnTo>
                      <a:pt x="83" y="129"/>
                    </a:lnTo>
                    <a:lnTo>
                      <a:pt x="82" y="129"/>
                    </a:lnTo>
                    <a:lnTo>
                      <a:pt x="81" y="126"/>
                    </a:lnTo>
                    <a:lnTo>
                      <a:pt x="82" y="126"/>
                    </a:lnTo>
                    <a:lnTo>
                      <a:pt x="81" y="123"/>
                    </a:lnTo>
                    <a:lnTo>
                      <a:pt x="82" y="122"/>
                    </a:lnTo>
                    <a:lnTo>
                      <a:pt x="80" y="121"/>
                    </a:lnTo>
                    <a:lnTo>
                      <a:pt x="78" y="122"/>
                    </a:lnTo>
                    <a:lnTo>
                      <a:pt x="77" y="127"/>
                    </a:lnTo>
                    <a:lnTo>
                      <a:pt x="75" y="125"/>
                    </a:lnTo>
                    <a:lnTo>
                      <a:pt x="74" y="123"/>
                    </a:lnTo>
                    <a:lnTo>
                      <a:pt x="72" y="122"/>
                    </a:lnTo>
                    <a:lnTo>
                      <a:pt x="71" y="122"/>
                    </a:lnTo>
                    <a:lnTo>
                      <a:pt x="70" y="119"/>
                    </a:lnTo>
                    <a:lnTo>
                      <a:pt x="71" y="117"/>
                    </a:lnTo>
                    <a:lnTo>
                      <a:pt x="68" y="116"/>
                    </a:lnTo>
                    <a:lnTo>
                      <a:pt x="67" y="117"/>
                    </a:lnTo>
                    <a:lnTo>
                      <a:pt x="66" y="117"/>
                    </a:lnTo>
                    <a:lnTo>
                      <a:pt x="66" y="115"/>
                    </a:lnTo>
                    <a:lnTo>
                      <a:pt x="64" y="117"/>
                    </a:lnTo>
                    <a:lnTo>
                      <a:pt x="63" y="116"/>
                    </a:lnTo>
                    <a:lnTo>
                      <a:pt x="60" y="115"/>
                    </a:lnTo>
                    <a:lnTo>
                      <a:pt x="60" y="113"/>
                    </a:lnTo>
                    <a:lnTo>
                      <a:pt x="57" y="111"/>
                    </a:lnTo>
                    <a:lnTo>
                      <a:pt x="56" y="110"/>
                    </a:lnTo>
                    <a:lnTo>
                      <a:pt x="54" y="110"/>
                    </a:lnTo>
                    <a:lnTo>
                      <a:pt x="53" y="111"/>
                    </a:lnTo>
                    <a:lnTo>
                      <a:pt x="52" y="109"/>
                    </a:lnTo>
                    <a:lnTo>
                      <a:pt x="51" y="110"/>
                    </a:lnTo>
                    <a:lnTo>
                      <a:pt x="50" y="110"/>
                    </a:lnTo>
                    <a:lnTo>
                      <a:pt x="49" y="111"/>
                    </a:lnTo>
                    <a:lnTo>
                      <a:pt x="48" y="113"/>
                    </a:lnTo>
                    <a:lnTo>
                      <a:pt x="45" y="114"/>
                    </a:lnTo>
                    <a:lnTo>
                      <a:pt x="45" y="116"/>
                    </a:lnTo>
                    <a:lnTo>
                      <a:pt x="43" y="116"/>
                    </a:lnTo>
                    <a:lnTo>
                      <a:pt x="44" y="117"/>
                    </a:lnTo>
                    <a:lnTo>
                      <a:pt x="43" y="120"/>
                    </a:lnTo>
                    <a:lnTo>
                      <a:pt x="43" y="121"/>
                    </a:lnTo>
                    <a:lnTo>
                      <a:pt x="41" y="121"/>
                    </a:lnTo>
                    <a:lnTo>
                      <a:pt x="40" y="121"/>
                    </a:lnTo>
                    <a:lnTo>
                      <a:pt x="38" y="122"/>
                    </a:lnTo>
                    <a:lnTo>
                      <a:pt x="35" y="118"/>
                    </a:lnTo>
                    <a:lnTo>
                      <a:pt x="32" y="116"/>
                    </a:lnTo>
                    <a:lnTo>
                      <a:pt x="29" y="115"/>
                    </a:lnTo>
                    <a:lnTo>
                      <a:pt x="28" y="113"/>
                    </a:lnTo>
                    <a:lnTo>
                      <a:pt x="27" y="111"/>
                    </a:lnTo>
                    <a:lnTo>
                      <a:pt x="22" y="108"/>
                    </a:lnTo>
                    <a:lnTo>
                      <a:pt x="22" y="109"/>
                    </a:lnTo>
                    <a:lnTo>
                      <a:pt x="20" y="108"/>
                    </a:lnTo>
                    <a:lnTo>
                      <a:pt x="20" y="106"/>
                    </a:lnTo>
                    <a:lnTo>
                      <a:pt x="19" y="105"/>
                    </a:lnTo>
                    <a:lnTo>
                      <a:pt x="19" y="106"/>
                    </a:lnTo>
                    <a:lnTo>
                      <a:pt x="18" y="106"/>
                    </a:lnTo>
                    <a:lnTo>
                      <a:pt x="18" y="108"/>
                    </a:lnTo>
                    <a:lnTo>
                      <a:pt x="17" y="108"/>
                    </a:lnTo>
                    <a:lnTo>
                      <a:pt x="17" y="109"/>
                    </a:lnTo>
                    <a:lnTo>
                      <a:pt x="15" y="109"/>
                    </a:lnTo>
                    <a:lnTo>
                      <a:pt x="15" y="110"/>
                    </a:lnTo>
                    <a:lnTo>
                      <a:pt x="11" y="110"/>
                    </a:lnTo>
                    <a:lnTo>
                      <a:pt x="10" y="111"/>
                    </a:lnTo>
                    <a:lnTo>
                      <a:pt x="10" y="115"/>
                    </a:lnTo>
                    <a:lnTo>
                      <a:pt x="10" y="116"/>
                    </a:lnTo>
                    <a:lnTo>
                      <a:pt x="11" y="116"/>
                    </a:lnTo>
                    <a:lnTo>
                      <a:pt x="14" y="120"/>
                    </a:lnTo>
                    <a:lnTo>
                      <a:pt x="14" y="122"/>
                    </a:lnTo>
                    <a:lnTo>
                      <a:pt x="13" y="124"/>
                    </a:lnTo>
                    <a:lnTo>
                      <a:pt x="13" y="125"/>
                    </a:lnTo>
                    <a:lnTo>
                      <a:pt x="14" y="125"/>
                    </a:lnTo>
                    <a:lnTo>
                      <a:pt x="16" y="127"/>
                    </a:lnTo>
                    <a:lnTo>
                      <a:pt x="15" y="128"/>
                    </a:lnTo>
                    <a:lnTo>
                      <a:pt x="15" y="129"/>
                    </a:lnTo>
                    <a:lnTo>
                      <a:pt x="14" y="129"/>
                    </a:lnTo>
                    <a:lnTo>
                      <a:pt x="13" y="129"/>
                    </a:lnTo>
                    <a:lnTo>
                      <a:pt x="14" y="129"/>
                    </a:lnTo>
                    <a:lnTo>
                      <a:pt x="14" y="130"/>
                    </a:lnTo>
                    <a:lnTo>
                      <a:pt x="13" y="132"/>
                    </a:lnTo>
                    <a:lnTo>
                      <a:pt x="14" y="132"/>
                    </a:lnTo>
                    <a:lnTo>
                      <a:pt x="13" y="134"/>
                    </a:lnTo>
                    <a:lnTo>
                      <a:pt x="13" y="136"/>
                    </a:lnTo>
                    <a:lnTo>
                      <a:pt x="11" y="138"/>
                    </a:lnTo>
                    <a:lnTo>
                      <a:pt x="11" y="140"/>
                    </a:lnTo>
                    <a:lnTo>
                      <a:pt x="13" y="139"/>
                    </a:lnTo>
                    <a:lnTo>
                      <a:pt x="13" y="141"/>
                    </a:lnTo>
                    <a:lnTo>
                      <a:pt x="15" y="140"/>
                    </a:lnTo>
                    <a:lnTo>
                      <a:pt x="15" y="141"/>
                    </a:lnTo>
                    <a:lnTo>
                      <a:pt x="17" y="145"/>
                    </a:lnTo>
                    <a:lnTo>
                      <a:pt x="17" y="146"/>
                    </a:lnTo>
                    <a:lnTo>
                      <a:pt x="15" y="146"/>
                    </a:lnTo>
                    <a:lnTo>
                      <a:pt x="15" y="148"/>
                    </a:lnTo>
                    <a:lnTo>
                      <a:pt x="16" y="149"/>
                    </a:lnTo>
                    <a:lnTo>
                      <a:pt x="16" y="150"/>
                    </a:lnTo>
                    <a:lnTo>
                      <a:pt x="19" y="151"/>
                    </a:lnTo>
                    <a:lnTo>
                      <a:pt x="15" y="160"/>
                    </a:lnTo>
                    <a:lnTo>
                      <a:pt x="15" y="159"/>
                    </a:lnTo>
                    <a:lnTo>
                      <a:pt x="14" y="160"/>
                    </a:lnTo>
                    <a:lnTo>
                      <a:pt x="13" y="159"/>
                    </a:lnTo>
                    <a:lnTo>
                      <a:pt x="13" y="160"/>
                    </a:lnTo>
                    <a:lnTo>
                      <a:pt x="10" y="160"/>
                    </a:lnTo>
                    <a:lnTo>
                      <a:pt x="10" y="163"/>
                    </a:lnTo>
                    <a:lnTo>
                      <a:pt x="11" y="163"/>
                    </a:lnTo>
                    <a:lnTo>
                      <a:pt x="11" y="164"/>
                    </a:lnTo>
                    <a:lnTo>
                      <a:pt x="10" y="165"/>
                    </a:lnTo>
                    <a:lnTo>
                      <a:pt x="11" y="167"/>
                    </a:lnTo>
                    <a:lnTo>
                      <a:pt x="11" y="168"/>
                    </a:lnTo>
                    <a:lnTo>
                      <a:pt x="10" y="168"/>
                    </a:lnTo>
                    <a:lnTo>
                      <a:pt x="9" y="169"/>
                    </a:lnTo>
                    <a:lnTo>
                      <a:pt x="8" y="169"/>
                    </a:lnTo>
                    <a:lnTo>
                      <a:pt x="9" y="168"/>
                    </a:lnTo>
                    <a:lnTo>
                      <a:pt x="8" y="168"/>
                    </a:lnTo>
                    <a:lnTo>
                      <a:pt x="7" y="168"/>
                    </a:lnTo>
                    <a:lnTo>
                      <a:pt x="6" y="168"/>
                    </a:lnTo>
                    <a:lnTo>
                      <a:pt x="5" y="167"/>
                    </a:lnTo>
                    <a:lnTo>
                      <a:pt x="3" y="169"/>
                    </a:lnTo>
                    <a:lnTo>
                      <a:pt x="0" y="172"/>
                    </a:lnTo>
                    <a:lnTo>
                      <a:pt x="2" y="175"/>
                    </a:lnTo>
                    <a:lnTo>
                      <a:pt x="3" y="177"/>
                    </a:lnTo>
                    <a:lnTo>
                      <a:pt x="5" y="177"/>
                    </a:lnTo>
                    <a:lnTo>
                      <a:pt x="7" y="180"/>
                    </a:lnTo>
                    <a:lnTo>
                      <a:pt x="6" y="180"/>
                    </a:lnTo>
                    <a:lnTo>
                      <a:pt x="4" y="181"/>
                    </a:lnTo>
                    <a:lnTo>
                      <a:pt x="5" y="185"/>
                    </a:lnTo>
                    <a:lnTo>
                      <a:pt x="5" y="187"/>
                    </a:lnTo>
                    <a:lnTo>
                      <a:pt x="7" y="189"/>
                    </a:lnTo>
                    <a:lnTo>
                      <a:pt x="9" y="191"/>
                    </a:lnTo>
                    <a:lnTo>
                      <a:pt x="11" y="192"/>
                    </a:lnTo>
                    <a:lnTo>
                      <a:pt x="13" y="191"/>
                    </a:lnTo>
                    <a:lnTo>
                      <a:pt x="15" y="188"/>
                    </a:lnTo>
                    <a:lnTo>
                      <a:pt x="16" y="191"/>
                    </a:lnTo>
                    <a:lnTo>
                      <a:pt x="20" y="193"/>
                    </a:lnTo>
                    <a:lnTo>
                      <a:pt x="21" y="193"/>
                    </a:lnTo>
                    <a:lnTo>
                      <a:pt x="20" y="194"/>
                    </a:lnTo>
                    <a:lnTo>
                      <a:pt x="19" y="194"/>
                    </a:lnTo>
                    <a:lnTo>
                      <a:pt x="19" y="198"/>
                    </a:lnTo>
                    <a:lnTo>
                      <a:pt x="20" y="198"/>
                    </a:lnTo>
                    <a:lnTo>
                      <a:pt x="22" y="197"/>
                    </a:lnTo>
                    <a:lnTo>
                      <a:pt x="22" y="198"/>
                    </a:lnTo>
                    <a:lnTo>
                      <a:pt x="23" y="200"/>
                    </a:lnTo>
                    <a:lnTo>
                      <a:pt x="24" y="200"/>
                    </a:lnTo>
                    <a:lnTo>
                      <a:pt x="25" y="202"/>
                    </a:lnTo>
                    <a:lnTo>
                      <a:pt x="26" y="202"/>
                    </a:lnTo>
                    <a:lnTo>
                      <a:pt x="27" y="204"/>
                    </a:lnTo>
                    <a:lnTo>
                      <a:pt x="27" y="206"/>
                    </a:lnTo>
                    <a:lnTo>
                      <a:pt x="26" y="205"/>
                    </a:lnTo>
                    <a:lnTo>
                      <a:pt x="23" y="206"/>
                    </a:lnTo>
                    <a:lnTo>
                      <a:pt x="23" y="208"/>
                    </a:lnTo>
                    <a:lnTo>
                      <a:pt x="25" y="209"/>
                    </a:lnTo>
                    <a:lnTo>
                      <a:pt x="25" y="211"/>
                    </a:lnTo>
                    <a:lnTo>
                      <a:pt x="23" y="213"/>
                    </a:lnTo>
                    <a:lnTo>
                      <a:pt x="25" y="214"/>
                    </a:lnTo>
                    <a:lnTo>
                      <a:pt x="28" y="217"/>
                    </a:lnTo>
                    <a:lnTo>
                      <a:pt x="28" y="218"/>
                    </a:lnTo>
                    <a:lnTo>
                      <a:pt x="29" y="219"/>
                    </a:lnTo>
                    <a:lnTo>
                      <a:pt x="30" y="217"/>
                    </a:lnTo>
                    <a:lnTo>
                      <a:pt x="30" y="219"/>
                    </a:lnTo>
                    <a:lnTo>
                      <a:pt x="31" y="219"/>
                    </a:lnTo>
                    <a:lnTo>
                      <a:pt x="32" y="219"/>
                    </a:lnTo>
                    <a:lnTo>
                      <a:pt x="32" y="217"/>
                    </a:lnTo>
                    <a:lnTo>
                      <a:pt x="36" y="218"/>
                    </a:lnTo>
                    <a:lnTo>
                      <a:pt x="38" y="216"/>
                    </a:lnTo>
                    <a:lnTo>
                      <a:pt x="39" y="216"/>
                    </a:lnTo>
                    <a:lnTo>
                      <a:pt x="39" y="217"/>
                    </a:lnTo>
                    <a:lnTo>
                      <a:pt x="41" y="219"/>
                    </a:lnTo>
                    <a:lnTo>
                      <a:pt x="42" y="219"/>
                    </a:lnTo>
                    <a:lnTo>
                      <a:pt x="43" y="220"/>
                    </a:lnTo>
                    <a:lnTo>
                      <a:pt x="44" y="219"/>
                    </a:lnTo>
                    <a:lnTo>
                      <a:pt x="46" y="221"/>
                    </a:lnTo>
                    <a:lnTo>
                      <a:pt x="49" y="223"/>
                    </a:lnTo>
                    <a:lnTo>
                      <a:pt x="48" y="223"/>
                    </a:lnTo>
                    <a:lnTo>
                      <a:pt x="49" y="225"/>
                    </a:lnTo>
                    <a:lnTo>
                      <a:pt x="50" y="224"/>
                    </a:lnTo>
                    <a:lnTo>
                      <a:pt x="52" y="223"/>
                    </a:lnTo>
                    <a:lnTo>
                      <a:pt x="53" y="220"/>
                    </a:lnTo>
                    <a:lnTo>
                      <a:pt x="56" y="221"/>
                    </a:lnTo>
                    <a:lnTo>
                      <a:pt x="57" y="219"/>
                    </a:lnTo>
                    <a:lnTo>
                      <a:pt x="59" y="219"/>
                    </a:lnTo>
                    <a:lnTo>
                      <a:pt x="60" y="219"/>
                    </a:lnTo>
                    <a:lnTo>
                      <a:pt x="62" y="219"/>
                    </a:lnTo>
                    <a:lnTo>
                      <a:pt x="63" y="217"/>
                    </a:lnTo>
                    <a:lnTo>
                      <a:pt x="63" y="219"/>
                    </a:lnTo>
                    <a:lnTo>
                      <a:pt x="63" y="222"/>
                    </a:lnTo>
                    <a:lnTo>
                      <a:pt x="64" y="222"/>
                    </a:lnTo>
                    <a:lnTo>
                      <a:pt x="64" y="223"/>
                    </a:lnTo>
                    <a:lnTo>
                      <a:pt x="66" y="223"/>
                    </a:lnTo>
                    <a:lnTo>
                      <a:pt x="67" y="224"/>
                    </a:lnTo>
                    <a:lnTo>
                      <a:pt x="67" y="225"/>
                    </a:lnTo>
                    <a:lnTo>
                      <a:pt x="69" y="225"/>
                    </a:lnTo>
                    <a:lnTo>
                      <a:pt x="69" y="227"/>
                    </a:lnTo>
                    <a:lnTo>
                      <a:pt x="68" y="228"/>
                    </a:lnTo>
                    <a:lnTo>
                      <a:pt x="68" y="230"/>
                    </a:lnTo>
                    <a:lnTo>
                      <a:pt x="68" y="231"/>
                    </a:lnTo>
                    <a:lnTo>
                      <a:pt x="68" y="234"/>
                    </a:lnTo>
                    <a:lnTo>
                      <a:pt x="68" y="237"/>
                    </a:lnTo>
                    <a:lnTo>
                      <a:pt x="69" y="240"/>
                    </a:lnTo>
                    <a:lnTo>
                      <a:pt x="68" y="241"/>
                    </a:lnTo>
                    <a:lnTo>
                      <a:pt x="66" y="241"/>
                    </a:lnTo>
                    <a:lnTo>
                      <a:pt x="64" y="242"/>
                    </a:lnTo>
                    <a:lnTo>
                      <a:pt x="66" y="243"/>
                    </a:lnTo>
                    <a:lnTo>
                      <a:pt x="66" y="249"/>
                    </a:lnTo>
                    <a:lnTo>
                      <a:pt x="64" y="252"/>
                    </a:lnTo>
                    <a:lnTo>
                      <a:pt x="66" y="253"/>
                    </a:lnTo>
                    <a:lnTo>
                      <a:pt x="66" y="255"/>
                    </a:lnTo>
                    <a:lnTo>
                      <a:pt x="67" y="255"/>
                    </a:lnTo>
                    <a:lnTo>
                      <a:pt x="69" y="257"/>
                    </a:lnTo>
                    <a:lnTo>
                      <a:pt x="68" y="261"/>
                    </a:lnTo>
                    <a:lnTo>
                      <a:pt x="69" y="259"/>
                    </a:lnTo>
                    <a:lnTo>
                      <a:pt x="69" y="261"/>
                    </a:lnTo>
                    <a:lnTo>
                      <a:pt x="70" y="261"/>
                    </a:lnTo>
                    <a:lnTo>
                      <a:pt x="69" y="263"/>
                    </a:lnTo>
                    <a:lnTo>
                      <a:pt x="71" y="262"/>
                    </a:lnTo>
                    <a:lnTo>
                      <a:pt x="69" y="265"/>
                    </a:lnTo>
                    <a:lnTo>
                      <a:pt x="69" y="267"/>
                    </a:lnTo>
                    <a:lnTo>
                      <a:pt x="68" y="269"/>
                    </a:lnTo>
                    <a:lnTo>
                      <a:pt x="68" y="268"/>
                    </a:lnTo>
                    <a:lnTo>
                      <a:pt x="66" y="270"/>
                    </a:lnTo>
                    <a:lnTo>
                      <a:pt x="67" y="271"/>
                    </a:lnTo>
                    <a:lnTo>
                      <a:pt x="68" y="272"/>
                    </a:lnTo>
                    <a:lnTo>
                      <a:pt x="67" y="272"/>
                    </a:lnTo>
                    <a:lnTo>
                      <a:pt x="66" y="274"/>
                    </a:lnTo>
                    <a:lnTo>
                      <a:pt x="66" y="273"/>
                    </a:lnTo>
                    <a:lnTo>
                      <a:pt x="66" y="275"/>
                    </a:lnTo>
                    <a:lnTo>
                      <a:pt x="64" y="275"/>
                    </a:lnTo>
                    <a:lnTo>
                      <a:pt x="63" y="277"/>
                    </a:lnTo>
                    <a:lnTo>
                      <a:pt x="61" y="276"/>
                    </a:lnTo>
                    <a:lnTo>
                      <a:pt x="60" y="279"/>
                    </a:lnTo>
                    <a:lnTo>
                      <a:pt x="60" y="278"/>
                    </a:lnTo>
                    <a:lnTo>
                      <a:pt x="59" y="278"/>
                    </a:lnTo>
                    <a:lnTo>
                      <a:pt x="59" y="280"/>
                    </a:lnTo>
                    <a:lnTo>
                      <a:pt x="58" y="280"/>
                    </a:lnTo>
                    <a:lnTo>
                      <a:pt x="57" y="279"/>
                    </a:lnTo>
                    <a:lnTo>
                      <a:pt x="56" y="282"/>
                    </a:lnTo>
                    <a:lnTo>
                      <a:pt x="58" y="282"/>
                    </a:lnTo>
                    <a:lnTo>
                      <a:pt x="61" y="284"/>
                    </a:lnTo>
                    <a:lnTo>
                      <a:pt x="61" y="285"/>
                    </a:lnTo>
                    <a:lnTo>
                      <a:pt x="57" y="288"/>
                    </a:lnTo>
                    <a:lnTo>
                      <a:pt x="54" y="289"/>
                    </a:lnTo>
                    <a:lnTo>
                      <a:pt x="58" y="291"/>
                    </a:lnTo>
                    <a:lnTo>
                      <a:pt x="62" y="290"/>
                    </a:lnTo>
                    <a:lnTo>
                      <a:pt x="64" y="293"/>
                    </a:lnTo>
                    <a:lnTo>
                      <a:pt x="65" y="295"/>
                    </a:lnTo>
                    <a:lnTo>
                      <a:pt x="68" y="296"/>
                    </a:lnTo>
                    <a:lnTo>
                      <a:pt x="68" y="295"/>
                    </a:lnTo>
                    <a:lnTo>
                      <a:pt x="68" y="293"/>
                    </a:lnTo>
                    <a:lnTo>
                      <a:pt x="69" y="295"/>
                    </a:lnTo>
                    <a:lnTo>
                      <a:pt x="71" y="295"/>
                    </a:lnTo>
                    <a:lnTo>
                      <a:pt x="70" y="296"/>
                    </a:lnTo>
                    <a:lnTo>
                      <a:pt x="74" y="300"/>
                    </a:lnTo>
                    <a:lnTo>
                      <a:pt x="76" y="301"/>
                    </a:lnTo>
                    <a:lnTo>
                      <a:pt x="77" y="301"/>
                    </a:lnTo>
                    <a:lnTo>
                      <a:pt x="79" y="303"/>
                    </a:lnTo>
                    <a:lnTo>
                      <a:pt x="76" y="306"/>
                    </a:lnTo>
                    <a:lnTo>
                      <a:pt x="76" y="309"/>
                    </a:lnTo>
                    <a:lnTo>
                      <a:pt x="79" y="316"/>
                    </a:lnTo>
                    <a:lnTo>
                      <a:pt x="84" y="315"/>
                    </a:lnTo>
                    <a:lnTo>
                      <a:pt x="85" y="313"/>
                    </a:lnTo>
                    <a:lnTo>
                      <a:pt x="86" y="313"/>
                    </a:lnTo>
                    <a:lnTo>
                      <a:pt x="88" y="312"/>
                    </a:lnTo>
                    <a:lnTo>
                      <a:pt x="88" y="311"/>
                    </a:lnTo>
                    <a:lnTo>
                      <a:pt x="90" y="312"/>
                    </a:lnTo>
                    <a:lnTo>
                      <a:pt x="91" y="311"/>
                    </a:lnTo>
                    <a:lnTo>
                      <a:pt x="89" y="311"/>
                    </a:lnTo>
                    <a:lnTo>
                      <a:pt x="89" y="309"/>
                    </a:lnTo>
                    <a:lnTo>
                      <a:pt x="93" y="310"/>
                    </a:lnTo>
                    <a:lnTo>
                      <a:pt x="94" y="310"/>
                    </a:lnTo>
                    <a:lnTo>
                      <a:pt x="96" y="309"/>
                    </a:lnTo>
                    <a:lnTo>
                      <a:pt x="97" y="308"/>
                    </a:lnTo>
                    <a:lnTo>
                      <a:pt x="98" y="309"/>
                    </a:lnTo>
                    <a:lnTo>
                      <a:pt x="99" y="309"/>
                    </a:lnTo>
                    <a:lnTo>
                      <a:pt x="98" y="306"/>
                    </a:lnTo>
                    <a:lnTo>
                      <a:pt x="98" y="305"/>
                    </a:lnTo>
                    <a:lnTo>
                      <a:pt x="99" y="301"/>
                    </a:lnTo>
                    <a:lnTo>
                      <a:pt x="100" y="301"/>
                    </a:lnTo>
                    <a:lnTo>
                      <a:pt x="104" y="299"/>
                    </a:lnTo>
                    <a:lnTo>
                      <a:pt x="105" y="299"/>
                    </a:lnTo>
                    <a:lnTo>
                      <a:pt x="106" y="300"/>
                    </a:lnTo>
                    <a:lnTo>
                      <a:pt x="107" y="299"/>
                    </a:lnTo>
                    <a:lnTo>
                      <a:pt x="107" y="301"/>
                    </a:lnTo>
                    <a:lnTo>
                      <a:pt x="108" y="302"/>
                    </a:lnTo>
                    <a:lnTo>
                      <a:pt x="110" y="301"/>
                    </a:lnTo>
                    <a:lnTo>
                      <a:pt x="110" y="299"/>
                    </a:lnTo>
                    <a:lnTo>
                      <a:pt x="111" y="299"/>
                    </a:lnTo>
                    <a:lnTo>
                      <a:pt x="113" y="299"/>
                    </a:lnTo>
                    <a:lnTo>
                      <a:pt x="112" y="297"/>
                    </a:lnTo>
                    <a:lnTo>
                      <a:pt x="112" y="295"/>
                    </a:lnTo>
                    <a:lnTo>
                      <a:pt x="113" y="295"/>
                    </a:lnTo>
                    <a:lnTo>
                      <a:pt x="116" y="297"/>
                    </a:lnTo>
                    <a:lnTo>
                      <a:pt x="115" y="302"/>
                    </a:lnTo>
                    <a:lnTo>
                      <a:pt x="117" y="302"/>
                    </a:lnTo>
                    <a:lnTo>
                      <a:pt x="117" y="304"/>
                    </a:lnTo>
                    <a:lnTo>
                      <a:pt x="118" y="304"/>
                    </a:lnTo>
                    <a:lnTo>
                      <a:pt x="118" y="303"/>
                    </a:lnTo>
                    <a:lnTo>
                      <a:pt x="120" y="304"/>
                    </a:lnTo>
                    <a:lnTo>
                      <a:pt x="120" y="305"/>
                    </a:lnTo>
                    <a:lnTo>
                      <a:pt x="121" y="304"/>
                    </a:lnTo>
                    <a:lnTo>
                      <a:pt x="120" y="304"/>
                    </a:lnTo>
                    <a:lnTo>
                      <a:pt x="120" y="301"/>
                    </a:lnTo>
                    <a:lnTo>
                      <a:pt x="120" y="303"/>
                    </a:lnTo>
                    <a:lnTo>
                      <a:pt x="121" y="302"/>
                    </a:lnTo>
                    <a:lnTo>
                      <a:pt x="121" y="303"/>
                    </a:lnTo>
                    <a:lnTo>
                      <a:pt x="123" y="303"/>
                    </a:lnTo>
                    <a:lnTo>
                      <a:pt x="123" y="304"/>
                    </a:lnTo>
                    <a:lnTo>
                      <a:pt x="125" y="303"/>
                    </a:lnTo>
                    <a:lnTo>
                      <a:pt x="127" y="304"/>
                    </a:lnTo>
                    <a:lnTo>
                      <a:pt x="128" y="303"/>
                    </a:lnTo>
                    <a:lnTo>
                      <a:pt x="128" y="304"/>
                    </a:lnTo>
                    <a:lnTo>
                      <a:pt x="128" y="305"/>
                    </a:lnTo>
                    <a:lnTo>
                      <a:pt x="129" y="305"/>
                    </a:lnTo>
                    <a:lnTo>
                      <a:pt x="131" y="306"/>
                    </a:lnTo>
                    <a:lnTo>
                      <a:pt x="131" y="305"/>
                    </a:lnTo>
                    <a:lnTo>
                      <a:pt x="133" y="306"/>
                    </a:lnTo>
                    <a:lnTo>
                      <a:pt x="133" y="303"/>
                    </a:lnTo>
                    <a:lnTo>
                      <a:pt x="134" y="304"/>
                    </a:lnTo>
                    <a:lnTo>
                      <a:pt x="134" y="305"/>
                    </a:lnTo>
                    <a:lnTo>
                      <a:pt x="138" y="307"/>
                    </a:lnTo>
                    <a:lnTo>
                      <a:pt x="138" y="308"/>
                    </a:lnTo>
                    <a:lnTo>
                      <a:pt x="140" y="309"/>
                    </a:lnTo>
                    <a:lnTo>
                      <a:pt x="140" y="310"/>
                    </a:lnTo>
                    <a:lnTo>
                      <a:pt x="141" y="311"/>
                    </a:lnTo>
                    <a:lnTo>
                      <a:pt x="142" y="310"/>
                    </a:lnTo>
                    <a:lnTo>
                      <a:pt x="144" y="311"/>
                    </a:lnTo>
                    <a:lnTo>
                      <a:pt x="145" y="310"/>
                    </a:lnTo>
                    <a:lnTo>
                      <a:pt x="145" y="309"/>
                    </a:lnTo>
                    <a:lnTo>
                      <a:pt x="147" y="306"/>
                    </a:lnTo>
                    <a:lnTo>
                      <a:pt x="148" y="306"/>
                    </a:lnTo>
                    <a:lnTo>
                      <a:pt x="149" y="305"/>
                    </a:lnTo>
                    <a:lnTo>
                      <a:pt x="150" y="306"/>
                    </a:lnTo>
                    <a:lnTo>
                      <a:pt x="151" y="306"/>
                    </a:lnTo>
                    <a:lnTo>
                      <a:pt x="153" y="306"/>
                    </a:lnTo>
                    <a:lnTo>
                      <a:pt x="154" y="309"/>
                    </a:lnTo>
                    <a:lnTo>
                      <a:pt x="156" y="305"/>
                    </a:lnTo>
                    <a:lnTo>
                      <a:pt x="157" y="306"/>
                    </a:lnTo>
                    <a:lnTo>
                      <a:pt x="158" y="306"/>
                    </a:lnTo>
                    <a:lnTo>
                      <a:pt x="159" y="305"/>
                    </a:lnTo>
                    <a:lnTo>
                      <a:pt x="160" y="300"/>
                    </a:lnTo>
                    <a:lnTo>
                      <a:pt x="159" y="299"/>
                    </a:lnTo>
                    <a:lnTo>
                      <a:pt x="159" y="296"/>
                    </a:lnTo>
                    <a:lnTo>
                      <a:pt x="161" y="296"/>
                    </a:lnTo>
                    <a:lnTo>
                      <a:pt x="161" y="295"/>
                    </a:lnTo>
                    <a:lnTo>
                      <a:pt x="163" y="295"/>
                    </a:lnTo>
                    <a:lnTo>
                      <a:pt x="164" y="293"/>
                    </a:lnTo>
                    <a:lnTo>
                      <a:pt x="167" y="295"/>
                    </a:lnTo>
                    <a:lnTo>
                      <a:pt x="168" y="292"/>
                    </a:lnTo>
                    <a:lnTo>
                      <a:pt x="170" y="291"/>
                    </a:lnTo>
                    <a:lnTo>
                      <a:pt x="172" y="293"/>
                    </a:lnTo>
                    <a:lnTo>
                      <a:pt x="173" y="295"/>
                    </a:lnTo>
                    <a:lnTo>
                      <a:pt x="177" y="295"/>
                    </a:lnTo>
                    <a:lnTo>
                      <a:pt x="177" y="296"/>
                    </a:lnTo>
                    <a:lnTo>
                      <a:pt x="176" y="298"/>
                    </a:lnTo>
                    <a:lnTo>
                      <a:pt x="178" y="299"/>
                    </a:lnTo>
                    <a:lnTo>
                      <a:pt x="176" y="303"/>
                    </a:lnTo>
                    <a:lnTo>
                      <a:pt x="175" y="306"/>
                    </a:lnTo>
                    <a:lnTo>
                      <a:pt x="176" y="309"/>
                    </a:lnTo>
                    <a:lnTo>
                      <a:pt x="178" y="310"/>
                    </a:lnTo>
                    <a:lnTo>
                      <a:pt x="178" y="311"/>
                    </a:lnTo>
                    <a:lnTo>
                      <a:pt x="179" y="311"/>
                    </a:lnTo>
                    <a:lnTo>
                      <a:pt x="183" y="312"/>
                    </a:lnTo>
                    <a:lnTo>
                      <a:pt x="183" y="314"/>
                    </a:lnTo>
                    <a:lnTo>
                      <a:pt x="185" y="313"/>
                    </a:lnTo>
                    <a:lnTo>
                      <a:pt x="185" y="312"/>
                    </a:lnTo>
                    <a:lnTo>
                      <a:pt x="188" y="310"/>
                    </a:lnTo>
                    <a:lnTo>
                      <a:pt x="189" y="306"/>
                    </a:lnTo>
                    <a:lnTo>
                      <a:pt x="194" y="307"/>
                    </a:lnTo>
                    <a:lnTo>
                      <a:pt x="198" y="308"/>
                    </a:lnTo>
                    <a:lnTo>
                      <a:pt x="199" y="301"/>
                    </a:lnTo>
                    <a:lnTo>
                      <a:pt x="207" y="301"/>
                    </a:lnTo>
                    <a:lnTo>
                      <a:pt x="208" y="301"/>
                    </a:lnTo>
                    <a:lnTo>
                      <a:pt x="208" y="298"/>
                    </a:lnTo>
                    <a:lnTo>
                      <a:pt x="210" y="299"/>
                    </a:lnTo>
                    <a:lnTo>
                      <a:pt x="214" y="304"/>
                    </a:lnTo>
                    <a:lnTo>
                      <a:pt x="216" y="302"/>
                    </a:lnTo>
                    <a:lnTo>
                      <a:pt x="216" y="304"/>
                    </a:lnTo>
                    <a:lnTo>
                      <a:pt x="218" y="304"/>
                    </a:lnTo>
                    <a:lnTo>
                      <a:pt x="219" y="306"/>
                    </a:lnTo>
                    <a:lnTo>
                      <a:pt x="227" y="306"/>
                    </a:lnTo>
                    <a:lnTo>
                      <a:pt x="226" y="312"/>
                    </a:lnTo>
                    <a:lnTo>
                      <a:pt x="231" y="314"/>
                    </a:lnTo>
                    <a:lnTo>
                      <a:pt x="231" y="318"/>
                    </a:lnTo>
                    <a:lnTo>
                      <a:pt x="230" y="328"/>
                    </a:lnTo>
                    <a:lnTo>
                      <a:pt x="242" y="330"/>
                    </a:lnTo>
                    <a:lnTo>
                      <a:pt x="244" y="331"/>
                    </a:lnTo>
                    <a:lnTo>
                      <a:pt x="246" y="339"/>
                    </a:lnTo>
                    <a:lnTo>
                      <a:pt x="246" y="342"/>
                    </a:lnTo>
                    <a:lnTo>
                      <a:pt x="246" y="343"/>
                    </a:lnTo>
                    <a:lnTo>
                      <a:pt x="247" y="343"/>
                    </a:lnTo>
                    <a:lnTo>
                      <a:pt x="250" y="344"/>
                    </a:lnTo>
                    <a:lnTo>
                      <a:pt x="251" y="345"/>
                    </a:lnTo>
                    <a:lnTo>
                      <a:pt x="252" y="345"/>
                    </a:lnTo>
                    <a:lnTo>
                      <a:pt x="253" y="346"/>
                    </a:lnTo>
                    <a:lnTo>
                      <a:pt x="255" y="345"/>
                    </a:lnTo>
                    <a:lnTo>
                      <a:pt x="259" y="348"/>
                    </a:lnTo>
                    <a:lnTo>
                      <a:pt x="259" y="353"/>
                    </a:lnTo>
                    <a:lnTo>
                      <a:pt x="262" y="356"/>
                    </a:lnTo>
                    <a:lnTo>
                      <a:pt x="263" y="356"/>
                    </a:lnTo>
                    <a:lnTo>
                      <a:pt x="263" y="355"/>
                    </a:lnTo>
                    <a:lnTo>
                      <a:pt x="265" y="354"/>
                    </a:lnTo>
                    <a:lnTo>
                      <a:pt x="267" y="358"/>
                    </a:lnTo>
                    <a:lnTo>
                      <a:pt x="268" y="358"/>
                    </a:lnTo>
                    <a:lnTo>
                      <a:pt x="269" y="359"/>
                    </a:lnTo>
                    <a:lnTo>
                      <a:pt x="270" y="358"/>
                    </a:lnTo>
                    <a:lnTo>
                      <a:pt x="270" y="359"/>
                    </a:lnTo>
                    <a:lnTo>
                      <a:pt x="271" y="359"/>
                    </a:lnTo>
                    <a:lnTo>
                      <a:pt x="273" y="363"/>
                    </a:lnTo>
                    <a:lnTo>
                      <a:pt x="275" y="365"/>
                    </a:lnTo>
                    <a:lnTo>
                      <a:pt x="275" y="366"/>
                    </a:lnTo>
                    <a:lnTo>
                      <a:pt x="275" y="367"/>
                    </a:lnTo>
                    <a:lnTo>
                      <a:pt x="276" y="369"/>
                    </a:lnTo>
                    <a:lnTo>
                      <a:pt x="277" y="369"/>
                    </a:lnTo>
                    <a:lnTo>
                      <a:pt x="279" y="369"/>
                    </a:lnTo>
                    <a:lnTo>
                      <a:pt x="280" y="367"/>
                    </a:lnTo>
                    <a:lnTo>
                      <a:pt x="283" y="368"/>
                    </a:lnTo>
                    <a:lnTo>
                      <a:pt x="284" y="367"/>
                    </a:lnTo>
                    <a:lnTo>
                      <a:pt x="285" y="369"/>
                    </a:lnTo>
                    <a:lnTo>
                      <a:pt x="289" y="367"/>
                    </a:lnTo>
                    <a:lnTo>
                      <a:pt x="289" y="366"/>
                    </a:lnTo>
                    <a:lnTo>
                      <a:pt x="290" y="365"/>
                    </a:lnTo>
                    <a:lnTo>
                      <a:pt x="289" y="363"/>
                    </a:lnTo>
                    <a:lnTo>
                      <a:pt x="290" y="363"/>
                    </a:lnTo>
                    <a:lnTo>
                      <a:pt x="290" y="364"/>
                    </a:lnTo>
                    <a:lnTo>
                      <a:pt x="292" y="364"/>
                    </a:lnTo>
                    <a:lnTo>
                      <a:pt x="292" y="365"/>
                    </a:lnTo>
                    <a:lnTo>
                      <a:pt x="290" y="367"/>
                    </a:lnTo>
                    <a:lnTo>
                      <a:pt x="290" y="369"/>
                    </a:lnTo>
                    <a:lnTo>
                      <a:pt x="295" y="369"/>
                    </a:lnTo>
                    <a:lnTo>
                      <a:pt x="296" y="369"/>
                    </a:lnTo>
                    <a:lnTo>
                      <a:pt x="297" y="369"/>
                    </a:lnTo>
                    <a:lnTo>
                      <a:pt x="298" y="368"/>
                    </a:lnTo>
                    <a:lnTo>
                      <a:pt x="300" y="369"/>
                    </a:lnTo>
                    <a:lnTo>
                      <a:pt x="300" y="367"/>
                    </a:lnTo>
                    <a:lnTo>
                      <a:pt x="302" y="368"/>
                    </a:lnTo>
                    <a:lnTo>
                      <a:pt x="303" y="367"/>
                    </a:lnTo>
                    <a:lnTo>
                      <a:pt x="304" y="369"/>
                    </a:lnTo>
                    <a:lnTo>
                      <a:pt x="306" y="370"/>
                    </a:lnTo>
                    <a:lnTo>
                      <a:pt x="313" y="374"/>
                    </a:lnTo>
                    <a:lnTo>
                      <a:pt x="313" y="369"/>
                    </a:lnTo>
                    <a:lnTo>
                      <a:pt x="312" y="369"/>
                    </a:lnTo>
                    <a:lnTo>
                      <a:pt x="311" y="366"/>
                    </a:lnTo>
                    <a:lnTo>
                      <a:pt x="309" y="365"/>
                    </a:lnTo>
                    <a:lnTo>
                      <a:pt x="309" y="363"/>
                    </a:lnTo>
                    <a:lnTo>
                      <a:pt x="310" y="363"/>
                    </a:lnTo>
                    <a:lnTo>
                      <a:pt x="311" y="362"/>
                    </a:lnTo>
                    <a:lnTo>
                      <a:pt x="310" y="360"/>
                    </a:lnTo>
                    <a:lnTo>
                      <a:pt x="312" y="360"/>
                    </a:lnTo>
                    <a:lnTo>
                      <a:pt x="314" y="361"/>
                    </a:lnTo>
                    <a:lnTo>
                      <a:pt x="316" y="360"/>
                    </a:lnTo>
                    <a:lnTo>
                      <a:pt x="318" y="360"/>
                    </a:lnTo>
                    <a:lnTo>
                      <a:pt x="319" y="358"/>
                    </a:lnTo>
                    <a:lnTo>
                      <a:pt x="321" y="357"/>
                    </a:lnTo>
                    <a:lnTo>
                      <a:pt x="319" y="355"/>
                    </a:lnTo>
                    <a:lnTo>
                      <a:pt x="318" y="353"/>
                    </a:lnTo>
                    <a:lnTo>
                      <a:pt x="317" y="354"/>
                    </a:lnTo>
                    <a:lnTo>
                      <a:pt x="317" y="351"/>
                    </a:lnTo>
                    <a:lnTo>
                      <a:pt x="319" y="348"/>
                    </a:lnTo>
                    <a:lnTo>
                      <a:pt x="321" y="348"/>
                    </a:lnTo>
                    <a:lnTo>
                      <a:pt x="321" y="346"/>
                    </a:lnTo>
                    <a:lnTo>
                      <a:pt x="323" y="346"/>
                    </a:lnTo>
                    <a:lnTo>
                      <a:pt x="327" y="346"/>
                    </a:lnTo>
                    <a:lnTo>
                      <a:pt x="333" y="340"/>
                    </a:lnTo>
                    <a:lnTo>
                      <a:pt x="335" y="340"/>
                    </a:lnTo>
                    <a:lnTo>
                      <a:pt x="336" y="340"/>
                    </a:lnTo>
                    <a:lnTo>
                      <a:pt x="337" y="341"/>
                    </a:lnTo>
                    <a:lnTo>
                      <a:pt x="337" y="340"/>
                    </a:lnTo>
                    <a:lnTo>
                      <a:pt x="338" y="340"/>
                    </a:lnTo>
                    <a:lnTo>
                      <a:pt x="338" y="339"/>
                    </a:lnTo>
                    <a:lnTo>
                      <a:pt x="339" y="339"/>
                    </a:lnTo>
                    <a:lnTo>
                      <a:pt x="340" y="338"/>
                    </a:lnTo>
                    <a:lnTo>
                      <a:pt x="342" y="340"/>
                    </a:lnTo>
                    <a:lnTo>
                      <a:pt x="343" y="339"/>
                    </a:lnTo>
                    <a:lnTo>
                      <a:pt x="343" y="337"/>
                    </a:lnTo>
                    <a:lnTo>
                      <a:pt x="342" y="337"/>
                    </a:lnTo>
                    <a:lnTo>
                      <a:pt x="345" y="336"/>
                    </a:lnTo>
                    <a:lnTo>
                      <a:pt x="345" y="335"/>
                    </a:lnTo>
                    <a:lnTo>
                      <a:pt x="345" y="336"/>
                    </a:lnTo>
                    <a:lnTo>
                      <a:pt x="349" y="336"/>
                    </a:lnTo>
                    <a:lnTo>
                      <a:pt x="349" y="337"/>
                    </a:lnTo>
                    <a:lnTo>
                      <a:pt x="350" y="335"/>
                    </a:lnTo>
                    <a:lnTo>
                      <a:pt x="351" y="335"/>
                    </a:lnTo>
                    <a:lnTo>
                      <a:pt x="352" y="333"/>
                    </a:lnTo>
                    <a:lnTo>
                      <a:pt x="355" y="333"/>
                    </a:lnTo>
                    <a:lnTo>
                      <a:pt x="357" y="331"/>
                    </a:lnTo>
                    <a:lnTo>
                      <a:pt x="358" y="322"/>
                    </a:lnTo>
                    <a:lnTo>
                      <a:pt x="360" y="320"/>
                    </a:lnTo>
                    <a:lnTo>
                      <a:pt x="363" y="320"/>
                    </a:lnTo>
                    <a:lnTo>
                      <a:pt x="365" y="322"/>
                    </a:lnTo>
                    <a:lnTo>
                      <a:pt x="366" y="322"/>
                    </a:lnTo>
                    <a:lnTo>
                      <a:pt x="369" y="323"/>
                    </a:lnTo>
                    <a:lnTo>
                      <a:pt x="369" y="328"/>
                    </a:lnTo>
                    <a:lnTo>
                      <a:pt x="371" y="327"/>
                    </a:lnTo>
                    <a:lnTo>
                      <a:pt x="372" y="329"/>
                    </a:lnTo>
                    <a:lnTo>
                      <a:pt x="373" y="330"/>
                    </a:lnTo>
                    <a:lnTo>
                      <a:pt x="374" y="329"/>
                    </a:lnTo>
                    <a:lnTo>
                      <a:pt x="381" y="335"/>
                    </a:lnTo>
                    <a:lnTo>
                      <a:pt x="382" y="335"/>
                    </a:lnTo>
                    <a:lnTo>
                      <a:pt x="383" y="335"/>
                    </a:lnTo>
                    <a:lnTo>
                      <a:pt x="385" y="334"/>
                    </a:lnTo>
                    <a:lnTo>
                      <a:pt x="386" y="333"/>
                    </a:lnTo>
                    <a:lnTo>
                      <a:pt x="385" y="331"/>
                    </a:lnTo>
                    <a:lnTo>
                      <a:pt x="386" y="329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6" name="Group 104">
              <a:extLst>
                <a:ext uri="{FF2B5EF4-FFF2-40B4-BE49-F238E27FC236}">
                  <a16:creationId xmlns:a16="http://schemas.microsoft.com/office/drawing/2014/main" id="{75B4100D-B34B-6391-C9F1-2677C70DE44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5" y="3083"/>
              <a:ext cx="396" cy="548"/>
              <a:chOff x="505" y="3083"/>
              <a:chExt cx="396" cy="548"/>
            </a:xfrm>
          </p:grpSpPr>
          <p:sp>
            <p:nvSpPr>
              <p:cNvPr id="158" name="Freeform 102">
                <a:extLst>
                  <a:ext uri="{FF2B5EF4-FFF2-40B4-BE49-F238E27FC236}">
                    <a16:creationId xmlns:a16="http://schemas.microsoft.com/office/drawing/2014/main" id="{95CE252B-72B3-F064-99B0-B22400561D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" y="3083"/>
                <a:ext cx="396" cy="548"/>
              </a:xfrm>
              <a:custGeom>
                <a:avLst/>
                <a:gdLst>
                  <a:gd name="T0" fmla="*/ 386 w 396"/>
                  <a:gd name="T1" fmla="*/ 99 h 548"/>
                  <a:gd name="T2" fmla="*/ 373 w 396"/>
                  <a:gd name="T3" fmla="*/ 83 h 548"/>
                  <a:gd name="T4" fmla="*/ 353 w 396"/>
                  <a:gd name="T5" fmla="*/ 62 h 548"/>
                  <a:gd name="T6" fmla="*/ 327 w 396"/>
                  <a:gd name="T7" fmla="*/ 55 h 548"/>
                  <a:gd name="T8" fmla="*/ 323 w 396"/>
                  <a:gd name="T9" fmla="*/ 43 h 548"/>
                  <a:gd name="T10" fmla="*/ 298 w 396"/>
                  <a:gd name="T11" fmla="*/ 37 h 548"/>
                  <a:gd name="T12" fmla="*/ 292 w 396"/>
                  <a:gd name="T13" fmla="*/ 25 h 548"/>
                  <a:gd name="T14" fmla="*/ 288 w 396"/>
                  <a:gd name="T15" fmla="*/ 13 h 548"/>
                  <a:gd name="T16" fmla="*/ 276 w 396"/>
                  <a:gd name="T17" fmla="*/ 2 h 548"/>
                  <a:gd name="T18" fmla="*/ 261 w 396"/>
                  <a:gd name="T19" fmla="*/ 0 h 548"/>
                  <a:gd name="T20" fmla="*/ 256 w 396"/>
                  <a:gd name="T21" fmla="*/ 17 h 548"/>
                  <a:gd name="T22" fmla="*/ 243 w 396"/>
                  <a:gd name="T23" fmla="*/ 22 h 548"/>
                  <a:gd name="T24" fmla="*/ 230 w 396"/>
                  <a:gd name="T25" fmla="*/ 38 h 548"/>
                  <a:gd name="T26" fmla="*/ 222 w 396"/>
                  <a:gd name="T27" fmla="*/ 29 h 548"/>
                  <a:gd name="T28" fmla="*/ 206 w 396"/>
                  <a:gd name="T29" fmla="*/ 23 h 548"/>
                  <a:gd name="T30" fmla="*/ 193 w 396"/>
                  <a:gd name="T31" fmla="*/ 30 h 548"/>
                  <a:gd name="T32" fmla="*/ 175 w 396"/>
                  <a:gd name="T33" fmla="*/ 43 h 548"/>
                  <a:gd name="T34" fmla="*/ 164 w 396"/>
                  <a:gd name="T35" fmla="*/ 57 h 548"/>
                  <a:gd name="T36" fmla="*/ 147 w 396"/>
                  <a:gd name="T37" fmla="*/ 61 h 548"/>
                  <a:gd name="T38" fmla="*/ 124 w 396"/>
                  <a:gd name="T39" fmla="*/ 54 h 548"/>
                  <a:gd name="T40" fmla="*/ 104 w 396"/>
                  <a:gd name="T41" fmla="*/ 51 h 548"/>
                  <a:gd name="T42" fmla="*/ 82 w 396"/>
                  <a:gd name="T43" fmla="*/ 67 h 548"/>
                  <a:gd name="T44" fmla="*/ 61 w 396"/>
                  <a:gd name="T45" fmla="*/ 60 h 548"/>
                  <a:gd name="T46" fmla="*/ 30 w 396"/>
                  <a:gd name="T47" fmla="*/ 83 h 548"/>
                  <a:gd name="T48" fmla="*/ 21 w 396"/>
                  <a:gd name="T49" fmla="*/ 106 h 548"/>
                  <a:gd name="T50" fmla="*/ 18 w 396"/>
                  <a:gd name="T51" fmla="*/ 153 h 548"/>
                  <a:gd name="T52" fmla="*/ 26 w 396"/>
                  <a:gd name="T53" fmla="*/ 178 h 548"/>
                  <a:gd name="T54" fmla="*/ 36 w 396"/>
                  <a:gd name="T55" fmla="*/ 205 h 548"/>
                  <a:gd name="T56" fmla="*/ 49 w 396"/>
                  <a:gd name="T57" fmla="*/ 232 h 548"/>
                  <a:gd name="T58" fmla="*/ 53 w 396"/>
                  <a:gd name="T59" fmla="*/ 284 h 548"/>
                  <a:gd name="T60" fmla="*/ 90 w 396"/>
                  <a:gd name="T61" fmla="*/ 331 h 548"/>
                  <a:gd name="T62" fmla="*/ 118 w 396"/>
                  <a:gd name="T63" fmla="*/ 336 h 548"/>
                  <a:gd name="T64" fmla="*/ 144 w 396"/>
                  <a:gd name="T65" fmla="*/ 377 h 548"/>
                  <a:gd name="T66" fmla="*/ 160 w 396"/>
                  <a:gd name="T67" fmla="*/ 412 h 548"/>
                  <a:gd name="T68" fmla="*/ 204 w 396"/>
                  <a:gd name="T69" fmla="*/ 463 h 548"/>
                  <a:gd name="T70" fmla="*/ 224 w 396"/>
                  <a:gd name="T71" fmla="*/ 492 h 548"/>
                  <a:gd name="T72" fmla="*/ 236 w 396"/>
                  <a:gd name="T73" fmla="*/ 537 h 548"/>
                  <a:gd name="T74" fmla="*/ 259 w 396"/>
                  <a:gd name="T75" fmla="*/ 532 h 548"/>
                  <a:gd name="T76" fmla="*/ 275 w 396"/>
                  <a:gd name="T77" fmla="*/ 504 h 548"/>
                  <a:gd name="T78" fmla="*/ 282 w 396"/>
                  <a:gd name="T79" fmla="*/ 466 h 548"/>
                  <a:gd name="T80" fmla="*/ 292 w 396"/>
                  <a:gd name="T81" fmla="*/ 462 h 548"/>
                  <a:gd name="T82" fmla="*/ 311 w 396"/>
                  <a:gd name="T83" fmla="*/ 456 h 548"/>
                  <a:gd name="T84" fmla="*/ 320 w 396"/>
                  <a:gd name="T85" fmla="*/ 437 h 548"/>
                  <a:gd name="T86" fmla="*/ 316 w 396"/>
                  <a:gd name="T87" fmla="*/ 421 h 548"/>
                  <a:gd name="T88" fmla="*/ 327 w 396"/>
                  <a:gd name="T89" fmla="*/ 411 h 548"/>
                  <a:gd name="T90" fmla="*/ 331 w 396"/>
                  <a:gd name="T91" fmla="*/ 396 h 548"/>
                  <a:gd name="T92" fmla="*/ 343 w 396"/>
                  <a:gd name="T93" fmla="*/ 381 h 548"/>
                  <a:gd name="T94" fmla="*/ 350 w 396"/>
                  <a:gd name="T95" fmla="*/ 364 h 548"/>
                  <a:gd name="T96" fmla="*/ 345 w 396"/>
                  <a:gd name="T97" fmla="*/ 347 h 548"/>
                  <a:gd name="T98" fmla="*/ 351 w 396"/>
                  <a:gd name="T99" fmla="*/ 331 h 548"/>
                  <a:gd name="T100" fmla="*/ 349 w 396"/>
                  <a:gd name="T101" fmla="*/ 321 h 548"/>
                  <a:gd name="T102" fmla="*/ 351 w 396"/>
                  <a:gd name="T103" fmla="*/ 309 h 548"/>
                  <a:gd name="T104" fmla="*/ 348 w 396"/>
                  <a:gd name="T105" fmla="*/ 298 h 548"/>
                  <a:gd name="T106" fmla="*/ 348 w 396"/>
                  <a:gd name="T107" fmla="*/ 277 h 548"/>
                  <a:gd name="T108" fmla="*/ 349 w 396"/>
                  <a:gd name="T109" fmla="*/ 238 h 548"/>
                  <a:gd name="T110" fmla="*/ 342 w 396"/>
                  <a:gd name="T111" fmla="*/ 232 h 548"/>
                  <a:gd name="T112" fmla="*/ 344 w 396"/>
                  <a:gd name="T113" fmla="*/ 218 h 548"/>
                  <a:gd name="T114" fmla="*/ 344 w 396"/>
                  <a:gd name="T115" fmla="*/ 212 h 548"/>
                  <a:gd name="T116" fmla="*/ 347 w 396"/>
                  <a:gd name="T117" fmla="*/ 195 h 548"/>
                  <a:gd name="T118" fmla="*/ 367 w 396"/>
                  <a:gd name="T119" fmla="*/ 195 h 548"/>
                  <a:gd name="T120" fmla="*/ 379 w 396"/>
                  <a:gd name="T121" fmla="*/ 180 h 548"/>
                  <a:gd name="T122" fmla="*/ 381 w 396"/>
                  <a:gd name="T123" fmla="*/ 161 h 548"/>
                  <a:gd name="T124" fmla="*/ 386 w 396"/>
                  <a:gd name="T125" fmla="*/ 131 h 54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96"/>
                  <a:gd name="T190" fmla="*/ 0 h 548"/>
                  <a:gd name="T191" fmla="*/ 396 w 396"/>
                  <a:gd name="T192" fmla="*/ 548 h 548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96" h="548">
                    <a:moveTo>
                      <a:pt x="392" y="121"/>
                    </a:moveTo>
                    <a:lnTo>
                      <a:pt x="392" y="118"/>
                    </a:lnTo>
                    <a:lnTo>
                      <a:pt x="392" y="116"/>
                    </a:lnTo>
                    <a:lnTo>
                      <a:pt x="392" y="114"/>
                    </a:lnTo>
                    <a:lnTo>
                      <a:pt x="391" y="113"/>
                    </a:lnTo>
                    <a:lnTo>
                      <a:pt x="392" y="111"/>
                    </a:lnTo>
                    <a:lnTo>
                      <a:pt x="392" y="110"/>
                    </a:lnTo>
                    <a:lnTo>
                      <a:pt x="392" y="107"/>
                    </a:lnTo>
                    <a:lnTo>
                      <a:pt x="393" y="105"/>
                    </a:lnTo>
                    <a:lnTo>
                      <a:pt x="396" y="104"/>
                    </a:lnTo>
                    <a:lnTo>
                      <a:pt x="392" y="104"/>
                    </a:lnTo>
                    <a:lnTo>
                      <a:pt x="390" y="103"/>
                    </a:lnTo>
                    <a:lnTo>
                      <a:pt x="386" y="99"/>
                    </a:lnTo>
                    <a:lnTo>
                      <a:pt x="384" y="96"/>
                    </a:lnTo>
                    <a:lnTo>
                      <a:pt x="379" y="95"/>
                    </a:lnTo>
                    <a:lnTo>
                      <a:pt x="378" y="94"/>
                    </a:lnTo>
                    <a:lnTo>
                      <a:pt x="375" y="95"/>
                    </a:lnTo>
                    <a:lnTo>
                      <a:pt x="373" y="94"/>
                    </a:lnTo>
                    <a:lnTo>
                      <a:pt x="373" y="93"/>
                    </a:lnTo>
                    <a:lnTo>
                      <a:pt x="375" y="94"/>
                    </a:lnTo>
                    <a:lnTo>
                      <a:pt x="376" y="89"/>
                    </a:lnTo>
                    <a:lnTo>
                      <a:pt x="376" y="87"/>
                    </a:lnTo>
                    <a:lnTo>
                      <a:pt x="376" y="86"/>
                    </a:lnTo>
                    <a:lnTo>
                      <a:pt x="376" y="83"/>
                    </a:lnTo>
                    <a:lnTo>
                      <a:pt x="373" y="83"/>
                    </a:lnTo>
                    <a:lnTo>
                      <a:pt x="371" y="82"/>
                    </a:lnTo>
                    <a:lnTo>
                      <a:pt x="369" y="81"/>
                    </a:lnTo>
                    <a:lnTo>
                      <a:pt x="365" y="81"/>
                    </a:lnTo>
                    <a:lnTo>
                      <a:pt x="363" y="82"/>
                    </a:lnTo>
                    <a:lnTo>
                      <a:pt x="363" y="79"/>
                    </a:lnTo>
                    <a:lnTo>
                      <a:pt x="362" y="75"/>
                    </a:lnTo>
                    <a:lnTo>
                      <a:pt x="360" y="74"/>
                    </a:lnTo>
                    <a:lnTo>
                      <a:pt x="359" y="75"/>
                    </a:lnTo>
                    <a:lnTo>
                      <a:pt x="359" y="74"/>
                    </a:lnTo>
                    <a:lnTo>
                      <a:pt x="357" y="71"/>
                    </a:lnTo>
                    <a:lnTo>
                      <a:pt x="356" y="71"/>
                    </a:lnTo>
                    <a:lnTo>
                      <a:pt x="356" y="65"/>
                    </a:lnTo>
                    <a:lnTo>
                      <a:pt x="354" y="64"/>
                    </a:lnTo>
                    <a:lnTo>
                      <a:pt x="353" y="62"/>
                    </a:lnTo>
                    <a:lnTo>
                      <a:pt x="351" y="62"/>
                    </a:lnTo>
                    <a:lnTo>
                      <a:pt x="350" y="61"/>
                    </a:lnTo>
                    <a:lnTo>
                      <a:pt x="349" y="63"/>
                    </a:lnTo>
                    <a:lnTo>
                      <a:pt x="348" y="63"/>
                    </a:lnTo>
                    <a:lnTo>
                      <a:pt x="346" y="62"/>
                    </a:lnTo>
                    <a:lnTo>
                      <a:pt x="346" y="63"/>
                    </a:lnTo>
                    <a:lnTo>
                      <a:pt x="346" y="64"/>
                    </a:lnTo>
                    <a:lnTo>
                      <a:pt x="339" y="64"/>
                    </a:lnTo>
                    <a:lnTo>
                      <a:pt x="337" y="63"/>
                    </a:lnTo>
                    <a:lnTo>
                      <a:pt x="329" y="61"/>
                    </a:lnTo>
                    <a:lnTo>
                      <a:pt x="329" y="60"/>
                    </a:lnTo>
                    <a:lnTo>
                      <a:pt x="328" y="59"/>
                    </a:lnTo>
                    <a:lnTo>
                      <a:pt x="328" y="58"/>
                    </a:lnTo>
                    <a:lnTo>
                      <a:pt x="326" y="56"/>
                    </a:lnTo>
                    <a:lnTo>
                      <a:pt x="327" y="55"/>
                    </a:lnTo>
                    <a:lnTo>
                      <a:pt x="326" y="54"/>
                    </a:lnTo>
                    <a:lnTo>
                      <a:pt x="324" y="53"/>
                    </a:lnTo>
                    <a:lnTo>
                      <a:pt x="323" y="51"/>
                    </a:lnTo>
                    <a:lnTo>
                      <a:pt x="322" y="51"/>
                    </a:lnTo>
                    <a:lnTo>
                      <a:pt x="321" y="50"/>
                    </a:lnTo>
                    <a:lnTo>
                      <a:pt x="318" y="50"/>
                    </a:lnTo>
                    <a:lnTo>
                      <a:pt x="317" y="47"/>
                    </a:lnTo>
                    <a:lnTo>
                      <a:pt x="315" y="47"/>
                    </a:lnTo>
                    <a:lnTo>
                      <a:pt x="313" y="46"/>
                    </a:lnTo>
                    <a:lnTo>
                      <a:pt x="314" y="42"/>
                    </a:lnTo>
                    <a:lnTo>
                      <a:pt x="315" y="43"/>
                    </a:lnTo>
                    <a:lnTo>
                      <a:pt x="316" y="42"/>
                    </a:lnTo>
                    <a:lnTo>
                      <a:pt x="320" y="42"/>
                    </a:lnTo>
                    <a:lnTo>
                      <a:pt x="323" y="44"/>
                    </a:lnTo>
                    <a:lnTo>
                      <a:pt x="323" y="43"/>
                    </a:lnTo>
                    <a:lnTo>
                      <a:pt x="321" y="42"/>
                    </a:lnTo>
                    <a:lnTo>
                      <a:pt x="320" y="42"/>
                    </a:lnTo>
                    <a:lnTo>
                      <a:pt x="319" y="37"/>
                    </a:lnTo>
                    <a:lnTo>
                      <a:pt x="318" y="37"/>
                    </a:lnTo>
                    <a:lnTo>
                      <a:pt x="313" y="37"/>
                    </a:lnTo>
                    <a:lnTo>
                      <a:pt x="311" y="40"/>
                    </a:lnTo>
                    <a:lnTo>
                      <a:pt x="309" y="40"/>
                    </a:lnTo>
                    <a:lnTo>
                      <a:pt x="308" y="38"/>
                    </a:lnTo>
                    <a:lnTo>
                      <a:pt x="308" y="37"/>
                    </a:lnTo>
                    <a:lnTo>
                      <a:pt x="308" y="36"/>
                    </a:lnTo>
                    <a:lnTo>
                      <a:pt x="307" y="36"/>
                    </a:lnTo>
                    <a:lnTo>
                      <a:pt x="306" y="34"/>
                    </a:lnTo>
                    <a:lnTo>
                      <a:pt x="305" y="36"/>
                    </a:lnTo>
                    <a:lnTo>
                      <a:pt x="299" y="34"/>
                    </a:lnTo>
                    <a:lnTo>
                      <a:pt x="298" y="37"/>
                    </a:lnTo>
                    <a:lnTo>
                      <a:pt x="296" y="37"/>
                    </a:lnTo>
                    <a:lnTo>
                      <a:pt x="295" y="40"/>
                    </a:lnTo>
                    <a:lnTo>
                      <a:pt x="294" y="40"/>
                    </a:lnTo>
                    <a:lnTo>
                      <a:pt x="293" y="39"/>
                    </a:lnTo>
                    <a:lnTo>
                      <a:pt x="293" y="36"/>
                    </a:lnTo>
                    <a:lnTo>
                      <a:pt x="288" y="36"/>
                    </a:lnTo>
                    <a:lnTo>
                      <a:pt x="286" y="36"/>
                    </a:lnTo>
                    <a:lnTo>
                      <a:pt x="286" y="34"/>
                    </a:lnTo>
                    <a:lnTo>
                      <a:pt x="288" y="32"/>
                    </a:lnTo>
                    <a:lnTo>
                      <a:pt x="288" y="30"/>
                    </a:lnTo>
                    <a:lnTo>
                      <a:pt x="290" y="29"/>
                    </a:lnTo>
                    <a:lnTo>
                      <a:pt x="291" y="29"/>
                    </a:lnTo>
                    <a:lnTo>
                      <a:pt x="290" y="27"/>
                    </a:lnTo>
                    <a:lnTo>
                      <a:pt x="292" y="25"/>
                    </a:lnTo>
                    <a:lnTo>
                      <a:pt x="292" y="23"/>
                    </a:lnTo>
                    <a:lnTo>
                      <a:pt x="294" y="24"/>
                    </a:lnTo>
                    <a:lnTo>
                      <a:pt x="296" y="24"/>
                    </a:lnTo>
                    <a:lnTo>
                      <a:pt x="297" y="20"/>
                    </a:lnTo>
                    <a:lnTo>
                      <a:pt x="296" y="17"/>
                    </a:lnTo>
                    <a:lnTo>
                      <a:pt x="294" y="16"/>
                    </a:lnTo>
                    <a:lnTo>
                      <a:pt x="294" y="13"/>
                    </a:lnTo>
                    <a:lnTo>
                      <a:pt x="292" y="15"/>
                    </a:lnTo>
                    <a:lnTo>
                      <a:pt x="291" y="13"/>
                    </a:lnTo>
                    <a:lnTo>
                      <a:pt x="292" y="10"/>
                    </a:lnTo>
                    <a:lnTo>
                      <a:pt x="291" y="9"/>
                    </a:lnTo>
                    <a:lnTo>
                      <a:pt x="291" y="12"/>
                    </a:lnTo>
                    <a:lnTo>
                      <a:pt x="288" y="13"/>
                    </a:lnTo>
                    <a:lnTo>
                      <a:pt x="287" y="13"/>
                    </a:lnTo>
                    <a:lnTo>
                      <a:pt x="286" y="13"/>
                    </a:lnTo>
                    <a:lnTo>
                      <a:pt x="283" y="14"/>
                    </a:lnTo>
                    <a:lnTo>
                      <a:pt x="282" y="13"/>
                    </a:lnTo>
                    <a:lnTo>
                      <a:pt x="282" y="7"/>
                    </a:lnTo>
                    <a:lnTo>
                      <a:pt x="281" y="7"/>
                    </a:lnTo>
                    <a:lnTo>
                      <a:pt x="280" y="7"/>
                    </a:lnTo>
                    <a:lnTo>
                      <a:pt x="279" y="7"/>
                    </a:lnTo>
                    <a:lnTo>
                      <a:pt x="280" y="4"/>
                    </a:lnTo>
                    <a:lnTo>
                      <a:pt x="278" y="3"/>
                    </a:lnTo>
                    <a:lnTo>
                      <a:pt x="278" y="2"/>
                    </a:lnTo>
                    <a:lnTo>
                      <a:pt x="280" y="2"/>
                    </a:lnTo>
                    <a:lnTo>
                      <a:pt x="279" y="1"/>
                    </a:lnTo>
                    <a:lnTo>
                      <a:pt x="277" y="2"/>
                    </a:lnTo>
                    <a:lnTo>
                      <a:pt x="276" y="2"/>
                    </a:lnTo>
                    <a:lnTo>
                      <a:pt x="275" y="3"/>
                    </a:lnTo>
                    <a:lnTo>
                      <a:pt x="275" y="6"/>
                    </a:lnTo>
                    <a:lnTo>
                      <a:pt x="273" y="6"/>
                    </a:lnTo>
                    <a:lnTo>
                      <a:pt x="272" y="7"/>
                    </a:lnTo>
                    <a:lnTo>
                      <a:pt x="270" y="7"/>
                    </a:lnTo>
                    <a:lnTo>
                      <a:pt x="271" y="3"/>
                    </a:lnTo>
                    <a:lnTo>
                      <a:pt x="271" y="0"/>
                    </a:lnTo>
                    <a:lnTo>
                      <a:pt x="270" y="0"/>
                    </a:lnTo>
                    <a:lnTo>
                      <a:pt x="270" y="1"/>
                    </a:lnTo>
                    <a:lnTo>
                      <a:pt x="265" y="0"/>
                    </a:lnTo>
                    <a:lnTo>
                      <a:pt x="264" y="0"/>
                    </a:lnTo>
                    <a:lnTo>
                      <a:pt x="264" y="1"/>
                    </a:lnTo>
                    <a:lnTo>
                      <a:pt x="263" y="2"/>
                    </a:lnTo>
                    <a:lnTo>
                      <a:pt x="262" y="1"/>
                    </a:lnTo>
                    <a:lnTo>
                      <a:pt x="261" y="0"/>
                    </a:lnTo>
                    <a:lnTo>
                      <a:pt x="259" y="0"/>
                    </a:lnTo>
                    <a:lnTo>
                      <a:pt x="261" y="1"/>
                    </a:lnTo>
                    <a:lnTo>
                      <a:pt x="261" y="2"/>
                    </a:lnTo>
                    <a:lnTo>
                      <a:pt x="257" y="9"/>
                    </a:lnTo>
                    <a:lnTo>
                      <a:pt x="258" y="11"/>
                    </a:lnTo>
                    <a:lnTo>
                      <a:pt x="261" y="10"/>
                    </a:lnTo>
                    <a:lnTo>
                      <a:pt x="261" y="12"/>
                    </a:lnTo>
                    <a:lnTo>
                      <a:pt x="262" y="12"/>
                    </a:lnTo>
                    <a:lnTo>
                      <a:pt x="262" y="14"/>
                    </a:lnTo>
                    <a:lnTo>
                      <a:pt x="261" y="15"/>
                    </a:lnTo>
                    <a:lnTo>
                      <a:pt x="260" y="18"/>
                    </a:lnTo>
                    <a:lnTo>
                      <a:pt x="257" y="19"/>
                    </a:lnTo>
                    <a:lnTo>
                      <a:pt x="256" y="17"/>
                    </a:lnTo>
                    <a:lnTo>
                      <a:pt x="255" y="17"/>
                    </a:lnTo>
                    <a:lnTo>
                      <a:pt x="256" y="20"/>
                    </a:lnTo>
                    <a:lnTo>
                      <a:pt x="256" y="21"/>
                    </a:lnTo>
                    <a:lnTo>
                      <a:pt x="254" y="20"/>
                    </a:lnTo>
                    <a:lnTo>
                      <a:pt x="252" y="21"/>
                    </a:lnTo>
                    <a:lnTo>
                      <a:pt x="249" y="20"/>
                    </a:lnTo>
                    <a:lnTo>
                      <a:pt x="249" y="23"/>
                    </a:lnTo>
                    <a:lnTo>
                      <a:pt x="247" y="23"/>
                    </a:lnTo>
                    <a:lnTo>
                      <a:pt x="247" y="20"/>
                    </a:lnTo>
                    <a:lnTo>
                      <a:pt x="246" y="23"/>
                    </a:lnTo>
                    <a:lnTo>
                      <a:pt x="245" y="22"/>
                    </a:lnTo>
                    <a:lnTo>
                      <a:pt x="244" y="20"/>
                    </a:lnTo>
                    <a:lnTo>
                      <a:pt x="242" y="20"/>
                    </a:lnTo>
                    <a:lnTo>
                      <a:pt x="243" y="22"/>
                    </a:lnTo>
                    <a:lnTo>
                      <a:pt x="242" y="23"/>
                    </a:lnTo>
                    <a:lnTo>
                      <a:pt x="241" y="24"/>
                    </a:lnTo>
                    <a:lnTo>
                      <a:pt x="242" y="24"/>
                    </a:lnTo>
                    <a:lnTo>
                      <a:pt x="244" y="26"/>
                    </a:lnTo>
                    <a:lnTo>
                      <a:pt x="242" y="26"/>
                    </a:lnTo>
                    <a:lnTo>
                      <a:pt x="244" y="32"/>
                    </a:lnTo>
                    <a:lnTo>
                      <a:pt x="244" y="33"/>
                    </a:lnTo>
                    <a:lnTo>
                      <a:pt x="242" y="33"/>
                    </a:lnTo>
                    <a:lnTo>
                      <a:pt x="239" y="37"/>
                    </a:lnTo>
                    <a:lnTo>
                      <a:pt x="239" y="41"/>
                    </a:lnTo>
                    <a:lnTo>
                      <a:pt x="241" y="44"/>
                    </a:lnTo>
                    <a:lnTo>
                      <a:pt x="239" y="45"/>
                    </a:lnTo>
                    <a:lnTo>
                      <a:pt x="237" y="46"/>
                    </a:lnTo>
                    <a:lnTo>
                      <a:pt x="233" y="43"/>
                    </a:lnTo>
                    <a:lnTo>
                      <a:pt x="230" y="38"/>
                    </a:lnTo>
                    <a:lnTo>
                      <a:pt x="228" y="36"/>
                    </a:lnTo>
                    <a:lnTo>
                      <a:pt x="228" y="35"/>
                    </a:lnTo>
                    <a:lnTo>
                      <a:pt x="228" y="33"/>
                    </a:lnTo>
                    <a:lnTo>
                      <a:pt x="227" y="37"/>
                    </a:lnTo>
                    <a:lnTo>
                      <a:pt x="226" y="36"/>
                    </a:lnTo>
                    <a:lnTo>
                      <a:pt x="226" y="34"/>
                    </a:lnTo>
                    <a:lnTo>
                      <a:pt x="226" y="33"/>
                    </a:lnTo>
                    <a:lnTo>
                      <a:pt x="225" y="33"/>
                    </a:lnTo>
                    <a:lnTo>
                      <a:pt x="225" y="32"/>
                    </a:lnTo>
                    <a:lnTo>
                      <a:pt x="224" y="32"/>
                    </a:lnTo>
                    <a:lnTo>
                      <a:pt x="223" y="30"/>
                    </a:lnTo>
                    <a:lnTo>
                      <a:pt x="223" y="31"/>
                    </a:lnTo>
                    <a:lnTo>
                      <a:pt x="222" y="31"/>
                    </a:lnTo>
                    <a:lnTo>
                      <a:pt x="222" y="29"/>
                    </a:lnTo>
                    <a:lnTo>
                      <a:pt x="221" y="29"/>
                    </a:lnTo>
                    <a:lnTo>
                      <a:pt x="218" y="28"/>
                    </a:lnTo>
                    <a:lnTo>
                      <a:pt x="219" y="28"/>
                    </a:lnTo>
                    <a:lnTo>
                      <a:pt x="219" y="26"/>
                    </a:lnTo>
                    <a:lnTo>
                      <a:pt x="216" y="28"/>
                    </a:lnTo>
                    <a:lnTo>
                      <a:pt x="214" y="27"/>
                    </a:lnTo>
                    <a:lnTo>
                      <a:pt x="214" y="28"/>
                    </a:lnTo>
                    <a:lnTo>
                      <a:pt x="213" y="26"/>
                    </a:lnTo>
                    <a:lnTo>
                      <a:pt x="211" y="28"/>
                    </a:lnTo>
                    <a:lnTo>
                      <a:pt x="209" y="25"/>
                    </a:lnTo>
                    <a:lnTo>
                      <a:pt x="208" y="26"/>
                    </a:lnTo>
                    <a:lnTo>
                      <a:pt x="207" y="25"/>
                    </a:lnTo>
                    <a:lnTo>
                      <a:pt x="207" y="23"/>
                    </a:lnTo>
                    <a:lnTo>
                      <a:pt x="206" y="23"/>
                    </a:lnTo>
                    <a:lnTo>
                      <a:pt x="206" y="20"/>
                    </a:lnTo>
                    <a:lnTo>
                      <a:pt x="204" y="23"/>
                    </a:lnTo>
                    <a:lnTo>
                      <a:pt x="203" y="23"/>
                    </a:lnTo>
                    <a:lnTo>
                      <a:pt x="201" y="24"/>
                    </a:lnTo>
                    <a:lnTo>
                      <a:pt x="201" y="23"/>
                    </a:lnTo>
                    <a:lnTo>
                      <a:pt x="201" y="24"/>
                    </a:lnTo>
                    <a:lnTo>
                      <a:pt x="201" y="28"/>
                    </a:lnTo>
                    <a:lnTo>
                      <a:pt x="199" y="28"/>
                    </a:lnTo>
                    <a:lnTo>
                      <a:pt x="197" y="26"/>
                    </a:lnTo>
                    <a:lnTo>
                      <a:pt x="196" y="29"/>
                    </a:lnTo>
                    <a:lnTo>
                      <a:pt x="198" y="29"/>
                    </a:lnTo>
                    <a:lnTo>
                      <a:pt x="198" y="30"/>
                    </a:lnTo>
                    <a:lnTo>
                      <a:pt x="196" y="32"/>
                    </a:lnTo>
                    <a:lnTo>
                      <a:pt x="193" y="30"/>
                    </a:lnTo>
                    <a:lnTo>
                      <a:pt x="192" y="31"/>
                    </a:lnTo>
                    <a:lnTo>
                      <a:pt x="191" y="33"/>
                    </a:lnTo>
                    <a:lnTo>
                      <a:pt x="190" y="34"/>
                    </a:lnTo>
                    <a:lnTo>
                      <a:pt x="187" y="33"/>
                    </a:lnTo>
                    <a:lnTo>
                      <a:pt x="187" y="35"/>
                    </a:lnTo>
                    <a:lnTo>
                      <a:pt x="186" y="36"/>
                    </a:lnTo>
                    <a:lnTo>
                      <a:pt x="184" y="36"/>
                    </a:lnTo>
                    <a:lnTo>
                      <a:pt x="182" y="37"/>
                    </a:lnTo>
                    <a:lnTo>
                      <a:pt x="182" y="38"/>
                    </a:lnTo>
                    <a:lnTo>
                      <a:pt x="181" y="40"/>
                    </a:lnTo>
                    <a:lnTo>
                      <a:pt x="180" y="37"/>
                    </a:lnTo>
                    <a:lnTo>
                      <a:pt x="176" y="37"/>
                    </a:lnTo>
                    <a:lnTo>
                      <a:pt x="176" y="43"/>
                    </a:lnTo>
                    <a:lnTo>
                      <a:pt x="175" y="43"/>
                    </a:lnTo>
                    <a:lnTo>
                      <a:pt x="176" y="42"/>
                    </a:lnTo>
                    <a:lnTo>
                      <a:pt x="174" y="41"/>
                    </a:lnTo>
                    <a:lnTo>
                      <a:pt x="172" y="43"/>
                    </a:lnTo>
                    <a:lnTo>
                      <a:pt x="169" y="42"/>
                    </a:lnTo>
                    <a:lnTo>
                      <a:pt x="166" y="42"/>
                    </a:lnTo>
                    <a:lnTo>
                      <a:pt x="164" y="43"/>
                    </a:lnTo>
                    <a:lnTo>
                      <a:pt x="163" y="46"/>
                    </a:lnTo>
                    <a:lnTo>
                      <a:pt x="166" y="51"/>
                    </a:lnTo>
                    <a:lnTo>
                      <a:pt x="166" y="53"/>
                    </a:lnTo>
                    <a:lnTo>
                      <a:pt x="164" y="52"/>
                    </a:lnTo>
                    <a:lnTo>
                      <a:pt x="163" y="53"/>
                    </a:lnTo>
                    <a:lnTo>
                      <a:pt x="164" y="53"/>
                    </a:lnTo>
                    <a:lnTo>
                      <a:pt x="163" y="54"/>
                    </a:lnTo>
                    <a:lnTo>
                      <a:pt x="164" y="55"/>
                    </a:lnTo>
                    <a:lnTo>
                      <a:pt x="164" y="57"/>
                    </a:lnTo>
                    <a:lnTo>
                      <a:pt x="163" y="59"/>
                    </a:lnTo>
                    <a:lnTo>
                      <a:pt x="162" y="60"/>
                    </a:lnTo>
                    <a:lnTo>
                      <a:pt x="161" y="59"/>
                    </a:lnTo>
                    <a:lnTo>
                      <a:pt x="160" y="60"/>
                    </a:lnTo>
                    <a:lnTo>
                      <a:pt x="158" y="61"/>
                    </a:lnTo>
                    <a:lnTo>
                      <a:pt x="156" y="63"/>
                    </a:lnTo>
                    <a:lnTo>
                      <a:pt x="155" y="63"/>
                    </a:lnTo>
                    <a:lnTo>
                      <a:pt x="155" y="64"/>
                    </a:lnTo>
                    <a:lnTo>
                      <a:pt x="153" y="63"/>
                    </a:lnTo>
                    <a:lnTo>
                      <a:pt x="153" y="66"/>
                    </a:lnTo>
                    <a:lnTo>
                      <a:pt x="152" y="66"/>
                    </a:lnTo>
                    <a:lnTo>
                      <a:pt x="148" y="63"/>
                    </a:lnTo>
                    <a:lnTo>
                      <a:pt x="147" y="61"/>
                    </a:lnTo>
                    <a:lnTo>
                      <a:pt x="147" y="60"/>
                    </a:lnTo>
                    <a:lnTo>
                      <a:pt x="145" y="59"/>
                    </a:lnTo>
                    <a:lnTo>
                      <a:pt x="143" y="58"/>
                    </a:lnTo>
                    <a:lnTo>
                      <a:pt x="139" y="62"/>
                    </a:lnTo>
                    <a:lnTo>
                      <a:pt x="136" y="60"/>
                    </a:lnTo>
                    <a:lnTo>
                      <a:pt x="133" y="60"/>
                    </a:lnTo>
                    <a:lnTo>
                      <a:pt x="132" y="61"/>
                    </a:lnTo>
                    <a:lnTo>
                      <a:pt x="132" y="58"/>
                    </a:lnTo>
                    <a:lnTo>
                      <a:pt x="130" y="55"/>
                    </a:lnTo>
                    <a:lnTo>
                      <a:pt x="127" y="57"/>
                    </a:lnTo>
                    <a:lnTo>
                      <a:pt x="125" y="55"/>
                    </a:lnTo>
                    <a:lnTo>
                      <a:pt x="125" y="57"/>
                    </a:lnTo>
                    <a:lnTo>
                      <a:pt x="124" y="57"/>
                    </a:lnTo>
                    <a:lnTo>
                      <a:pt x="123" y="55"/>
                    </a:lnTo>
                    <a:lnTo>
                      <a:pt x="124" y="54"/>
                    </a:lnTo>
                    <a:lnTo>
                      <a:pt x="123" y="54"/>
                    </a:lnTo>
                    <a:lnTo>
                      <a:pt x="123" y="53"/>
                    </a:lnTo>
                    <a:lnTo>
                      <a:pt x="122" y="52"/>
                    </a:lnTo>
                    <a:lnTo>
                      <a:pt x="120" y="52"/>
                    </a:lnTo>
                    <a:lnTo>
                      <a:pt x="119" y="50"/>
                    </a:lnTo>
                    <a:lnTo>
                      <a:pt x="117" y="50"/>
                    </a:lnTo>
                    <a:lnTo>
                      <a:pt x="116" y="52"/>
                    </a:lnTo>
                    <a:lnTo>
                      <a:pt x="114" y="53"/>
                    </a:lnTo>
                    <a:lnTo>
                      <a:pt x="112" y="54"/>
                    </a:lnTo>
                    <a:lnTo>
                      <a:pt x="111" y="53"/>
                    </a:lnTo>
                    <a:lnTo>
                      <a:pt x="110" y="51"/>
                    </a:lnTo>
                    <a:lnTo>
                      <a:pt x="109" y="52"/>
                    </a:lnTo>
                    <a:lnTo>
                      <a:pt x="109" y="53"/>
                    </a:lnTo>
                    <a:lnTo>
                      <a:pt x="106" y="53"/>
                    </a:lnTo>
                    <a:lnTo>
                      <a:pt x="104" y="51"/>
                    </a:lnTo>
                    <a:lnTo>
                      <a:pt x="104" y="53"/>
                    </a:lnTo>
                    <a:lnTo>
                      <a:pt x="100" y="56"/>
                    </a:lnTo>
                    <a:lnTo>
                      <a:pt x="98" y="56"/>
                    </a:lnTo>
                    <a:lnTo>
                      <a:pt x="96" y="54"/>
                    </a:lnTo>
                    <a:lnTo>
                      <a:pt x="93" y="53"/>
                    </a:lnTo>
                    <a:lnTo>
                      <a:pt x="92" y="53"/>
                    </a:lnTo>
                    <a:lnTo>
                      <a:pt x="94" y="56"/>
                    </a:lnTo>
                    <a:lnTo>
                      <a:pt x="94" y="60"/>
                    </a:lnTo>
                    <a:lnTo>
                      <a:pt x="89" y="59"/>
                    </a:lnTo>
                    <a:lnTo>
                      <a:pt x="84" y="60"/>
                    </a:lnTo>
                    <a:lnTo>
                      <a:pt x="85" y="62"/>
                    </a:lnTo>
                    <a:lnTo>
                      <a:pt x="85" y="66"/>
                    </a:lnTo>
                    <a:lnTo>
                      <a:pt x="85" y="68"/>
                    </a:lnTo>
                    <a:lnTo>
                      <a:pt x="82" y="67"/>
                    </a:lnTo>
                    <a:lnTo>
                      <a:pt x="82" y="66"/>
                    </a:lnTo>
                    <a:lnTo>
                      <a:pt x="82" y="65"/>
                    </a:lnTo>
                    <a:lnTo>
                      <a:pt x="82" y="59"/>
                    </a:lnTo>
                    <a:lnTo>
                      <a:pt x="80" y="57"/>
                    </a:lnTo>
                    <a:lnTo>
                      <a:pt x="76" y="54"/>
                    </a:lnTo>
                    <a:lnTo>
                      <a:pt x="71" y="54"/>
                    </a:lnTo>
                    <a:lnTo>
                      <a:pt x="71" y="56"/>
                    </a:lnTo>
                    <a:lnTo>
                      <a:pt x="70" y="55"/>
                    </a:lnTo>
                    <a:lnTo>
                      <a:pt x="70" y="57"/>
                    </a:lnTo>
                    <a:lnTo>
                      <a:pt x="68" y="57"/>
                    </a:lnTo>
                    <a:lnTo>
                      <a:pt x="66" y="57"/>
                    </a:lnTo>
                    <a:lnTo>
                      <a:pt x="66" y="62"/>
                    </a:lnTo>
                    <a:lnTo>
                      <a:pt x="63" y="60"/>
                    </a:lnTo>
                    <a:lnTo>
                      <a:pt x="62" y="63"/>
                    </a:lnTo>
                    <a:lnTo>
                      <a:pt x="61" y="60"/>
                    </a:lnTo>
                    <a:lnTo>
                      <a:pt x="58" y="57"/>
                    </a:lnTo>
                    <a:lnTo>
                      <a:pt x="54" y="57"/>
                    </a:lnTo>
                    <a:lnTo>
                      <a:pt x="50" y="55"/>
                    </a:lnTo>
                    <a:lnTo>
                      <a:pt x="49" y="59"/>
                    </a:lnTo>
                    <a:lnTo>
                      <a:pt x="47" y="61"/>
                    </a:lnTo>
                    <a:lnTo>
                      <a:pt x="46" y="61"/>
                    </a:lnTo>
                    <a:lnTo>
                      <a:pt x="41" y="64"/>
                    </a:lnTo>
                    <a:lnTo>
                      <a:pt x="40" y="66"/>
                    </a:lnTo>
                    <a:lnTo>
                      <a:pt x="40" y="70"/>
                    </a:lnTo>
                    <a:lnTo>
                      <a:pt x="38" y="72"/>
                    </a:lnTo>
                    <a:lnTo>
                      <a:pt x="37" y="75"/>
                    </a:lnTo>
                    <a:lnTo>
                      <a:pt x="33" y="75"/>
                    </a:lnTo>
                    <a:lnTo>
                      <a:pt x="32" y="84"/>
                    </a:lnTo>
                    <a:lnTo>
                      <a:pt x="31" y="83"/>
                    </a:lnTo>
                    <a:lnTo>
                      <a:pt x="30" y="83"/>
                    </a:lnTo>
                    <a:lnTo>
                      <a:pt x="29" y="81"/>
                    </a:lnTo>
                    <a:lnTo>
                      <a:pt x="28" y="81"/>
                    </a:lnTo>
                    <a:lnTo>
                      <a:pt x="26" y="83"/>
                    </a:lnTo>
                    <a:lnTo>
                      <a:pt x="24" y="85"/>
                    </a:lnTo>
                    <a:lnTo>
                      <a:pt x="25" y="89"/>
                    </a:lnTo>
                    <a:lnTo>
                      <a:pt x="24" y="91"/>
                    </a:lnTo>
                    <a:lnTo>
                      <a:pt x="23" y="94"/>
                    </a:lnTo>
                    <a:lnTo>
                      <a:pt x="21" y="94"/>
                    </a:lnTo>
                    <a:lnTo>
                      <a:pt x="21" y="95"/>
                    </a:lnTo>
                    <a:lnTo>
                      <a:pt x="22" y="100"/>
                    </a:lnTo>
                    <a:lnTo>
                      <a:pt x="20" y="102"/>
                    </a:lnTo>
                    <a:lnTo>
                      <a:pt x="22" y="104"/>
                    </a:lnTo>
                    <a:lnTo>
                      <a:pt x="22" y="106"/>
                    </a:lnTo>
                    <a:lnTo>
                      <a:pt x="21" y="107"/>
                    </a:lnTo>
                    <a:lnTo>
                      <a:pt x="21" y="106"/>
                    </a:lnTo>
                    <a:lnTo>
                      <a:pt x="2" y="114"/>
                    </a:lnTo>
                    <a:lnTo>
                      <a:pt x="0" y="118"/>
                    </a:lnTo>
                    <a:lnTo>
                      <a:pt x="1" y="121"/>
                    </a:lnTo>
                    <a:lnTo>
                      <a:pt x="0" y="123"/>
                    </a:lnTo>
                    <a:lnTo>
                      <a:pt x="1" y="125"/>
                    </a:lnTo>
                    <a:lnTo>
                      <a:pt x="2" y="127"/>
                    </a:lnTo>
                    <a:lnTo>
                      <a:pt x="1" y="128"/>
                    </a:lnTo>
                    <a:lnTo>
                      <a:pt x="5" y="130"/>
                    </a:lnTo>
                    <a:lnTo>
                      <a:pt x="5" y="131"/>
                    </a:lnTo>
                    <a:lnTo>
                      <a:pt x="5" y="134"/>
                    </a:lnTo>
                    <a:lnTo>
                      <a:pt x="7" y="142"/>
                    </a:lnTo>
                    <a:lnTo>
                      <a:pt x="9" y="144"/>
                    </a:lnTo>
                    <a:lnTo>
                      <a:pt x="12" y="145"/>
                    </a:lnTo>
                    <a:lnTo>
                      <a:pt x="18" y="150"/>
                    </a:lnTo>
                    <a:lnTo>
                      <a:pt x="18" y="153"/>
                    </a:lnTo>
                    <a:lnTo>
                      <a:pt x="21" y="154"/>
                    </a:lnTo>
                    <a:lnTo>
                      <a:pt x="22" y="154"/>
                    </a:lnTo>
                    <a:lnTo>
                      <a:pt x="23" y="155"/>
                    </a:lnTo>
                    <a:lnTo>
                      <a:pt x="26" y="154"/>
                    </a:lnTo>
                    <a:lnTo>
                      <a:pt x="28" y="155"/>
                    </a:lnTo>
                    <a:lnTo>
                      <a:pt x="27" y="159"/>
                    </a:lnTo>
                    <a:lnTo>
                      <a:pt x="29" y="165"/>
                    </a:lnTo>
                    <a:lnTo>
                      <a:pt x="26" y="168"/>
                    </a:lnTo>
                    <a:lnTo>
                      <a:pt x="27" y="171"/>
                    </a:lnTo>
                    <a:lnTo>
                      <a:pt x="24" y="173"/>
                    </a:lnTo>
                    <a:lnTo>
                      <a:pt x="24" y="174"/>
                    </a:lnTo>
                    <a:lnTo>
                      <a:pt x="24" y="175"/>
                    </a:lnTo>
                    <a:lnTo>
                      <a:pt x="26" y="176"/>
                    </a:lnTo>
                    <a:lnTo>
                      <a:pt x="27" y="177"/>
                    </a:lnTo>
                    <a:lnTo>
                      <a:pt x="26" y="178"/>
                    </a:lnTo>
                    <a:lnTo>
                      <a:pt x="24" y="180"/>
                    </a:lnTo>
                    <a:lnTo>
                      <a:pt x="24" y="183"/>
                    </a:lnTo>
                    <a:lnTo>
                      <a:pt x="27" y="184"/>
                    </a:lnTo>
                    <a:lnTo>
                      <a:pt x="27" y="185"/>
                    </a:lnTo>
                    <a:lnTo>
                      <a:pt x="25" y="185"/>
                    </a:lnTo>
                    <a:lnTo>
                      <a:pt x="25" y="187"/>
                    </a:lnTo>
                    <a:lnTo>
                      <a:pt x="27" y="188"/>
                    </a:lnTo>
                    <a:lnTo>
                      <a:pt x="30" y="187"/>
                    </a:lnTo>
                    <a:lnTo>
                      <a:pt x="33" y="187"/>
                    </a:lnTo>
                    <a:lnTo>
                      <a:pt x="34" y="188"/>
                    </a:lnTo>
                    <a:lnTo>
                      <a:pt x="33" y="189"/>
                    </a:lnTo>
                    <a:lnTo>
                      <a:pt x="32" y="190"/>
                    </a:lnTo>
                    <a:lnTo>
                      <a:pt x="34" y="193"/>
                    </a:lnTo>
                    <a:lnTo>
                      <a:pt x="33" y="199"/>
                    </a:lnTo>
                    <a:lnTo>
                      <a:pt x="36" y="205"/>
                    </a:lnTo>
                    <a:lnTo>
                      <a:pt x="34" y="212"/>
                    </a:lnTo>
                    <a:lnTo>
                      <a:pt x="34" y="217"/>
                    </a:lnTo>
                    <a:lnTo>
                      <a:pt x="35" y="219"/>
                    </a:lnTo>
                    <a:lnTo>
                      <a:pt x="35" y="222"/>
                    </a:lnTo>
                    <a:lnTo>
                      <a:pt x="37" y="225"/>
                    </a:lnTo>
                    <a:lnTo>
                      <a:pt x="38" y="226"/>
                    </a:lnTo>
                    <a:lnTo>
                      <a:pt x="36" y="228"/>
                    </a:lnTo>
                    <a:lnTo>
                      <a:pt x="40" y="232"/>
                    </a:lnTo>
                    <a:lnTo>
                      <a:pt x="42" y="232"/>
                    </a:lnTo>
                    <a:lnTo>
                      <a:pt x="42" y="234"/>
                    </a:lnTo>
                    <a:lnTo>
                      <a:pt x="43" y="233"/>
                    </a:lnTo>
                    <a:lnTo>
                      <a:pt x="44" y="234"/>
                    </a:lnTo>
                    <a:lnTo>
                      <a:pt x="46" y="234"/>
                    </a:lnTo>
                    <a:lnTo>
                      <a:pt x="47" y="233"/>
                    </a:lnTo>
                    <a:lnTo>
                      <a:pt x="49" y="232"/>
                    </a:lnTo>
                    <a:lnTo>
                      <a:pt x="50" y="238"/>
                    </a:lnTo>
                    <a:lnTo>
                      <a:pt x="49" y="239"/>
                    </a:lnTo>
                    <a:lnTo>
                      <a:pt x="49" y="243"/>
                    </a:lnTo>
                    <a:lnTo>
                      <a:pt x="47" y="247"/>
                    </a:lnTo>
                    <a:lnTo>
                      <a:pt x="48" y="251"/>
                    </a:lnTo>
                    <a:lnTo>
                      <a:pt x="47" y="254"/>
                    </a:lnTo>
                    <a:lnTo>
                      <a:pt x="43" y="259"/>
                    </a:lnTo>
                    <a:lnTo>
                      <a:pt x="45" y="259"/>
                    </a:lnTo>
                    <a:lnTo>
                      <a:pt x="46" y="262"/>
                    </a:lnTo>
                    <a:lnTo>
                      <a:pt x="47" y="263"/>
                    </a:lnTo>
                    <a:lnTo>
                      <a:pt x="49" y="271"/>
                    </a:lnTo>
                    <a:lnTo>
                      <a:pt x="48" y="272"/>
                    </a:lnTo>
                    <a:lnTo>
                      <a:pt x="48" y="277"/>
                    </a:lnTo>
                    <a:lnTo>
                      <a:pt x="47" y="279"/>
                    </a:lnTo>
                    <a:lnTo>
                      <a:pt x="53" y="284"/>
                    </a:lnTo>
                    <a:lnTo>
                      <a:pt x="61" y="286"/>
                    </a:lnTo>
                    <a:lnTo>
                      <a:pt x="62" y="291"/>
                    </a:lnTo>
                    <a:lnTo>
                      <a:pt x="66" y="294"/>
                    </a:lnTo>
                    <a:lnTo>
                      <a:pt x="72" y="302"/>
                    </a:lnTo>
                    <a:lnTo>
                      <a:pt x="72" y="308"/>
                    </a:lnTo>
                    <a:lnTo>
                      <a:pt x="71" y="312"/>
                    </a:lnTo>
                    <a:lnTo>
                      <a:pt x="73" y="317"/>
                    </a:lnTo>
                    <a:lnTo>
                      <a:pt x="75" y="318"/>
                    </a:lnTo>
                    <a:lnTo>
                      <a:pt x="76" y="320"/>
                    </a:lnTo>
                    <a:lnTo>
                      <a:pt x="74" y="324"/>
                    </a:lnTo>
                    <a:lnTo>
                      <a:pt x="74" y="325"/>
                    </a:lnTo>
                    <a:lnTo>
                      <a:pt x="76" y="326"/>
                    </a:lnTo>
                    <a:lnTo>
                      <a:pt x="79" y="329"/>
                    </a:lnTo>
                    <a:lnTo>
                      <a:pt x="83" y="330"/>
                    </a:lnTo>
                    <a:lnTo>
                      <a:pt x="90" y="331"/>
                    </a:lnTo>
                    <a:lnTo>
                      <a:pt x="92" y="331"/>
                    </a:lnTo>
                    <a:lnTo>
                      <a:pt x="92" y="330"/>
                    </a:lnTo>
                    <a:lnTo>
                      <a:pt x="93" y="330"/>
                    </a:lnTo>
                    <a:lnTo>
                      <a:pt x="94" y="333"/>
                    </a:lnTo>
                    <a:lnTo>
                      <a:pt x="96" y="333"/>
                    </a:lnTo>
                    <a:lnTo>
                      <a:pt x="100" y="337"/>
                    </a:lnTo>
                    <a:lnTo>
                      <a:pt x="103" y="338"/>
                    </a:lnTo>
                    <a:lnTo>
                      <a:pt x="103" y="334"/>
                    </a:lnTo>
                    <a:lnTo>
                      <a:pt x="103" y="332"/>
                    </a:lnTo>
                    <a:lnTo>
                      <a:pt x="103" y="329"/>
                    </a:lnTo>
                    <a:lnTo>
                      <a:pt x="109" y="331"/>
                    </a:lnTo>
                    <a:lnTo>
                      <a:pt x="111" y="333"/>
                    </a:lnTo>
                    <a:lnTo>
                      <a:pt x="112" y="334"/>
                    </a:lnTo>
                    <a:lnTo>
                      <a:pt x="115" y="333"/>
                    </a:lnTo>
                    <a:lnTo>
                      <a:pt x="118" y="336"/>
                    </a:lnTo>
                    <a:lnTo>
                      <a:pt x="120" y="336"/>
                    </a:lnTo>
                    <a:lnTo>
                      <a:pt x="121" y="336"/>
                    </a:lnTo>
                    <a:lnTo>
                      <a:pt x="123" y="339"/>
                    </a:lnTo>
                    <a:lnTo>
                      <a:pt x="124" y="339"/>
                    </a:lnTo>
                    <a:lnTo>
                      <a:pt x="127" y="341"/>
                    </a:lnTo>
                    <a:lnTo>
                      <a:pt x="130" y="347"/>
                    </a:lnTo>
                    <a:lnTo>
                      <a:pt x="131" y="350"/>
                    </a:lnTo>
                    <a:lnTo>
                      <a:pt x="133" y="353"/>
                    </a:lnTo>
                    <a:lnTo>
                      <a:pt x="134" y="356"/>
                    </a:lnTo>
                    <a:lnTo>
                      <a:pt x="139" y="358"/>
                    </a:lnTo>
                    <a:lnTo>
                      <a:pt x="139" y="366"/>
                    </a:lnTo>
                    <a:lnTo>
                      <a:pt x="138" y="366"/>
                    </a:lnTo>
                    <a:lnTo>
                      <a:pt x="137" y="369"/>
                    </a:lnTo>
                    <a:lnTo>
                      <a:pt x="138" y="376"/>
                    </a:lnTo>
                    <a:lnTo>
                      <a:pt x="144" y="377"/>
                    </a:lnTo>
                    <a:lnTo>
                      <a:pt x="144" y="379"/>
                    </a:lnTo>
                    <a:lnTo>
                      <a:pt x="144" y="381"/>
                    </a:lnTo>
                    <a:lnTo>
                      <a:pt x="144" y="383"/>
                    </a:lnTo>
                    <a:lnTo>
                      <a:pt x="146" y="384"/>
                    </a:lnTo>
                    <a:lnTo>
                      <a:pt x="147" y="387"/>
                    </a:lnTo>
                    <a:lnTo>
                      <a:pt x="150" y="387"/>
                    </a:lnTo>
                    <a:lnTo>
                      <a:pt x="151" y="389"/>
                    </a:lnTo>
                    <a:lnTo>
                      <a:pt x="152" y="391"/>
                    </a:lnTo>
                    <a:lnTo>
                      <a:pt x="150" y="395"/>
                    </a:lnTo>
                    <a:lnTo>
                      <a:pt x="157" y="402"/>
                    </a:lnTo>
                    <a:lnTo>
                      <a:pt x="156" y="405"/>
                    </a:lnTo>
                    <a:lnTo>
                      <a:pt x="155" y="407"/>
                    </a:lnTo>
                    <a:lnTo>
                      <a:pt x="155" y="408"/>
                    </a:lnTo>
                    <a:lnTo>
                      <a:pt x="158" y="412"/>
                    </a:lnTo>
                    <a:lnTo>
                      <a:pt x="160" y="412"/>
                    </a:lnTo>
                    <a:lnTo>
                      <a:pt x="162" y="415"/>
                    </a:lnTo>
                    <a:lnTo>
                      <a:pt x="163" y="416"/>
                    </a:lnTo>
                    <a:lnTo>
                      <a:pt x="164" y="419"/>
                    </a:lnTo>
                    <a:lnTo>
                      <a:pt x="168" y="424"/>
                    </a:lnTo>
                    <a:lnTo>
                      <a:pt x="170" y="425"/>
                    </a:lnTo>
                    <a:lnTo>
                      <a:pt x="171" y="427"/>
                    </a:lnTo>
                    <a:lnTo>
                      <a:pt x="171" y="430"/>
                    </a:lnTo>
                    <a:lnTo>
                      <a:pt x="168" y="439"/>
                    </a:lnTo>
                    <a:lnTo>
                      <a:pt x="171" y="444"/>
                    </a:lnTo>
                    <a:lnTo>
                      <a:pt x="176" y="451"/>
                    </a:lnTo>
                    <a:lnTo>
                      <a:pt x="184" y="456"/>
                    </a:lnTo>
                    <a:lnTo>
                      <a:pt x="190" y="455"/>
                    </a:lnTo>
                    <a:lnTo>
                      <a:pt x="196" y="455"/>
                    </a:lnTo>
                    <a:lnTo>
                      <a:pt x="198" y="456"/>
                    </a:lnTo>
                    <a:lnTo>
                      <a:pt x="204" y="463"/>
                    </a:lnTo>
                    <a:lnTo>
                      <a:pt x="205" y="464"/>
                    </a:lnTo>
                    <a:lnTo>
                      <a:pt x="207" y="466"/>
                    </a:lnTo>
                    <a:lnTo>
                      <a:pt x="207" y="468"/>
                    </a:lnTo>
                    <a:lnTo>
                      <a:pt x="210" y="470"/>
                    </a:lnTo>
                    <a:lnTo>
                      <a:pt x="212" y="473"/>
                    </a:lnTo>
                    <a:lnTo>
                      <a:pt x="212" y="476"/>
                    </a:lnTo>
                    <a:lnTo>
                      <a:pt x="214" y="478"/>
                    </a:lnTo>
                    <a:lnTo>
                      <a:pt x="216" y="482"/>
                    </a:lnTo>
                    <a:lnTo>
                      <a:pt x="217" y="483"/>
                    </a:lnTo>
                    <a:lnTo>
                      <a:pt x="218" y="484"/>
                    </a:lnTo>
                    <a:lnTo>
                      <a:pt x="219" y="489"/>
                    </a:lnTo>
                    <a:lnTo>
                      <a:pt x="221" y="489"/>
                    </a:lnTo>
                    <a:lnTo>
                      <a:pt x="221" y="491"/>
                    </a:lnTo>
                    <a:lnTo>
                      <a:pt x="223" y="491"/>
                    </a:lnTo>
                    <a:lnTo>
                      <a:pt x="224" y="492"/>
                    </a:lnTo>
                    <a:lnTo>
                      <a:pt x="223" y="495"/>
                    </a:lnTo>
                    <a:lnTo>
                      <a:pt x="222" y="496"/>
                    </a:lnTo>
                    <a:lnTo>
                      <a:pt x="223" y="499"/>
                    </a:lnTo>
                    <a:lnTo>
                      <a:pt x="225" y="505"/>
                    </a:lnTo>
                    <a:lnTo>
                      <a:pt x="223" y="507"/>
                    </a:lnTo>
                    <a:lnTo>
                      <a:pt x="222" y="510"/>
                    </a:lnTo>
                    <a:lnTo>
                      <a:pt x="224" y="515"/>
                    </a:lnTo>
                    <a:lnTo>
                      <a:pt x="222" y="519"/>
                    </a:lnTo>
                    <a:lnTo>
                      <a:pt x="221" y="522"/>
                    </a:lnTo>
                    <a:lnTo>
                      <a:pt x="227" y="528"/>
                    </a:lnTo>
                    <a:lnTo>
                      <a:pt x="227" y="530"/>
                    </a:lnTo>
                    <a:lnTo>
                      <a:pt x="229" y="531"/>
                    </a:lnTo>
                    <a:lnTo>
                      <a:pt x="231" y="534"/>
                    </a:lnTo>
                    <a:lnTo>
                      <a:pt x="236" y="537"/>
                    </a:lnTo>
                    <a:lnTo>
                      <a:pt x="237" y="540"/>
                    </a:lnTo>
                    <a:lnTo>
                      <a:pt x="241" y="543"/>
                    </a:lnTo>
                    <a:lnTo>
                      <a:pt x="241" y="545"/>
                    </a:lnTo>
                    <a:lnTo>
                      <a:pt x="244" y="548"/>
                    </a:lnTo>
                    <a:lnTo>
                      <a:pt x="247" y="548"/>
                    </a:lnTo>
                    <a:lnTo>
                      <a:pt x="248" y="539"/>
                    </a:lnTo>
                    <a:lnTo>
                      <a:pt x="249" y="535"/>
                    </a:lnTo>
                    <a:lnTo>
                      <a:pt x="251" y="536"/>
                    </a:lnTo>
                    <a:lnTo>
                      <a:pt x="254" y="534"/>
                    </a:lnTo>
                    <a:lnTo>
                      <a:pt x="256" y="534"/>
                    </a:lnTo>
                    <a:lnTo>
                      <a:pt x="259" y="538"/>
                    </a:lnTo>
                    <a:lnTo>
                      <a:pt x="261" y="538"/>
                    </a:lnTo>
                    <a:lnTo>
                      <a:pt x="261" y="535"/>
                    </a:lnTo>
                    <a:lnTo>
                      <a:pt x="262" y="533"/>
                    </a:lnTo>
                    <a:lnTo>
                      <a:pt x="259" y="532"/>
                    </a:lnTo>
                    <a:lnTo>
                      <a:pt x="258" y="529"/>
                    </a:lnTo>
                    <a:lnTo>
                      <a:pt x="259" y="526"/>
                    </a:lnTo>
                    <a:lnTo>
                      <a:pt x="259" y="524"/>
                    </a:lnTo>
                    <a:lnTo>
                      <a:pt x="262" y="521"/>
                    </a:lnTo>
                    <a:lnTo>
                      <a:pt x="262" y="519"/>
                    </a:lnTo>
                    <a:lnTo>
                      <a:pt x="262" y="516"/>
                    </a:lnTo>
                    <a:lnTo>
                      <a:pt x="262" y="515"/>
                    </a:lnTo>
                    <a:lnTo>
                      <a:pt x="265" y="511"/>
                    </a:lnTo>
                    <a:lnTo>
                      <a:pt x="267" y="506"/>
                    </a:lnTo>
                    <a:lnTo>
                      <a:pt x="271" y="502"/>
                    </a:lnTo>
                    <a:lnTo>
                      <a:pt x="271" y="500"/>
                    </a:lnTo>
                    <a:lnTo>
                      <a:pt x="272" y="500"/>
                    </a:lnTo>
                    <a:lnTo>
                      <a:pt x="272" y="502"/>
                    </a:lnTo>
                    <a:lnTo>
                      <a:pt x="273" y="502"/>
                    </a:lnTo>
                    <a:lnTo>
                      <a:pt x="275" y="504"/>
                    </a:lnTo>
                    <a:lnTo>
                      <a:pt x="280" y="500"/>
                    </a:lnTo>
                    <a:lnTo>
                      <a:pt x="282" y="496"/>
                    </a:lnTo>
                    <a:lnTo>
                      <a:pt x="282" y="495"/>
                    </a:lnTo>
                    <a:lnTo>
                      <a:pt x="282" y="492"/>
                    </a:lnTo>
                    <a:lnTo>
                      <a:pt x="280" y="487"/>
                    </a:lnTo>
                    <a:lnTo>
                      <a:pt x="281" y="484"/>
                    </a:lnTo>
                    <a:lnTo>
                      <a:pt x="280" y="483"/>
                    </a:lnTo>
                    <a:lnTo>
                      <a:pt x="278" y="480"/>
                    </a:lnTo>
                    <a:lnTo>
                      <a:pt x="277" y="476"/>
                    </a:lnTo>
                    <a:lnTo>
                      <a:pt x="277" y="475"/>
                    </a:lnTo>
                    <a:lnTo>
                      <a:pt x="282" y="475"/>
                    </a:lnTo>
                    <a:lnTo>
                      <a:pt x="282" y="474"/>
                    </a:lnTo>
                    <a:lnTo>
                      <a:pt x="282" y="468"/>
                    </a:lnTo>
                    <a:lnTo>
                      <a:pt x="281" y="468"/>
                    </a:lnTo>
                    <a:lnTo>
                      <a:pt x="282" y="466"/>
                    </a:lnTo>
                    <a:lnTo>
                      <a:pt x="282" y="464"/>
                    </a:lnTo>
                    <a:lnTo>
                      <a:pt x="283" y="461"/>
                    </a:lnTo>
                    <a:lnTo>
                      <a:pt x="285" y="460"/>
                    </a:lnTo>
                    <a:lnTo>
                      <a:pt x="285" y="458"/>
                    </a:lnTo>
                    <a:lnTo>
                      <a:pt x="282" y="457"/>
                    </a:lnTo>
                    <a:lnTo>
                      <a:pt x="283" y="456"/>
                    </a:lnTo>
                    <a:lnTo>
                      <a:pt x="288" y="457"/>
                    </a:lnTo>
                    <a:lnTo>
                      <a:pt x="288" y="458"/>
                    </a:lnTo>
                    <a:lnTo>
                      <a:pt x="286" y="458"/>
                    </a:lnTo>
                    <a:lnTo>
                      <a:pt x="290" y="460"/>
                    </a:lnTo>
                    <a:lnTo>
                      <a:pt x="291" y="460"/>
                    </a:lnTo>
                    <a:lnTo>
                      <a:pt x="292" y="462"/>
                    </a:lnTo>
                    <a:lnTo>
                      <a:pt x="293" y="463"/>
                    </a:lnTo>
                    <a:lnTo>
                      <a:pt x="297" y="460"/>
                    </a:lnTo>
                    <a:lnTo>
                      <a:pt x="298" y="458"/>
                    </a:lnTo>
                    <a:lnTo>
                      <a:pt x="299" y="458"/>
                    </a:lnTo>
                    <a:lnTo>
                      <a:pt x="301" y="458"/>
                    </a:lnTo>
                    <a:lnTo>
                      <a:pt x="301" y="457"/>
                    </a:lnTo>
                    <a:lnTo>
                      <a:pt x="302" y="456"/>
                    </a:lnTo>
                    <a:lnTo>
                      <a:pt x="302" y="454"/>
                    </a:lnTo>
                    <a:lnTo>
                      <a:pt x="305" y="455"/>
                    </a:lnTo>
                    <a:lnTo>
                      <a:pt x="307" y="453"/>
                    </a:lnTo>
                    <a:lnTo>
                      <a:pt x="308" y="454"/>
                    </a:lnTo>
                    <a:lnTo>
                      <a:pt x="309" y="453"/>
                    </a:lnTo>
                    <a:lnTo>
                      <a:pt x="310" y="454"/>
                    </a:lnTo>
                    <a:lnTo>
                      <a:pt x="311" y="454"/>
                    </a:lnTo>
                    <a:lnTo>
                      <a:pt x="311" y="456"/>
                    </a:lnTo>
                    <a:lnTo>
                      <a:pt x="311" y="455"/>
                    </a:lnTo>
                    <a:lnTo>
                      <a:pt x="313" y="453"/>
                    </a:lnTo>
                    <a:lnTo>
                      <a:pt x="311" y="453"/>
                    </a:lnTo>
                    <a:lnTo>
                      <a:pt x="310" y="452"/>
                    </a:lnTo>
                    <a:lnTo>
                      <a:pt x="312" y="451"/>
                    </a:lnTo>
                    <a:lnTo>
                      <a:pt x="313" y="444"/>
                    </a:lnTo>
                    <a:lnTo>
                      <a:pt x="316" y="440"/>
                    </a:lnTo>
                    <a:lnTo>
                      <a:pt x="317" y="440"/>
                    </a:lnTo>
                    <a:lnTo>
                      <a:pt x="319" y="441"/>
                    </a:lnTo>
                    <a:lnTo>
                      <a:pt x="321" y="440"/>
                    </a:lnTo>
                    <a:lnTo>
                      <a:pt x="320" y="437"/>
                    </a:lnTo>
                    <a:lnTo>
                      <a:pt x="320" y="434"/>
                    </a:lnTo>
                    <a:lnTo>
                      <a:pt x="319" y="433"/>
                    </a:lnTo>
                    <a:lnTo>
                      <a:pt x="319" y="432"/>
                    </a:lnTo>
                    <a:lnTo>
                      <a:pt x="316" y="430"/>
                    </a:lnTo>
                    <a:lnTo>
                      <a:pt x="316" y="427"/>
                    </a:lnTo>
                    <a:lnTo>
                      <a:pt x="315" y="428"/>
                    </a:lnTo>
                    <a:lnTo>
                      <a:pt x="315" y="425"/>
                    </a:lnTo>
                    <a:lnTo>
                      <a:pt x="316" y="425"/>
                    </a:lnTo>
                    <a:lnTo>
                      <a:pt x="314" y="425"/>
                    </a:lnTo>
                    <a:lnTo>
                      <a:pt x="314" y="423"/>
                    </a:lnTo>
                    <a:lnTo>
                      <a:pt x="315" y="423"/>
                    </a:lnTo>
                    <a:lnTo>
                      <a:pt x="316" y="423"/>
                    </a:lnTo>
                    <a:lnTo>
                      <a:pt x="316" y="422"/>
                    </a:lnTo>
                    <a:lnTo>
                      <a:pt x="316" y="421"/>
                    </a:lnTo>
                    <a:lnTo>
                      <a:pt x="318" y="419"/>
                    </a:lnTo>
                    <a:lnTo>
                      <a:pt x="321" y="421"/>
                    </a:lnTo>
                    <a:lnTo>
                      <a:pt x="321" y="418"/>
                    </a:lnTo>
                    <a:lnTo>
                      <a:pt x="320" y="417"/>
                    </a:lnTo>
                    <a:lnTo>
                      <a:pt x="321" y="415"/>
                    </a:lnTo>
                    <a:lnTo>
                      <a:pt x="322" y="417"/>
                    </a:lnTo>
                    <a:lnTo>
                      <a:pt x="325" y="418"/>
                    </a:lnTo>
                    <a:lnTo>
                      <a:pt x="326" y="418"/>
                    </a:lnTo>
                    <a:lnTo>
                      <a:pt x="324" y="415"/>
                    </a:lnTo>
                    <a:lnTo>
                      <a:pt x="327" y="412"/>
                    </a:lnTo>
                    <a:lnTo>
                      <a:pt x="329" y="412"/>
                    </a:lnTo>
                    <a:lnTo>
                      <a:pt x="328" y="411"/>
                    </a:lnTo>
                    <a:lnTo>
                      <a:pt x="327" y="411"/>
                    </a:lnTo>
                    <a:lnTo>
                      <a:pt x="323" y="411"/>
                    </a:lnTo>
                    <a:lnTo>
                      <a:pt x="322" y="410"/>
                    </a:lnTo>
                    <a:lnTo>
                      <a:pt x="321" y="410"/>
                    </a:lnTo>
                    <a:lnTo>
                      <a:pt x="321" y="406"/>
                    </a:lnTo>
                    <a:lnTo>
                      <a:pt x="321" y="402"/>
                    </a:lnTo>
                    <a:lnTo>
                      <a:pt x="320" y="400"/>
                    </a:lnTo>
                    <a:lnTo>
                      <a:pt x="321" y="400"/>
                    </a:lnTo>
                    <a:lnTo>
                      <a:pt x="323" y="400"/>
                    </a:lnTo>
                    <a:lnTo>
                      <a:pt x="325" y="400"/>
                    </a:lnTo>
                    <a:lnTo>
                      <a:pt x="326" y="402"/>
                    </a:lnTo>
                    <a:lnTo>
                      <a:pt x="327" y="402"/>
                    </a:lnTo>
                    <a:lnTo>
                      <a:pt x="329" y="402"/>
                    </a:lnTo>
                    <a:lnTo>
                      <a:pt x="329" y="399"/>
                    </a:lnTo>
                    <a:lnTo>
                      <a:pt x="330" y="398"/>
                    </a:lnTo>
                    <a:lnTo>
                      <a:pt x="331" y="396"/>
                    </a:lnTo>
                    <a:lnTo>
                      <a:pt x="330" y="395"/>
                    </a:lnTo>
                    <a:lnTo>
                      <a:pt x="329" y="395"/>
                    </a:lnTo>
                    <a:lnTo>
                      <a:pt x="327" y="392"/>
                    </a:lnTo>
                    <a:lnTo>
                      <a:pt x="328" y="392"/>
                    </a:lnTo>
                    <a:lnTo>
                      <a:pt x="329" y="391"/>
                    </a:lnTo>
                    <a:lnTo>
                      <a:pt x="329" y="387"/>
                    </a:lnTo>
                    <a:lnTo>
                      <a:pt x="332" y="389"/>
                    </a:lnTo>
                    <a:lnTo>
                      <a:pt x="333" y="384"/>
                    </a:lnTo>
                    <a:lnTo>
                      <a:pt x="335" y="384"/>
                    </a:lnTo>
                    <a:lnTo>
                      <a:pt x="336" y="384"/>
                    </a:lnTo>
                    <a:lnTo>
                      <a:pt x="337" y="382"/>
                    </a:lnTo>
                    <a:lnTo>
                      <a:pt x="338" y="381"/>
                    </a:lnTo>
                    <a:lnTo>
                      <a:pt x="342" y="383"/>
                    </a:lnTo>
                    <a:lnTo>
                      <a:pt x="342" y="382"/>
                    </a:lnTo>
                    <a:lnTo>
                      <a:pt x="343" y="381"/>
                    </a:lnTo>
                    <a:lnTo>
                      <a:pt x="342" y="377"/>
                    </a:lnTo>
                    <a:lnTo>
                      <a:pt x="343" y="377"/>
                    </a:lnTo>
                    <a:lnTo>
                      <a:pt x="343" y="376"/>
                    </a:lnTo>
                    <a:lnTo>
                      <a:pt x="344" y="373"/>
                    </a:lnTo>
                    <a:lnTo>
                      <a:pt x="346" y="370"/>
                    </a:lnTo>
                    <a:lnTo>
                      <a:pt x="349" y="370"/>
                    </a:lnTo>
                    <a:lnTo>
                      <a:pt x="348" y="370"/>
                    </a:lnTo>
                    <a:lnTo>
                      <a:pt x="348" y="366"/>
                    </a:lnTo>
                    <a:lnTo>
                      <a:pt x="347" y="368"/>
                    </a:lnTo>
                    <a:lnTo>
                      <a:pt x="346" y="367"/>
                    </a:lnTo>
                    <a:lnTo>
                      <a:pt x="348" y="366"/>
                    </a:lnTo>
                    <a:lnTo>
                      <a:pt x="349" y="366"/>
                    </a:lnTo>
                    <a:lnTo>
                      <a:pt x="349" y="364"/>
                    </a:lnTo>
                    <a:lnTo>
                      <a:pt x="350" y="365"/>
                    </a:lnTo>
                    <a:lnTo>
                      <a:pt x="350" y="364"/>
                    </a:lnTo>
                    <a:lnTo>
                      <a:pt x="350" y="361"/>
                    </a:lnTo>
                    <a:lnTo>
                      <a:pt x="349" y="360"/>
                    </a:lnTo>
                    <a:lnTo>
                      <a:pt x="350" y="359"/>
                    </a:lnTo>
                    <a:lnTo>
                      <a:pt x="348" y="360"/>
                    </a:lnTo>
                    <a:lnTo>
                      <a:pt x="347" y="358"/>
                    </a:lnTo>
                    <a:lnTo>
                      <a:pt x="346" y="358"/>
                    </a:lnTo>
                    <a:lnTo>
                      <a:pt x="346" y="357"/>
                    </a:lnTo>
                    <a:lnTo>
                      <a:pt x="347" y="357"/>
                    </a:lnTo>
                    <a:lnTo>
                      <a:pt x="346" y="356"/>
                    </a:lnTo>
                    <a:lnTo>
                      <a:pt x="347" y="356"/>
                    </a:lnTo>
                    <a:lnTo>
                      <a:pt x="346" y="354"/>
                    </a:lnTo>
                    <a:lnTo>
                      <a:pt x="345" y="352"/>
                    </a:lnTo>
                    <a:lnTo>
                      <a:pt x="345" y="350"/>
                    </a:lnTo>
                    <a:lnTo>
                      <a:pt x="344" y="347"/>
                    </a:lnTo>
                    <a:lnTo>
                      <a:pt x="345" y="347"/>
                    </a:lnTo>
                    <a:lnTo>
                      <a:pt x="344" y="347"/>
                    </a:lnTo>
                    <a:lnTo>
                      <a:pt x="345" y="346"/>
                    </a:lnTo>
                    <a:lnTo>
                      <a:pt x="344" y="346"/>
                    </a:lnTo>
                    <a:lnTo>
                      <a:pt x="344" y="345"/>
                    </a:lnTo>
                    <a:lnTo>
                      <a:pt x="345" y="345"/>
                    </a:lnTo>
                    <a:lnTo>
                      <a:pt x="346" y="342"/>
                    </a:lnTo>
                    <a:lnTo>
                      <a:pt x="346" y="339"/>
                    </a:lnTo>
                    <a:lnTo>
                      <a:pt x="347" y="337"/>
                    </a:lnTo>
                    <a:lnTo>
                      <a:pt x="346" y="336"/>
                    </a:lnTo>
                    <a:lnTo>
                      <a:pt x="348" y="336"/>
                    </a:lnTo>
                    <a:lnTo>
                      <a:pt x="350" y="333"/>
                    </a:lnTo>
                    <a:lnTo>
                      <a:pt x="351" y="331"/>
                    </a:lnTo>
                    <a:lnTo>
                      <a:pt x="353" y="332"/>
                    </a:lnTo>
                    <a:lnTo>
                      <a:pt x="355" y="332"/>
                    </a:lnTo>
                    <a:lnTo>
                      <a:pt x="355" y="331"/>
                    </a:lnTo>
                    <a:lnTo>
                      <a:pt x="351" y="330"/>
                    </a:lnTo>
                    <a:lnTo>
                      <a:pt x="351" y="329"/>
                    </a:lnTo>
                    <a:lnTo>
                      <a:pt x="352" y="329"/>
                    </a:lnTo>
                    <a:lnTo>
                      <a:pt x="351" y="329"/>
                    </a:lnTo>
                    <a:lnTo>
                      <a:pt x="351" y="327"/>
                    </a:lnTo>
                    <a:lnTo>
                      <a:pt x="350" y="326"/>
                    </a:lnTo>
                    <a:lnTo>
                      <a:pt x="350" y="325"/>
                    </a:lnTo>
                    <a:lnTo>
                      <a:pt x="349" y="323"/>
                    </a:lnTo>
                    <a:lnTo>
                      <a:pt x="348" y="323"/>
                    </a:lnTo>
                    <a:lnTo>
                      <a:pt x="349" y="321"/>
                    </a:lnTo>
                    <a:lnTo>
                      <a:pt x="349" y="320"/>
                    </a:lnTo>
                    <a:lnTo>
                      <a:pt x="350" y="319"/>
                    </a:lnTo>
                    <a:lnTo>
                      <a:pt x="348" y="319"/>
                    </a:lnTo>
                    <a:lnTo>
                      <a:pt x="349" y="317"/>
                    </a:lnTo>
                    <a:lnTo>
                      <a:pt x="350" y="316"/>
                    </a:lnTo>
                    <a:lnTo>
                      <a:pt x="350" y="313"/>
                    </a:lnTo>
                    <a:lnTo>
                      <a:pt x="350" y="312"/>
                    </a:lnTo>
                    <a:lnTo>
                      <a:pt x="349" y="312"/>
                    </a:lnTo>
                    <a:lnTo>
                      <a:pt x="350" y="311"/>
                    </a:lnTo>
                    <a:lnTo>
                      <a:pt x="350" y="309"/>
                    </a:lnTo>
                    <a:lnTo>
                      <a:pt x="349" y="311"/>
                    </a:lnTo>
                    <a:lnTo>
                      <a:pt x="350" y="309"/>
                    </a:lnTo>
                    <a:lnTo>
                      <a:pt x="349" y="308"/>
                    </a:lnTo>
                    <a:lnTo>
                      <a:pt x="351" y="309"/>
                    </a:lnTo>
                    <a:lnTo>
                      <a:pt x="351" y="308"/>
                    </a:lnTo>
                    <a:lnTo>
                      <a:pt x="349" y="307"/>
                    </a:lnTo>
                    <a:lnTo>
                      <a:pt x="349" y="308"/>
                    </a:lnTo>
                    <a:lnTo>
                      <a:pt x="349" y="307"/>
                    </a:lnTo>
                    <a:lnTo>
                      <a:pt x="348" y="307"/>
                    </a:lnTo>
                    <a:lnTo>
                      <a:pt x="346" y="307"/>
                    </a:lnTo>
                    <a:lnTo>
                      <a:pt x="346" y="304"/>
                    </a:lnTo>
                    <a:lnTo>
                      <a:pt x="347" y="303"/>
                    </a:lnTo>
                    <a:lnTo>
                      <a:pt x="346" y="302"/>
                    </a:lnTo>
                    <a:lnTo>
                      <a:pt x="348" y="302"/>
                    </a:lnTo>
                    <a:lnTo>
                      <a:pt x="348" y="301"/>
                    </a:lnTo>
                    <a:lnTo>
                      <a:pt x="350" y="302"/>
                    </a:lnTo>
                    <a:lnTo>
                      <a:pt x="350" y="300"/>
                    </a:lnTo>
                    <a:lnTo>
                      <a:pt x="350" y="299"/>
                    </a:lnTo>
                    <a:lnTo>
                      <a:pt x="348" y="298"/>
                    </a:lnTo>
                    <a:lnTo>
                      <a:pt x="349" y="296"/>
                    </a:lnTo>
                    <a:lnTo>
                      <a:pt x="351" y="295"/>
                    </a:lnTo>
                    <a:lnTo>
                      <a:pt x="351" y="294"/>
                    </a:lnTo>
                    <a:lnTo>
                      <a:pt x="353" y="295"/>
                    </a:lnTo>
                    <a:lnTo>
                      <a:pt x="353" y="292"/>
                    </a:lnTo>
                    <a:lnTo>
                      <a:pt x="354" y="291"/>
                    </a:lnTo>
                    <a:lnTo>
                      <a:pt x="355" y="286"/>
                    </a:lnTo>
                    <a:lnTo>
                      <a:pt x="356" y="283"/>
                    </a:lnTo>
                    <a:lnTo>
                      <a:pt x="354" y="282"/>
                    </a:lnTo>
                    <a:lnTo>
                      <a:pt x="355" y="279"/>
                    </a:lnTo>
                    <a:lnTo>
                      <a:pt x="351" y="276"/>
                    </a:lnTo>
                    <a:lnTo>
                      <a:pt x="350" y="276"/>
                    </a:lnTo>
                    <a:lnTo>
                      <a:pt x="347" y="279"/>
                    </a:lnTo>
                    <a:lnTo>
                      <a:pt x="346" y="278"/>
                    </a:lnTo>
                    <a:lnTo>
                      <a:pt x="348" y="277"/>
                    </a:lnTo>
                    <a:lnTo>
                      <a:pt x="350" y="272"/>
                    </a:lnTo>
                    <a:lnTo>
                      <a:pt x="349" y="271"/>
                    </a:lnTo>
                    <a:lnTo>
                      <a:pt x="348" y="270"/>
                    </a:lnTo>
                    <a:lnTo>
                      <a:pt x="350" y="264"/>
                    </a:lnTo>
                    <a:lnTo>
                      <a:pt x="350" y="260"/>
                    </a:lnTo>
                    <a:lnTo>
                      <a:pt x="351" y="258"/>
                    </a:lnTo>
                    <a:lnTo>
                      <a:pt x="353" y="255"/>
                    </a:lnTo>
                    <a:lnTo>
                      <a:pt x="354" y="249"/>
                    </a:lnTo>
                    <a:lnTo>
                      <a:pt x="355" y="247"/>
                    </a:lnTo>
                    <a:lnTo>
                      <a:pt x="356" y="244"/>
                    </a:lnTo>
                    <a:lnTo>
                      <a:pt x="355" y="242"/>
                    </a:lnTo>
                    <a:lnTo>
                      <a:pt x="353" y="243"/>
                    </a:lnTo>
                    <a:lnTo>
                      <a:pt x="350" y="242"/>
                    </a:lnTo>
                    <a:lnTo>
                      <a:pt x="350" y="239"/>
                    </a:lnTo>
                    <a:lnTo>
                      <a:pt x="349" y="238"/>
                    </a:lnTo>
                    <a:lnTo>
                      <a:pt x="347" y="239"/>
                    </a:lnTo>
                    <a:lnTo>
                      <a:pt x="346" y="239"/>
                    </a:lnTo>
                    <a:lnTo>
                      <a:pt x="344" y="238"/>
                    </a:lnTo>
                    <a:lnTo>
                      <a:pt x="344" y="236"/>
                    </a:lnTo>
                    <a:lnTo>
                      <a:pt x="345" y="236"/>
                    </a:lnTo>
                    <a:lnTo>
                      <a:pt x="346" y="235"/>
                    </a:lnTo>
                    <a:lnTo>
                      <a:pt x="342" y="234"/>
                    </a:lnTo>
                    <a:lnTo>
                      <a:pt x="342" y="233"/>
                    </a:lnTo>
                    <a:lnTo>
                      <a:pt x="340" y="233"/>
                    </a:lnTo>
                    <a:lnTo>
                      <a:pt x="339" y="232"/>
                    </a:lnTo>
                    <a:lnTo>
                      <a:pt x="338" y="232"/>
                    </a:lnTo>
                    <a:lnTo>
                      <a:pt x="337" y="229"/>
                    </a:lnTo>
                    <a:lnTo>
                      <a:pt x="336" y="228"/>
                    </a:lnTo>
                    <a:lnTo>
                      <a:pt x="339" y="229"/>
                    </a:lnTo>
                    <a:lnTo>
                      <a:pt x="342" y="232"/>
                    </a:lnTo>
                    <a:lnTo>
                      <a:pt x="345" y="232"/>
                    </a:lnTo>
                    <a:lnTo>
                      <a:pt x="345" y="231"/>
                    </a:lnTo>
                    <a:lnTo>
                      <a:pt x="347" y="231"/>
                    </a:lnTo>
                    <a:lnTo>
                      <a:pt x="348" y="230"/>
                    </a:lnTo>
                    <a:lnTo>
                      <a:pt x="347" y="230"/>
                    </a:lnTo>
                    <a:lnTo>
                      <a:pt x="345" y="224"/>
                    </a:lnTo>
                    <a:lnTo>
                      <a:pt x="342" y="223"/>
                    </a:lnTo>
                    <a:lnTo>
                      <a:pt x="340" y="221"/>
                    </a:lnTo>
                    <a:lnTo>
                      <a:pt x="342" y="219"/>
                    </a:lnTo>
                    <a:lnTo>
                      <a:pt x="341" y="218"/>
                    </a:lnTo>
                    <a:lnTo>
                      <a:pt x="342" y="217"/>
                    </a:lnTo>
                    <a:lnTo>
                      <a:pt x="342" y="218"/>
                    </a:lnTo>
                    <a:lnTo>
                      <a:pt x="342" y="219"/>
                    </a:lnTo>
                    <a:lnTo>
                      <a:pt x="343" y="219"/>
                    </a:lnTo>
                    <a:lnTo>
                      <a:pt x="344" y="218"/>
                    </a:lnTo>
                    <a:lnTo>
                      <a:pt x="344" y="219"/>
                    </a:lnTo>
                    <a:lnTo>
                      <a:pt x="345" y="219"/>
                    </a:lnTo>
                    <a:lnTo>
                      <a:pt x="345" y="218"/>
                    </a:lnTo>
                    <a:lnTo>
                      <a:pt x="348" y="217"/>
                    </a:lnTo>
                    <a:lnTo>
                      <a:pt x="350" y="218"/>
                    </a:lnTo>
                    <a:lnTo>
                      <a:pt x="353" y="215"/>
                    </a:lnTo>
                    <a:lnTo>
                      <a:pt x="351" y="215"/>
                    </a:lnTo>
                    <a:lnTo>
                      <a:pt x="351" y="213"/>
                    </a:lnTo>
                    <a:lnTo>
                      <a:pt x="349" y="213"/>
                    </a:lnTo>
                    <a:lnTo>
                      <a:pt x="348" y="212"/>
                    </a:lnTo>
                    <a:lnTo>
                      <a:pt x="346" y="213"/>
                    </a:lnTo>
                    <a:lnTo>
                      <a:pt x="347" y="211"/>
                    </a:lnTo>
                    <a:lnTo>
                      <a:pt x="346" y="211"/>
                    </a:lnTo>
                    <a:lnTo>
                      <a:pt x="344" y="212"/>
                    </a:lnTo>
                    <a:lnTo>
                      <a:pt x="343" y="211"/>
                    </a:lnTo>
                    <a:lnTo>
                      <a:pt x="342" y="211"/>
                    </a:lnTo>
                    <a:lnTo>
                      <a:pt x="342" y="213"/>
                    </a:lnTo>
                    <a:lnTo>
                      <a:pt x="340" y="213"/>
                    </a:lnTo>
                    <a:lnTo>
                      <a:pt x="340" y="215"/>
                    </a:lnTo>
                    <a:lnTo>
                      <a:pt x="338" y="214"/>
                    </a:lnTo>
                    <a:lnTo>
                      <a:pt x="338" y="210"/>
                    </a:lnTo>
                    <a:lnTo>
                      <a:pt x="339" y="211"/>
                    </a:lnTo>
                    <a:lnTo>
                      <a:pt x="339" y="210"/>
                    </a:lnTo>
                    <a:lnTo>
                      <a:pt x="338" y="209"/>
                    </a:lnTo>
                    <a:lnTo>
                      <a:pt x="340" y="208"/>
                    </a:lnTo>
                    <a:lnTo>
                      <a:pt x="338" y="205"/>
                    </a:lnTo>
                    <a:lnTo>
                      <a:pt x="340" y="203"/>
                    </a:lnTo>
                    <a:lnTo>
                      <a:pt x="343" y="202"/>
                    </a:lnTo>
                    <a:lnTo>
                      <a:pt x="347" y="195"/>
                    </a:lnTo>
                    <a:lnTo>
                      <a:pt x="356" y="192"/>
                    </a:lnTo>
                    <a:lnTo>
                      <a:pt x="359" y="191"/>
                    </a:lnTo>
                    <a:lnTo>
                      <a:pt x="361" y="191"/>
                    </a:lnTo>
                    <a:lnTo>
                      <a:pt x="360" y="191"/>
                    </a:lnTo>
                    <a:lnTo>
                      <a:pt x="360" y="194"/>
                    </a:lnTo>
                    <a:lnTo>
                      <a:pt x="362" y="195"/>
                    </a:lnTo>
                    <a:lnTo>
                      <a:pt x="363" y="197"/>
                    </a:lnTo>
                    <a:lnTo>
                      <a:pt x="363" y="198"/>
                    </a:lnTo>
                    <a:lnTo>
                      <a:pt x="365" y="198"/>
                    </a:lnTo>
                    <a:lnTo>
                      <a:pt x="366" y="198"/>
                    </a:lnTo>
                    <a:lnTo>
                      <a:pt x="367" y="196"/>
                    </a:lnTo>
                    <a:lnTo>
                      <a:pt x="367" y="195"/>
                    </a:lnTo>
                    <a:lnTo>
                      <a:pt x="368" y="194"/>
                    </a:lnTo>
                    <a:lnTo>
                      <a:pt x="368" y="192"/>
                    </a:lnTo>
                    <a:lnTo>
                      <a:pt x="370" y="191"/>
                    </a:lnTo>
                    <a:lnTo>
                      <a:pt x="371" y="188"/>
                    </a:lnTo>
                    <a:lnTo>
                      <a:pt x="372" y="188"/>
                    </a:lnTo>
                    <a:lnTo>
                      <a:pt x="375" y="188"/>
                    </a:lnTo>
                    <a:lnTo>
                      <a:pt x="375" y="187"/>
                    </a:lnTo>
                    <a:lnTo>
                      <a:pt x="376" y="187"/>
                    </a:lnTo>
                    <a:lnTo>
                      <a:pt x="377" y="187"/>
                    </a:lnTo>
                    <a:lnTo>
                      <a:pt x="379" y="185"/>
                    </a:lnTo>
                    <a:lnTo>
                      <a:pt x="379" y="186"/>
                    </a:lnTo>
                    <a:lnTo>
                      <a:pt x="381" y="183"/>
                    </a:lnTo>
                    <a:lnTo>
                      <a:pt x="381" y="181"/>
                    </a:lnTo>
                    <a:lnTo>
                      <a:pt x="379" y="180"/>
                    </a:lnTo>
                    <a:lnTo>
                      <a:pt x="378" y="179"/>
                    </a:lnTo>
                    <a:lnTo>
                      <a:pt x="377" y="178"/>
                    </a:lnTo>
                    <a:lnTo>
                      <a:pt x="376" y="179"/>
                    </a:lnTo>
                    <a:lnTo>
                      <a:pt x="375" y="179"/>
                    </a:lnTo>
                    <a:lnTo>
                      <a:pt x="373" y="181"/>
                    </a:lnTo>
                    <a:lnTo>
                      <a:pt x="372" y="180"/>
                    </a:lnTo>
                    <a:lnTo>
                      <a:pt x="373" y="177"/>
                    </a:lnTo>
                    <a:lnTo>
                      <a:pt x="376" y="176"/>
                    </a:lnTo>
                    <a:lnTo>
                      <a:pt x="378" y="171"/>
                    </a:lnTo>
                    <a:lnTo>
                      <a:pt x="378" y="168"/>
                    </a:lnTo>
                    <a:lnTo>
                      <a:pt x="377" y="166"/>
                    </a:lnTo>
                    <a:lnTo>
                      <a:pt x="377" y="165"/>
                    </a:lnTo>
                    <a:lnTo>
                      <a:pt x="376" y="162"/>
                    </a:lnTo>
                    <a:lnTo>
                      <a:pt x="377" y="161"/>
                    </a:lnTo>
                    <a:lnTo>
                      <a:pt x="381" y="161"/>
                    </a:lnTo>
                    <a:lnTo>
                      <a:pt x="381" y="158"/>
                    </a:lnTo>
                    <a:lnTo>
                      <a:pt x="383" y="157"/>
                    </a:lnTo>
                    <a:lnTo>
                      <a:pt x="382" y="157"/>
                    </a:lnTo>
                    <a:lnTo>
                      <a:pt x="383" y="153"/>
                    </a:lnTo>
                    <a:lnTo>
                      <a:pt x="381" y="151"/>
                    </a:lnTo>
                    <a:lnTo>
                      <a:pt x="381" y="148"/>
                    </a:lnTo>
                    <a:lnTo>
                      <a:pt x="384" y="145"/>
                    </a:lnTo>
                    <a:lnTo>
                      <a:pt x="383" y="144"/>
                    </a:lnTo>
                    <a:lnTo>
                      <a:pt x="382" y="141"/>
                    </a:lnTo>
                    <a:lnTo>
                      <a:pt x="383" y="140"/>
                    </a:lnTo>
                    <a:lnTo>
                      <a:pt x="384" y="141"/>
                    </a:lnTo>
                    <a:lnTo>
                      <a:pt x="386" y="138"/>
                    </a:lnTo>
                    <a:lnTo>
                      <a:pt x="385" y="135"/>
                    </a:lnTo>
                    <a:lnTo>
                      <a:pt x="386" y="135"/>
                    </a:lnTo>
                    <a:lnTo>
                      <a:pt x="386" y="131"/>
                    </a:lnTo>
                    <a:lnTo>
                      <a:pt x="387" y="131"/>
                    </a:lnTo>
                    <a:lnTo>
                      <a:pt x="388" y="131"/>
                    </a:lnTo>
                    <a:lnTo>
                      <a:pt x="389" y="131"/>
                    </a:lnTo>
                    <a:lnTo>
                      <a:pt x="391" y="131"/>
                    </a:lnTo>
                    <a:lnTo>
                      <a:pt x="392" y="131"/>
                    </a:lnTo>
                    <a:lnTo>
                      <a:pt x="392" y="133"/>
                    </a:lnTo>
                    <a:lnTo>
                      <a:pt x="393" y="132"/>
                    </a:lnTo>
                    <a:lnTo>
                      <a:pt x="392" y="126"/>
                    </a:lnTo>
                    <a:lnTo>
                      <a:pt x="392" y="1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9" name="Freeform 103">
                <a:extLst>
                  <a:ext uri="{FF2B5EF4-FFF2-40B4-BE49-F238E27FC236}">
                    <a16:creationId xmlns:a16="http://schemas.microsoft.com/office/drawing/2014/main" id="{E48B778E-0FCB-B235-4B82-D50B43D204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" y="3083"/>
                <a:ext cx="396" cy="548"/>
              </a:xfrm>
              <a:custGeom>
                <a:avLst/>
                <a:gdLst>
                  <a:gd name="T0" fmla="*/ 386 w 396"/>
                  <a:gd name="T1" fmla="*/ 99 h 548"/>
                  <a:gd name="T2" fmla="*/ 373 w 396"/>
                  <a:gd name="T3" fmla="*/ 83 h 548"/>
                  <a:gd name="T4" fmla="*/ 353 w 396"/>
                  <a:gd name="T5" fmla="*/ 62 h 548"/>
                  <a:gd name="T6" fmla="*/ 327 w 396"/>
                  <a:gd name="T7" fmla="*/ 55 h 548"/>
                  <a:gd name="T8" fmla="*/ 323 w 396"/>
                  <a:gd name="T9" fmla="*/ 43 h 548"/>
                  <a:gd name="T10" fmla="*/ 298 w 396"/>
                  <a:gd name="T11" fmla="*/ 37 h 548"/>
                  <a:gd name="T12" fmla="*/ 292 w 396"/>
                  <a:gd name="T13" fmla="*/ 25 h 548"/>
                  <a:gd name="T14" fmla="*/ 288 w 396"/>
                  <a:gd name="T15" fmla="*/ 13 h 548"/>
                  <a:gd name="T16" fmla="*/ 276 w 396"/>
                  <a:gd name="T17" fmla="*/ 2 h 548"/>
                  <a:gd name="T18" fmla="*/ 261 w 396"/>
                  <a:gd name="T19" fmla="*/ 0 h 548"/>
                  <a:gd name="T20" fmla="*/ 256 w 396"/>
                  <a:gd name="T21" fmla="*/ 17 h 548"/>
                  <a:gd name="T22" fmla="*/ 243 w 396"/>
                  <a:gd name="T23" fmla="*/ 22 h 548"/>
                  <a:gd name="T24" fmla="*/ 230 w 396"/>
                  <a:gd name="T25" fmla="*/ 38 h 548"/>
                  <a:gd name="T26" fmla="*/ 222 w 396"/>
                  <a:gd name="T27" fmla="*/ 29 h 548"/>
                  <a:gd name="T28" fmla="*/ 206 w 396"/>
                  <a:gd name="T29" fmla="*/ 23 h 548"/>
                  <a:gd name="T30" fmla="*/ 193 w 396"/>
                  <a:gd name="T31" fmla="*/ 30 h 548"/>
                  <a:gd name="T32" fmla="*/ 175 w 396"/>
                  <a:gd name="T33" fmla="*/ 43 h 548"/>
                  <a:gd name="T34" fmla="*/ 164 w 396"/>
                  <a:gd name="T35" fmla="*/ 57 h 548"/>
                  <a:gd name="T36" fmla="*/ 147 w 396"/>
                  <a:gd name="T37" fmla="*/ 61 h 548"/>
                  <a:gd name="T38" fmla="*/ 124 w 396"/>
                  <a:gd name="T39" fmla="*/ 54 h 548"/>
                  <a:gd name="T40" fmla="*/ 104 w 396"/>
                  <a:gd name="T41" fmla="*/ 51 h 548"/>
                  <a:gd name="T42" fmla="*/ 82 w 396"/>
                  <a:gd name="T43" fmla="*/ 67 h 548"/>
                  <a:gd name="T44" fmla="*/ 61 w 396"/>
                  <a:gd name="T45" fmla="*/ 60 h 548"/>
                  <a:gd name="T46" fmla="*/ 30 w 396"/>
                  <a:gd name="T47" fmla="*/ 83 h 548"/>
                  <a:gd name="T48" fmla="*/ 21 w 396"/>
                  <a:gd name="T49" fmla="*/ 106 h 548"/>
                  <a:gd name="T50" fmla="*/ 18 w 396"/>
                  <a:gd name="T51" fmla="*/ 153 h 548"/>
                  <a:gd name="T52" fmla="*/ 26 w 396"/>
                  <a:gd name="T53" fmla="*/ 178 h 548"/>
                  <a:gd name="T54" fmla="*/ 36 w 396"/>
                  <a:gd name="T55" fmla="*/ 205 h 548"/>
                  <a:gd name="T56" fmla="*/ 49 w 396"/>
                  <a:gd name="T57" fmla="*/ 232 h 548"/>
                  <a:gd name="T58" fmla="*/ 53 w 396"/>
                  <a:gd name="T59" fmla="*/ 284 h 548"/>
                  <a:gd name="T60" fmla="*/ 90 w 396"/>
                  <a:gd name="T61" fmla="*/ 331 h 548"/>
                  <a:gd name="T62" fmla="*/ 118 w 396"/>
                  <a:gd name="T63" fmla="*/ 336 h 548"/>
                  <a:gd name="T64" fmla="*/ 144 w 396"/>
                  <a:gd name="T65" fmla="*/ 377 h 548"/>
                  <a:gd name="T66" fmla="*/ 160 w 396"/>
                  <a:gd name="T67" fmla="*/ 412 h 548"/>
                  <a:gd name="T68" fmla="*/ 204 w 396"/>
                  <a:gd name="T69" fmla="*/ 463 h 548"/>
                  <a:gd name="T70" fmla="*/ 224 w 396"/>
                  <a:gd name="T71" fmla="*/ 492 h 548"/>
                  <a:gd name="T72" fmla="*/ 236 w 396"/>
                  <a:gd name="T73" fmla="*/ 537 h 548"/>
                  <a:gd name="T74" fmla="*/ 259 w 396"/>
                  <a:gd name="T75" fmla="*/ 532 h 548"/>
                  <a:gd name="T76" fmla="*/ 275 w 396"/>
                  <a:gd name="T77" fmla="*/ 504 h 548"/>
                  <a:gd name="T78" fmla="*/ 282 w 396"/>
                  <a:gd name="T79" fmla="*/ 466 h 548"/>
                  <a:gd name="T80" fmla="*/ 292 w 396"/>
                  <a:gd name="T81" fmla="*/ 462 h 548"/>
                  <a:gd name="T82" fmla="*/ 311 w 396"/>
                  <a:gd name="T83" fmla="*/ 456 h 548"/>
                  <a:gd name="T84" fmla="*/ 320 w 396"/>
                  <a:gd name="T85" fmla="*/ 437 h 548"/>
                  <a:gd name="T86" fmla="*/ 316 w 396"/>
                  <a:gd name="T87" fmla="*/ 421 h 548"/>
                  <a:gd name="T88" fmla="*/ 327 w 396"/>
                  <a:gd name="T89" fmla="*/ 411 h 548"/>
                  <a:gd name="T90" fmla="*/ 331 w 396"/>
                  <a:gd name="T91" fmla="*/ 396 h 548"/>
                  <a:gd name="T92" fmla="*/ 343 w 396"/>
                  <a:gd name="T93" fmla="*/ 381 h 548"/>
                  <a:gd name="T94" fmla="*/ 350 w 396"/>
                  <a:gd name="T95" fmla="*/ 364 h 548"/>
                  <a:gd name="T96" fmla="*/ 345 w 396"/>
                  <a:gd name="T97" fmla="*/ 347 h 548"/>
                  <a:gd name="T98" fmla="*/ 351 w 396"/>
                  <a:gd name="T99" fmla="*/ 331 h 548"/>
                  <a:gd name="T100" fmla="*/ 349 w 396"/>
                  <a:gd name="T101" fmla="*/ 321 h 548"/>
                  <a:gd name="T102" fmla="*/ 351 w 396"/>
                  <a:gd name="T103" fmla="*/ 309 h 548"/>
                  <a:gd name="T104" fmla="*/ 348 w 396"/>
                  <a:gd name="T105" fmla="*/ 298 h 548"/>
                  <a:gd name="T106" fmla="*/ 348 w 396"/>
                  <a:gd name="T107" fmla="*/ 277 h 548"/>
                  <a:gd name="T108" fmla="*/ 349 w 396"/>
                  <a:gd name="T109" fmla="*/ 238 h 548"/>
                  <a:gd name="T110" fmla="*/ 342 w 396"/>
                  <a:gd name="T111" fmla="*/ 232 h 548"/>
                  <a:gd name="T112" fmla="*/ 344 w 396"/>
                  <a:gd name="T113" fmla="*/ 218 h 548"/>
                  <a:gd name="T114" fmla="*/ 344 w 396"/>
                  <a:gd name="T115" fmla="*/ 212 h 548"/>
                  <a:gd name="T116" fmla="*/ 347 w 396"/>
                  <a:gd name="T117" fmla="*/ 195 h 548"/>
                  <a:gd name="T118" fmla="*/ 367 w 396"/>
                  <a:gd name="T119" fmla="*/ 195 h 548"/>
                  <a:gd name="T120" fmla="*/ 379 w 396"/>
                  <a:gd name="T121" fmla="*/ 180 h 548"/>
                  <a:gd name="T122" fmla="*/ 381 w 396"/>
                  <a:gd name="T123" fmla="*/ 161 h 548"/>
                  <a:gd name="T124" fmla="*/ 386 w 396"/>
                  <a:gd name="T125" fmla="*/ 131 h 54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96"/>
                  <a:gd name="T190" fmla="*/ 0 h 548"/>
                  <a:gd name="T191" fmla="*/ 396 w 396"/>
                  <a:gd name="T192" fmla="*/ 548 h 548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96" h="548">
                    <a:moveTo>
                      <a:pt x="392" y="121"/>
                    </a:moveTo>
                    <a:lnTo>
                      <a:pt x="392" y="118"/>
                    </a:lnTo>
                    <a:lnTo>
                      <a:pt x="392" y="116"/>
                    </a:lnTo>
                    <a:lnTo>
                      <a:pt x="392" y="114"/>
                    </a:lnTo>
                    <a:lnTo>
                      <a:pt x="391" y="113"/>
                    </a:lnTo>
                    <a:lnTo>
                      <a:pt x="392" y="111"/>
                    </a:lnTo>
                    <a:lnTo>
                      <a:pt x="392" y="110"/>
                    </a:lnTo>
                    <a:lnTo>
                      <a:pt x="392" y="107"/>
                    </a:lnTo>
                    <a:lnTo>
                      <a:pt x="393" y="105"/>
                    </a:lnTo>
                    <a:lnTo>
                      <a:pt x="396" y="104"/>
                    </a:lnTo>
                    <a:lnTo>
                      <a:pt x="392" y="104"/>
                    </a:lnTo>
                    <a:lnTo>
                      <a:pt x="390" y="103"/>
                    </a:lnTo>
                    <a:lnTo>
                      <a:pt x="386" y="99"/>
                    </a:lnTo>
                    <a:lnTo>
                      <a:pt x="384" y="96"/>
                    </a:lnTo>
                    <a:lnTo>
                      <a:pt x="379" y="95"/>
                    </a:lnTo>
                    <a:lnTo>
                      <a:pt x="378" y="94"/>
                    </a:lnTo>
                    <a:lnTo>
                      <a:pt x="375" y="95"/>
                    </a:lnTo>
                    <a:lnTo>
                      <a:pt x="373" y="94"/>
                    </a:lnTo>
                    <a:lnTo>
                      <a:pt x="373" y="93"/>
                    </a:lnTo>
                    <a:lnTo>
                      <a:pt x="375" y="94"/>
                    </a:lnTo>
                    <a:lnTo>
                      <a:pt x="376" y="89"/>
                    </a:lnTo>
                    <a:lnTo>
                      <a:pt x="376" y="87"/>
                    </a:lnTo>
                    <a:lnTo>
                      <a:pt x="376" y="86"/>
                    </a:lnTo>
                    <a:lnTo>
                      <a:pt x="376" y="83"/>
                    </a:lnTo>
                    <a:lnTo>
                      <a:pt x="373" y="83"/>
                    </a:lnTo>
                    <a:lnTo>
                      <a:pt x="371" y="82"/>
                    </a:lnTo>
                    <a:lnTo>
                      <a:pt x="369" y="81"/>
                    </a:lnTo>
                    <a:lnTo>
                      <a:pt x="365" y="81"/>
                    </a:lnTo>
                    <a:lnTo>
                      <a:pt x="363" y="82"/>
                    </a:lnTo>
                    <a:lnTo>
                      <a:pt x="363" y="79"/>
                    </a:lnTo>
                    <a:lnTo>
                      <a:pt x="362" y="75"/>
                    </a:lnTo>
                    <a:lnTo>
                      <a:pt x="360" y="74"/>
                    </a:lnTo>
                    <a:lnTo>
                      <a:pt x="359" y="75"/>
                    </a:lnTo>
                    <a:lnTo>
                      <a:pt x="359" y="74"/>
                    </a:lnTo>
                    <a:lnTo>
                      <a:pt x="357" y="71"/>
                    </a:lnTo>
                    <a:lnTo>
                      <a:pt x="356" y="71"/>
                    </a:lnTo>
                    <a:lnTo>
                      <a:pt x="356" y="65"/>
                    </a:lnTo>
                    <a:lnTo>
                      <a:pt x="354" y="64"/>
                    </a:lnTo>
                    <a:lnTo>
                      <a:pt x="353" y="62"/>
                    </a:lnTo>
                    <a:lnTo>
                      <a:pt x="351" y="62"/>
                    </a:lnTo>
                    <a:lnTo>
                      <a:pt x="350" y="61"/>
                    </a:lnTo>
                    <a:lnTo>
                      <a:pt x="349" y="63"/>
                    </a:lnTo>
                    <a:lnTo>
                      <a:pt x="348" y="63"/>
                    </a:lnTo>
                    <a:lnTo>
                      <a:pt x="346" y="62"/>
                    </a:lnTo>
                    <a:lnTo>
                      <a:pt x="346" y="63"/>
                    </a:lnTo>
                    <a:lnTo>
                      <a:pt x="346" y="64"/>
                    </a:lnTo>
                    <a:lnTo>
                      <a:pt x="339" y="64"/>
                    </a:lnTo>
                    <a:lnTo>
                      <a:pt x="337" y="63"/>
                    </a:lnTo>
                    <a:lnTo>
                      <a:pt x="329" y="61"/>
                    </a:lnTo>
                    <a:lnTo>
                      <a:pt x="329" y="60"/>
                    </a:lnTo>
                    <a:lnTo>
                      <a:pt x="328" y="59"/>
                    </a:lnTo>
                    <a:lnTo>
                      <a:pt x="328" y="58"/>
                    </a:lnTo>
                    <a:lnTo>
                      <a:pt x="326" y="56"/>
                    </a:lnTo>
                    <a:lnTo>
                      <a:pt x="327" y="55"/>
                    </a:lnTo>
                    <a:lnTo>
                      <a:pt x="326" y="54"/>
                    </a:lnTo>
                    <a:lnTo>
                      <a:pt x="324" y="53"/>
                    </a:lnTo>
                    <a:lnTo>
                      <a:pt x="323" y="51"/>
                    </a:lnTo>
                    <a:lnTo>
                      <a:pt x="322" y="51"/>
                    </a:lnTo>
                    <a:lnTo>
                      <a:pt x="321" y="50"/>
                    </a:lnTo>
                    <a:lnTo>
                      <a:pt x="318" y="50"/>
                    </a:lnTo>
                    <a:lnTo>
                      <a:pt x="317" y="47"/>
                    </a:lnTo>
                    <a:lnTo>
                      <a:pt x="315" y="47"/>
                    </a:lnTo>
                    <a:lnTo>
                      <a:pt x="313" y="46"/>
                    </a:lnTo>
                    <a:lnTo>
                      <a:pt x="314" y="42"/>
                    </a:lnTo>
                    <a:lnTo>
                      <a:pt x="315" y="43"/>
                    </a:lnTo>
                    <a:lnTo>
                      <a:pt x="316" y="42"/>
                    </a:lnTo>
                    <a:lnTo>
                      <a:pt x="320" y="42"/>
                    </a:lnTo>
                    <a:lnTo>
                      <a:pt x="323" y="44"/>
                    </a:lnTo>
                    <a:lnTo>
                      <a:pt x="323" y="43"/>
                    </a:lnTo>
                    <a:lnTo>
                      <a:pt x="321" y="42"/>
                    </a:lnTo>
                    <a:lnTo>
                      <a:pt x="320" y="42"/>
                    </a:lnTo>
                    <a:lnTo>
                      <a:pt x="319" y="37"/>
                    </a:lnTo>
                    <a:lnTo>
                      <a:pt x="318" y="37"/>
                    </a:lnTo>
                    <a:lnTo>
                      <a:pt x="313" y="37"/>
                    </a:lnTo>
                    <a:lnTo>
                      <a:pt x="311" y="40"/>
                    </a:lnTo>
                    <a:lnTo>
                      <a:pt x="309" y="40"/>
                    </a:lnTo>
                    <a:lnTo>
                      <a:pt x="308" y="38"/>
                    </a:lnTo>
                    <a:lnTo>
                      <a:pt x="308" y="37"/>
                    </a:lnTo>
                    <a:lnTo>
                      <a:pt x="308" y="36"/>
                    </a:lnTo>
                    <a:lnTo>
                      <a:pt x="307" y="36"/>
                    </a:lnTo>
                    <a:lnTo>
                      <a:pt x="306" y="34"/>
                    </a:lnTo>
                    <a:lnTo>
                      <a:pt x="305" y="36"/>
                    </a:lnTo>
                    <a:lnTo>
                      <a:pt x="299" y="34"/>
                    </a:lnTo>
                    <a:lnTo>
                      <a:pt x="298" y="37"/>
                    </a:lnTo>
                    <a:lnTo>
                      <a:pt x="296" y="37"/>
                    </a:lnTo>
                    <a:lnTo>
                      <a:pt x="295" y="40"/>
                    </a:lnTo>
                    <a:lnTo>
                      <a:pt x="294" y="40"/>
                    </a:lnTo>
                    <a:lnTo>
                      <a:pt x="293" y="39"/>
                    </a:lnTo>
                    <a:lnTo>
                      <a:pt x="293" y="36"/>
                    </a:lnTo>
                    <a:lnTo>
                      <a:pt x="288" y="36"/>
                    </a:lnTo>
                    <a:lnTo>
                      <a:pt x="286" y="36"/>
                    </a:lnTo>
                    <a:lnTo>
                      <a:pt x="286" y="34"/>
                    </a:lnTo>
                    <a:lnTo>
                      <a:pt x="288" y="32"/>
                    </a:lnTo>
                    <a:lnTo>
                      <a:pt x="288" y="30"/>
                    </a:lnTo>
                    <a:lnTo>
                      <a:pt x="290" y="29"/>
                    </a:lnTo>
                    <a:lnTo>
                      <a:pt x="291" y="29"/>
                    </a:lnTo>
                    <a:lnTo>
                      <a:pt x="290" y="27"/>
                    </a:lnTo>
                    <a:lnTo>
                      <a:pt x="292" y="25"/>
                    </a:lnTo>
                    <a:lnTo>
                      <a:pt x="292" y="23"/>
                    </a:lnTo>
                    <a:lnTo>
                      <a:pt x="294" y="24"/>
                    </a:lnTo>
                    <a:lnTo>
                      <a:pt x="296" y="24"/>
                    </a:lnTo>
                    <a:lnTo>
                      <a:pt x="297" y="20"/>
                    </a:lnTo>
                    <a:lnTo>
                      <a:pt x="296" y="17"/>
                    </a:lnTo>
                    <a:lnTo>
                      <a:pt x="294" y="16"/>
                    </a:lnTo>
                    <a:lnTo>
                      <a:pt x="294" y="13"/>
                    </a:lnTo>
                    <a:lnTo>
                      <a:pt x="292" y="15"/>
                    </a:lnTo>
                    <a:lnTo>
                      <a:pt x="291" y="13"/>
                    </a:lnTo>
                    <a:lnTo>
                      <a:pt x="292" y="10"/>
                    </a:lnTo>
                    <a:lnTo>
                      <a:pt x="291" y="9"/>
                    </a:lnTo>
                    <a:lnTo>
                      <a:pt x="291" y="12"/>
                    </a:lnTo>
                    <a:lnTo>
                      <a:pt x="288" y="13"/>
                    </a:lnTo>
                    <a:lnTo>
                      <a:pt x="287" y="13"/>
                    </a:lnTo>
                    <a:lnTo>
                      <a:pt x="286" y="13"/>
                    </a:lnTo>
                    <a:lnTo>
                      <a:pt x="283" y="14"/>
                    </a:lnTo>
                    <a:lnTo>
                      <a:pt x="282" y="13"/>
                    </a:lnTo>
                    <a:lnTo>
                      <a:pt x="282" y="7"/>
                    </a:lnTo>
                    <a:lnTo>
                      <a:pt x="281" y="7"/>
                    </a:lnTo>
                    <a:lnTo>
                      <a:pt x="280" y="7"/>
                    </a:lnTo>
                    <a:lnTo>
                      <a:pt x="279" y="7"/>
                    </a:lnTo>
                    <a:lnTo>
                      <a:pt x="280" y="4"/>
                    </a:lnTo>
                    <a:lnTo>
                      <a:pt x="278" y="3"/>
                    </a:lnTo>
                    <a:lnTo>
                      <a:pt x="278" y="2"/>
                    </a:lnTo>
                    <a:lnTo>
                      <a:pt x="280" y="2"/>
                    </a:lnTo>
                    <a:lnTo>
                      <a:pt x="279" y="1"/>
                    </a:lnTo>
                    <a:lnTo>
                      <a:pt x="277" y="2"/>
                    </a:lnTo>
                    <a:lnTo>
                      <a:pt x="276" y="2"/>
                    </a:lnTo>
                    <a:lnTo>
                      <a:pt x="275" y="3"/>
                    </a:lnTo>
                    <a:lnTo>
                      <a:pt x="275" y="6"/>
                    </a:lnTo>
                    <a:lnTo>
                      <a:pt x="273" y="6"/>
                    </a:lnTo>
                    <a:lnTo>
                      <a:pt x="272" y="7"/>
                    </a:lnTo>
                    <a:lnTo>
                      <a:pt x="270" y="7"/>
                    </a:lnTo>
                    <a:lnTo>
                      <a:pt x="271" y="3"/>
                    </a:lnTo>
                    <a:lnTo>
                      <a:pt x="271" y="0"/>
                    </a:lnTo>
                    <a:lnTo>
                      <a:pt x="270" y="0"/>
                    </a:lnTo>
                    <a:lnTo>
                      <a:pt x="270" y="1"/>
                    </a:lnTo>
                    <a:lnTo>
                      <a:pt x="265" y="0"/>
                    </a:lnTo>
                    <a:lnTo>
                      <a:pt x="264" y="0"/>
                    </a:lnTo>
                    <a:lnTo>
                      <a:pt x="264" y="1"/>
                    </a:lnTo>
                    <a:lnTo>
                      <a:pt x="263" y="2"/>
                    </a:lnTo>
                    <a:lnTo>
                      <a:pt x="262" y="1"/>
                    </a:lnTo>
                    <a:lnTo>
                      <a:pt x="261" y="0"/>
                    </a:lnTo>
                    <a:lnTo>
                      <a:pt x="259" y="0"/>
                    </a:lnTo>
                    <a:lnTo>
                      <a:pt x="261" y="1"/>
                    </a:lnTo>
                    <a:lnTo>
                      <a:pt x="261" y="2"/>
                    </a:lnTo>
                    <a:lnTo>
                      <a:pt x="257" y="9"/>
                    </a:lnTo>
                    <a:lnTo>
                      <a:pt x="258" y="11"/>
                    </a:lnTo>
                    <a:lnTo>
                      <a:pt x="261" y="10"/>
                    </a:lnTo>
                    <a:lnTo>
                      <a:pt x="261" y="12"/>
                    </a:lnTo>
                    <a:lnTo>
                      <a:pt x="262" y="12"/>
                    </a:lnTo>
                    <a:lnTo>
                      <a:pt x="262" y="14"/>
                    </a:lnTo>
                    <a:lnTo>
                      <a:pt x="261" y="15"/>
                    </a:lnTo>
                    <a:lnTo>
                      <a:pt x="260" y="18"/>
                    </a:lnTo>
                    <a:lnTo>
                      <a:pt x="257" y="19"/>
                    </a:lnTo>
                    <a:lnTo>
                      <a:pt x="256" y="17"/>
                    </a:lnTo>
                    <a:lnTo>
                      <a:pt x="255" y="17"/>
                    </a:lnTo>
                    <a:lnTo>
                      <a:pt x="256" y="20"/>
                    </a:lnTo>
                    <a:lnTo>
                      <a:pt x="256" y="21"/>
                    </a:lnTo>
                    <a:lnTo>
                      <a:pt x="254" y="20"/>
                    </a:lnTo>
                    <a:lnTo>
                      <a:pt x="252" y="21"/>
                    </a:lnTo>
                    <a:lnTo>
                      <a:pt x="249" y="20"/>
                    </a:lnTo>
                    <a:lnTo>
                      <a:pt x="249" y="23"/>
                    </a:lnTo>
                    <a:lnTo>
                      <a:pt x="247" y="23"/>
                    </a:lnTo>
                    <a:lnTo>
                      <a:pt x="247" y="20"/>
                    </a:lnTo>
                    <a:lnTo>
                      <a:pt x="246" y="23"/>
                    </a:lnTo>
                    <a:lnTo>
                      <a:pt x="245" y="22"/>
                    </a:lnTo>
                    <a:lnTo>
                      <a:pt x="244" y="20"/>
                    </a:lnTo>
                    <a:lnTo>
                      <a:pt x="242" y="20"/>
                    </a:lnTo>
                    <a:lnTo>
                      <a:pt x="243" y="22"/>
                    </a:lnTo>
                    <a:lnTo>
                      <a:pt x="242" y="23"/>
                    </a:lnTo>
                    <a:lnTo>
                      <a:pt x="241" y="24"/>
                    </a:lnTo>
                    <a:lnTo>
                      <a:pt x="242" y="24"/>
                    </a:lnTo>
                    <a:lnTo>
                      <a:pt x="244" y="26"/>
                    </a:lnTo>
                    <a:lnTo>
                      <a:pt x="242" y="26"/>
                    </a:lnTo>
                    <a:lnTo>
                      <a:pt x="244" y="32"/>
                    </a:lnTo>
                    <a:lnTo>
                      <a:pt x="244" y="33"/>
                    </a:lnTo>
                    <a:lnTo>
                      <a:pt x="242" y="33"/>
                    </a:lnTo>
                    <a:lnTo>
                      <a:pt x="239" y="37"/>
                    </a:lnTo>
                    <a:lnTo>
                      <a:pt x="239" y="41"/>
                    </a:lnTo>
                    <a:lnTo>
                      <a:pt x="241" y="44"/>
                    </a:lnTo>
                    <a:lnTo>
                      <a:pt x="239" y="45"/>
                    </a:lnTo>
                    <a:lnTo>
                      <a:pt x="237" y="46"/>
                    </a:lnTo>
                    <a:lnTo>
                      <a:pt x="233" y="43"/>
                    </a:lnTo>
                    <a:lnTo>
                      <a:pt x="230" y="38"/>
                    </a:lnTo>
                    <a:lnTo>
                      <a:pt x="228" y="36"/>
                    </a:lnTo>
                    <a:lnTo>
                      <a:pt x="228" y="35"/>
                    </a:lnTo>
                    <a:lnTo>
                      <a:pt x="228" y="33"/>
                    </a:lnTo>
                    <a:lnTo>
                      <a:pt x="227" y="37"/>
                    </a:lnTo>
                    <a:lnTo>
                      <a:pt x="226" y="36"/>
                    </a:lnTo>
                    <a:lnTo>
                      <a:pt x="226" y="34"/>
                    </a:lnTo>
                    <a:lnTo>
                      <a:pt x="226" y="33"/>
                    </a:lnTo>
                    <a:lnTo>
                      <a:pt x="225" y="33"/>
                    </a:lnTo>
                    <a:lnTo>
                      <a:pt x="225" y="32"/>
                    </a:lnTo>
                    <a:lnTo>
                      <a:pt x="224" y="32"/>
                    </a:lnTo>
                    <a:lnTo>
                      <a:pt x="223" y="30"/>
                    </a:lnTo>
                    <a:lnTo>
                      <a:pt x="223" y="31"/>
                    </a:lnTo>
                    <a:lnTo>
                      <a:pt x="222" y="31"/>
                    </a:lnTo>
                    <a:lnTo>
                      <a:pt x="222" y="29"/>
                    </a:lnTo>
                    <a:lnTo>
                      <a:pt x="221" y="29"/>
                    </a:lnTo>
                    <a:lnTo>
                      <a:pt x="218" y="28"/>
                    </a:lnTo>
                    <a:lnTo>
                      <a:pt x="219" y="28"/>
                    </a:lnTo>
                    <a:lnTo>
                      <a:pt x="219" y="26"/>
                    </a:lnTo>
                    <a:lnTo>
                      <a:pt x="216" y="28"/>
                    </a:lnTo>
                    <a:lnTo>
                      <a:pt x="214" y="27"/>
                    </a:lnTo>
                    <a:lnTo>
                      <a:pt x="214" y="28"/>
                    </a:lnTo>
                    <a:lnTo>
                      <a:pt x="213" y="26"/>
                    </a:lnTo>
                    <a:lnTo>
                      <a:pt x="211" y="28"/>
                    </a:lnTo>
                    <a:lnTo>
                      <a:pt x="209" y="25"/>
                    </a:lnTo>
                    <a:lnTo>
                      <a:pt x="208" y="26"/>
                    </a:lnTo>
                    <a:lnTo>
                      <a:pt x="207" y="25"/>
                    </a:lnTo>
                    <a:lnTo>
                      <a:pt x="207" y="23"/>
                    </a:lnTo>
                    <a:lnTo>
                      <a:pt x="206" y="23"/>
                    </a:lnTo>
                    <a:lnTo>
                      <a:pt x="206" y="20"/>
                    </a:lnTo>
                    <a:lnTo>
                      <a:pt x="204" y="23"/>
                    </a:lnTo>
                    <a:lnTo>
                      <a:pt x="203" y="23"/>
                    </a:lnTo>
                    <a:lnTo>
                      <a:pt x="201" y="24"/>
                    </a:lnTo>
                    <a:lnTo>
                      <a:pt x="201" y="23"/>
                    </a:lnTo>
                    <a:lnTo>
                      <a:pt x="201" y="24"/>
                    </a:lnTo>
                    <a:lnTo>
                      <a:pt x="201" y="28"/>
                    </a:lnTo>
                    <a:lnTo>
                      <a:pt x="199" y="28"/>
                    </a:lnTo>
                    <a:lnTo>
                      <a:pt x="197" y="26"/>
                    </a:lnTo>
                    <a:lnTo>
                      <a:pt x="196" y="29"/>
                    </a:lnTo>
                    <a:lnTo>
                      <a:pt x="198" y="29"/>
                    </a:lnTo>
                    <a:lnTo>
                      <a:pt x="198" y="30"/>
                    </a:lnTo>
                    <a:lnTo>
                      <a:pt x="196" y="32"/>
                    </a:lnTo>
                    <a:lnTo>
                      <a:pt x="193" y="30"/>
                    </a:lnTo>
                    <a:lnTo>
                      <a:pt x="192" y="31"/>
                    </a:lnTo>
                    <a:lnTo>
                      <a:pt x="191" y="33"/>
                    </a:lnTo>
                    <a:lnTo>
                      <a:pt x="190" y="34"/>
                    </a:lnTo>
                    <a:lnTo>
                      <a:pt x="187" y="33"/>
                    </a:lnTo>
                    <a:lnTo>
                      <a:pt x="187" y="35"/>
                    </a:lnTo>
                    <a:lnTo>
                      <a:pt x="186" y="36"/>
                    </a:lnTo>
                    <a:lnTo>
                      <a:pt x="184" y="36"/>
                    </a:lnTo>
                    <a:lnTo>
                      <a:pt x="182" y="37"/>
                    </a:lnTo>
                    <a:lnTo>
                      <a:pt x="182" y="38"/>
                    </a:lnTo>
                    <a:lnTo>
                      <a:pt x="181" y="40"/>
                    </a:lnTo>
                    <a:lnTo>
                      <a:pt x="180" y="37"/>
                    </a:lnTo>
                    <a:lnTo>
                      <a:pt x="176" y="37"/>
                    </a:lnTo>
                    <a:lnTo>
                      <a:pt x="176" y="43"/>
                    </a:lnTo>
                    <a:lnTo>
                      <a:pt x="175" y="43"/>
                    </a:lnTo>
                    <a:lnTo>
                      <a:pt x="176" y="42"/>
                    </a:lnTo>
                    <a:lnTo>
                      <a:pt x="174" y="41"/>
                    </a:lnTo>
                    <a:lnTo>
                      <a:pt x="172" y="43"/>
                    </a:lnTo>
                    <a:lnTo>
                      <a:pt x="169" y="42"/>
                    </a:lnTo>
                    <a:lnTo>
                      <a:pt x="166" y="42"/>
                    </a:lnTo>
                    <a:lnTo>
                      <a:pt x="164" y="43"/>
                    </a:lnTo>
                    <a:lnTo>
                      <a:pt x="163" y="46"/>
                    </a:lnTo>
                    <a:lnTo>
                      <a:pt x="166" y="51"/>
                    </a:lnTo>
                    <a:lnTo>
                      <a:pt x="166" y="53"/>
                    </a:lnTo>
                    <a:lnTo>
                      <a:pt x="164" y="52"/>
                    </a:lnTo>
                    <a:lnTo>
                      <a:pt x="163" y="53"/>
                    </a:lnTo>
                    <a:lnTo>
                      <a:pt x="164" y="53"/>
                    </a:lnTo>
                    <a:lnTo>
                      <a:pt x="163" y="54"/>
                    </a:lnTo>
                    <a:lnTo>
                      <a:pt x="164" y="55"/>
                    </a:lnTo>
                    <a:lnTo>
                      <a:pt x="164" y="57"/>
                    </a:lnTo>
                    <a:lnTo>
                      <a:pt x="163" y="59"/>
                    </a:lnTo>
                    <a:lnTo>
                      <a:pt x="162" y="60"/>
                    </a:lnTo>
                    <a:lnTo>
                      <a:pt x="161" y="59"/>
                    </a:lnTo>
                    <a:lnTo>
                      <a:pt x="160" y="60"/>
                    </a:lnTo>
                    <a:lnTo>
                      <a:pt x="158" y="61"/>
                    </a:lnTo>
                    <a:lnTo>
                      <a:pt x="156" y="63"/>
                    </a:lnTo>
                    <a:lnTo>
                      <a:pt x="155" y="63"/>
                    </a:lnTo>
                    <a:lnTo>
                      <a:pt x="155" y="64"/>
                    </a:lnTo>
                    <a:lnTo>
                      <a:pt x="153" y="63"/>
                    </a:lnTo>
                    <a:lnTo>
                      <a:pt x="153" y="66"/>
                    </a:lnTo>
                    <a:lnTo>
                      <a:pt x="152" y="66"/>
                    </a:lnTo>
                    <a:lnTo>
                      <a:pt x="148" y="63"/>
                    </a:lnTo>
                    <a:lnTo>
                      <a:pt x="147" y="61"/>
                    </a:lnTo>
                    <a:lnTo>
                      <a:pt x="147" y="60"/>
                    </a:lnTo>
                    <a:lnTo>
                      <a:pt x="145" y="59"/>
                    </a:lnTo>
                    <a:lnTo>
                      <a:pt x="143" y="58"/>
                    </a:lnTo>
                    <a:lnTo>
                      <a:pt x="139" y="62"/>
                    </a:lnTo>
                    <a:lnTo>
                      <a:pt x="136" y="60"/>
                    </a:lnTo>
                    <a:lnTo>
                      <a:pt x="133" y="60"/>
                    </a:lnTo>
                    <a:lnTo>
                      <a:pt x="132" y="61"/>
                    </a:lnTo>
                    <a:lnTo>
                      <a:pt x="132" y="58"/>
                    </a:lnTo>
                    <a:lnTo>
                      <a:pt x="130" y="55"/>
                    </a:lnTo>
                    <a:lnTo>
                      <a:pt x="127" y="57"/>
                    </a:lnTo>
                    <a:lnTo>
                      <a:pt x="125" y="55"/>
                    </a:lnTo>
                    <a:lnTo>
                      <a:pt x="125" y="57"/>
                    </a:lnTo>
                    <a:lnTo>
                      <a:pt x="124" y="57"/>
                    </a:lnTo>
                    <a:lnTo>
                      <a:pt x="123" y="55"/>
                    </a:lnTo>
                    <a:lnTo>
                      <a:pt x="124" y="54"/>
                    </a:lnTo>
                    <a:lnTo>
                      <a:pt x="123" y="54"/>
                    </a:lnTo>
                    <a:lnTo>
                      <a:pt x="123" y="53"/>
                    </a:lnTo>
                    <a:lnTo>
                      <a:pt x="122" y="52"/>
                    </a:lnTo>
                    <a:lnTo>
                      <a:pt x="120" y="52"/>
                    </a:lnTo>
                    <a:lnTo>
                      <a:pt x="119" y="50"/>
                    </a:lnTo>
                    <a:lnTo>
                      <a:pt x="117" y="50"/>
                    </a:lnTo>
                    <a:lnTo>
                      <a:pt x="116" y="52"/>
                    </a:lnTo>
                    <a:lnTo>
                      <a:pt x="114" y="53"/>
                    </a:lnTo>
                    <a:lnTo>
                      <a:pt x="112" y="54"/>
                    </a:lnTo>
                    <a:lnTo>
                      <a:pt x="111" y="53"/>
                    </a:lnTo>
                    <a:lnTo>
                      <a:pt x="110" y="51"/>
                    </a:lnTo>
                    <a:lnTo>
                      <a:pt x="109" y="52"/>
                    </a:lnTo>
                    <a:lnTo>
                      <a:pt x="109" y="53"/>
                    </a:lnTo>
                    <a:lnTo>
                      <a:pt x="106" y="53"/>
                    </a:lnTo>
                    <a:lnTo>
                      <a:pt x="104" y="51"/>
                    </a:lnTo>
                    <a:lnTo>
                      <a:pt x="104" y="53"/>
                    </a:lnTo>
                    <a:lnTo>
                      <a:pt x="100" y="56"/>
                    </a:lnTo>
                    <a:lnTo>
                      <a:pt x="98" y="56"/>
                    </a:lnTo>
                    <a:lnTo>
                      <a:pt x="96" y="54"/>
                    </a:lnTo>
                    <a:lnTo>
                      <a:pt x="93" y="53"/>
                    </a:lnTo>
                    <a:lnTo>
                      <a:pt x="92" y="53"/>
                    </a:lnTo>
                    <a:lnTo>
                      <a:pt x="94" y="56"/>
                    </a:lnTo>
                    <a:lnTo>
                      <a:pt x="94" y="60"/>
                    </a:lnTo>
                    <a:lnTo>
                      <a:pt x="89" y="59"/>
                    </a:lnTo>
                    <a:lnTo>
                      <a:pt x="84" y="60"/>
                    </a:lnTo>
                    <a:lnTo>
                      <a:pt x="85" y="62"/>
                    </a:lnTo>
                    <a:lnTo>
                      <a:pt x="85" y="66"/>
                    </a:lnTo>
                    <a:lnTo>
                      <a:pt x="85" y="68"/>
                    </a:lnTo>
                    <a:lnTo>
                      <a:pt x="82" y="67"/>
                    </a:lnTo>
                    <a:lnTo>
                      <a:pt x="82" y="66"/>
                    </a:lnTo>
                    <a:lnTo>
                      <a:pt x="82" y="65"/>
                    </a:lnTo>
                    <a:lnTo>
                      <a:pt x="82" y="59"/>
                    </a:lnTo>
                    <a:lnTo>
                      <a:pt x="80" y="57"/>
                    </a:lnTo>
                    <a:lnTo>
                      <a:pt x="76" y="54"/>
                    </a:lnTo>
                    <a:lnTo>
                      <a:pt x="71" y="54"/>
                    </a:lnTo>
                    <a:lnTo>
                      <a:pt x="71" y="56"/>
                    </a:lnTo>
                    <a:lnTo>
                      <a:pt x="70" y="55"/>
                    </a:lnTo>
                    <a:lnTo>
                      <a:pt x="70" y="57"/>
                    </a:lnTo>
                    <a:lnTo>
                      <a:pt x="68" y="57"/>
                    </a:lnTo>
                    <a:lnTo>
                      <a:pt x="66" y="57"/>
                    </a:lnTo>
                    <a:lnTo>
                      <a:pt x="66" y="62"/>
                    </a:lnTo>
                    <a:lnTo>
                      <a:pt x="63" y="60"/>
                    </a:lnTo>
                    <a:lnTo>
                      <a:pt x="62" y="63"/>
                    </a:lnTo>
                    <a:lnTo>
                      <a:pt x="61" y="60"/>
                    </a:lnTo>
                    <a:lnTo>
                      <a:pt x="58" y="57"/>
                    </a:lnTo>
                    <a:lnTo>
                      <a:pt x="54" y="57"/>
                    </a:lnTo>
                    <a:lnTo>
                      <a:pt x="50" y="55"/>
                    </a:lnTo>
                    <a:lnTo>
                      <a:pt x="49" y="59"/>
                    </a:lnTo>
                    <a:lnTo>
                      <a:pt x="47" y="61"/>
                    </a:lnTo>
                    <a:lnTo>
                      <a:pt x="46" y="61"/>
                    </a:lnTo>
                    <a:lnTo>
                      <a:pt x="41" y="64"/>
                    </a:lnTo>
                    <a:lnTo>
                      <a:pt x="40" y="66"/>
                    </a:lnTo>
                    <a:lnTo>
                      <a:pt x="40" y="70"/>
                    </a:lnTo>
                    <a:lnTo>
                      <a:pt x="38" y="72"/>
                    </a:lnTo>
                    <a:lnTo>
                      <a:pt x="37" y="75"/>
                    </a:lnTo>
                    <a:lnTo>
                      <a:pt x="33" y="75"/>
                    </a:lnTo>
                    <a:lnTo>
                      <a:pt x="32" y="84"/>
                    </a:lnTo>
                    <a:lnTo>
                      <a:pt x="31" y="83"/>
                    </a:lnTo>
                    <a:lnTo>
                      <a:pt x="30" y="83"/>
                    </a:lnTo>
                    <a:lnTo>
                      <a:pt x="29" y="81"/>
                    </a:lnTo>
                    <a:lnTo>
                      <a:pt x="28" y="81"/>
                    </a:lnTo>
                    <a:lnTo>
                      <a:pt x="26" y="83"/>
                    </a:lnTo>
                    <a:lnTo>
                      <a:pt x="24" y="85"/>
                    </a:lnTo>
                    <a:lnTo>
                      <a:pt x="25" y="89"/>
                    </a:lnTo>
                    <a:lnTo>
                      <a:pt x="24" y="91"/>
                    </a:lnTo>
                    <a:lnTo>
                      <a:pt x="23" y="94"/>
                    </a:lnTo>
                    <a:lnTo>
                      <a:pt x="21" y="94"/>
                    </a:lnTo>
                    <a:lnTo>
                      <a:pt x="21" y="95"/>
                    </a:lnTo>
                    <a:lnTo>
                      <a:pt x="22" y="100"/>
                    </a:lnTo>
                    <a:lnTo>
                      <a:pt x="20" y="102"/>
                    </a:lnTo>
                    <a:lnTo>
                      <a:pt x="22" y="104"/>
                    </a:lnTo>
                    <a:lnTo>
                      <a:pt x="22" y="106"/>
                    </a:lnTo>
                    <a:lnTo>
                      <a:pt x="21" y="107"/>
                    </a:lnTo>
                    <a:lnTo>
                      <a:pt x="21" y="106"/>
                    </a:lnTo>
                    <a:lnTo>
                      <a:pt x="2" y="114"/>
                    </a:lnTo>
                    <a:lnTo>
                      <a:pt x="0" y="118"/>
                    </a:lnTo>
                    <a:lnTo>
                      <a:pt x="1" y="121"/>
                    </a:lnTo>
                    <a:lnTo>
                      <a:pt x="0" y="123"/>
                    </a:lnTo>
                    <a:lnTo>
                      <a:pt x="1" y="125"/>
                    </a:lnTo>
                    <a:lnTo>
                      <a:pt x="2" y="127"/>
                    </a:lnTo>
                    <a:lnTo>
                      <a:pt x="1" y="128"/>
                    </a:lnTo>
                    <a:lnTo>
                      <a:pt x="5" y="130"/>
                    </a:lnTo>
                    <a:lnTo>
                      <a:pt x="5" y="131"/>
                    </a:lnTo>
                    <a:lnTo>
                      <a:pt x="5" y="134"/>
                    </a:lnTo>
                    <a:lnTo>
                      <a:pt x="7" y="142"/>
                    </a:lnTo>
                    <a:lnTo>
                      <a:pt x="9" y="144"/>
                    </a:lnTo>
                    <a:lnTo>
                      <a:pt x="12" y="145"/>
                    </a:lnTo>
                    <a:lnTo>
                      <a:pt x="18" y="150"/>
                    </a:lnTo>
                    <a:lnTo>
                      <a:pt x="18" y="153"/>
                    </a:lnTo>
                    <a:lnTo>
                      <a:pt x="21" y="154"/>
                    </a:lnTo>
                    <a:lnTo>
                      <a:pt x="22" y="154"/>
                    </a:lnTo>
                    <a:lnTo>
                      <a:pt x="23" y="155"/>
                    </a:lnTo>
                    <a:lnTo>
                      <a:pt x="26" y="154"/>
                    </a:lnTo>
                    <a:lnTo>
                      <a:pt x="28" y="155"/>
                    </a:lnTo>
                    <a:lnTo>
                      <a:pt x="27" y="159"/>
                    </a:lnTo>
                    <a:lnTo>
                      <a:pt x="29" y="165"/>
                    </a:lnTo>
                    <a:lnTo>
                      <a:pt x="26" y="168"/>
                    </a:lnTo>
                    <a:lnTo>
                      <a:pt x="27" y="171"/>
                    </a:lnTo>
                    <a:lnTo>
                      <a:pt x="24" y="173"/>
                    </a:lnTo>
                    <a:lnTo>
                      <a:pt x="24" y="174"/>
                    </a:lnTo>
                    <a:lnTo>
                      <a:pt x="24" y="175"/>
                    </a:lnTo>
                    <a:lnTo>
                      <a:pt x="26" y="176"/>
                    </a:lnTo>
                    <a:lnTo>
                      <a:pt x="27" y="177"/>
                    </a:lnTo>
                    <a:lnTo>
                      <a:pt x="26" y="178"/>
                    </a:lnTo>
                    <a:lnTo>
                      <a:pt x="24" y="180"/>
                    </a:lnTo>
                    <a:lnTo>
                      <a:pt x="24" y="183"/>
                    </a:lnTo>
                    <a:lnTo>
                      <a:pt x="27" y="184"/>
                    </a:lnTo>
                    <a:lnTo>
                      <a:pt x="27" y="185"/>
                    </a:lnTo>
                    <a:lnTo>
                      <a:pt x="25" y="185"/>
                    </a:lnTo>
                    <a:lnTo>
                      <a:pt x="25" y="187"/>
                    </a:lnTo>
                    <a:lnTo>
                      <a:pt x="27" y="188"/>
                    </a:lnTo>
                    <a:lnTo>
                      <a:pt x="30" y="187"/>
                    </a:lnTo>
                    <a:lnTo>
                      <a:pt x="33" y="187"/>
                    </a:lnTo>
                    <a:lnTo>
                      <a:pt x="34" y="188"/>
                    </a:lnTo>
                    <a:lnTo>
                      <a:pt x="33" y="189"/>
                    </a:lnTo>
                    <a:lnTo>
                      <a:pt x="32" y="190"/>
                    </a:lnTo>
                    <a:lnTo>
                      <a:pt x="34" y="193"/>
                    </a:lnTo>
                    <a:lnTo>
                      <a:pt x="33" y="199"/>
                    </a:lnTo>
                    <a:lnTo>
                      <a:pt x="36" y="205"/>
                    </a:lnTo>
                    <a:lnTo>
                      <a:pt x="34" y="212"/>
                    </a:lnTo>
                    <a:lnTo>
                      <a:pt x="34" y="217"/>
                    </a:lnTo>
                    <a:lnTo>
                      <a:pt x="35" y="219"/>
                    </a:lnTo>
                    <a:lnTo>
                      <a:pt x="35" y="222"/>
                    </a:lnTo>
                    <a:lnTo>
                      <a:pt x="37" y="225"/>
                    </a:lnTo>
                    <a:lnTo>
                      <a:pt x="38" y="226"/>
                    </a:lnTo>
                    <a:lnTo>
                      <a:pt x="36" y="228"/>
                    </a:lnTo>
                    <a:lnTo>
                      <a:pt x="40" y="232"/>
                    </a:lnTo>
                    <a:lnTo>
                      <a:pt x="42" y="232"/>
                    </a:lnTo>
                    <a:lnTo>
                      <a:pt x="42" y="234"/>
                    </a:lnTo>
                    <a:lnTo>
                      <a:pt x="43" y="233"/>
                    </a:lnTo>
                    <a:lnTo>
                      <a:pt x="44" y="234"/>
                    </a:lnTo>
                    <a:lnTo>
                      <a:pt x="46" y="234"/>
                    </a:lnTo>
                    <a:lnTo>
                      <a:pt x="47" y="233"/>
                    </a:lnTo>
                    <a:lnTo>
                      <a:pt x="49" y="232"/>
                    </a:lnTo>
                    <a:lnTo>
                      <a:pt x="50" y="238"/>
                    </a:lnTo>
                    <a:lnTo>
                      <a:pt x="49" y="239"/>
                    </a:lnTo>
                    <a:lnTo>
                      <a:pt x="49" y="243"/>
                    </a:lnTo>
                    <a:lnTo>
                      <a:pt x="47" y="247"/>
                    </a:lnTo>
                    <a:lnTo>
                      <a:pt x="48" y="251"/>
                    </a:lnTo>
                    <a:lnTo>
                      <a:pt x="47" y="254"/>
                    </a:lnTo>
                    <a:lnTo>
                      <a:pt x="43" y="259"/>
                    </a:lnTo>
                    <a:lnTo>
                      <a:pt x="45" y="259"/>
                    </a:lnTo>
                    <a:lnTo>
                      <a:pt x="46" y="262"/>
                    </a:lnTo>
                    <a:lnTo>
                      <a:pt x="47" y="263"/>
                    </a:lnTo>
                    <a:lnTo>
                      <a:pt x="49" y="271"/>
                    </a:lnTo>
                    <a:lnTo>
                      <a:pt x="48" y="272"/>
                    </a:lnTo>
                    <a:lnTo>
                      <a:pt x="48" y="277"/>
                    </a:lnTo>
                    <a:lnTo>
                      <a:pt x="47" y="279"/>
                    </a:lnTo>
                    <a:lnTo>
                      <a:pt x="53" y="284"/>
                    </a:lnTo>
                    <a:lnTo>
                      <a:pt x="61" y="286"/>
                    </a:lnTo>
                    <a:lnTo>
                      <a:pt x="62" y="291"/>
                    </a:lnTo>
                    <a:lnTo>
                      <a:pt x="66" y="294"/>
                    </a:lnTo>
                    <a:lnTo>
                      <a:pt x="72" y="302"/>
                    </a:lnTo>
                    <a:lnTo>
                      <a:pt x="72" y="308"/>
                    </a:lnTo>
                    <a:lnTo>
                      <a:pt x="71" y="312"/>
                    </a:lnTo>
                    <a:lnTo>
                      <a:pt x="73" y="317"/>
                    </a:lnTo>
                    <a:lnTo>
                      <a:pt x="75" y="318"/>
                    </a:lnTo>
                    <a:lnTo>
                      <a:pt x="76" y="320"/>
                    </a:lnTo>
                    <a:lnTo>
                      <a:pt x="74" y="324"/>
                    </a:lnTo>
                    <a:lnTo>
                      <a:pt x="74" y="325"/>
                    </a:lnTo>
                    <a:lnTo>
                      <a:pt x="76" y="326"/>
                    </a:lnTo>
                    <a:lnTo>
                      <a:pt x="79" y="329"/>
                    </a:lnTo>
                    <a:lnTo>
                      <a:pt x="83" y="330"/>
                    </a:lnTo>
                    <a:lnTo>
                      <a:pt x="90" y="331"/>
                    </a:lnTo>
                    <a:lnTo>
                      <a:pt x="92" y="331"/>
                    </a:lnTo>
                    <a:lnTo>
                      <a:pt x="92" y="330"/>
                    </a:lnTo>
                    <a:lnTo>
                      <a:pt x="93" y="330"/>
                    </a:lnTo>
                    <a:lnTo>
                      <a:pt x="94" y="333"/>
                    </a:lnTo>
                    <a:lnTo>
                      <a:pt x="96" y="333"/>
                    </a:lnTo>
                    <a:lnTo>
                      <a:pt x="100" y="337"/>
                    </a:lnTo>
                    <a:lnTo>
                      <a:pt x="103" y="338"/>
                    </a:lnTo>
                    <a:lnTo>
                      <a:pt x="103" y="334"/>
                    </a:lnTo>
                    <a:lnTo>
                      <a:pt x="103" y="332"/>
                    </a:lnTo>
                    <a:lnTo>
                      <a:pt x="103" y="329"/>
                    </a:lnTo>
                    <a:lnTo>
                      <a:pt x="109" y="331"/>
                    </a:lnTo>
                    <a:lnTo>
                      <a:pt x="111" y="333"/>
                    </a:lnTo>
                    <a:lnTo>
                      <a:pt x="112" y="334"/>
                    </a:lnTo>
                    <a:lnTo>
                      <a:pt x="115" y="333"/>
                    </a:lnTo>
                    <a:lnTo>
                      <a:pt x="118" y="336"/>
                    </a:lnTo>
                    <a:lnTo>
                      <a:pt x="120" y="336"/>
                    </a:lnTo>
                    <a:lnTo>
                      <a:pt x="121" y="336"/>
                    </a:lnTo>
                    <a:lnTo>
                      <a:pt x="123" y="339"/>
                    </a:lnTo>
                    <a:lnTo>
                      <a:pt x="124" y="339"/>
                    </a:lnTo>
                    <a:lnTo>
                      <a:pt x="127" y="341"/>
                    </a:lnTo>
                    <a:lnTo>
                      <a:pt x="130" y="347"/>
                    </a:lnTo>
                    <a:lnTo>
                      <a:pt x="131" y="350"/>
                    </a:lnTo>
                    <a:lnTo>
                      <a:pt x="133" y="353"/>
                    </a:lnTo>
                    <a:lnTo>
                      <a:pt x="134" y="356"/>
                    </a:lnTo>
                    <a:lnTo>
                      <a:pt x="139" y="358"/>
                    </a:lnTo>
                    <a:lnTo>
                      <a:pt x="139" y="366"/>
                    </a:lnTo>
                    <a:lnTo>
                      <a:pt x="138" y="366"/>
                    </a:lnTo>
                    <a:lnTo>
                      <a:pt x="137" y="369"/>
                    </a:lnTo>
                    <a:lnTo>
                      <a:pt x="138" y="376"/>
                    </a:lnTo>
                    <a:lnTo>
                      <a:pt x="144" y="377"/>
                    </a:lnTo>
                    <a:lnTo>
                      <a:pt x="144" y="379"/>
                    </a:lnTo>
                    <a:lnTo>
                      <a:pt x="144" y="381"/>
                    </a:lnTo>
                    <a:lnTo>
                      <a:pt x="144" y="383"/>
                    </a:lnTo>
                    <a:lnTo>
                      <a:pt x="146" y="384"/>
                    </a:lnTo>
                    <a:lnTo>
                      <a:pt x="147" y="387"/>
                    </a:lnTo>
                    <a:lnTo>
                      <a:pt x="150" y="387"/>
                    </a:lnTo>
                    <a:lnTo>
                      <a:pt x="151" y="389"/>
                    </a:lnTo>
                    <a:lnTo>
                      <a:pt x="152" y="391"/>
                    </a:lnTo>
                    <a:lnTo>
                      <a:pt x="150" y="395"/>
                    </a:lnTo>
                    <a:lnTo>
                      <a:pt x="157" y="402"/>
                    </a:lnTo>
                    <a:lnTo>
                      <a:pt x="156" y="405"/>
                    </a:lnTo>
                    <a:lnTo>
                      <a:pt x="155" y="407"/>
                    </a:lnTo>
                    <a:lnTo>
                      <a:pt x="155" y="408"/>
                    </a:lnTo>
                    <a:lnTo>
                      <a:pt x="158" y="412"/>
                    </a:lnTo>
                    <a:lnTo>
                      <a:pt x="160" y="412"/>
                    </a:lnTo>
                    <a:lnTo>
                      <a:pt x="162" y="415"/>
                    </a:lnTo>
                    <a:lnTo>
                      <a:pt x="163" y="416"/>
                    </a:lnTo>
                    <a:lnTo>
                      <a:pt x="164" y="419"/>
                    </a:lnTo>
                    <a:lnTo>
                      <a:pt x="168" y="424"/>
                    </a:lnTo>
                    <a:lnTo>
                      <a:pt x="170" y="425"/>
                    </a:lnTo>
                    <a:lnTo>
                      <a:pt x="171" y="427"/>
                    </a:lnTo>
                    <a:lnTo>
                      <a:pt x="171" y="430"/>
                    </a:lnTo>
                    <a:lnTo>
                      <a:pt x="168" y="439"/>
                    </a:lnTo>
                    <a:lnTo>
                      <a:pt x="171" y="444"/>
                    </a:lnTo>
                    <a:lnTo>
                      <a:pt x="176" y="451"/>
                    </a:lnTo>
                    <a:lnTo>
                      <a:pt x="184" y="456"/>
                    </a:lnTo>
                    <a:lnTo>
                      <a:pt x="190" y="455"/>
                    </a:lnTo>
                    <a:lnTo>
                      <a:pt x="196" y="455"/>
                    </a:lnTo>
                    <a:lnTo>
                      <a:pt x="198" y="456"/>
                    </a:lnTo>
                    <a:lnTo>
                      <a:pt x="204" y="463"/>
                    </a:lnTo>
                    <a:lnTo>
                      <a:pt x="205" y="464"/>
                    </a:lnTo>
                    <a:lnTo>
                      <a:pt x="207" y="466"/>
                    </a:lnTo>
                    <a:lnTo>
                      <a:pt x="207" y="468"/>
                    </a:lnTo>
                    <a:lnTo>
                      <a:pt x="210" y="470"/>
                    </a:lnTo>
                    <a:lnTo>
                      <a:pt x="212" y="473"/>
                    </a:lnTo>
                    <a:lnTo>
                      <a:pt x="212" y="476"/>
                    </a:lnTo>
                    <a:lnTo>
                      <a:pt x="214" y="478"/>
                    </a:lnTo>
                    <a:lnTo>
                      <a:pt x="216" y="482"/>
                    </a:lnTo>
                    <a:lnTo>
                      <a:pt x="217" y="483"/>
                    </a:lnTo>
                    <a:lnTo>
                      <a:pt x="218" y="484"/>
                    </a:lnTo>
                    <a:lnTo>
                      <a:pt x="219" y="489"/>
                    </a:lnTo>
                    <a:lnTo>
                      <a:pt x="221" y="489"/>
                    </a:lnTo>
                    <a:lnTo>
                      <a:pt x="221" y="491"/>
                    </a:lnTo>
                    <a:lnTo>
                      <a:pt x="223" y="491"/>
                    </a:lnTo>
                    <a:lnTo>
                      <a:pt x="224" y="492"/>
                    </a:lnTo>
                    <a:lnTo>
                      <a:pt x="223" y="495"/>
                    </a:lnTo>
                    <a:lnTo>
                      <a:pt x="222" y="496"/>
                    </a:lnTo>
                    <a:lnTo>
                      <a:pt x="223" y="499"/>
                    </a:lnTo>
                    <a:lnTo>
                      <a:pt x="225" y="505"/>
                    </a:lnTo>
                    <a:lnTo>
                      <a:pt x="223" y="507"/>
                    </a:lnTo>
                    <a:lnTo>
                      <a:pt x="222" y="510"/>
                    </a:lnTo>
                    <a:lnTo>
                      <a:pt x="224" y="515"/>
                    </a:lnTo>
                    <a:lnTo>
                      <a:pt x="222" y="519"/>
                    </a:lnTo>
                    <a:lnTo>
                      <a:pt x="221" y="522"/>
                    </a:lnTo>
                    <a:lnTo>
                      <a:pt x="227" y="528"/>
                    </a:lnTo>
                    <a:lnTo>
                      <a:pt x="227" y="530"/>
                    </a:lnTo>
                    <a:lnTo>
                      <a:pt x="229" y="531"/>
                    </a:lnTo>
                    <a:lnTo>
                      <a:pt x="231" y="534"/>
                    </a:lnTo>
                    <a:lnTo>
                      <a:pt x="236" y="537"/>
                    </a:lnTo>
                    <a:lnTo>
                      <a:pt x="237" y="540"/>
                    </a:lnTo>
                    <a:lnTo>
                      <a:pt x="241" y="543"/>
                    </a:lnTo>
                    <a:lnTo>
                      <a:pt x="241" y="545"/>
                    </a:lnTo>
                    <a:lnTo>
                      <a:pt x="244" y="548"/>
                    </a:lnTo>
                    <a:lnTo>
                      <a:pt x="247" y="548"/>
                    </a:lnTo>
                    <a:lnTo>
                      <a:pt x="248" y="539"/>
                    </a:lnTo>
                    <a:lnTo>
                      <a:pt x="249" y="535"/>
                    </a:lnTo>
                    <a:lnTo>
                      <a:pt x="251" y="536"/>
                    </a:lnTo>
                    <a:lnTo>
                      <a:pt x="254" y="534"/>
                    </a:lnTo>
                    <a:lnTo>
                      <a:pt x="256" y="534"/>
                    </a:lnTo>
                    <a:lnTo>
                      <a:pt x="259" y="538"/>
                    </a:lnTo>
                    <a:lnTo>
                      <a:pt x="261" y="538"/>
                    </a:lnTo>
                    <a:lnTo>
                      <a:pt x="261" y="535"/>
                    </a:lnTo>
                    <a:lnTo>
                      <a:pt x="262" y="533"/>
                    </a:lnTo>
                    <a:lnTo>
                      <a:pt x="259" y="532"/>
                    </a:lnTo>
                    <a:lnTo>
                      <a:pt x="258" y="529"/>
                    </a:lnTo>
                    <a:lnTo>
                      <a:pt x="259" y="526"/>
                    </a:lnTo>
                    <a:lnTo>
                      <a:pt x="259" y="524"/>
                    </a:lnTo>
                    <a:lnTo>
                      <a:pt x="262" y="521"/>
                    </a:lnTo>
                    <a:lnTo>
                      <a:pt x="262" y="519"/>
                    </a:lnTo>
                    <a:lnTo>
                      <a:pt x="262" y="516"/>
                    </a:lnTo>
                    <a:lnTo>
                      <a:pt x="262" y="515"/>
                    </a:lnTo>
                    <a:lnTo>
                      <a:pt x="265" y="511"/>
                    </a:lnTo>
                    <a:lnTo>
                      <a:pt x="267" y="506"/>
                    </a:lnTo>
                    <a:lnTo>
                      <a:pt x="271" y="502"/>
                    </a:lnTo>
                    <a:lnTo>
                      <a:pt x="271" y="500"/>
                    </a:lnTo>
                    <a:lnTo>
                      <a:pt x="272" y="500"/>
                    </a:lnTo>
                    <a:lnTo>
                      <a:pt x="272" y="502"/>
                    </a:lnTo>
                    <a:lnTo>
                      <a:pt x="273" y="502"/>
                    </a:lnTo>
                    <a:lnTo>
                      <a:pt x="275" y="504"/>
                    </a:lnTo>
                    <a:lnTo>
                      <a:pt x="280" y="500"/>
                    </a:lnTo>
                    <a:lnTo>
                      <a:pt x="282" y="496"/>
                    </a:lnTo>
                    <a:lnTo>
                      <a:pt x="282" y="495"/>
                    </a:lnTo>
                    <a:lnTo>
                      <a:pt x="282" y="492"/>
                    </a:lnTo>
                    <a:lnTo>
                      <a:pt x="280" y="487"/>
                    </a:lnTo>
                    <a:lnTo>
                      <a:pt x="281" y="484"/>
                    </a:lnTo>
                    <a:lnTo>
                      <a:pt x="280" y="483"/>
                    </a:lnTo>
                    <a:lnTo>
                      <a:pt x="278" y="480"/>
                    </a:lnTo>
                    <a:lnTo>
                      <a:pt x="277" y="476"/>
                    </a:lnTo>
                    <a:lnTo>
                      <a:pt x="277" y="475"/>
                    </a:lnTo>
                    <a:lnTo>
                      <a:pt x="282" y="475"/>
                    </a:lnTo>
                    <a:lnTo>
                      <a:pt x="282" y="474"/>
                    </a:lnTo>
                    <a:lnTo>
                      <a:pt x="282" y="468"/>
                    </a:lnTo>
                    <a:lnTo>
                      <a:pt x="281" y="468"/>
                    </a:lnTo>
                    <a:lnTo>
                      <a:pt x="282" y="466"/>
                    </a:lnTo>
                    <a:lnTo>
                      <a:pt x="282" y="464"/>
                    </a:lnTo>
                    <a:lnTo>
                      <a:pt x="283" y="461"/>
                    </a:lnTo>
                    <a:lnTo>
                      <a:pt x="285" y="460"/>
                    </a:lnTo>
                    <a:lnTo>
                      <a:pt x="285" y="458"/>
                    </a:lnTo>
                    <a:lnTo>
                      <a:pt x="282" y="457"/>
                    </a:lnTo>
                    <a:lnTo>
                      <a:pt x="283" y="456"/>
                    </a:lnTo>
                    <a:lnTo>
                      <a:pt x="288" y="457"/>
                    </a:lnTo>
                    <a:lnTo>
                      <a:pt x="288" y="458"/>
                    </a:lnTo>
                    <a:lnTo>
                      <a:pt x="286" y="458"/>
                    </a:lnTo>
                    <a:lnTo>
                      <a:pt x="290" y="460"/>
                    </a:lnTo>
                    <a:lnTo>
                      <a:pt x="291" y="460"/>
                    </a:lnTo>
                    <a:lnTo>
                      <a:pt x="292" y="462"/>
                    </a:lnTo>
                    <a:lnTo>
                      <a:pt x="293" y="463"/>
                    </a:lnTo>
                    <a:lnTo>
                      <a:pt x="297" y="460"/>
                    </a:lnTo>
                    <a:lnTo>
                      <a:pt x="298" y="458"/>
                    </a:lnTo>
                    <a:lnTo>
                      <a:pt x="299" y="458"/>
                    </a:lnTo>
                    <a:lnTo>
                      <a:pt x="301" y="458"/>
                    </a:lnTo>
                    <a:lnTo>
                      <a:pt x="301" y="457"/>
                    </a:lnTo>
                    <a:lnTo>
                      <a:pt x="302" y="456"/>
                    </a:lnTo>
                    <a:lnTo>
                      <a:pt x="302" y="454"/>
                    </a:lnTo>
                    <a:lnTo>
                      <a:pt x="305" y="455"/>
                    </a:lnTo>
                    <a:lnTo>
                      <a:pt x="307" y="453"/>
                    </a:lnTo>
                    <a:lnTo>
                      <a:pt x="308" y="454"/>
                    </a:lnTo>
                    <a:lnTo>
                      <a:pt x="309" y="453"/>
                    </a:lnTo>
                    <a:lnTo>
                      <a:pt x="310" y="454"/>
                    </a:lnTo>
                    <a:lnTo>
                      <a:pt x="311" y="454"/>
                    </a:lnTo>
                    <a:lnTo>
                      <a:pt x="311" y="456"/>
                    </a:lnTo>
                    <a:lnTo>
                      <a:pt x="311" y="455"/>
                    </a:lnTo>
                    <a:lnTo>
                      <a:pt x="313" y="453"/>
                    </a:lnTo>
                    <a:lnTo>
                      <a:pt x="311" y="453"/>
                    </a:lnTo>
                    <a:lnTo>
                      <a:pt x="310" y="452"/>
                    </a:lnTo>
                    <a:lnTo>
                      <a:pt x="312" y="451"/>
                    </a:lnTo>
                    <a:lnTo>
                      <a:pt x="313" y="444"/>
                    </a:lnTo>
                    <a:lnTo>
                      <a:pt x="316" y="440"/>
                    </a:lnTo>
                    <a:lnTo>
                      <a:pt x="317" y="440"/>
                    </a:lnTo>
                    <a:lnTo>
                      <a:pt x="319" y="441"/>
                    </a:lnTo>
                    <a:lnTo>
                      <a:pt x="321" y="440"/>
                    </a:lnTo>
                    <a:lnTo>
                      <a:pt x="320" y="437"/>
                    </a:lnTo>
                    <a:lnTo>
                      <a:pt x="320" y="434"/>
                    </a:lnTo>
                    <a:lnTo>
                      <a:pt x="319" y="433"/>
                    </a:lnTo>
                    <a:lnTo>
                      <a:pt x="319" y="432"/>
                    </a:lnTo>
                    <a:lnTo>
                      <a:pt x="316" y="430"/>
                    </a:lnTo>
                    <a:lnTo>
                      <a:pt x="316" y="427"/>
                    </a:lnTo>
                    <a:lnTo>
                      <a:pt x="315" y="428"/>
                    </a:lnTo>
                    <a:lnTo>
                      <a:pt x="315" y="425"/>
                    </a:lnTo>
                    <a:lnTo>
                      <a:pt x="316" y="425"/>
                    </a:lnTo>
                    <a:lnTo>
                      <a:pt x="314" y="425"/>
                    </a:lnTo>
                    <a:lnTo>
                      <a:pt x="314" y="423"/>
                    </a:lnTo>
                    <a:lnTo>
                      <a:pt x="315" y="423"/>
                    </a:lnTo>
                    <a:lnTo>
                      <a:pt x="316" y="423"/>
                    </a:lnTo>
                    <a:lnTo>
                      <a:pt x="316" y="422"/>
                    </a:lnTo>
                    <a:lnTo>
                      <a:pt x="316" y="421"/>
                    </a:lnTo>
                    <a:lnTo>
                      <a:pt x="318" y="419"/>
                    </a:lnTo>
                    <a:lnTo>
                      <a:pt x="321" y="421"/>
                    </a:lnTo>
                    <a:lnTo>
                      <a:pt x="321" y="418"/>
                    </a:lnTo>
                    <a:lnTo>
                      <a:pt x="320" y="417"/>
                    </a:lnTo>
                    <a:lnTo>
                      <a:pt x="321" y="415"/>
                    </a:lnTo>
                    <a:lnTo>
                      <a:pt x="322" y="417"/>
                    </a:lnTo>
                    <a:lnTo>
                      <a:pt x="325" y="418"/>
                    </a:lnTo>
                    <a:lnTo>
                      <a:pt x="326" y="418"/>
                    </a:lnTo>
                    <a:lnTo>
                      <a:pt x="324" y="415"/>
                    </a:lnTo>
                    <a:lnTo>
                      <a:pt x="327" y="412"/>
                    </a:lnTo>
                    <a:lnTo>
                      <a:pt x="329" y="412"/>
                    </a:lnTo>
                    <a:lnTo>
                      <a:pt x="328" y="411"/>
                    </a:lnTo>
                    <a:lnTo>
                      <a:pt x="327" y="411"/>
                    </a:lnTo>
                    <a:lnTo>
                      <a:pt x="323" y="411"/>
                    </a:lnTo>
                    <a:lnTo>
                      <a:pt x="322" y="410"/>
                    </a:lnTo>
                    <a:lnTo>
                      <a:pt x="321" y="410"/>
                    </a:lnTo>
                    <a:lnTo>
                      <a:pt x="321" y="406"/>
                    </a:lnTo>
                    <a:lnTo>
                      <a:pt x="321" y="402"/>
                    </a:lnTo>
                    <a:lnTo>
                      <a:pt x="320" y="400"/>
                    </a:lnTo>
                    <a:lnTo>
                      <a:pt x="321" y="400"/>
                    </a:lnTo>
                    <a:lnTo>
                      <a:pt x="323" y="400"/>
                    </a:lnTo>
                    <a:lnTo>
                      <a:pt x="325" y="400"/>
                    </a:lnTo>
                    <a:lnTo>
                      <a:pt x="326" y="402"/>
                    </a:lnTo>
                    <a:lnTo>
                      <a:pt x="327" y="402"/>
                    </a:lnTo>
                    <a:lnTo>
                      <a:pt x="329" y="402"/>
                    </a:lnTo>
                    <a:lnTo>
                      <a:pt x="329" y="399"/>
                    </a:lnTo>
                    <a:lnTo>
                      <a:pt x="330" y="398"/>
                    </a:lnTo>
                    <a:lnTo>
                      <a:pt x="331" y="396"/>
                    </a:lnTo>
                    <a:lnTo>
                      <a:pt x="330" y="395"/>
                    </a:lnTo>
                    <a:lnTo>
                      <a:pt x="329" y="395"/>
                    </a:lnTo>
                    <a:lnTo>
                      <a:pt x="327" y="392"/>
                    </a:lnTo>
                    <a:lnTo>
                      <a:pt x="328" y="392"/>
                    </a:lnTo>
                    <a:lnTo>
                      <a:pt x="329" y="391"/>
                    </a:lnTo>
                    <a:lnTo>
                      <a:pt x="329" y="387"/>
                    </a:lnTo>
                    <a:lnTo>
                      <a:pt x="332" y="389"/>
                    </a:lnTo>
                    <a:lnTo>
                      <a:pt x="333" y="384"/>
                    </a:lnTo>
                    <a:lnTo>
                      <a:pt x="335" y="384"/>
                    </a:lnTo>
                    <a:lnTo>
                      <a:pt x="336" y="384"/>
                    </a:lnTo>
                    <a:lnTo>
                      <a:pt x="337" y="382"/>
                    </a:lnTo>
                    <a:lnTo>
                      <a:pt x="338" y="381"/>
                    </a:lnTo>
                    <a:lnTo>
                      <a:pt x="342" y="383"/>
                    </a:lnTo>
                    <a:lnTo>
                      <a:pt x="342" y="382"/>
                    </a:lnTo>
                    <a:lnTo>
                      <a:pt x="343" y="381"/>
                    </a:lnTo>
                    <a:lnTo>
                      <a:pt x="342" y="377"/>
                    </a:lnTo>
                    <a:lnTo>
                      <a:pt x="343" y="377"/>
                    </a:lnTo>
                    <a:lnTo>
                      <a:pt x="343" y="376"/>
                    </a:lnTo>
                    <a:lnTo>
                      <a:pt x="344" y="373"/>
                    </a:lnTo>
                    <a:lnTo>
                      <a:pt x="346" y="370"/>
                    </a:lnTo>
                    <a:lnTo>
                      <a:pt x="349" y="370"/>
                    </a:lnTo>
                    <a:lnTo>
                      <a:pt x="348" y="370"/>
                    </a:lnTo>
                    <a:lnTo>
                      <a:pt x="348" y="366"/>
                    </a:lnTo>
                    <a:lnTo>
                      <a:pt x="347" y="368"/>
                    </a:lnTo>
                    <a:lnTo>
                      <a:pt x="346" y="367"/>
                    </a:lnTo>
                    <a:lnTo>
                      <a:pt x="348" y="366"/>
                    </a:lnTo>
                    <a:lnTo>
                      <a:pt x="349" y="366"/>
                    </a:lnTo>
                    <a:lnTo>
                      <a:pt x="349" y="364"/>
                    </a:lnTo>
                    <a:lnTo>
                      <a:pt x="350" y="365"/>
                    </a:lnTo>
                    <a:lnTo>
                      <a:pt x="350" y="364"/>
                    </a:lnTo>
                    <a:lnTo>
                      <a:pt x="350" y="361"/>
                    </a:lnTo>
                    <a:lnTo>
                      <a:pt x="349" y="360"/>
                    </a:lnTo>
                    <a:lnTo>
                      <a:pt x="350" y="359"/>
                    </a:lnTo>
                    <a:lnTo>
                      <a:pt x="348" y="360"/>
                    </a:lnTo>
                    <a:lnTo>
                      <a:pt x="347" y="358"/>
                    </a:lnTo>
                    <a:lnTo>
                      <a:pt x="346" y="358"/>
                    </a:lnTo>
                    <a:lnTo>
                      <a:pt x="346" y="357"/>
                    </a:lnTo>
                    <a:lnTo>
                      <a:pt x="347" y="357"/>
                    </a:lnTo>
                    <a:lnTo>
                      <a:pt x="346" y="356"/>
                    </a:lnTo>
                    <a:lnTo>
                      <a:pt x="347" y="356"/>
                    </a:lnTo>
                    <a:lnTo>
                      <a:pt x="346" y="354"/>
                    </a:lnTo>
                    <a:lnTo>
                      <a:pt x="345" y="352"/>
                    </a:lnTo>
                    <a:lnTo>
                      <a:pt x="345" y="350"/>
                    </a:lnTo>
                    <a:lnTo>
                      <a:pt x="344" y="347"/>
                    </a:lnTo>
                    <a:lnTo>
                      <a:pt x="345" y="347"/>
                    </a:lnTo>
                    <a:lnTo>
                      <a:pt x="344" y="347"/>
                    </a:lnTo>
                    <a:lnTo>
                      <a:pt x="345" y="346"/>
                    </a:lnTo>
                    <a:lnTo>
                      <a:pt x="344" y="346"/>
                    </a:lnTo>
                    <a:lnTo>
                      <a:pt x="344" y="345"/>
                    </a:lnTo>
                    <a:lnTo>
                      <a:pt x="345" y="345"/>
                    </a:lnTo>
                    <a:lnTo>
                      <a:pt x="346" y="342"/>
                    </a:lnTo>
                    <a:lnTo>
                      <a:pt x="346" y="339"/>
                    </a:lnTo>
                    <a:lnTo>
                      <a:pt x="347" y="337"/>
                    </a:lnTo>
                    <a:lnTo>
                      <a:pt x="346" y="336"/>
                    </a:lnTo>
                    <a:lnTo>
                      <a:pt x="348" y="336"/>
                    </a:lnTo>
                    <a:lnTo>
                      <a:pt x="350" y="333"/>
                    </a:lnTo>
                    <a:lnTo>
                      <a:pt x="351" y="331"/>
                    </a:lnTo>
                    <a:lnTo>
                      <a:pt x="353" y="332"/>
                    </a:lnTo>
                    <a:lnTo>
                      <a:pt x="355" y="332"/>
                    </a:lnTo>
                    <a:lnTo>
                      <a:pt x="355" y="331"/>
                    </a:lnTo>
                    <a:lnTo>
                      <a:pt x="351" y="330"/>
                    </a:lnTo>
                    <a:lnTo>
                      <a:pt x="351" y="329"/>
                    </a:lnTo>
                    <a:lnTo>
                      <a:pt x="352" y="329"/>
                    </a:lnTo>
                    <a:lnTo>
                      <a:pt x="351" y="329"/>
                    </a:lnTo>
                    <a:lnTo>
                      <a:pt x="351" y="327"/>
                    </a:lnTo>
                    <a:lnTo>
                      <a:pt x="350" y="326"/>
                    </a:lnTo>
                    <a:lnTo>
                      <a:pt x="350" y="325"/>
                    </a:lnTo>
                    <a:lnTo>
                      <a:pt x="349" y="323"/>
                    </a:lnTo>
                    <a:lnTo>
                      <a:pt x="348" y="323"/>
                    </a:lnTo>
                    <a:lnTo>
                      <a:pt x="349" y="321"/>
                    </a:lnTo>
                    <a:lnTo>
                      <a:pt x="349" y="320"/>
                    </a:lnTo>
                    <a:lnTo>
                      <a:pt x="350" y="319"/>
                    </a:lnTo>
                    <a:lnTo>
                      <a:pt x="348" y="319"/>
                    </a:lnTo>
                    <a:lnTo>
                      <a:pt x="349" y="317"/>
                    </a:lnTo>
                    <a:lnTo>
                      <a:pt x="350" y="316"/>
                    </a:lnTo>
                    <a:lnTo>
                      <a:pt x="350" y="313"/>
                    </a:lnTo>
                    <a:lnTo>
                      <a:pt x="350" y="312"/>
                    </a:lnTo>
                    <a:lnTo>
                      <a:pt x="349" y="312"/>
                    </a:lnTo>
                    <a:lnTo>
                      <a:pt x="350" y="311"/>
                    </a:lnTo>
                    <a:lnTo>
                      <a:pt x="350" y="309"/>
                    </a:lnTo>
                    <a:lnTo>
                      <a:pt x="349" y="311"/>
                    </a:lnTo>
                    <a:lnTo>
                      <a:pt x="350" y="309"/>
                    </a:lnTo>
                    <a:lnTo>
                      <a:pt x="349" y="308"/>
                    </a:lnTo>
                    <a:lnTo>
                      <a:pt x="351" y="309"/>
                    </a:lnTo>
                    <a:lnTo>
                      <a:pt x="351" y="308"/>
                    </a:lnTo>
                    <a:lnTo>
                      <a:pt x="349" y="307"/>
                    </a:lnTo>
                    <a:lnTo>
                      <a:pt x="349" y="308"/>
                    </a:lnTo>
                    <a:lnTo>
                      <a:pt x="349" y="307"/>
                    </a:lnTo>
                    <a:lnTo>
                      <a:pt x="348" y="307"/>
                    </a:lnTo>
                    <a:lnTo>
                      <a:pt x="346" y="307"/>
                    </a:lnTo>
                    <a:lnTo>
                      <a:pt x="346" y="304"/>
                    </a:lnTo>
                    <a:lnTo>
                      <a:pt x="347" y="303"/>
                    </a:lnTo>
                    <a:lnTo>
                      <a:pt x="346" y="302"/>
                    </a:lnTo>
                    <a:lnTo>
                      <a:pt x="348" y="302"/>
                    </a:lnTo>
                    <a:lnTo>
                      <a:pt x="348" y="301"/>
                    </a:lnTo>
                    <a:lnTo>
                      <a:pt x="350" y="302"/>
                    </a:lnTo>
                    <a:lnTo>
                      <a:pt x="350" y="300"/>
                    </a:lnTo>
                    <a:lnTo>
                      <a:pt x="350" y="299"/>
                    </a:lnTo>
                    <a:lnTo>
                      <a:pt x="348" y="298"/>
                    </a:lnTo>
                    <a:lnTo>
                      <a:pt x="349" y="296"/>
                    </a:lnTo>
                    <a:lnTo>
                      <a:pt x="351" y="295"/>
                    </a:lnTo>
                    <a:lnTo>
                      <a:pt x="351" y="294"/>
                    </a:lnTo>
                    <a:lnTo>
                      <a:pt x="353" y="295"/>
                    </a:lnTo>
                    <a:lnTo>
                      <a:pt x="353" y="292"/>
                    </a:lnTo>
                    <a:lnTo>
                      <a:pt x="354" y="291"/>
                    </a:lnTo>
                    <a:lnTo>
                      <a:pt x="355" y="286"/>
                    </a:lnTo>
                    <a:lnTo>
                      <a:pt x="356" y="283"/>
                    </a:lnTo>
                    <a:lnTo>
                      <a:pt x="354" y="282"/>
                    </a:lnTo>
                    <a:lnTo>
                      <a:pt x="355" y="279"/>
                    </a:lnTo>
                    <a:lnTo>
                      <a:pt x="351" y="276"/>
                    </a:lnTo>
                    <a:lnTo>
                      <a:pt x="350" y="276"/>
                    </a:lnTo>
                    <a:lnTo>
                      <a:pt x="347" y="279"/>
                    </a:lnTo>
                    <a:lnTo>
                      <a:pt x="346" y="278"/>
                    </a:lnTo>
                    <a:lnTo>
                      <a:pt x="348" y="277"/>
                    </a:lnTo>
                    <a:lnTo>
                      <a:pt x="350" y="272"/>
                    </a:lnTo>
                    <a:lnTo>
                      <a:pt x="349" y="271"/>
                    </a:lnTo>
                    <a:lnTo>
                      <a:pt x="348" y="270"/>
                    </a:lnTo>
                    <a:lnTo>
                      <a:pt x="350" y="264"/>
                    </a:lnTo>
                    <a:lnTo>
                      <a:pt x="350" y="260"/>
                    </a:lnTo>
                    <a:lnTo>
                      <a:pt x="351" y="258"/>
                    </a:lnTo>
                    <a:lnTo>
                      <a:pt x="353" y="255"/>
                    </a:lnTo>
                    <a:lnTo>
                      <a:pt x="354" y="249"/>
                    </a:lnTo>
                    <a:lnTo>
                      <a:pt x="355" y="247"/>
                    </a:lnTo>
                    <a:lnTo>
                      <a:pt x="356" y="244"/>
                    </a:lnTo>
                    <a:lnTo>
                      <a:pt x="355" y="242"/>
                    </a:lnTo>
                    <a:lnTo>
                      <a:pt x="353" y="243"/>
                    </a:lnTo>
                    <a:lnTo>
                      <a:pt x="350" y="242"/>
                    </a:lnTo>
                    <a:lnTo>
                      <a:pt x="350" y="239"/>
                    </a:lnTo>
                    <a:lnTo>
                      <a:pt x="349" y="238"/>
                    </a:lnTo>
                    <a:lnTo>
                      <a:pt x="347" y="239"/>
                    </a:lnTo>
                    <a:lnTo>
                      <a:pt x="346" y="239"/>
                    </a:lnTo>
                    <a:lnTo>
                      <a:pt x="344" y="238"/>
                    </a:lnTo>
                    <a:lnTo>
                      <a:pt x="344" y="236"/>
                    </a:lnTo>
                    <a:lnTo>
                      <a:pt x="345" y="236"/>
                    </a:lnTo>
                    <a:lnTo>
                      <a:pt x="346" y="235"/>
                    </a:lnTo>
                    <a:lnTo>
                      <a:pt x="342" y="234"/>
                    </a:lnTo>
                    <a:lnTo>
                      <a:pt x="342" y="233"/>
                    </a:lnTo>
                    <a:lnTo>
                      <a:pt x="340" y="233"/>
                    </a:lnTo>
                    <a:lnTo>
                      <a:pt x="339" y="232"/>
                    </a:lnTo>
                    <a:lnTo>
                      <a:pt x="338" y="232"/>
                    </a:lnTo>
                    <a:lnTo>
                      <a:pt x="337" y="229"/>
                    </a:lnTo>
                    <a:lnTo>
                      <a:pt x="336" y="228"/>
                    </a:lnTo>
                    <a:lnTo>
                      <a:pt x="339" y="229"/>
                    </a:lnTo>
                    <a:lnTo>
                      <a:pt x="342" y="232"/>
                    </a:lnTo>
                    <a:lnTo>
                      <a:pt x="345" y="232"/>
                    </a:lnTo>
                    <a:lnTo>
                      <a:pt x="345" y="231"/>
                    </a:lnTo>
                    <a:lnTo>
                      <a:pt x="347" y="231"/>
                    </a:lnTo>
                    <a:lnTo>
                      <a:pt x="348" y="230"/>
                    </a:lnTo>
                    <a:lnTo>
                      <a:pt x="347" y="230"/>
                    </a:lnTo>
                    <a:lnTo>
                      <a:pt x="345" y="224"/>
                    </a:lnTo>
                    <a:lnTo>
                      <a:pt x="342" y="223"/>
                    </a:lnTo>
                    <a:lnTo>
                      <a:pt x="340" y="221"/>
                    </a:lnTo>
                    <a:lnTo>
                      <a:pt x="342" y="219"/>
                    </a:lnTo>
                    <a:lnTo>
                      <a:pt x="341" y="218"/>
                    </a:lnTo>
                    <a:lnTo>
                      <a:pt x="342" y="217"/>
                    </a:lnTo>
                    <a:lnTo>
                      <a:pt x="342" y="218"/>
                    </a:lnTo>
                    <a:lnTo>
                      <a:pt x="342" y="219"/>
                    </a:lnTo>
                    <a:lnTo>
                      <a:pt x="343" y="219"/>
                    </a:lnTo>
                    <a:lnTo>
                      <a:pt x="344" y="218"/>
                    </a:lnTo>
                    <a:lnTo>
                      <a:pt x="344" y="219"/>
                    </a:lnTo>
                    <a:lnTo>
                      <a:pt x="345" y="219"/>
                    </a:lnTo>
                    <a:lnTo>
                      <a:pt x="345" y="218"/>
                    </a:lnTo>
                    <a:lnTo>
                      <a:pt x="348" y="217"/>
                    </a:lnTo>
                    <a:lnTo>
                      <a:pt x="350" y="218"/>
                    </a:lnTo>
                    <a:lnTo>
                      <a:pt x="353" y="215"/>
                    </a:lnTo>
                    <a:lnTo>
                      <a:pt x="351" y="215"/>
                    </a:lnTo>
                    <a:lnTo>
                      <a:pt x="351" y="213"/>
                    </a:lnTo>
                    <a:lnTo>
                      <a:pt x="349" y="213"/>
                    </a:lnTo>
                    <a:lnTo>
                      <a:pt x="348" y="212"/>
                    </a:lnTo>
                    <a:lnTo>
                      <a:pt x="346" y="213"/>
                    </a:lnTo>
                    <a:lnTo>
                      <a:pt x="347" y="211"/>
                    </a:lnTo>
                    <a:lnTo>
                      <a:pt x="346" y="211"/>
                    </a:lnTo>
                    <a:lnTo>
                      <a:pt x="344" y="212"/>
                    </a:lnTo>
                    <a:lnTo>
                      <a:pt x="343" y="211"/>
                    </a:lnTo>
                    <a:lnTo>
                      <a:pt x="342" y="211"/>
                    </a:lnTo>
                    <a:lnTo>
                      <a:pt x="342" y="213"/>
                    </a:lnTo>
                    <a:lnTo>
                      <a:pt x="340" y="213"/>
                    </a:lnTo>
                    <a:lnTo>
                      <a:pt x="340" y="215"/>
                    </a:lnTo>
                    <a:lnTo>
                      <a:pt x="338" y="214"/>
                    </a:lnTo>
                    <a:lnTo>
                      <a:pt x="338" y="210"/>
                    </a:lnTo>
                    <a:lnTo>
                      <a:pt x="339" y="211"/>
                    </a:lnTo>
                    <a:lnTo>
                      <a:pt x="339" y="210"/>
                    </a:lnTo>
                    <a:lnTo>
                      <a:pt x="338" y="209"/>
                    </a:lnTo>
                    <a:lnTo>
                      <a:pt x="340" y="208"/>
                    </a:lnTo>
                    <a:lnTo>
                      <a:pt x="338" y="205"/>
                    </a:lnTo>
                    <a:lnTo>
                      <a:pt x="340" y="203"/>
                    </a:lnTo>
                    <a:lnTo>
                      <a:pt x="343" y="202"/>
                    </a:lnTo>
                    <a:lnTo>
                      <a:pt x="347" y="195"/>
                    </a:lnTo>
                    <a:lnTo>
                      <a:pt x="356" y="192"/>
                    </a:lnTo>
                    <a:lnTo>
                      <a:pt x="359" y="191"/>
                    </a:lnTo>
                    <a:lnTo>
                      <a:pt x="361" y="191"/>
                    </a:lnTo>
                    <a:lnTo>
                      <a:pt x="360" y="191"/>
                    </a:lnTo>
                    <a:lnTo>
                      <a:pt x="360" y="194"/>
                    </a:lnTo>
                    <a:lnTo>
                      <a:pt x="362" y="195"/>
                    </a:lnTo>
                    <a:lnTo>
                      <a:pt x="363" y="197"/>
                    </a:lnTo>
                    <a:lnTo>
                      <a:pt x="363" y="198"/>
                    </a:lnTo>
                    <a:lnTo>
                      <a:pt x="365" y="198"/>
                    </a:lnTo>
                    <a:lnTo>
                      <a:pt x="366" y="198"/>
                    </a:lnTo>
                    <a:lnTo>
                      <a:pt x="367" y="196"/>
                    </a:lnTo>
                    <a:lnTo>
                      <a:pt x="367" y="195"/>
                    </a:lnTo>
                    <a:lnTo>
                      <a:pt x="368" y="194"/>
                    </a:lnTo>
                    <a:lnTo>
                      <a:pt x="368" y="192"/>
                    </a:lnTo>
                    <a:lnTo>
                      <a:pt x="370" y="191"/>
                    </a:lnTo>
                    <a:lnTo>
                      <a:pt x="371" y="188"/>
                    </a:lnTo>
                    <a:lnTo>
                      <a:pt x="372" y="188"/>
                    </a:lnTo>
                    <a:lnTo>
                      <a:pt x="375" y="188"/>
                    </a:lnTo>
                    <a:lnTo>
                      <a:pt x="375" y="187"/>
                    </a:lnTo>
                    <a:lnTo>
                      <a:pt x="376" y="187"/>
                    </a:lnTo>
                    <a:lnTo>
                      <a:pt x="377" y="187"/>
                    </a:lnTo>
                    <a:lnTo>
                      <a:pt x="379" y="185"/>
                    </a:lnTo>
                    <a:lnTo>
                      <a:pt x="379" y="186"/>
                    </a:lnTo>
                    <a:lnTo>
                      <a:pt x="381" y="183"/>
                    </a:lnTo>
                    <a:lnTo>
                      <a:pt x="381" y="181"/>
                    </a:lnTo>
                    <a:lnTo>
                      <a:pt x="379" y="180"/>
                    </a:lnTo>
                    <a:lnTo>
                      <a:pt x="378" y="179"/>
                    </a:lnTo>
                    <a:lnTo>
                      <a:pt x="377" y="178"/>
                    </a:lnTo>
                    <a:lnTo>
                      <a:pt x="376" y="179"/>
                    </a:lnTo>
                    <a:lnTo>
                      <a:pt x="375" y="179"/>
                    </a:lnTo>
                    <a:lnTo>
                      <a:pt x="373" y="181"/>
                    </a:lnTo>
                    <a:lnTo>
                      <a:pt x="372" y="180"/>
                    </a:lnTo>
                    <a:lnTo>
                      <a:pt x="373" y="177"/>
                    </a:lnTo>
                    <a:lnTo>
                      <a:pt x="376" y="176"/>
                    </a:lnTo>
                    <a:lnTo>
                      <a:pt x="378" y="171"/>
                    </a:lnTo>
                    <a:lnTo>
                      <a:pt x="378" y="168"/>
                    </a:lnTo>
                    <a:lnTo>
                      <a:pt x="377" y="166"/>
                    </a:lnTo>
                    <a:lnTo>
                      <a:pt x="377" y="165"/>
                    </a:lnTo>
                    <a:lnTo>
                      <a:pt x="376" y="162"/>
                    </a:lnTo>
                    <a:lnTo>
                      <a:pt x="377" y="161"/>
                    </a:lnTo>
                    <a:lnTo>
                      <a:pt x="381" y="161"/>
                    </a:lnTo>
                    <a:lnTo>
                      <a:pt x="381" y="158"/>
                    </a:lnTo>
                    <a:lnTo>
                      <a:pt x="383" y="157"/>
                    </a:lnTo>
                    <a:lnTo>
                      <a:pt x="382" y="157"/>
                    </a:lnTo>
                    <a:lnTo>
                      <a:pt x="383" y="153"/>
                    </a:lnTo>
                    <a:lnTo>
                      <a:pt x="381" y="151"/>
                    </a:lnTo>
                    <a:lnTo>
                      <a:pt x="381" y="148"/>
                    </a:lnTo>
                    <a:lnTo>
                      <a:pt x="384" y="145"/>
                    </a:lnTo>
                    <a:lnTo>
                      <a:pt x="383" y="144"/>
                    </a:lnTo>
                    <a:lnTo>
                      <a:pt x="382" y="141"/>
                    </a:lnTo>
                    <a:lnTo>
                      <a:pt x="383" y="140"/>
                    </a:lnTo>
                    <a:lnTo>
                      <a:pt x="384" y="141"/>
                    </a:lnTo>
                    <a:lnTo>
                      <a:pt x="386" y="138"/>
                    </a:lnTo>
                    <a:lnTo>
                      <a:pt x="385" y="135"/>
                    </a:lnTo>
                    <a:lnTo>
                      <a:pt x="386" y="135"/>
                    </a:lnTo>
                    <a:lnTo>
                      <a:pt x="386" y="131"/>
                    </a:lnTo>
                    <a:lnTo>
                      <a:pt x="387" y="131"/>
                    </a:lnTo>
                    <a:lnTo>
                      <a:pt x="388" y="131"/>
                    </a:lnTo>
                    <a:lnTo>
                      <a:pt x="389" y="131"/>
                    </a:lnTo>
                    <a:lnTo>
                      <a:pt x="391" y="131"/>
                    </a:lnTo>
                    <a:lnTo>
                      <a:pt x="392" y="131"/>
                    </a:lnTo>
                    <a:lnTo>
                      <a:pt x="392" y="133"/>
                    </a:lnTo>
                    <a:lnTo>
                      <a:pt x="393" y="132"/>
                    </a:lnTo>
                    <a:lnTo>
                      <a:pt x="392" y="126"/>
                    </a:lnTo>
                    <a:lnTo>
                      <a:pt x="392" y="121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7" name="Group 107">
              <a:extLst>
                <a:ext uri="{FF2B5EF4-FFF2-40B4-BE49-F238E27FC236}">
                  <a16:creationId xmlns:a16="http://schemas.microsoft.com/office/drawing/2014/main" id="{4E73893C-D6EB-05C5-BF1C-47EEFF2EB18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319" y="3149"/>
              <a:ext cx="411" cy="305"/>
              <a:chOff x="1319" y="3149"/>
              <a:chExt cx="411" cy="305"/>
            </a:xfrm>
          </p:grpSpPr>
          <p:sp>
            <p:nvSpPr>
              <p:cNvPr id="156" name="Freeform 105">
                <a:extLst>
                  <a:ext uri="{FF2B5EF4-FFF2-40B4-BE49-F238E27FC236}">
                    <a16:creationId xmlns:a16="http://schemas.microsoft.com/office/drawing/2014/main" id="{25CE2DF5-20CB-36C0-0FD4-7C12D569DB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9" y="3149"/>
                <a:ext cx="411" cy="305"/>
              </a:xfrm>
              <a:custGeom>
                <a:avLst/>
                <a:gdLst>
                  <a:gd name="T0" fmla="*/ 390 w 411"/>
                  <a:gd name="T1" fmla="*/ 42 h 305"/>
                  <a:gd name="T2" fmla="*/ 357 w 411"/>
                  <a:gd name="T3" fmla="*/ 65 h 305"/>
                  <a:gd name="T4" fmla="*/ 321 w 411"/>
                  <a:gd name="T5" fmla="*/ 39 h 305"/>
                  <a:gd name="T6" fmla="*/ 299 w 411"/>
                  <a:gd name="T7" fmla="*/ 44 h 305"/>
                  <a:gd name="T8" fmla="*/ 286 w 411"/>
                  <a:gd name="T9" fmla="*/ 48 h 305"/>
                  <a:gd name="T10" fmla="*/ 265 w 411"/>
                  <a:gd name="T11" fmla="*/ 62 h 305"/>
                  <a:gd name="T12" fmla="*/ 257 w 411"/>
                  <a:gd name="T13" fmla="*/ 74 h 305"/>
                  <a:gd name="T14" fmla="*/ 245 w 411"/>
                  <a:gd name="T15" fmla="*/ 78 h 305"/>
                  <a:gd name="T16" fmla="*/ 233 w 411"/>
                  <a:gd name="T17" fmla="*/ 78 h 305"/>
                  <a:gd name="T18" fmla="*/ 218 w 411"/>
                  <a:gd name="T19" fmla="*/ 67 h 305"/>
                  <a:gd name="T20" fmla="*/ 199 w 411"/>
                  <a:gd name="T21" fmla="*/ 54 h 305"/>
                  <a:gd name="T22" fmla="*/ 166 w 411"/>
                  <a:gd name="T23" fmla="*/ 13 h 305"/>
                  <a:gd name="T24" fmla="*/ 133 w 411"/>
                  <a:gd name="T25" fmla="*/ 22 h 305"/>
                  <a:gd name="T26" fmla="*/ 120 w 411"/>
                  <a:gd name="T27" fmla="*/ 2 h 305"/>
                  <a:gd name="T28" fmla="*/ 105 w 411"/>
                  <a:gd name="T29" fmla="*/ 15 h 305"/>
                  <a:gd name="T30" fmla="*/ 90 w 411"/>
                  <a:gd name="T31" fmla="*/ 19 h 305"/>
                  <a:gd name="T32" fmla="*/ 76 w 411"/>
                  <a:gd name="T33" fmla="*/ 14 h 305"/>
                  <a:gd name="T34" fmla="*/ 68 w 411"/>
                  <a:gd name="T35" fmla="*/ 10 h 305"/>
                  <a:gd name="T36" fmla="*/ 61 w 411"/>
                  <a:gd name="T37" fmla="*/ 5 h 305"/>
                  <a:gd name="T38" fmla="*/ 48 w 411"/>
                  <a:gd name="T39" fmla="*/ 10 h 305"/>
                  <a:gd name="T40" fmla="*/ 39 w 411"/>
                  <a:gd name="T41" fmla="*/ 20 h 305"/>
                  <a:gd name="T42" fmla="*/ 19 w 411"/>
                  <a:gd name="T43" fmla="*/ 19 h 305"/>
                  <a:gd name="T44" fmla="*/ 15 w 411"/>
                  <a:gd name="T45" fmla="*/ 34 h 305"/>
                  <a:gd name="T46" fmla="*/ 9 w 411"/>
                  <a:gd name="T47" fmla="*/ 45 h 305"/>
                  <a:gd name="T48" fmla="*/ 2 w 411"/>
                  <a:gd name="T49" fmla="*/ 49 h 305"/>
                  <a:gd name="T50" fmla="*/ 14 w 411"/>
                  <a:gd name="T51" fmla="*/ 60 h 305"/>
                  <a:gd name="T52" fmla="*/ 24 w 411"/>
                  <a:gd name="T53" fmla="*/ 65 h 305"/>
                  <a:gd name="T54" fmla="*/ 24 w 411"/>
                  <a:gd name="T55" fmla="*/ 76 h 305"/>
                  <a:gd name="T56" fmla="*/ 41 w 411"/>
                  <a:gd name="T57" fmla="*/ 92 h 305"/>
                  <a:gd name="T58" fmla="*/ 38 w 411"/>
                  <a:gd name="T59" fmla="*/ 109 h 305"/>
                  <a:gd name="T60" fmla="*/ 30 w 411"/>
                  <a:gd name="T61" fmla="*/ 127 h 305"/>
                  <a:gd name="T62" fmla="*/ 36 w 411"/>
                  <a:gd name="T63" fmla="*/ 147 h 305"/>
                  <a:gd name="T64" fmla="*/ 50 w 411"/>
                  <a:gd name="T65" fmla="*/ 163 h 305"/>
                  <a:gd name="T66" fmla="*/ 60 w 411"/>
                  <a:gd name="T67" fmla="*/ 163 h 305"/>
                  <a:gd name="T68" fmla="*/ 76 w 411"/>
                  <a:gd name="T69" fmla="*/ 169 h 305"/>
                  <a:gd name="T70" fmla="*/ 83 w 411"/>
                  <a:gd name="T71" fmla="*/ 177 h 305"/>
                  <a:gd name="T72" fmla="*/ 98 w 411"/>
                  <a:gd name="T73" fmla="*/ 186 h 305"/>
                  <a:gd name="T74" fmla="*/ 105 w 411"/>
                  <a:gd name="T75" fmla="*/ 196 h 305"/>
                  <a:gd name="T76" fmla="*/ 116 w 411"/>
                  <a:gd name="T77" fmla="*/ 220 h 305"/>
                  <a:gd name="T78" fmla="*/ 143 w 411"/>
                  <a:gd name="T79" fmla="*/ 233 h 305"/>
                  <a:gd name="T80" fmla="*/ 159 w 411"/>
                  <a:gd name="T81" fmla="*/ 217 h 305"/>
                  <a:gd name="T82" fmla="*/ 176 w 411"/>
                  <a:gd name="T83" fmla="*/ 229 h 305"/>
                  <a:gd name="T84" fmla="*/ 195 w 411"/>
                  <a:gd name="T85" fmla="*/ 246 h 305"/>
                  <a:gd name="T86" fmla="*/ 215 w 411"/>
                  <a:gd name="T87" fmla="*/ 255 h 305"/>
                  <a:gd name="T88" fmla="*/ 237 w 411"/>
                  <a:gd name="T89" fmla="*/ 278 h 305"/>
                  <a:gd name="T90" fmla="*/ 263 w 411"/>
                  <a:gd name="T91" fmla="*/ 298 h 305"/>
                  <a:gd name="T92" fmla="*/ 278 w 411"/>
                  <a:gd name="T93" fmla="*/ 297 h 305"/>
                  <a:gd name="T94" fmla="*/ 296 w 411"/>
                  <a:gd name="T95" fmla="*/ 295 h 305"/>
                  <a:gd name="T96" fmla="*/ 310 w 411"/>
                  <a:gd name="T97" fmla="*/ 286 h 305"/>
                  <a:gd name="T98" fmla="*/ 333 w 411"/>
                  <a:gd name="T99" fmla="*/ 287 h 305"/>
                  <a:gd name="T100" fmla="*/ 356 w 411"/>
                  <a:gd name="T101" fmla="*/ 300 h 305"/>
                  <a:gd name="T102" fmla="*/ 373 w 411"/>
                  <a:gd name="T103" fmla="*/ 293 h 305"/>
                  <a:gd name="T104" fmla="*/ 378 w 411"/>
                  <a:gd name="T105" fmla="*/ 271 h 305"/>
                  <a:gd name="T106" fmla="*/ 379 w 411"/>
                  <a:gd name="T107" fmla="*/ 244 h 305"/>
                  <a:gd name="T108" fmla="*/ 373 w 411"/>
                  <a:gd name="T109" fmla="*/ 229 h 305"/>
                  <a:gd name="T110" fmla="*/ 365 w 411"/>
                  <a:gd name="T111" fmla="*/ 199 h 305"/>
                  <a:gd name="T112" fmla="*/ 370 w 411"/>
                  <a:gd name="T113" fmla="*/ 175 h 305"/>
                  <a:gd name="T114" fmla="*/ 366 w 411"/>
                  <a:gd name="T115" fmla="*/ 140 h 305"/>
                  <a:gd name="T116" fmla="*/ 373 w 411"/>
                  <a:gd name="T117" fmla="*/ 116 h 305"/>
                  <a:gd name="T118" fmla="*/ 392 w 411"/>
                  <a:gd name="T119" fmla="*/ 96 h 305"/>
                  <a:gd name="T120" fmla="*/ 398 w 411"/>
                  <a:gd name="T121" fmla="*/ 57 h 305"/>
                  <a:gd name="T122" fmla="*/ 411 w 411"/>
                  <a:gd name="T123" fmla="*/ 31 h 30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411"/>
                  <a:gd name="T187" fmla="*/ 0 h 305"/>
                  <a:gd name="T188" fmla="*/ 411 w 411"/>
                  <a:gd name="T189" fmla="*/ 305 h 30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411" h="305">
                    <a:moveTo>
                      <a:pt x="410" y="29"/>
                    </a:moveTo>
                    <a:lnTo>
                      <a:pt x="411" y="26"/>
                    </a:lnTo>
                    <a:lnTo>
                      <a:pt x="410" y="24"/>
                    </a:lnTo>
                    <a:lnTo>
                      <a:pt x="407" y="21"/>
                    </a:lnTo>
                    <a:lnTo>
                      <a:pt x="404" y="23"/>
                    </a:lnTo>
                    <a:lnTo>
                      <a:pt x="403" y="25"/>
                    </a:lnTo>
                    <a:lnTo>
                      <a:pt x="402" y="25"/>
                    </a:lnTo>
                    <a:lnTo>
                      <a:pt x="401" y="27"/>
                    </a:lnTo>
                    <a:lnTo>
                      <a:pt x="399" y="29"/>
                    </a:lnTo>
                    <a:lnTo>
                      <a:pt x="398" y="27"/>
                    </a:lnTo>
                    <a:lnTo>
                      <a:pt x="396" y="28"/>
                    </a:lnTo>
                    <a:lnTo>
                      <a:pt x="393" y="32"/>
                    </a:lnTo>
                    <a:lnTo>
                      <a:pt x="392" y="39"/>
                    </a:lnTo>
                    <a:lnTo>
                      <a:pt x="390" y="42"/>
                    </a:lnTo>
                    <a:lnTo>
                      <a:pt x="386" y="45"/>
                    </a:lnTo>
                    <a:lnTo>
                      <a:pt x="387" y="47"/>
                    </a:lnTo>
                    <a:lnTo>
                      <a:pt x="386" y="48"/>
                    </a:lnTo>
                    <a:lnTo>
                      <a:pt x="382" y="50"/>
                    </a:lnTo>
                    <a:lnTo>
                      <a:pt x="379" y="52"/>
                    </a:lnTo>
                    <a:lnTo>
                      <a:pt x="378" y="52"/>
                    </a:lnTo>
                    <a:lnTo>
                      <a:pt x="377" y="52"/>
                    </a:lnTo>
                    <a:lnTo>
                      <a:pt x="371" y="60"/>
                    </a:lnTo>
                    <a:lnTo>
                      <a:pt x="369" y="65"/>
                    </a:lnTo>
                    <a:lnTo>
                      <a:pt x="368" y="66"/>
                    </a:lnTo>
                    <a:lnTo>
                      <a:pt x="364" y="69"/>
                    </a:lnTo>
                    <a:lnTo>
                      <a:pt x="361" y="67"/>
                    </a:lnTo>
                    <a:lnTo>
                      <a:pt x="358" y="66"/>
                    </a:lnTo>
                    <a:lnTo>
                      <a:pt x="357" y="65"/>
                    </a:lnTo>
                    <a:lnTo>
                      <a:pt x="350" y="60"/>
                    </a:lnTo>
                    <a:lnTo>
                      <a:pt x="347" y="59"/>
                    </a:lnTo>
                    <a:lnTo>
                      <a:pt x="345" y="59"/>
                    </a:lnTo>
                    <a:lnTo>
                      <a:pt x="344" y="55"/>
                    </a:lnTo>
                    <a:lnTo>
                      <a:pt x="341" y="52"/>
                    </a:lnTo>
                    <a:lnTo>
                      <a:pt x="341" y="49"/>
                    </a:lnTo>
                    <a:lnTo>
                      <a:pt x="338" y="47"/>
                    </a:lnTo>
                    <a:lnTo>
                      <a:pt x="337" y="44"/>
                    </a:lnTo>
                    <a:lnTo>
                      <a:pt x="332" y="43"/>
                    </a:lnTo>
                    <a:lnTo>
                      <a:pt x="331" y="44"/>
                    </a:lnTo>
                    <a:lnTo>
                      <a:pt x="330" y="44"/>
                    </a:lnTo>
                    <a:lnTo>
                      <a:pt x="329" y="44"/>
                    </a:lnTo>
                    <a:lnTo>
                      <a:pt x="322" y="38"/>
                    </a:lnTo>
                    <a:lnTo>
                      <a:pt x="321" y="39"/>
                    </a:lnTo>
                    <a:lnTo>
                      <a:pt x="320" y="38"/>
                    </a:lnTo>
                    <a:lnTo>
                      <a:pt x="319" y="36"/>
                    </a:lnTo>
                    <a:lnTo>
                      <a:pt x="317" y="37"/>
                    </a:lnTo>
                    <a:lnTo>
                      <a:pt x="317" y="32"/>
                    </a:lnTo>
                    <a:lnTo>
                      <a:pt x="314" y="31"/>
                    </a:lnTo>
                    <a:lnTo>
                      <a:pt x="313" y="31"/>
                    </a:lnTo>
                    <a:lnTo>
                      <a:pt x="311" y="29"/>
                    </a:lnTo>
                    <a:lnTo>
                      <a:pt x="308" y="29"/>
                    </a:lnTo>
                    <a:lnTo>
                      <a:pt x="306" y="31"/>
                    </a:lnTo>
                    <a:lnTo>
                      <a:pt x="305" y="40"/>
                    </a:lnTo>
                    <a:lnTo>
                      <a:pt x="303" y="42"/>
                    </a:lnTo>
                    <a:lnTo>
                      <a:pt x="300" y="42"/>
                    </a:lnTo>
                    <a:lnTo>
                      <a:pt x="299" y="44"/>
                    </a:lnTo>
                    <a:lnTo>
                      <a:pt x="298" y="44"/>
                    </a:lnTo>
                    <a:lnTo>
                      <a:pt x="297" y="46"/>
                    </a:lnTo>
                    <a:lnTo>
                      <a:pt x="297" y="45"/>
                    </a:lnTo>
                    <a:lnTo>
                      <a:pt x="293" y="45"/>
                    </a:lnTo>
                    <a:lnTo>
                      <a:pt x="293" y="44"/>
                    </a:lnTo>
                    <a:lnTo>
                      <a:pt x="293" y="45"/>
                    </a:lnTo>
                    <a:lnTo>
                      <a:pt x="290" y="46"/>
                    </a:lnTo>
                    <a:lnTo>
                      <a:pt x="291" y="46"/>
                    </a:lnTo>
                    <a:lnTo>
                      <a:pt x="291" y="48"/>
                    </a:lnTo>
                    <a:lnTo>
                      <a:pt x="290" y="49"/>
                    </a:lnTo>
                    <a:lnTo>
                      <a:pt x="288" y="47"/>
                    </a:lnTo>
                    <a:lnTo>
                      <a:pt x="287" y="48"/>
                    </a:lnTo>
                    <a:lnTo>
                      <a:pt x="286" y="48"/>
                    </a:lnTo>
                    <a:lnTo>
                      <a:pt x="286" y="49"/>
                    </a:lnTo>
                    <a:lnTo>
                      <a:pt x="284" y="49"/>
                    </a:lnTo>
                    <a:lnTo>
                      <a:pt x="284" y="50"/>
                    </a:lnTo>
                    <a:lnTo>
                      <a:pt x="284" y="49"/>
                    </a:lnTo>
                    <a:lnTo>
                      <a:pt x="283" y="49"/>
                    </a:lnTo>
                    <a:lnTo>
                      <a:pt x="281" y="49"/>
                    </a:lnTo>
                    <a:lnTo>
                      <a:pt x="275" y="55"/>
                    </a:lnTo>
                    <a:lnTo>
                      <a:pt x="271" y="55"/>
                    </a:lnTo>
                    <a:lnTo>
                      <a:pt x="269" y="55"/>
                    </a:lnTo>
                    <a:lnTo>
                      <a:pt x="269" y="57"/>
                    </a:lnTo>
                    <a:lnTo>
                      <a:pt x="267" y="57"/>
                    </a:lnTo>
                    <a:lnTo>
                      <a:pt x="265" y="60"/>
                    </a:lnTo>
                    <a:lnTo>
                      <a:pt x="265" y="62"/>
                    </a:lnTo>
                    <a:lnTo>
                      <a:pt x="266" y="62"/>
                    </a:lnTo>
                    <a:lnTo>
                      <a:pt x="267" y="64"/>
                    </a:lnTo>
                    <a:lnTo>
                      <a:pt x="269" y="66"/>
                    </a:lnTo>
                    <a:lnTo>
                      <a:pt x="267" y="67"/>
                    </a:lnTo>
                    <a:lnTo>
                      <a:pt x="266" y="69"/>
                    </a:lnTo>
                    <a:lnTo>
                      <a:pt x="264" y="69"/>
                    </a:lnTo>
                    <a:lnTo>
                      <a:pt x="262" y="70"/>
                    </a:lnTo>
                    <a:lnTo>
                      <a:pt x="260" y="69"/>
                    </a:lnTo>
                    <a:lnTo>
                      <a:pt x="258" y="69"/>
                    </a:lnTo>
                    <a:lnTo>
                      <a:pt x="259" y="71"/>
                    </a:lnTo>
                    <a:lnTo>
                      <a:pt x="258" y="72"/>
                    </a:lnTo>
                    <a:lnTo>
                      <a:pt x="257" y="72"/>
                    </a:lnTo>
                    <a:lnTo>
                      <a:pt x="257" y="74"/>
                    </a:lnTo>
                    <a:lnTo>
                      <a:pt x="259" y="75"/>
                    </a:lnTo>
                    <a:lnTo>
                      <a:pt x="260" y="78"/>
                    </a:lnTo>
                    <a:lnTo>
                      <a:pt x="261" y="78"/>
                    </a:lnTo>
                    <a:lnTo>
                      <a:pt x="261" y="83"/>
                    </a:lnTo>
                    <a:lnTo>
                      <a:pt x="254" y="79"/>
                    </a:lnTo>
                    <a:lnTo>
                      <a:pt x="252" y="78"/>
                    </a:lnTo>
                    <a:lnTo>
                      <a:pt x="251" y="76"/>
                    </a:lnTo>
                    <a:lnTo>
                      <a:pt x="250" y="77"/>
                    </a:lnTo>
                    <a:lnTo>
                      <a:pt x="248" y="76"/>
                    </a:lnTo>
                    <a:lnTo>
                      <a:pt x="248" y="78"/>
                    </a:lnTo>
                    <a:lnTo>
                      <a:pt x="246" y="77"/>
                    </a:lnTo>
                    <a:lnTo>
                      <a:pt x="245" y="78"/>
                    </a:lnTo>
                    <a:lnTo>
                      <a:pt x="244" y="78"/>
                    </a:lnTo>
                    <a:lnTo>
                      <a:pt x="243" y="78"/>
                    </a:lnTo>
                    <a:lnTo>
                      <a:pt x="238" y="78"/>
                    </a:lnTo>
                    <a:lnTo>
                      <a:pt x="238" y="76"/>
                    </a:lnTo>
                    <a:lnTo>
                      <a:pt x="240" y="74"/>
                    </a:lnTo>
                    <a:lnTo>
                      <a:pt x="240" y="73"/>
                    </a:lnTo>
                    <a:lnTo>
                      <a:pt x="237" y="73"/>
                    </a:lnTo>
                    <a:lnTo>
                      <a:pt x="237" y="72"/>
                    </a:lnTo>
                    <a:lnTo>
                      <a:pt x="237" y="74"/>
                    </a:lnTo>
                    <a:lnTo>
                      <a:pt x="237" y="75"/>
                    </a:lnTo>
                    <a:lnTo>
                      <a:pt x="237" y="76"/>
                    </a:lnTo>
                    <a:lnTo>
                      <a:pt x="233" y="78"/>
                    </a:lnTo>
                    <a:lnTo>
                      <a:pt x="232" y="76"/>
                    </a:lnTo>
                    <a:lnTo>
                      <a:pt x="231" y="77"/>
                    </a:lnTo>
                    <a:lnTo>
                      <a:pt x="228" y="76"/>
                    </a:lnTo>
                    <a:lnTo>
                      <a:pt x="227" y="78"/>
                    </a:lnTo>
                    <a:lnTo>
                      <a:pt x="225" y="78"/>
                    </a:lnTo>
                    <a:lnTo>
                      <a:pt x="224" y="78"/>
                    </a:lnTo>
                    <a:lnTo>
                      <a:pt x="223" y="76"/>
                    </a:lnTo>
                    <a:lnTo>
                      <a:pt x="223" y="75"/>
                    </a:lnTo>
                    <a:lnTo>
                      <a:pt x="223" y="74"/>
                    </a:lnTo>
                    <a:lnTo>
                      <a:pt x="221" y="72"/>
                    </a:lnTo>
                    <a:lnTo>
                      <a:pt x="219" y="68"/>
                    </a:lnTo>
                    <a:lnTo>
                      <a:pt x="218" y="68"/>
                    </a:lnTo>
                    <a:lnTo>
                      <a:pt x="218" y="67"/>
                    </a:lnTo>
                    <a:lnTo>
                      <a:pt x="217" y="68"/>
                    </a:lnTo>
                    <a:lnTo>
                      <a:pt x="216" y="67"/>
                    </a:lnTo>
                    <a:lnTo>
                      <a:pt x="215" y="67"/>
                    </a:lnTo>
                    <a:lnTo>
                      <a:pt x="213" y="63"/>
                    </a:lnTo>
                    <a:lnTo>
                      <a:pt x="211" y="64"/>
                    </a:lnTo>
                    <a:lnTo>
                      <a:pt x="211" y="65"/>
                    </a:lnTo>
                    <a:lnTo>
                      <a:pt x="210" y="65"/>
                    </a:lnTo>
                    <a:lnTo>
                      <a:pt x="207" y="62"/>
                    </a:lnTo>
                    <a:lnTo>
                      <a:pt x="207" y="57"/>
                    </a:lnTo>
                    <a:lnTo>
                      <a:pt x="203" y="54"/>
                    </a:lnTo>
                    <a:lnTo>
                      <a:pt x="201" y="55"/>
                    </a:lnTo>
                    <a:lnTo>
                      <a:pt x="200" y="54"/>
                    </a:lnTo>
                    <a:lnTo>
                      <a:pt x="199" y="54"/>
                    </a:lnTo>
                    <a:lnTo>
                      <a:pt x="198" y="53"/>
                    </a:lnTo>
                    <a:lnTo>
                      <a:pt x="195" y="52"/>
                    </a:lnTo>
                    <a:lnTo>
                      <a:pt x="194" y="52"/>
                    </a:lnTo>
                    <a:lnTo>
                      <a:pt x="194" y="51"/>
                    </a:lnTo>
                    <a:lnTo>
                      <a:pt x="194" y="48"/>
                    </a:lnTo>
                    <a:lnTo>
                      <a:pt x="192" y="40"/>
                    </a:lnTo>
                    <a:lnTo>
                      <a:pt x="190" y="39"/>
                    </a:lnTo>
                    <a:lnTo>
                      <a:pt x="178" y="37"/>
                    </a:lnTo>
                    <a:lnTo>
                      <a:pt x="179" y="27"/>
                    </a:lnTo>
                    <a:lnTo>
                      <a:pt x="179" y="23"/>
                    </a:lnTo>
                    <a:lnTo>
                      <a:pt x="174" y="21"/>
                    </a:lnTo>
                    <a:lnTo>
                      <a:pt x="175" y="15"/>
                    </a:lnTo>
                    <a:lnTo>
                      <a:pt x="167" y="15"/>
                    </a:lnTo>
                    <a:lnTo>
                      <a:pt x="166" y="13"/>
                    </a:lnTo>
                    <a:lnTo>
                      <a:pt x="164" y="13"/>
                    </a:lnTo>
                    <a:lnTo>
                      <a:pt x="164" y="11"/>
                    </a:lnTo>
                    <a:lnTo>
                      <a:pt x="162" y="13"/>
                    </a:lnTo>
                    <a:lnTo>
                      <a:pt x="158" y="8"/>
                    </a:lnTo>
                    <a:lnTo>
                      <a:pt x="156" y="7"/>
                    </a:lnTo>
                    <a:lnTo>
                      <a:pt x="156" y="10"/>
                    </a:lnTo>
                    <a:lnTo>
                      <a:pt x="155" y="10"/>
                    </a:lnTo>
                    <a:lnTo>
                      <a:pt x="147" y="10"/>
                    </a:lnTo>
                    <a:lnTo>
                      <a:pt x="146" y="17"/>
                    </a:lnTo>
                    <a:lnTo>
                      <a:pt x="142" y="16"/>
                    </a:lnTo>
                    <a:lnTo>
                      <a:pt x="137" y="15"/>
                    </a:lnTo>
                    <a:lnTo>
                      <a:pt x="136" y="19"/>
                    </a:lnTo>
                    <a:lnTo>
                      <a:pt x="133" y="21"/>
                    </a:lnTo>
                    <a:lnTo>
                      <a:pt x="133" y="22"/>
                    </a:lnTo>
                    <a:lnTo>
                      <a:pt x="131" y="23"/>
                    </a:lnTo>
                    <a:lnTo>
                      <a:pt x="131" y="21"/>
                    </a:lnTo>
                    <a:lnTo>
                      <a:pt x="127" y="20"/>
                    </a:lnTo>
                    <a:lnTo>
                      <a:pt x="126" y="20"/>
                    </a:lnTo>
                    <a:lnTo>
                      <a:pt x="126" y="19"/>
                    </a:lnTo>
                    <a:lnTo>
                      <a:pt x="124" y="18"/>
                    </a:lnTo>
                    <a:lnTo>
                      <a:pt x="123" y="15"/>
                    </a:lnTo>
                    <a:lnTo>
                      <a:pt x="124" y="12"/>
                    </a:lnTo>
                    <a:lnTo>
                      <a:pt x="126" y="8"/>
                    </a:lnTo>
                    <a:lnTo>
                      <a:pt x="124" y="7"/>
                    </a:lnTo>
                    <a:lnTo>
                      <a:pt x="125" y="6"/>
                    </a:lnTo>
                    <a:lnTo>
                      <a:pt x="125" y="5"/>
                    </a:lnTo>
                    <a:lnTo>
                      <a:pt x="121" y="4"/>
                    </a:lnTo>
                    <a:lnTo>
                      <a:pt x="120" y="2"/>
                    </a:lnTo>
                    <a:lnTo>
                      <a:pt x="118" y="0"/>
                    </a:lnTo>
                    <a:lnTo>
                      <a:pt x="116" y="1"/>
                    </a:lnTo>
                    <a:lnTo>
                      <a:pt x="115" y="4"/>
                    </a:lnTo>
                    <a:lnTo>
                      <a:pt x="112" y="2"/>
                    </a:lnTo>
                    <a:lnTo>
                      <a:pt x="111" y="5"/>
                    </a:lnTo>
                    <a:lnTo>
                      <a:pt x="109" y="5"/>
                    </a:lnTo>
                    <a:lnTo>
                      <a:pt x="107" y="6"/>
                    </a:lnTo>
                    <a:lnTo>
                      <a:pt x="107" y="8"/>
                    </a:lnTo>
                    <a:lnTo>
                      <a:pt x="108" y="9"/>
                    </a:lnTo>
                    <a:lnTo>
                      <a:pt x="107" y="14"/>
                    </a:lnTo>
                    <a:lnTo>
                      <a:pt x="106" y="15"/>
                    </a:lnTo>
                    <a:lnTo>
                      <a:pt x="105" y="15"/>
                    </a:lnTo>
                    <a:lnTo>
                      <a:pt x="104" y="14"/>
                    </a:lnTo>
                    <a:lnTo>
                      <a:pt x="102" y="18"/>
                    </a:lnTo>
                    <a:lnTo>
                      <a:pt x="101" y="15"/>
                    </a:lnTo>
                    <a:lnTo>
                      <a:pt x="99" y="15"/>
                    </a:lnTo>
                    <a:lnTo>
                      <a:pt x="98" y="15"/>
                    </a:lnTo>
                    <a:lnTo>
                      <a:pt x="97" y="14"/>
                    </a:lnTo>
                    <a:lnTo>
                      <a:pt x="96" y="15"/>
                    </a:lnTo>
                    <a:lnTo>
                      <a:pt x="95" y="15"/>
                    </a:lnTo>
                    <a:lnTo>
                      <a:pt x="94" y="18"/>
                    </a:lnTo>
                    <a:lnTo>
                      <a:pt x="93" y="18"/>
                    </a:lnTo>
                    <a:lnTo>
                      <a:pt x="93" y="19"/>
                    </a:lnTo>
                    <a:lnTo>
                      <a:pt x="92" y="20"/>
                    </a:lnTo>
                    <a:lnTo>
                      <a:pt x="90" y="19"/>
                    </a:lnTo>
                    <a:lnTo>
                      <a:pt x="89" y="20"/>
                    </a:lnTo>
                    <a:lnTo>
                      <a:pt x="88" y="19"/>
                    </a:lnTo>
                    <a:lnTo>
                      <a:pt x="88" y="18"/>
                    </a:lnTo>
                    <a:lnTo>
                      <a:pt x="86" y="17"/>
                    </a:lnTo>
                    <a:lnTo>
                      <a:pt x="86" y="16"/>
                    </a:lnTo>
                    <a:lnTo>
                      <a:pt x="82" y="14"/>
                    </a:lnTo>
                    <a:lnTo>
                      <a:pt x="82" y="13"/>
                    </a:lnTo>
                    <a:lnTo>
                      <a:pt x="81" y="12"/>
                    </a:lnTo>
                    <a:lnTo>
                      <a:pt x="81" y="15"/>
                    </a:lnTo>
                    <a:lnTo>
                      <a:pt x="79" y="14"/>
                    </a:lnTo>
                    <a:lnTo>
                      <a:pt x="79" y="15"/>
                    </a:lnTo>
                    <a:lnTo>
                      <a:pt x="77" y="14"/>
                    </a:lnTo>
                    <a:lnTo>
                      <a:pt x="76" y="14"/>
                    </a:lnTo>
                    <a:lnTo>
                      <a:pt x="76" y="13"/>
                    </a:lnTo>
                    <a:lnTo>
                      <a:pt x="76" y="12"/>
                    </a:lnTo>
                    <a:lnTo>
                      <a:pt x="75" y="13"/>
                    </a:lnTo>
                    <a:lnTo>
                      <a:pt x="73" y="12"/>
                    </a:lnTo>
                    <a:lnTo>
                      <a:pt x="71" y="13"/>
                    </a:lnTo>
                    <a:lnTo>
                      <a:pt x="71" y="12"/>
                    </a:lnTo>
                    <a:lnTo>
                      <a:pt x="69" y="12"/>
                    </a:lnTo>
                    <a:lnTo>
                      <a:pt x="69" y="11"/>
                    </a:lnTo>
                    <a:lnTo>
                      <a:pt x="68" y="12"/>
                    </a:lnTo>
                    <a:lnTo>
                      <a:pt x="68" y="10"/>
                    </a:lnTo>
                    <a:lnTo>
                      <a:pt x="68" y="13"/>
                    </a:lnTo>
                    <a:lnTo>
                      <a:pt x="69" y="13"/>
                    </a:lnTo>
                    <a:lnTo>
                      <a:pt x="68" y="14"/>
                    </a:lnTo>
                    <a:lnTo>
                      <a:pt x="68" y="13"/>
                    </a:lnTo>
                    <a:lnTo>
                      <a:pt x="66" y="12"/>
                    </a:lnTo>
                    <a:lnTo>
                      <a:pt x="66" y="13"/>
                    </a:lnTo>
                    <a:lnTo>
                      <a:pt x="65" y="13"/>
                    </a:lnTo>
                    <a:lnTo>
                      <a:pt x="65" y="11"/>
                    </a:lnTo>
                    <a:lnTo>
                      <a:pt x="63" y="11"/>
                    </a:lnTo>
                    <a:lnTo>
                      <a:pt x="64" y="6"/>
                    </a:lnTo>
                    <a:lnTo>
                      <a:pt x="61" y="5"/>
                    </a:lnTo>
                    <a:lnTo>
                      <a:pt x="60" y="5"/>
                    </a:lnTo>
                    <a:lnTo>
                      <a:pt x="60" y="6"/>
                    </a:lnTo>
                    <a:lnTo>
                      <a:pt x="61" y="8"/>
                    </a:lnTo>
                    <a:lnTo>
                      <a:pt x="59" y="8"/>
                    </a:lnTo>
                    <a:lnTo>
                      <a:pt x="58" y="8"/>
                    </a:lnTo>
                    <a:lnTo>
                      <a:pt x="58" y="10"/>
                    </a:lnTo>
                    <a:lnTo>
                      <a:pt x="56" y="11"/>
                    </a:lnTo>
                    <a:lnTo>
                      <a:pt x="55" y="10"/>
                    </a:lnTo>
                    <a:lnTo>
                      <a:pt x="55" y="8"/>
                    </a:lnTo>
                    <a:lnTo>
                      <a:pt x="54" y="9"/>
                    </a:lnTo>
                    <a:lnTo>
                      <a:pt x="53" y="8"/>
                    </a:lnTo>
                    <a:lnTo>
                      <a:pt x="52" y="8"/>
                    </a:lnTo>
                    <a:lnTo>
                      <a:pt x="48" y="10"/>
                    </a:lnTo>
                    <a:lnTo>
                      <a:pt x="47" y="10"/>
                    </a:lnTo>
                    <a:lnTo>
                      <a:pt x="47" y="14"/>
                    </a:lnTo>
                    <a:lnTo>
                      <a:pt x="46" y="15"/>
                    </a:lnTo>
                    <a:lnTo>
                      <a:pt x="47" y="15"/>
                    </a:lnTo>
                    <a:lnTo>
                      <a:pt x="47" y="18"/>
                    </a:lnTo>
                    <a:lnTo>
                      <a:pt x="45" y="17"/>
                    </a:lnTo>
                    <a:lnTo>
                      <a:pt x="44" y="18"/>
                    </a:lnTo>
                    <a:lnTo>
                      <a:pt x="42" y="19"/>
                    </a:lnTo>
                    <a:lnTo>
                      <a:pt x="41" y="19"/>
                    </a:lnTo>
                    <a:lnTo>
                      <a:pt x="37" y="18"/>
                    </a:lnTo>
                    <a:lnTo>
                      <a:pt x="37" y="20"/>
                    </a:lnTo>
                    <a:lnTo>
                      <a:pt x="39" y="20"/>
                    </a:lnTo>
                    <a:lnTo>
                      <a:pt x="38" y="21"/>
                    </a:lnTo>
                    <a:lnTo>
                      <a:pt x="36" y="20"/>
                    </a:lnTo>
                    <a:lnTo>
                      <a:pt x="36" y="21"/>
                    </a:lnTo>
                    <a:lnTo>
                      <a:pt x="34" y="22"/>
                    </a:lnTo>
                    <a:lnTo>
                      <a:pt x="33" y="22"/>
                    </a:lnTo>
                    <a:lnTo>
                      <a:pt x="32" y="24"/>
                    </a:lnTo>
                    <a:lnTo>
                      <a:pt x="27" y="25"/>
                    </a:lnTo>
                    <a:lnTo>
                      <a:pt x="24" y="18"/>
                    </a:lnTo>
                    <a:lnTo>
                      <a:pt x="23" y="18"/>
                    </a:lnTo>
                    <a:lnTo>
                      <a:pt x="22" y="18"/>
                    </a:lnTo>
                    <a:lnTo>
                      <a:pt x="23" y="21"/>
                    </a:lnTo>
                    <a:lnTo>
                      <a:pt x="20" y="23"/>
                    </a:lnTo>
                    <a:lnTo>
                      <a:pt x="19" y="21"/>
                    </a:lnTo>
                    <a:lnTo>
                      <a:pt x="19" y="19"/>
                    </a:lnTo>
                    <a:lnTo>
                      <a:pt x="17" y="18"/>
                    </a:lnTo>
                    <a:lnTo>
                      <a:pt x="15" y="19"/>
                    </a:lnTo>
                    <a:lnTo>
                      <a:pt x="13" y="23"/>
                    </a:lnTo>
                    <a:lnTo>
                      <a:pt x="16" y="26"/>
                    </a:lnTo>
                    <a:lnTo>
                      <a:pt x="17" y="25"/>
                    </a:lnTo>
                    <a:lnTo>
                      <a:pt x="19" y="28"/>
                    </a:lnTo>
                    <a:lnTo>
                      <a:pt x="20" y="28"/>
                    </a:lnTo>
                    <a:lnTo>
                      <a:pt x="18" y="29"/>
                    </a:lnTo>
                    <a:lnTo>
                      <a:pt x="17" y="27"/>
                    </a:lnTo>
                    <a:lnTo>
                      <a:pt x="16" y="28"/>
                    </a:lnTo>
                    <a:lnTo>
                      <a:pt x="14" y="28"/>
                    </a:lnTo>
                    <a:lnTo>
                      <a:pt x="14" y="29"/>
                    </a:lnTo>
                    <a:lnTo>
                      <a:pt x="14" y="32"/>
                    </a:lnTo>
                    <a:lnTo>
                      <a:pt x="15" y="34"/>
                    </a:lnTo>
                    <a:lnTo>
                      <a:pt x="14" y="40"/>
                    </a:lnTo>
                    <a:lnTo>
                      <a:pt x="12" y="39"/>
                    </a:lnTo>
                    <a:lnTo>
                      <a:pt x="10" y="40"/>
                    </a:lnTo>
                    <a:lnTo>
                      <a:pt x="9" y="39"/>
                    </a:lnTo>
                    <a:lnTo>
                      <a:pt x="9" y="40"/>
                    </a:lnTo>
                    <a:lnTo>
                      <a:pt x="8" y="40"/>
                    </a:lnTo>
                    <a:lnTo>
                      <a:pt x="6" y="39"/>
                    </a:lnTo>
                    <a:lnTo>
                      <a:pt x="6" y="40"/>
                    </a:lnTo>
                    <a:lnTo>
                      <a:pt x="4" y="41"/>
                    </a:lnTo>
                    <a:lnTo>
                      <a:pt x="4" y="42"/>
                    </a:lnTo>
                    <a:lnTo>
                      <a:pt x="6" y="43"/>
                    </a:lnTo>
                    <a:lnTo>
                      <a:pt x="10" y="44"/>
                    </a:lnTo>
                    <a:lnTo>
                      <a:pt x="9" y="45"/>
                    </a:lnTo>
                    <a:lnTo>
                      <a:pt x="11" y="44"/>
                    </a:lnTo>
                    <a:lnTo>
                      <a:pt x="11" y="46"/>
                    </a:lnTo>
                    <a:lnTo>
                      <a:pt x="11" y="47"/>
                    </a:lnTo>
                    <a:lnTo>
                      <a:pt x="10" y="46"/>
                    </a:lnTo>
                    <a:lnTo>
                      <a:pt x="9" y="47"/>
                    </a:lnTo>
                    <a:lnTo>
                      <a:pt x="8" y="46"/>
                    </a:lnTo>
                    <a:lnTo>
                      <a:pt x="9" y="47"/>
                    </a:lnTo>
                    <a:lnTo>
                      <a:pt x="8" y="47"/>
                    </a:lnTo>
                    <a:lnTo>
                      <a:pt x="6" y="46"/>
                    </a:lnTo>
                    <a:lnTo>
                      <a:pt x="5" y="45"/>
                    </a:lnTo>
                    <a:lnTo>
                      <a:pt x="2" y="47"/>
                    </a:lnTo>
                    <a:lnTo>
                      <a:pt x="0" y="48"/>
                    </a:lnTo>
                    <a:lnTo>
                      <a:pt x="2" y="49"/>
                    </a:lnTo>
                    <a:lnTo>
                      <a:pt x="2" y="51"/>
                    </a:lnTo>
                    <a:lnTo>
                      <a:pt x="2" y="53"/>
                    </a:lnTo>
                    <a:lnTo>
                      <a:pt x="4" y="55"/>
                    </a:lnTo>
                    <a:lnTo>
                      <a:pt x="5" y="55"/>
                    </a:lnTo>
                    <a:lnTo>
                      <a:pt x="5" y="57"/>
                    </a:lnTo>
                    <a:lnTo>
                      <a:pt x="7" y="58"/>
                    </a:lnTo>
                    <a:lnTo>
                      <a:pt x="9" y="59"/>
                    </a:lnTo>
                    <a:lnTo>
                      <a:pt x="9" y="60"/>
                    </a:lnTo>
                    <a:lnTo>
                      <a:pt x="11" y="58"/>
                    </a:lnTo>
                    <a:lnTo>
                      <a:pt x="14" y="59"/>
                    </a:lnTo>
                    <a:lnTo>
                      <a:pt x="14" y="60"/>
                    </a:lnTo>
                    <a:lnTo>
                      <a:pt x="13" y="59"/>
                    </a:lnTo>
                    <a:lnTo>
                      <a:pt x="14" y="61"/>
                    </a:lnTo>
                    <a:lnTo>
                      <a:pt x="16" y="61"/>
                    </a:lnTo>
                    <a:lnTo>
                      <a:pt x="17" y="62"/>
                    </a:lnTo>
                    <a:lnTo>
                      <a:pt x="16" y="63"/>
                    </a:lnTo>
                    <a:lnTo>
                      <a:pt x="14" y="63"/>
                    </a:lnTo>
                    <a:lnTo>
                      <a:pt x="15" y="65"/>
                    </a:lnTo>
                    <a:lnTo>
                      <a:pt x="16" y="65"/>
                    </a:lnTo>
                    <a:lnTo>
                      <a:pt x="17" y="65"/>
                    </a:lnTo>
                    <a:lnTo>
                      <a:pt x="17" y="66"/>
                    </a:lnTo>
                    <a:lnTo>
                      <a:pt x="18" y="65"/>
                    </a:lnTo>
                    <a:lnTo>
                      <a:pt x="19" y="66"/>
                    </a:lnTo>
                    <a:lnTo>
                      <a:pt x="20" y="67"/>
                    </a:lnTo>
                    <a:lnTo>
                      <a:pt x="24" y="65"/>
                    </a:lnTo>
                    <a:lnTo>
                      <a:pt x="24" y="66"/>
                    </a:lnTo>
                    <a:lnTo>
                      <a:pt x="24" y="67"/>
                    </a:lnTo>
                    <a:lnTo>
                      <a:pt x="25" y="68"/>
                    </a:lnTo>
                    <a:lnTo>
                      <a:pt x="24" y="69"/>
                    </a:lnTo>
                    <a:lnTo>
                      <a:pt x="24" y="71"/>
                    </a:lnTo>
                    <a:lnTo>
                      <a:pt x="25" y="71"/>
                    </a:lnTo>
                    <a:lnTo>
                      <a:pt x="27" y="67"/>
                    </a:lnTo>
                    <a:lnTo>
                      <a:pt x="27" y="69"/>
                    </a:lnTo>
                    <a:lnTo>
                      <a:pt x="27" y="70"/>
                    </a:lnTo>
                    <a:lnTo>
                      <a:pt x="28" y="70"/>
                    </a:lnTo>
                    <a:lnTo>
                      <a:pt x="27" y="72"/>
                    </a:lnTo>
                    <a:lnTo>
                      <a:pt x="27" y="74"/>
                    </a:lnTo>
                    <a:lnTo>
                      <a:pt x="24" y="76"/>
                    </a:lnTo>
                    <a:lnTo>
                      <a:pt x="24" y="78"/>
                    </a:lnTo>
                    <a:lnTo>
                      <a:pt x="27" y="80"/>
                    </a:lnTo>
                    <a:lnTo>
                      <a:pt x="34" y="87"/>
                    </a:lnTo>
                    <a:lnTo>
                      <a:pt x="35" y="86"/>
                    </a:lnTo>
                    <a:lnTo>
                      <a:pt x="36" y="86"/>
                    </a:lnTo>
                    <a:lnTo>
                      <a:pt x="36" y="88"/>
                    </a:lnTo>
                    <a:lnTo>
                      <a:pt x="37" y="87"/>
                    </a:lnTo>
                    <a:lnTo>
                      <a:pt x="38" y="88"/>
                    </a:lnTo>
                    <a:lnTo>
                      <a:pt x="38" y="89"/>
                    </a:lnTo>
                    <a:lnTo>
                      <a:pt x="38" y="90"/>
                    </a:lnTo>
                    <a:lnTo>
                      <a:pt x="39" y="91"/>
                    </a:lnTo>
                    <a:lnTo>
                      <a:pt x="40" y="89"/>
                    </a:lnTo>
                    <a:lnTo>
                      <a:pt x="41" y="92"/>
                    </a:lnTo>
                    <a:lnTo>
                      <a:pt x="40" y="94"/>
                    </a:lnTo>
                    <a:lnTo>
                      <a:pt x="41" y="95"/>
                    </a:lnTo>
                    <a:lnTo>
                      <a:pt x="40" y="96"/>
                    </a:lnTo>
                    <a:lnTo>
                      <a:pt x="41" y="98"/>
                    </a:lnTo>
                    <a:lnTo>
                      <a:pt x="40" y="97"/>
                    </a:lnTo>
                    <a:lnTo>
                      <a:pt x="38" y="98"/>
                    </a:lnTo>
                    <a:lnTo>
                      <a:pt x="36" y="100"/>
                    </a:lnTo>
                    <a:lnTo>
                      <a:pt x="39" y="105"/>
                    </a:lnTo>
                    <a:lnTo>
                      <a:pt x="40" y="106"/>
                    </a:lnTo>
                    <a:lnTo>
                      <a:pt x="40" y="108"/>
                    </a:lnTo>
                    <a:lnTo>
                      <a:pt x="40" y="109"/>
                    </a:lnTo>
                    <a:lnTo>
                      <a:pt x="39" y="110"/>
                    </a:lnTo>
                    <a:lnTo>
                      <a:pt x="38" y="109"/>
                    </a:lnTo>
                    <a:lnTo>
                      <a:pt x="38" y="112"/>
                    </a:lnTo>
                    <a:lnTo>
                      <a:pt x="37" y="112"/>
                    </a:lnTo>
                    <a:lnTo>
                      <a:pt x="36" y="113"/>
                    </a:lnTo>
                    <a:lnTo>
                      <a:pt x="36" y="114"/>
                    </a:lnTo>
                    <a:lnTo>
                      <a:pt x="33" y="117"/>
                    </a:lnTo>
                    <a:lnTo>
                      <a:pt x="35" y="119"/>
                    </a:lnTo>
                    <a:lnTo>
                      <a:pt x="33" y="119"/>
                    </a:lnTo>
                    <a:lnTo>
                      <a:pt x="30" y="120"/>
                    </a:lnTo>
                    <a:lnTo>
                      <a:pt x="29" y="120"/>
                    </a:lnTo>
                    <a:lnTo>
                      <a:pt x="29" y="122"/>
                    </a:lnTo>
                    <a:lnTo>
                      <a:pt x="28" y="123"/>
                    </a:lnTo>
                    <a:lnTo>
                      <a:pt x="30" y="124"/>
                    </a:lnTo>
                    <a:lnTo>
                      <a:pt x="30" y="127"/>
                    </a:lnTo>
                    <a:lnTo>
                      <a:pt x="29" y="129"/>
                    </a:lnTo>
                    <a:lnTo>
                      <a:pt x="30" y="129"/>
                    </a:lnTo>
                    <a:lnTo>
                      <a:pt x="29" y="132"/>
                    </a:lnTo>
                    <a:lnTo>
                      <a:pt x="28" y="132"/>
                    </a:lnTo>
                    <a:lnTo>
                      <a:pt x="28" y="130"/>
                    </a:lnTo>
                    <a:lnTo>
                      <a:pt x="27" y="133"/>
                    </a:lnTo>
                    <a:lnTo>
                      <a:pt x="28" y="134"/>
                    </a:lnTo>
                    <a:lnTo>
                      <a:pt x="28" y="136"/>
                    </a:lnTo>
                    <a:lnTo>
                      <a:pt x="27" y="136"/>
                    </a:lnTo>
                    <a:lnTo>
                      <a:pt x="30" y="140"/>
                    </a:lnTo>
                    <a:lnTo>
                      <a:pt x="32" y="142"/>
                    </a:lnTo>
                    <a:lnTo>
                      <a:pt x="33" y="143"/>
                    </a:lnTo>
                    <a:lnTo>
                      <a:pt x="35" y="146"/>
                    </a:lnTo>
                    <a:lnTo>
                      <a:pt x="36" y="147"/>
                    </a:lnTo>
                    <a:lnTo>
                      <a:pt x="38" y="147"/>
                    </a:lnTo>
                    <a:lnTo>
                      <a:pt x="41" y="152"/>
                    </a:lnTo>
                    <a:lnTo>
                      <a:pt x="43" y="152"/>
                    </a:lnTo>
                    <a:lnTo>
                      <a:pt x="43" y="153"/>
                    </a:lnTo>
                    <a:lnTo>
                      <a:pt x="44" y="155"/>
                    </a:lnTo>
                    <a:lnTo>
                      <a:pt x="47" y="155"/>
                    </a:lnTo>
                    <a:lnTo>
                      <a:pt x="46" y="157"/>
                    </a:lnTo>
                    <a:lnTo>
                      <a:pt x="47" y="159"/>
                    </a:lnTo>
                    <a:lnTo>
                      <a:pt x="49" y="159"/>
                    </a:lnTo>
                    <a:lnTo>
                      <a:pt x="49" y="160"/>
                    </a:lnTo>
                    <a:lnTo>
                      <a:pt x="50" y="160"/>
                    </a:lnTo>
                    <a:lnTo>
                      <a:pt x="49" y="160"/>
                    </a:lnTo>
                    <a:lnTo>
                      <a:pt x="50" y="163"/>
                    </a:lnTo>
                    <a:lnTo>
                      <a:pt x="49" y="164"/>
                    </a:lnTo>
                    <a:lnTo>
                      <a:pt x="49" y="165"/>
                    </a:lnTo>
                    <a:lnTo>
                      <a:pt x="50" y="163"/>
                    </a:lnTo>
                    <a:lnTo>
                      <a:pt x="50" y="164"/>
                    </a:lnTo>
                    <a:lnTo>
                      <a:pt x="52" y="163"/>
                    </a:lnTo>
                    <a:lnTo>
                      <a:pt x="52" y="164"/>
                    </a:lnTo>
                    <a:lnTo>
                      <a:pt x="53" y="164"/>
                    </a:lnTo>
                    <a:lnTo>
                      <a:pt x="55" y="164"/>
                    </a:lnTo>
                    <a:lnTo>
                      <a:pt x="57" y="164"/>
                    </a:lnTo>
                    <a:lnTo>
                      <a:pt x="57" y="165"/>
                    </a:lnTo>
                    <a:lnTo>
                      <a:pt x="58" y="165"/>
                    </a:lnTo>
                    <a:lnTo>
                      <a:pt x="58" y="164"/>
                    </a:lnTo>
                    <a:lnTo>
                      <a:pt x="60" y="164"/>
                    </a:lnTo>
                    <a:lnTo>
                      <a:pt x="60" y="163"/>
                    </a:lnTo>
                    <a:lnTo>
                      <a:pt x="63" y="163"/>
                    </a:lnTo>
                    <a:lnTo>
                      <a:pt x="62" y="164"/>
                    </a:lnTo>
                    <a:lnTo>
                      <a:pt x="63" y="168"/>
                    </a:lnTo>
                    <a:lnTo>
                      <a:pt x="64" y="167"/>
                    </a:lnTo>
                    <a:lnTo>
                      <a:pt x="65" y="168"/>
                    </a:lnTo>
                    <a:lnTo>
                      <a:pt x="67" y="168"/>
                    </a:lnTo>
                    <a:lnTo>
                      <a:pt x="68" y="164"/>
                    </a:lnTo>
                    <a:lnTo>
                      <a:pt x="69" y="163"/>
                    </a:lnTo>
                    <a:lnTo>
                      <a:pt x="70" y="166"/>
                    </a:lnTo>
                    <a:lnTo>
                      <a:pt x="71" y="166"/>
                    </a:lnTo>
                    <a:lnTo>
                      <a:pt x="72" y="166"/>
                    </a:lnTo>
                    <a:lnTo>
                      <a:pt x="72" y="167"/>
                    </a:lnTo>
                    <a:lnTo>
                      <a:pt x="75" y="167"/>
                    </a:lnTo>
                    <a:lnTo>
                      <a:pt x="76" y="169"/>
                    </a:lnTo>
                    <a:lnTo>
                      <a:pt x="74" y="169"/>
                    </a:lnTo>
                    <a:lnTo>
                      <a:pt x="74" y="170"/>
                    </a:lnTo>
                    <a:lnTo>
                      <a:pt x="76" y="172"/>
                    </a:lnTo>
                    <a:lnTo>
                      <a:pt x="77" y="170"/>
                    </a:lnTo>
                    <a:lnTo>
                      <a:pt x="77" y="172"/>
                    </a:lnTo>
                    <a:lnTo>
                      <a:pt x="79" y="173"/>
                    </a:lnTo>
                    <a:lnTo>
                      <a:pt x="81" y="171"/>
                    </a:lnTo>
                    <a:lnTo>
                      <a:pt x="81" y="172"/>
                    </a:lnTo>
                    <a:lnTo>
                      <a:pt x="82" y="173"/>
                    </a:lnTo>
                    <a:lnTo>
                      <a:pt x="82" y="176"/>
                    </a:lnTo>
                    <a:lnTo>
                      <a:pt x="83" y="176"/>
                    </a:lnTo>
                    <a:lnTo>
                      <a:pt x="84" y="176"/>
                    </a:lnTo>
                    <a:lnTo>
                      <a:pt x="83" y="177"/>
                    </a:lnTo>
                    <a:lnTo>
                      <a:pt x="82" y="177"/>
                    </a:lnTo>
                    <a:lnTo>
                      <a:pt x="83" y="178"/>
                    </a:lnTo>
                    <a:lnTo>
                      <a:pt x="84" y="178"/>
                    </a:lnTo>
                    <a:lnTo>
                      <a:pt x="84" y="179"/>
                    </a:lnTo>
                    <a:lnTo>
                      <a:pt x="85" y="178"/>
                    </a:lnTo>
                    <a:lnTo>
                      <a:pt x="85" y="179"/>
                    </a:lnTo>
                    <a:lnTo>
                      <a:pt x="86" y="181"/>
                    </a:lnTo>
                    <a:lnTo>
                      <a:pt x="85" y="181"/>
                    </a:lnTo>
                    <a:lnTo>
                      <a:pt x="89" y="184"/>
                    </a:lnTo>
                    <a:lnTo>
                      <a:pt x="89" y="183"/>
                    </a:lnTo>
                    <a:lnTo>
                      <a:pt x="93" y="183"/>
                    </a:lnTo>
                    <a:lnTo>
                      <a:pt x="94" y="185"/>
                    </a:lnTo>
                    <a:lnTo>
                      <a:pt x="96" y="185"/>
                    </a:lnTo>
                    <a:lnTo>
                      <a:pt x="98" y="186"/>
                    </a:lnTo>
                    <a:lnTo>
                      <a:pt x="98" y="185"/>
                    </a:lnTo>
                    <a:lnTo>
                      <a:pt x="100" y="185"/>
                    </a:lnTo>
                    <a:lnTo>
                      <a:pt x="99" y="187"/>
                    </a:lnTo>
                    <a:lnTo>
                      <a:pt x="97" y="192"/>
                    </a:lnTo>
                    <a:lnTo>
                      <a:pt x="97" y="195"/>
                    </a:lnTo>
                    <a:lnTo>
                      <a:pt x="97" y="197"/>
                    </a:lnTo>
                    <a:lnTo>
                      <a:pt x="99" y="197"/>
                    </a:lnTo>
                    <a:lnTo>
                      <a:pt x="101" y="195"/>
                    </a:lnTo>
                    <a:lnTo>
                      <a:pt x="101" y="196"/>
                    </a:lnTo>
                    <a:lnTo>
                      <a:pt x="101" y="195"/>
                    </a:lnTo>
                    <a:lnTo>
                      <a:pt x="102" y="194"/>
                    </a:lnTo>
                    <a:lnTo>
                      <a:pt x="104" y="197"/>
                    </a:lnTo>
                    <a:lnTo>
                      <a:pt x="105" y="196"/>
                    </a:lnTo>
                    <a:lnTo>
                      <a:pt x="106" y="197"/>
                    </a:lnTo>
                    <a:lnTo>
                      <a:pt x="108" y="199"/>
                    </a:lnTo>
                    <a:lnTo>
                      <a:pt x="109" y="199"/>
                    </a:lnTo>
                    <a:lnTo>
                      <a:pt x="111" y="204"/>
                    </a:lnTo>
                    <a:lnTo>
                      <a:pt x="115" y="206"/>
                    </a:lnTo>
                    <a:lnTo>
                      <a:pt x="116" y="208"/>
                    </a:lnTo>
                    <a:lnTo>
                      <a:pt x="118" y="206"/>
                    </a:lnTo>
                    <a:lnTo>
                      <a:pt x="120" y="205"/>
                    </a:lnTo>
                    <a:lnTo>
                      <a:pt x="120" y="210"/>
                    </a:lnTo>
                    <a:lnTo>
                      <a:pt x="118" y="211"/>
                    </a:lnTo>
                    <a:lnTo>
                      <a:pt x="115" y="216"/>
                    </a:lnTo>
                    <a:lnTo>
                      <a:pt x="117" y="219"/>
                    </a:lnTo>
                    <a:lnTo>
                      <a:pt x="116" y="220"/>
                    </a:lnTo>
                    <a:lnTo>
                      <a:pt x="120" y="224"/>
                    </a:lnTo>
                    <a:lnTo>
                      <a:pt x="123" y="224"/>
                    </a:lnTo>
                    <a:lnTo>
                      <a:pt x="126" y="227"/>
                    </a:lnTo>
                    <a:lnTo>
                      <a:pt x="128" y="228"/>
                    </a:lnTo>
                    <a:lnTo>
                      <a:pt x="128" y="229"/>
                    </a:lnTo>
                    <a:lnTo>
                      <a:pt x="129" y="229"/>
                    </a:lnTo>
                    <a:lnTo>
                      <a:pt x="132" y="234"/>
                    </a:lnTo>
                    <a:lnTo>
                      <a:pt x="133" y="234"/>
                    </a:lnTo>
                    <a:lnTo>
                      <a:pt x="134" y="233"/>
                    </a:lnTo>
                    <a:lnTo>
                      <a:pt x="136" y="233"/>
                    </a:lnTo>
                    <a:lnTo>
                      <a:pt x="138" y="234"/>
                    </a:lnTo>
                    <a:lnTo>
                      <a:pt x="140" y="234"/>
                    </a:lnTo>
                    <a:lnTo>
                      <a:pt x="143" y="233"/>
                    </a:lnTo>
                    <a:lnTo>
                      <a:pt x="142" y="227"/>
                    </a:lnTo>
                    <a:lnTo>
                      <a:pt x="146" y="229"/>
                    </a:lnTo>
                    <a:lnTo>
                      <a:pt x="147" y="228"/>
                    </a:lnTo>
                    <a:lnTo>
                      <a:pt x="148" y="228"/>
                    </a:lnTo>
                    <a:lnTo>
                      <a:pt x="147" y="224"/>
                    </a:lnTo>
                    <a:lnTo>
                      <a:pt x="148" y="220"/>
                    </a:lnTo>
                    <a:lnTo>
                      <a:pt x="155" y="215"/>
                    </a:lnTo>
                    <a:lnTo>
                      <a:pt x="156" y="212"/>
                    </a:lnTo>
                    <a:lnTo>
                      <a:pt x="158" y="212"/>
                    </a:lnTo>
                    <a:lnTo>
                      <a:pt x="158" y="214"/>
                    </a:lnTo>
                    <a:lnTo>
                      <a:pt x="159" y="213"/>
                    </a:lnTo>
                    <a:lnTo>
                      <a:pt x="159" y="214"/>
                    </a:lnTo>
                    <a:lnTo>
                      <a:pt x="158" y="215"/>
                    </a:lnTo>
                    <a:lnTo>
                      <a:pt x="159" y="217"/>
                    </a:lnTo>
                    <a:lnTo>
                      <a:pt x="158" y="217"/>
                    </a:lnTo>
                    <a:lnTo>
                      <a:pt x="158" y="219"/>
                    </a:lnTo>
                    <a:lnTo>
                      <a:pt x="161" y="223"/>
                    </a:lnTo>
                    <a:lnTo>
                      <a:pt x="163" y="223"/>
                    </a:lnTo>
                    <a:lnTo>
                      <a:pt x="165" y="223"/>
                    </a:lnTo>
                    <a:lnTo>
                      <a:pt x="166" y="224"/>
                    </a:lnTo>
                    <a:lnTo>
                      <a:pt x="168" y="226"/>
                    </a:lnTo>
                    <a:lnTo>
                      <a:pt x="169" y="227"/>
                    </a:lnTo>
                    <a:lnTo>
                      <a:pt x="170" y="224"/>
                    </a:lnTo>
                    <a:lnTo>
                      <a:pt x="171" y="225"/>
                    </a:lnTo>
                    <a:lnTo>
                      <a:pt x="172" y="225"/>
                    </a:lnTo>
                    <a:lnTo>
                      <a:pt x="174" y="227"/>
                    </a:lnTo>
                    <a:lnTo>
                      <a:pt x="175" y="227"/>
                    </a:lnTo>
                    <a:lnTo>
                      <a:pt x="176" y="229"/>
                    </a:lnTo>
                    <a:lnTo>
                      <a:pt x="177" y="230"/>
                    </a:lnTo>
                    <a:lnTo>
                      <a:pt x="177" y="231"/>
                    </a:lnTo>
                    <a:lnTo>
                      <a:pt x="179" y="233"/>
                    </a:lnTo>
                    <a:lnTo>
                      <a:pt x="180" y="239"/>
                    </a:lnTo>
                    <a:lnTo>
                      <a:pt x="182" y="241"/>
                    </a:lnTo>
                    <a:lnTo>
                      <a:pt x="183" y="240"/>
                    </a:lnTo>
                    <a:lnTo>
                      <a:pt x="185" y="240"/>
                    </a:lnTo>
                    <a:lnTo>
                      <a:pt x="189" y="241"/>
                    </a:lnTo>
                    <a:lnTo>
                      <a:pt x="192" y="239"/>
                    </a:lnTo>
                    <a:lnTo>
                      <a:pt x="194" y="241"/>
                    </a:lnTo>
                    <a:lnTo>
                      <a:pt x="195" y="244"/>
                    </a:lnTo>
                    <a:lnTo>
                      <a:pt x="194" y="245"/>
                    </a:lnTo>
                    <a:lnTo>
                      <a:pt x="195" y="246"/>
                    </a:lnTo>
                    <a:lnTo>
                      <a:pt x="197" y="244"/>
                    </a:lnTo>
                    <a:lnTo>
                      <a:pt x="200" y="244"/>
                    </a:lnTo>
                    <a:lnTo>
                      <a:pt x="201" y="246"/>
                    </a:lnTo>
                    <a:lnTo>
                      <a:pt x="203" y="249"/>
                    </a:lnTo>
                    <a:lnTo>
                      <a:pt x="205" y="249"/>
                    </a:lnTo>
                    <a:lnTo>
                      <a:pt x="205" y="247"/>
                    </a:lnTo>
                    <a:lnTo>
                      <a:pt x="207" y="247"/>
                    </a:lnTo>
                    <a:lnTo>
                      <a:pt x="207" y="250"/>
                    </a:lnTo>
                    <a:lnTo>
                      <a:pt x="209" y="251"/>
                    </a:lnTo>
                    <a:lnTo>
                      <a:pt x="209" y="253"/>
                    </a:lnTo>
                    <a:lnTo>
                      <a:pt x="211" y="253"/>
                    </a:lnTo>
                    <a:lnTo>
                      <a:pt x="211" y="254"/>
                    </a:lnTo>
                    <a:lnTo>
                      <a:pt x="212" y="253"/>
                    </a:lnTo>
                    <a:lnTo>
                      <a:pt x="215" y="255"/>
                    </a:lnTo>
                    <a:lnTo>
                      <a:pt x="218" y="256"/>
                    </a:lnTo>
                    <a:lnTo>
                      <a:pt x="219" y="258"/>
                    </a:lnTo>
                    <a:lnTo>
                      <a:pt x="222" y="264"/>
                    </a:lnTo>
                    <a:lnTo>
                      <a:pt x="224" y="267"/>
                    </a:lnTo>
                    <a:lnTo>
                      <a:pt x="226" y="268"/>
                    </a:lnTo>
                    <a:lnTo>
                      <a:pt x="224" y="272"/>
                    </a:lnTo>
                    <a:lnTo>
                      <a:pt x="227" y="274"/>
                    </a:lnTo>
                    <a:lnTo>
                      <a:pt x="228" y="275"/>
                    </a:lnTo>
                    <a:lnTo>
                      <a:pt x="229" y="278"/>
                    </a:lnTo>
                    <a:lnTo>
                      <a:pt x="231" y="278"/>
                    </a:lnTo>
                    <a:lnTo>
                      <a:pt x="232" y="278"/>
                    </a:lnTo>
                    <a:lnTo>
                      <a:pt x="233" y="276"/>
                    </a:lnTo>
                    <a:lnTo>
                      <a:pt x="236" y="279"/>
                    </a:lnTo>
                    <a:lnTo>
                      <a:pt x="237" y="278"/>
                    </a:lnTo>
                    <a:lnTo>
                      <a:pt x="240" y="281"/>
                    </a:lnTo>
                    <a:lnTo>
                      <a:pt x="243" y="281"/>
                    </a:lnTo>
                    <a:lnTo>
                      <a:pt x="245" y="283"/>
                    </a:lnTo>
                    <a:lnTo>
                      <a:pt x="246" y="285"/>
                    </a:lnTo>
                    <a:lnTo>
                      <a:pt x="248" y="289"/>
                    </a:lnTo>
                    <a:lnTo>
                      <a:pt x="250" y="289"/>
                    </a:lnTo>
                    <a:lnTo>
                      <a:pt x="252" y="291"/>
                    </a:lnTo>
                    <a:lnTo>
                      <a:pt x="252" y="293"/>
                    </a:lnTo>
                    <a:lnTo>
                      <a:pt x="255" y="299"/>
                    </a:lnTo>
                    <a:lnTo>
                      <a:pt x="256" y="300"/>
                    </a:lnTo>
                    <a:lnTo>
                      <a:pt x="257" y="302"/>
                    </a:lnTo>
                    <a:lnTo>
                      <a:pt x="259" y="304"/>
                    </a:lnTo>
                    <a:lnTo>
                      <a:pt x="259" y="301"/>
                    </a:lnTo>
                    <a:lnTo>
                      <a:pt x="263" y="298"/>
                    </a:lnTo>
                    <a:lnTo>
                      <a:pt x="262" y="295"/>
                    </a:lnTo>
                    <a:lnTo>
                      <a:pt x="263" y="293"/>
                    </a:lnTo>
                    <a:lnTo>
                      <a:pt x="265" y="294"/>
                    </a:lnTo>
                    <a:lnTo>
                      <a:pt x="267" y="294"/>
                    </a:lnTo>
                    <a:lnTo>
                      <a:pt x="268" y="292"/>
                    </a:lnTo>
                    <a:lnTo>
                      <a:pt x="269" y="293"/>
                    </a:lnTo>
                    <a:lnTo>
                      <a:pt x="270" y="293"/>
                    </a:lnTo>
                    <a:lnTo>
                      <a:pt x="272" y="294"/>
                    </a:lnTo>
                    <a:lnTo>
                      <a:pt x="270" y="298"/>
                    </a:lnTo>
                    <a:lnTo>
                      <a:pt x="272" y="298"/>
                    </a:lnTo>
                    <a:lnTo>
                      <a:pt x="273" y="297"/>
                    </a:lnTo>
                    <a:lnTo>
                      <a:pt x="274" y="297"/>
                    </a:lnTo>
                    <a:lnTo>
                      <a:pt x="275" y="297"/>
                    </a:lnTo>
                    <a:lnTo>
                      <a:pt x="278" y="297"/>
                    </a:lnTo>
                    <a:lnTo>
                      <a:pt x="282" y="294"/>
                    </a:lnTo>
                    <a:lnTo>
                      <a:pt x="284" y="294"/>
                    </a:lnTo>
                    <a:lnTo>
                      <a:pt x="286" y="298"/>
                    </a:lnTo>
                    <a:lnTo>
                      <a:pt x="288" y="298"/>
                    </a:lnTo>
                    <a:lnTo>
                      <a:pt x="290" y="299"/>
                    </a:lnTo>
                    <a:lnTo>
                      <a:pt x="290" y="298"/>
                    </a:lnTo>
                    <a:lnTo>
                      <a:pt x="295" y="299"/>
                    </a:lnTo>
                    <a:lnTo>
                      <a:pt x="296" y="298"/>
                    </a:lnTo>
                    <a:lnTo>
                      <a:pt x="296" y="300"/>
                    </a:lnTo>
                    <a:lnTo>
                      <a:pt x="297" y="299"/>
                    </a:lnTo>
                    <a:lnTo>
                      <a:pt x="297" y="298"/>
                    </a:lnTo>
                    <a:lnTo>
                      <a:pt x="296" y="295"/>
                    </a:lnTo>
                    <a:lnTo>
                      <a:pt x="298" y="293"/>
                    </a:lnTo>
                    <a:lnTo>
                      <a:pt x="298" y="292"/>
                    </a:lnTo>
                    <a:lnTo>
                      <a:pt x="299" y="291"/>
                    </a:lnTo>
                    <a:lnTo>
                      <a:pt x="299" y="289"/>
                    </a:lnTo>
                    <a:lnTo>
                      <a:pt x="299" y="286"/>
                    </a:lnTo>
                    <a:lnTo>
                      <a:pt x="301" y="284"/>
                    </a:lnTo>
                    <a:lnTo>
                      <a:pt x="301" y="283"/>
                    </a:lnTo>
                    <a:lnTo>
                      <a:pt x="302" y="282"/>
                    </a:lnTo>
                    <a:lnTo>
                      <a:pt x="304" y="282"/>
                    </a:lnTo>
                    <a:lnTo>
                      <a:pt x="305" y="284"/>
                    </a:lnTo>
                    <a:lnTo>
                      <a:pt x="306" y="284"/>
                    </a:lnTo>
                    <a:lnTo>
                      <a:pt x="308" y="282"/>
                    </a:lnTo>
                    <a:lnTo>
                      <a:pt x="308" y="284"/>
                    </a:lnTo>
                    <a:lnTo>
                      <a:pt x="310" y="286"/>
                    </a:lnTo>
                    <a:lnTo>
                      <a:pt x="312" y="285"/>
                    </a:lnTo>
                    <a:lnTo>
                      <a:pt x="314" y="286"/>
                    </a:lnTo>
                    <a:lnTo>
                      <a:pt x="315" y="287"/>
                    </a:lnTo>
                    <a:lnTo>
                      <a:pt x="318" y="287"/>
                    </a:lnTo>
                    <a:lnTo>
                      <a:pt x="318" y="286"/>
                    </a:lnTo>
                    <a:lnTo>
                      <a:pt x="319" y="286"/>
                    </a:lnTo>
                    <a:lnTo>
                      <a:pt x="319" y="285"/>
                    </a:lnTo>
                    <a:lnTo>
                      <a:pt x="319" y="283"/>
                    </a:lnTo>
                    <a:lnTo>
                      <a:pt x="320" y="283"/>
                    </a:lnTo>
                    <a:lnTo>
                      <a:pt x="324" y="285"/>
                    </a:lnTo>
                    <a:lnTo>
                      <a:pt x="328" y="290"/>
                    </a:lnTo>
                    <a:lnTo>
                      <a:pt x="331" y="287"/>
                    </a:lnTo>
                    <a:lnTo>
                      <a:pt x="333" y="289"/>
                    </a:lnTo>
                    <a:lnTo>
                      <a:pt x="333" y="287"/>
                    </a:lnTo>
                    <a:lnTo>
                      <a:pt x="332" y="287"/>
                    </a:lnTo>
                    <a:lnTo>
                      <a:pt x="332" y="286"/>
                    </a:lnTo>
                    <a:lnTo>
                      <a:pt x="336" y="289"/>
                    </a:lnTo>
                    <a:lnTo>
                      <a:pt x="337" y="289"/>
                    </a:lnTo>
                    <a:lnTo>
                      <a:pt x="339" y="289"/>
                    </a:lnTo>
                    <a:lnTo>
                      <a:pt x="341" y="288"/>
                    </a:lnTo>
                    <a:lnTo>
                      <a:pt x="340" y="289"/>
                    </a:lnTo>
                    <a:lnTo>
                      <a:pt x="345" y="291"/>
                    </a:lnTo>
                    <a:lnTo>
                      <a:pt x="346" y="294"/>
                    </a:lnTo>
                    <a:lnTo>
                      <a:pt x="347" y="294"/>
                    </a:lnTo>
                    <a:lnTo>
                      <a:pt x="348" y="294"/>
                    </a:lnTo>
                    <a:lnTo>
                      <a:pt x="355" y="299"/>
                    </a:lnTo>
                    <a:lnTo>
                      <a:pt x="356" y="300"/>
                    </a:lnTo>
                    <a:lnTo>
                      <a:pt x="360" y="303"/>
                    </a:lnTo>
                    <a:lnTo>
                      <a:pt x="363" y="305"/>
                    </a:lnTo>
                    <a:lnTo>
                      <a:pt x="368" y="304"/>
                    </a:lnTo>
                    <a:lnTo>
                      <a:pt x="368" y="302"/>
                    </a:lnTo>
                    <a:lnTo>
                      <a:pt x="369" y="301"/>
                    </a:lnTo>
                    <a:lnTo>
                      <a:pt x="369" y="300"/>
                    </a:lnTo>
                    <a:lnTo>
                      <a:pt x="368" y="298"/>
                    </a:lnTo>
                    <a:lnTo>
                      <a:pt x="370" y="297"/>
                    </a:lnTo>
                    <a:lnTo>
                      <a:pt x="371" y="293"/>
                    </a:lnTo>
                    <a:lnTo>
                      <a:pt x="372" y="292"/>
                    </a:lnTo>
                    <a:lnTo>
                      <a:pt x="372" y="291"/>
                    </a:lnTo>
                    <a:lnTo>
                      <a:pt x="373" y="291"/>
                    </a:lnTo>
                    <a:lnTo>
                      <a:pt x="373" y="293"/>
                    </a:lnTo>
                    <a:lnTo>
                      <a:pt x="374" y="294"/>
                    </a:lnTo>
                    <a:lnTo>
                      <a:pt x="375" y="293"/>
                    </a:lnTo>
                    <a:lnTo>
                      <a:pt x="372" y="290"/>
                    </a:lnTo>
                    <a:lnTo>
                      <a:pt x="370" y="286"/>
                    </a:lnTo>
                    <a:lnTo>
                      <a:pt x="370" y="284"/>
                    </a:lnTo>
                    <a:lnTo>
                      <a:pt x="371" y="283"/>
                    </a:lnTo>
                    <a:lnTo>
                      <a:pt x="371" y="278"/>
                    </a:lnTo>
                    <a:lnTo>
                      <a:pt x="373" y="278"/>
                    </a:lnTo>
                    <a:lnTo>
                      <a:pt x="373" y="276"/>
                    </a:lnTo>
                    <a:lnTo>
                      <a:pt x="375" y="274"/>
                    </a:lnTo>
                    <a:lnTo>
                      <a:pt x="377" y="274"/>
                    </a:lnTo>
                    <a:lnTo>
                      <a:pt x="378" y="274"/>
                    </a:lnTo>
                    <a:lnTo>
                      <a:pt x="378" y="273"/>
                    </a:lnTo>
                    <a:lnTo>
                      <a:pt x="378" y="271"/>
                    </a:lnTo>
                    <a:lnTo>
                      <a:pt x="380" y="270"/>
                    </a:lnTo>
                    <a:lnTo>
                      <a:pt x="382" y="270"/>
                    </a:lnTo>
                    <a:lnTo>
                      <a:pt x="384" y="268"/>
                    </a:lnTo>
                    <a:lnTo>
                      <a:pt x="383" y="265"/>
                    </a:lnTo>
                    <a:lnTo>
                      <a:pt x="385" y="258"/>
                    </a:lnTo>
                    <a:lnTo>
                      <a:pt x="385" y="256"/>
                    </a:lnTo>
                    <a:lnTo>
                      <a:pt x="384" y="257"/>
                    </a:lnTo>
                    <a:lnTo>
                      <a:pt x="384" y="255"/>
                    </a:lnTo>
                    <a:lnTo>
                      <a:pt x="383" y="255"/>
                    </a:lnTo>
                    <a:lnTo>
                      <a:pt x="385" y="251"/>
                    </a:lnTo>
                    <a:lnTo>
                      <a:pt x="386" y="249"/>
                    </a:lnTo>
                    <a:lnTo>
                      <a:pt x="383" y="247"/>
                    </a:lnTo>
                    <a:lnTo>
                      <a:pt x="382" y="244"/>
                    </a:lnTo>
                    <a:lnTo>
                      <a:pt x="379" y="244"/>
                    </a:lnTo>
                    <a:lnTo>
                      <a:pt x="378" y="245"/>
                    </a:lnTo>
                    <a:lnTo>
                      <a:pt x="377" y="244"/>
                    </a:lnTo>
                    <a:lnTo>
                      <a:pt x="377" y="242"/>
                    </a:lnTo>
                    <a:lnTo>
                      <a:pt x="375" y="242"/>
                    </a:lnTo>
                    <a:lnTo>
                      <a:pt x="375" y="244"/>
                    </a:lnTo>
                    <a:lnTo>
                      <a:pt x="373" y="244"/>
                    </a:lnTo>
                    <a:lnTo>
                      <a:pt x="371" y="244"/>
                    </a:lnTo>
                    <a:lnTo>
                      <a:pt x="371" y="242"/>
                    </a:lnTo>
                    <a:lnTo>
                      <a:pt x="373" y="241"/>
                    </a:lnTo>
                    <a:lnTo>
                      <a:pt x="375" y="238"/>
                    </a:lnTo>
                    <a:lnTo>
                      <a:pt x="376" y="238"/>
                    </a:lnTo>
                    <a:lnTo>
                      <a:pt x="378" y="235"/>
                    </a:lnTo>
                    <a:lnTo>
                      <a:pt x="376" y="234"/>
                    </a:lnTo>
                    <a:lnTo>
                      <a:pt x="373" y="229"/>
                    </a:lnTo>
                    <a:lnTo>
                      <a:pt x="375" y="228"/>
                    </a:lnTo>
                    <a:lnTo>
                      <a:pt x="375" y="227"/>
                    </a:lnTo>
                    <a:lnTo>
                      <a:pt x="375" y="226"/>
                    </a:lnTo>
                    <a:lnTo>
                      <a:pt x="376" y="225"/>
                    </a:lnTo>
                    <a:lnTo>
                      <a:pt x="375" y="223"/>
                    </a:lnTo>
                    <a:lnTo>
                      <a:pt x="373" y="222"/>
                    </a:lnTo>
                    <a:lnTo>
                      <a:pt x="371" y="220"/>
                    </a:lnTo>
                    <a:lnTo>
                      <a:pt x="367" y="213"/>
                    </a:lnTo>
                    <a:lnTo>
                      <a:pt x="365" y="207"/>
                    </a:lnTo>
                    <a:lnTo>
                      <a:pt x="366" y="204"/>
                    </a:lnTo>
                    <a:lnTo>
                      <a:pt x="365" y="202"/>
                    </a:lnTo>
                    <a:lnTo>
                      <a:pt x="366" y="200"/>
                    </a:lnTo>
                    <a:lnTo>
                      <a:pt x="365" y="199"/>
                    </a:lnTo>
                    <a:lnTo>
                      <a:pt x="364" y="198"/>
                    </a:lnTo>
                    <a:lnTo>
                      <a:pt x="363" y="197"/>
                    </a:lnTo>
                    <a:lnTo>
                      <a:pt x="363" y="196"/>
                    </a:lnTo>
                    <a:lnTo>
                      <a:pt x="361" y="195"/>
                    </a:lnTo>
                    <a:lnTo>
                      <a:pt x="360" y="192"/>
                    </a:lnTo>
                    <a:lnTo>
                      <a:pt x="362" y="189"/>
                    </a:lnTo>
                    <a:lnTo>
                      <a:pt x="361" y="188"/>
                    </a:lnTo>
                    <a:lnTo>
                      <a:pt x="361" y="186"/>
                    </a:lnTo>
                    <a:lnTo>
                      <a:pt x="362" y="180"/>
                    </a:lnTo>
                    <a:lnTo>
                      <a:pt x="363" y="179"/>
                    </a:lnTo>
                    <a:lnTo>
                      <a:pt x="366" y="177"/>
                    </a:lnTo>
                    <a:lnTo>
                      <a:pt x="367" y="177"/>
                    </a:lnTo>
                    <a:lnTo>
                      <a:pt x="371" y="176"/>
                    </a:lnTo>
                    <a:lnTo>
                      <a:pt x="370" y="175"/>
                    </a:lnTo>
                    <a:lnTo>
                      <a:pt x="371" y="174"/>
                    </a:lnTo>
                    <a:lnTo>
                      <a:pt x="369" y="173"/>
                    </a:lnTo>
                    <a:lnTo>
                      <a:pt x="369" y="170"/>
                    </a:lnTo>
                    <a:lnTo>
                      <a:pt x="367" y="164"/>
                    </a:lnTo>
                    <a:lnTo>
                      <a:pt x="369" y="162"/>
                    </a:lnTo>
                    <a:lnTo>
                      <a:pt x="368" y="160"/>
                    </a:lnTo>
                    <a:lnTo>
                      <a:pt x="368" y="158"/>
                    </a:lnTo>
                    <a:lnTo>
                      <a:pt x="369" y="156"/>
                    </a:lnTo>
                    <a:lnTo>
                      <a:pt x="369" y="154"/>
                    </a:lnTo>
                    <a:lnTo>
                      <a:pt x="370" y="152"/>
                    </a:lnTo>
                    <a:lnTo>
                      <a:pt x="367" y="150"/>
                    </a:lnTo>
                    <a:lnTo>
                      <a:pt x="369" y="147"/>
                    </a:lnTo>
                    <a:lnTo>
                      <a:pt x="366" y="145"/>
                    </a:lnTo>
                    <a:lnTo>
                      <a:pt x="366" y="140"/>
                    </a:lnTo>
                    <a:lnTo>
                      <a:pt x="365" y="139"/>
                    </a:lnTo>
                    <a:lnTo>
                      <a:pt x="365" y="137"/>
                    </a:lnTo>
                    <a:lnTo>
                      <a:pt x="365" y="133"/>
                    </a:lnTo>
                    <a:lnTo>
                      <a:pt x="366" y="130"/>
                    </a:lnTo>
                    <a:lnTo>
                      <a:pt x="365" y="127"/>
                    </a:lnTo>
                    <a:lnTo>
                      <a:pt x="365" y="125"/>
                    </a:lnTo>
                    <a:lnTo>
                      <a:pt x="364" y="123"/>
                    </a:lnTo>
                    <a:lnTo>
                      <a:pt x="362" y="121"/>
                    </a:lnTo>
                    <a:lnTo>
                      <a:pt x="361" y="113"/>
                    </a:lnTo>
                    <a:lnTo>
                      <a:pt x="364" y="113"/>
                    </a:lnTo>
                    <a:lnTo>
                      <a:pt x="369" y="114"/>
                    </a:lnTo>
                    <a:lnTo>
                      <a:pt x="371" y="117"/>
                    </a:lnTo>
                    <a:lnTo>
                      <a:pt x="373" y="117"/>
                    </a:lnTo>
                    <a:lnTo>
                      <a:pt x="373" y="116"/>
                    </a:lnTo>
                    <a:lnTo>
                      <a:pt x="375" y="113"/>
                    </a:lnTo>
                    <a:lnTo>
                      <a:pt x="377" y="112"/>
                    </a:lnTo>
                    <a:lnTo>
                      <a:pt x="377" y="111"/>
                    </a:lnTo>
                    <a:lnTo>
                      <a:pt x="377" y="109"/>
                    </a:lnTo>
                    <a:lnTo>
                      <a:pt x="378" y="107"/>
                    </a:lnTo>
                    <a:lnTo>
                      <a:pt x="379" y="108"/>
                    </a:lnTo>
                    <a:lnTo>
                      <a:pt x="381" y="105"/>
                    </a:lnTo>
                    <a:lnTo>
                      <a:pt x="385" y="104"/>
                    </a:lnTo>
                    <a:lnTo>
                      <a:pt x="385" y="102"/>
                    </a:lnTo>
                    <a:lnTo>
                      <a:pt x="388" y="102"/>
                    </a:lnTo>
                    <a:lnTo>
                      <a:pt x="389" y="101"/>
                    </a:lnTo>
                    <a:lnTo>
                      <a:pt x="389" y="100"/>
                    </a:lnTo>
                    <a:lnTo>
                      <a:pt x="390" y="98"/>
                    </a:lnTo>
                    <a:lnTo>
                      <a:pt x="392" y="96"/>
                    </a:lnTo>
                    <a:lnTo>
                      <a:pt x="390" y="92"/>
                    </a:lnTo>
                    <a:lnTo>
                      <a:pt x="391" y="89"/>
                    </a:lnTo>
                    <a:lnTo>
                      <a:pt x="388" y="85"/>
                    </a:lnTo>
                    <a:lnTo>
                      <a:pt x="389" y="83"/>
                    </a:lnTo>
                    <a:lnTo>
                      <a:pt x="392" y="80"/>
                    </a:lnTo>
                    <a:lnTo>
                      <a:pt x="395" y="78"/>
                    </a:lnTo>
                    <a:lnTo>
                      <a:pt x="394" y="76"/>
                    </a:lnTo>
                    <a:lnTo>
                      <a:pt x="394" y="73"/>
                    </a:lnTo>
                    <a:lnTo>
                      <a:pt x="392" y="67"/>
                    </a:lnTo>
                    <a:lnTo>
                      <a:pt x="391" y="66"/>
                    </a:lnTo>
                    <a:lnTo>
                      <a:pt x="392" y="65"/>
                    </a:lnTo>
                    <a:lnTo>
                      <a:pt x="395" y="65"/>
                    </a:lnTo>
                    <a:lnTo>
                      <a:pt x="398" y="63"/>
                    </a:lnTo>
                    <a:lnTo>
                      <a:pt x="398" y="57"/>
                    </a:lnTo>
                    <a:lnTo>
                      <a:pt x="399" y="57"/>
                    </a:lnTo>
                    <a:lnTo>
                      <a:pt x="399" y="59"/>
                    </a:lnTo>
                    <a:lnTo>
                      <a:pt x="401" y="57"/>
                    </a:lnTo>
                    <a:lnTo>
                      <a:pt x="401" y="54"/>
                    </a:lnTo>
                    <a:lnTo>
                      <a:pt x="402" y="50"/>
                    </a:lnTo>
                    <a:lnTo>
                      <a:pt x="403" y="49"/>
                    </a:lnTo>
                    <a:lnTo>
                      <a:pt x="404" y="46"/>
                    </a:lnTo>
                    <a:lnTo>
                      <a:pt x="406" y="42"/>
                    </a:lnTo>
                    <a:lnTo>
                      <a:pt x="406" y="40"/>
                    </a:lnTo>
                    <a:lnTo>
                      <a:pt x="409" y="38"/>
                    </a:lnTo>
                    <a:lnTo>
                      <a:pt x="410" y="36"/>
                    </a:lnTo>
                    <a:lnTo>
                      <a:pt x="410" y="32"/>
                    </a:lnTo>
                    <a:lnTo>
                      <a:pt x="411" y="31"/>
                    </a:lnTo>
                    <a:lnTo>
                      <a:pt x="410" y="2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7" name="Freeform 106">
                <a:extLst>
                  <a:ext uri="{FF2B5EF4-FFF2-40B4-BE49-F238E27FC236}">
                    <a16:creationId xmlns:a16="http://schemas.microsoft.com/office/drawing/2014/main" id="{BDCFDD37-A1F4-7E88-A544-67A1C6A9C0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9" y="3149"/>
                <a:ext cx="411" cy="305"/>
              </a:xfrm>
              <a:custGeom>
                <a:avLst/>
                <a:gdLst>
                  <a:gd name="T0" fmla="*/ 390 w 411"/>
                  <a:gd name="T1" fmla="*/ 42 h 305"/>
                  <a:gd name="T2" fmla="*/ 357 w 411"/>
                  <a:gd name="T3" fmla="*/ 65 h 305"/>
                  <a:gd name="T4" fmla="*/ 321 w 411"/>
                  <a:gd name="T5" fmla="*/ 39 h 305"/>
                  <a:gd name="T6" fmla="*/ 299 w 411"/>
                  <a:gd name="T7" fmla="*/ 44 h 305"/>
                  <a:gd name="T8" fmla="*/ 286 w 411"/>
                  <a:gd name="T9" fmla="*/ 48 h 305"/>
                  <a:gd name="T10" fmla="*/ 265 w 411"/>
                  <a:gd name="T11" fmla="*/ 62 h 305"/>
                  <a:gd name="T12" fmla="*/ 257 w 411"/>
                  <a:gd name="T13" fmla="*/ 74 h 305"/>
                  <a:gd name="T14" fmla="*/ 245 w 411"/>
                  <a:gd name="T15" fmla="*/ 78 h 305"/>
                  <a:gd name="T16" fmla="*/ 233 w 411"/>
                  <a:gd name="T17" fmla="*/ 78 h 305"/>
                  <a:gd name="T18" fmla="*/ 218 w 411"/>
                  <a:gd name="T19" fmla="*/ 67 h 305"/>
                  <a:gd name="T20" fmla="*/ 199 w 411"/>
                  <a:gd name="T21" fmla="*/ 54 h 305"/>
                  <a:gd name="T22" fmla="*/ 166 w 411"/>
                  <a:gd name="T23" fmla="*/ 13 h 305"/>
                  <a:gd name="T24" fmla="*/ 133 w 411"/>
                  <a:gd name="T25" fmla="*/ 22 h 305"/>
                  <a:gd name="T26" fmla="*/ 120 w 411"/>
                  <a:gd name="T27" fmla="*/ 2 h 305"/>
                  <a:gd name="T28" fmla="*/ 105 w 411"/>
                  <a:gd name="T29" fmla="*/ 15 h 305"/>
                  <a:gd name="T30" fmla="*/ 90 w 411"/>
                  <a:gd name="T31" fmla="*/ 19 h 305"/>
                  <a:gd name="T32" fmla="*/ 76 w 411"/>
                  <a:gd name="T33" fmla="*/ 14 h 305"/>
                  <a:gd name="T34" fmla="*/ 68 w 411"/>
                  <a:gd name="T35" fmla="*/ 10 h 305"/>
                  <a:gd name="T36" fmla="*/ 61 w 411"/>
                  <a:gd name="T37" fmla="*/ 5 h 305"/>
                  <a:gd name="T38" fmla="*/ 48 w 411"/>
                  <a:gd name="T39" fmla="*/ 10 h 305"/>
                  <a:gd name="T40" fmla="*/ 39 w 411"/>
                  <a:gd name="T41" fmla="*/ 20 h 305"/>
                  <a:gd name="T42" fmla="*/ 19 w 411"/>
                  <a:gd name="T43" fmla="*/ 19 h 305"/>
                  <a:gd name="T44" fmla="*/ 15 w 411"/>
                  <a:gd name="T45" fmla="*/ 34 h 305"/>
                  <a:gd name="T46" fmla="*/ 9 w 411"/>
                  <a:gd name="T47" fmla="*/ 45 h 305"/>
                  <a:gd name="T48" fmla="*/ 2 w 411"/>
                  <a:gd name="T49" fmla="*/ 49 h 305"/>
                  <a:gd name="T50" fmla="*/ 14 w 411"/>
                  <a:gd name="T51" fmla="*/ 60 h 305"/>
                  <a:gd name="T52" fmla="*/ 24 w 411"/>
                  <a:gd name="T53" fmla="*/ 65 h 305"/>
                  <a:gd name="T54" fmla="*/ 24 w 411"/>
                  <a:gd name="T55" fmla="*/ 76 h 305"/>
                  <a:gd name="T56" fmla="*/ 41 w 411"/>
                  <a:gd name="T57" fmla="*/ 92 h 305"/>
                  <a:gd name="T58" fmla="*/ 38 w 411"/>
                  <a:gd name="T59" fmla="*/ 109 h 305"/>
                  <a:gd name="T60" fmla="*/ 30 w 411"/>
                  <a:gd name="T61" fmla="*/ 127 h 305"/>
                  <a:gd name="T62" fmla="*/ 36 w 411"/>
                  <a:gd name="T63" fmla="*/ 147 h 305"/>
                  <a:gd name="T64" fmla="*/ 50 w 411"/>
                  <a:gd name="T65" fmla="*/ 163 h 305"/>
                  <a:gd name="T66" fmla="*/ 60 w 411"/>
                  <a:gd name="T67" fmla="*/ 163 h 305"/>
                  <a:gd name="T68" fmla="*/ 76 w 411"/>
                  <a:gd name="T69" fmla="*/ 169 h 305"/>
                  <a:gd name="T70" fmla="*/ 83 w 411"/>
                  <a:gd name="T71" fmla="*/ 177 h 305"/>
                  <a:gd name="T72" fmla="*/ 98 w 411"/>
                  <a:gd name="T73" fmla="*/ 186 h 305"/>
                  <a:gd name="T74" fmla="*/ 105 w 411"/>
                  <a:gd name="T75" fmla="*/ 196 h 305"/>
                  <a:gd name="T76" fmla="*/ 116 w 411"/>
                  <a:gd name="T77" fmla="*/ 220 h 305"/>
                  <a:gd name="T78" fmla="*/ 143 w 411"/>
                  <a:gd name="T79" fmla="*/ 233 h 305"/>
                  <a:gd name="T80" fmla="*/ 159 w 411"/>
                  <a:gd name="T81" fmla="*/ 217 h 305"/>
                  <a:gd name="T82" fmla="*/ 176 w 411"/>
                  <a:gd name="T83" fmla="*/ 229 h 305"/>
                  <a:gd name="T84" fmla="*/ 195 w 411"/>
                  <a:gd name="T85" fmla="*/ 246 h 305"/>
                  <a:gd name="T86" fmla="*/ 215 w 411"/>
                  <a:gd name="T87" fmla="*/ 255 h 305"/>
                  <a:gd name="T88" fmla="*/ 237 w 411"/>
                  <a:gd name="T89" fmla="*/ 278 h 305"/>
                  <a:gd name="T90" fmla="*/ 263 w 411"/>
                  <a:gd name="T91" fmla="*/ 298 h 305"/>
                  <a:gd name="T92" fmla="*/ 278 w 411"/>
                  <a:gd name="T93" fmla="*/ 297 h 305"/>
                  <a:gd name="T94" fmla="*/ 296 w 411"/>
                  <a:gd name="T95" fmla="*/ 295 h 305"/>
                  <a:gd name="T96" fmla="*/ 310 w 411"/>
                  <a:gd name="T97" fmla="*/ 286 h 305"/>
                  <a:gd name="T98" fmla="*/ 333 w 411"/>
                  <a:gd name="T99" fmla="*/ 287 h 305"/>
                  <a:gd name="T100" fmla="*/ 356 w 411"/>
                  <a:gd name="T101" fmla="*/ 300 h 305"/>
                  <a:gd name="T102" fmla="*/ 373 w 411"/>
                  <a:gd name="T103" fmla="*/ 293 h 305"/>
                  <a:gd name="T104" fmla="*/ 378 w 411"/>
                  <a:gd name="T105" fmla="*/ 271 h 305"/>
                  <a:gd name="T106" fmla="*/ 379 w 411"/>
                  <a:gd name="T107" fmla="*/ 244 h 305"/>
                  <a:gd name="T108" fmla="*/ 373 w 411"/>
                  <a:gd name="T109" fmla="*/ 229 h 305"/>
                  <a:gd name="T110" fmla="*/ 365 w 411"/>
                  <a:gd name="T111" fmla="*/ 199 h 305"/>
                  <a:gd name="T112" fmla="*/ 370 w 411"/>
                  <a:gd name="T113" fmla="*/ 175 h 305"/>
                  <a:gd name="T114" fmla="*/ 366 w 411"/>
                  <a:gd name="T115" fmla="*/ 140 h 305"/>
                  <a:gd name="T116" fmla="*/ 373 w 411"/>
                  <a:gd name="T117" fmla="*/ 116 h 305"/>
                  <a:gd name="T118" fmla="*/ 392 w 411"/>
                  <a:gd name="T119" fmla="*/ 96 h 305"/>
                  <a:gd name="T120" fmla="*/ 398 w 411"/>
                  <a:gd name="T121" fmla="*/ 57 h 305"/>
                  <a:gd name="T122" fmla="*/ 411 w 411"/>
                  <a:gd name="T123" fmla="*/ 31 h 30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411"/>
                  <a:gd name="T187" fmla="*/ 0 h 305"/>
                  <a:gd name="T188" fmla="*/ 411 w 411"/>
                  <a:gd name="T189" fmla="*/ 305 h 30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411" h="305">
                    <a:moveTo>
                      <a:pt x="410" y="29"/>
                    </a:moveTo>
                    <a:lnTo>
                      <a:pt x="411" y="26"/>
                    </a:lnTo>
                    <a:lnTo>
                      <a:pt x="410" y="24"/>
                    </a:lnTo>
                    <a:lnTo>
                      <a:pt x="407" y="21"/>
                    </a:lnTo>
                    <a:lnTo>
                      <a:pt x="404" y="23"/>
                    </a:lnTo>
                    <a:lnTo>
                      <a:pt x="403" y="25"/>
                    </a:lnTo>
                    <a:lnTo>
                      <a:pt x="402" y="25"/>
                    </a:lnTo>
                    <a:lnTo>
                      <a:pt x="401" y="27"/>
                    </a:lnTo>
                    <a:lnTo>
                      <a:pt x="399" y="29"/>
                    </a:lnTo>
                    <a:lnTo>
                      <a:pt x="398" y="27"/>
                    </a:lnTo>
                    <a:lnTo>
                      <a:pt x="396" y="28"/>
                    </a:lnTo>
                    <a:lnTo>
                      <a:pt x="393" y="32"/>
                    </a:lnTo>
                    <a:lnTo>
                      <a:pt x="392" y="39"/>
                    </a:lnTo>
                    <a:lnTo>
                      <a:pt x="390" y="42"/>
                    </a:lnTo>
                    <a:lnTo>
                      <a:pt x="386" y="45"/>
                    </a:lnTo>
                    <a:lnTo>
                      <a:pt x="387" y="47"/>
                    </a:lnTo>
                    <a:lnTo>
                      <a:pt x="386" y="48"/>
                    </a:lnTo>
                    <a:lnTo>
                      <a:pt x="382" y="50"/>
                    </a:lnTo>
                    <a:lnTo>
                      <a:pt x="379" y="52"/>
                    </a:lnTo>
                    <a:lnTo>
                      <a:pt x="378" y="52"/>
                    </a:lnTo>
                    <a:lnTo>
                      <a:pt x="377" y="52"/>
                    </a:lnTo>
                    <a:lnTo>
                      <a:pt x="371" y="60"/>
                    </a:lnTo>
                    <a:lnTo>
                      <a:pt x="369" y="65"/>
                    </a:lnTo>
                    <a:lnTo>
                      <a:pt x="368" y="66"/>
                    </a:lnTo>
                    <a:lnTo>
                      <a:pt x="364" y="69"/>
                    </a:lnTo>
                    <a:lnTo>
                      <a:pt x="361" y="67"/>
                    </a:lnTo>
                    <a:lnTo>
                      <a:pt x="358" y="66"/>
                    </a:lnTo>
                    <a:lnTo>
                      <a:pt x="357" y="65"/>
                    </a:lnTo>
                    <a:lnTo>
                      <a:pt x="350" y="60"/>
                    </a:lnTo>
                    <a:lnTo>
                      <a:pt x="347" y="59"/>
                    </a:lnTo>
                    <a:lnTo>
                      <a:pt x="345" y="59"/>
                    </a:lnTo>
                    <a:lnTo>
                      <a:pt x="344" y="55"/>
                    </a:lnTo>
                    <a:lnTo>
                      <a:pt x="341" y="52"/>
                    </a:lnTo>
                    <a:lnTo>
                      <a:pt x="341" y="49"/>
                    </a:lnTo>
                    <a:lnTo>
                      <a:pt x="338" y="47"/>
                    </a:lnTo>
                    <a:lnTo>
                      <a:pt x="337" y="44"/>
                    </a:lnTo>
                    <a:lnTo>
                      <a:pt x="332" y="43"/>
                    </a:lnTo>
                    <a:lnTo>
                      <a:pt x="331" y="44"/>
                    </a:lnTo>
                    <a:lnTo>
                      <a:pt x="330" y="44"/>
                    </a:lnTo>
                    <a:lnTo>
                      <a:pt x="329" y="44"/>
                    </a:lnTo>
                    <a:lnTo>
                      <a:pt x="322" y="38"/>
                    </a:lnTo>
                    <a:lnTo>
                      <a:pt x="321" y="39"/>
                    </a:lnTo>
                    <a:lnTo>
                      <a:pt x="320" y="38"/>
                    </a:lnTo>
                    <a:lnTo>
                      <a:pt x="319" y="36"/>
                    </a:lnTo>
                    <a:lnTo>
                      <a:pt x="317" y="37"/>
                    </a:lnTo>
                    <a:lnTo>
                      <a:pt x="317" y="32"/>
                    </a:lnTo>
                    <a:lnTo>
                      <a:pt x="314" y="31"/>
                    </a:lnTo>
                    <a:lnTo>
                      <a:pt x="313" y="31"/>
                    </a:lnTo>
                    <a:lnTo>
                      <a:pt x="311" y="29"/>
                    </a:lnTo>
                    <a:lnTo>
                      <a:pt x="308" y="29"/>
                    </a:lnTo>
                    <a:lnTo>
                      <a:pt x="306" y="31"/>
                    </a:lnTo>
                    <a:lnTo>
                      <a:pt x="305" y="40"/>
                    </a:lnTo>
                    <a:lnTo>
                      <a:pt x="303" y="42"/>
                    </a:lnTo>
                    <a:lnTo>
                      <a:pt x="300" y="42"/>
                    </a:lnTo>
                    <a:lnTo>
                      <a:pt x="299" y="44"/>
                    </a:lnTo>
                    <a:lnTo>
                      <a:pt x="298" y="44"/>
                    </a:lnTo>
                    <a:lnTo>
                      <a:pt x="297" y="46"/>
                    </a:lnTo>
                    <a:lnTo>
                      <a:pt x="297" y="45"/>
                    </a:lnTo>
                    <a:lnTo>
                      <a:pt x="293" y="45"/>
                    </a:lnTo>
                    <a:lnTo>
                      <a:pt x="293" y="44"/>
                    </a:lnTo>
                    <a:lnTo>
                      <a:pt x="293" y="45"/>
                    </a:lnTo>
                    <a:lnTo>
                      <a:pt x="290" y="46"/>
                    </a:lnTo>
                    <a:lnTo>
                      <a:pt x="291" y="46"/>
                    </a:lnTo>
                    <a:lnTo>
                      <a:pt x="291" y="48"/>
                    </a:lnTo>
                    <a:lnTo>
                      <a:pt x="290" y="49"/>
                    </a:lnTo>
                    <a:lnTo>
                      <a:pt x="288" y="47"/>
                    </a:lnTo>
                    <a:lnTo>
                      <a:pt x="287" y="48"/>
                    </a:lnTo>
                    <a:lnTo>
                      <a:pt x="286" y="48"/>
                    </a:lnTo>
                    <a:lnTo>
                      <a:pt x="286" y="49"/>
                    </a:lnTo>
                    <a:lnTo>
                      <a:pt x="284" y="49"/>
                    </a:lnTo>
                    <a:lnTo>
                      <a:pt x="284" y="50"/>
                    </a:lnTo>
                    <a:lnTo>
                      <a:pt x="284" y="49"/>
                    </a:lnTo>
                    <a:lnTo>
                      <a:pt x="283" y="49"/>
                    </a:lnTo>
                    <a:lnTo>
                      <a:pt x="281" y="49"/>
                    </a:lnTo>
                    <a:lnTo>
                      <a:pt x="275" y="55"/>
                    </a:lnTo>
                    <a:lnTo>
                      <a:pt x="271" y="55"/>
                    </a:lnTo>
                    <a:lnTo>
                      <a:pt x="269" y="55"/>
                    </a:lnTo>
                    <a:lnTo>
                      <a:pt x="269" y="57"/>
                    </a:lnTo>
                    <a:lnTo>
                      <a:pt x="267" y="57"/>
                    </a:lnTo>
                    <a:lnTo>
                      <a:pt x="265" y="60"/>
                    </a:lnTo>
                    <a:lnTo>
                      <a:pt x="265" y="62"/>
                    </a:lnTo>
                    <a:lnTo>
                      <a:pt x="266" y="62"/>
                    </a:lnTo>
                    <a:lnTo>
                      <a:pt x="267" y="64"/>
                    </a:lnTo>
                    <a:lnTo>
                      <a:pt x="269" y="66"/>
                    </a:lnTo>
                    <a:lnTo>
                      <a:pt x="267" y="67"/>
                    </a:lnTo>
                    <a:lnTo>
                      <a:pt x="266" y="69"/>
                    </a:lnTo>
                    <a:lnTo>
                      <a:pt x="264" y="69"/>
                    </a:lnTo>
                    <a:lnTo>
                      <a:pt x="262" y="70"/>
                    </a:lnTo>
                    <a:lnTo>
                      <a:pt x="260" y="69"/>
                    </a:lnTo>
                    <a:lnTo>
                      <a:pt x="258" y="69"/>
                    </a:lnTo>
                    <a:lnTo>
                      <a:pt x="259" y="71"/>
                    </a:lnTo>
                    <a:lnTo>
                      <a:pt x="258" y="72"/>
                    </a:lnTo>
                    <a:lnTo>
                      <a:pt x="257" y="72"/>
                    </a:lnTo>
                    <a:lnTo>
                      <a:pt x="257" y="74"/>
                    </a:lnTo>
                    <a:lnTo>
                      <a:pt x="259" y="75"/>
                    </a:lnTo>
                    <a:lnTo>
                      <a:pt x="260" y="78"/>
                    </a:lnTo>
                    <a:lnTo>
                      <a:pt x="261" y="78"/>
                    </a:lnTo>
                    <a:lnTo>
                      <a:pt x="261" y="83"/>
                    </a:lnTo>
                    <a:lnTo>
                      <a:pt x="254" y="79"/>
                    </a:lnTo>
                    <a:lnTo>
                      <a:pt x="252" y="78"/>
                    </a:lnTo>
                    <a:lnTo>
                      <a:pt x="251" y="76"/>
                    </a:lnTo>
                    <a:lnTo>
                      <a:pt x="250" y="77"/>
                    </a:lnTo>
                    <a:lnTo>
                      <a:pt x="248" y="76"/>
                    </a:lnTo>
                    <a:lnTo>
                      <a:pt x="248" y="78"/>
                    </a:lnTo>
                    <a:lnTo>
                      <a:pt x="246" y="77"/>
                    </a:lnTo>
                    <a:lnTo>
                      <a:pt x="245" y="78"/>
                    </a:lnTo>
                    <a:lnTo>
                      <a:pt x="244" y="78"/>
                    </a:lnTo>
                    <a:lnTo>
                      <a:pt x="243" y="78"/>
                    </a:lnTo>
                    <a:lnTo>
                      <a:pt x="238" y="78"/>
                    </a:lnTo>
                    <a:lnTo>
                      <a:pt x="238" y="76"/>
                    </a:lnTo>
                    <a:lnTo>
                      <a:pt x="240" y="74"/>
                    </a:lnTo>
                    <a:lnTo>
                      <a:pt x="240" y="73"/>
                    </a:lnTo>
                    <a:lnTo>
                      <a:pt x="237" y="73"/>
                    </a:lnTo>
                    <a:lnTo>
                      <a:pt x="237" y="72"/>
                    </a:lnTo>
                    <a:lnTo>
                      <a:pt x="237" y="74"/>
                    </a:lnTo>
                    <a:lnTo>
                      <a:pt x="237" y="75"/>
                    </a:lnTo>
                    <a:lnTo>
                      <a:pt x="237" y="76"/>
                    </a:lnTo>
                    <a:lnTo>
                      <a:pt x="233" y="78"/>
                    </a:lnTo>
                    <a:lnTo>
                      <a:pt x="232" y="76"/>
                    </a:lnTo>
                    <a:lnTo>
                      <a:pt x="231" y="77"/>
                    </a:lnTo>
                    <a:lnTo>
                      <a:pt x="228" y="76"/>
                    </a:lnTo>
                    <a:lnTo>
                      <a:pt x="227" y="78"/>
                    </a:lnTo>
                    <a:lnTo>
                      <a:pt x="225" y="78"/>
                    </a:lnTo>
                    <a:lnTo>
                      <a:pt x="224" y="78"/>
                    </a:lnTo>
                    <a:lnTo>
                      <a:pt x="223" y="76"/>
                    </a:lnTo>
                    <a:lnTo>
                      <a:pt x="223" y="75"/>
                    </a:lnTo>
                    <a:lnTo>
                      <a:pt x="223" y="74"/>
                    </a:lnTo>
                    <a:lnTo>
                      <a:pt x="221" y="72"/>
                    </a:lnTo>
                    <a:lnTo>
                      <a:pt x="219" y="68"/>
                    </a:lnTo>
                    <a:lnTo>
                      <a:pt x="218" y="68"/>
                    </a:lnTo>
                    <a:lnTo>
                      <a:pt x="218" y="67"/>
                    </a:lnTo>
                    <a:lnTo>
                      <a:pt x="217" y="68"/>
                    </a:lnTo>
                    <a:lnTo>
                      <a:pt x="216" y="67"/>
                    </a:lnTo>
                    <a:lnTo>
                      <a:pt x="215" y="67"/>
                    </a:lnTo>
                    <a:lnTo>
                      <a:pt x="213" y="63"/>
                    </a:lnTo>
                    <a:lnTo>
                      <a:pt x="211" y="64"/>
                    </a:lnTo>
                    <a:lnTo>
                      <a:pt x="211" y="65"/>
                    </a:lnTo>
                    <a:lnTo>
                      <a:pt x="210" y="65"/>
                    </a:lnTo>
                    <a:lnTo>
                      <a:pt x="207" y="62"/>
                    </a:lnTo>
                    <a:lnTo>
                      <a:pt x="207" y="57"/>
                    </a:lnTo>
                    <a:lnTo>
                      <a:pt x="203" y="54"/>
                    </a:lnTo>
                    <a:lnTo>
                      <a:pt x="201" y="55"/>
                    </a:lnTo>
                    <a:lnTo>
                      <a:pt x="200" y="54"/>
                    </a:lnTo>
                    <a:lnTo>
                      <a:pt x="199" y="54"/>
                    </a:lnTo>
                    <a:lnTo>
                      <a:pt x="198" y="53"/>
                    </a:lnTo>
                    <a:lnTo>
                      <a:pt x="195" y="52"/>
                    </a:lnTo>
                    <a:lnTo>
                      <a:pt x="194" y="52"/>
                    </a:lnTo>
                    <a:lnTo>
                      <a:pt x="194" y="51"/>
                    </a:lnTo>
                    <a:lnTo>
                      <a:pt x="194" y="48"/>
                    </a:lnTo>
                    <a:lnTo>
                      <a:pt x="192" y="40"/>
                    </a:lnTo>
                    <a:lnTo>
                      <a:pt x="190" y="39"/>
                    </a:lnTo>
                    <a:lnTo>
                      <a:pt x="178" y="37"/>
                    </a:lnTo>
                    <a:lnTo>
                      <a:pt x="179" y="27"/>
                    </a:lnTo>
                    <a:lnTo>
                      <a:pt x="179" y="23"/>
                    </a:lnTo>
                    <a:lnTo>
                      <a:pt x="174" y="21"/>
                    </a:lnTo>
                    <a:lnTo>
                      <a:pt x="175" y="15"/>
                    </a:lnTo>
                    <a:lnTo>
                      <a:pt x="167" y="15"/>
                    </a:lnTo>
                    <a:lnTo>
                      <a:pt x="166" y="13"/>
                    </a:lnTo>
                    <a:lnTo>
                      <a:pt x="164" y="13"/>
                    </a:lnTo>
                    <a:lnTo>
                      <a:pt x="164" y="11"/>
                    </a:lnTo>
                    <a:lnTo>
                      <a:pt x="162" y="13"/>
                    </a:lnTo>
                    <a:lnTo>
                      <a:pt x="158" y="8"/>
                    </a:lnTo>
                    <a:lnTo>
                      <a:pt x="156" y="7"/>
                    </a:lnTo>
                    <a:lnTo>
                      <a:pt x="156" y="10"/>
                    </a:lnTo>
                    <a:lnTo>
                      <a:pt x="155" y="10"/>
                    </a:lnTo>
                    <a:lnTo>
                      <a:pt x="147" y="10"/>
                    </a:lnTo>
                    <a:lnTo>
                      <a:pt x="146" y="17"/>
                    </a:lnTo>
                    <a:lnTo>
                      <a:pt x="142" y="16"/>
                    </a:lnTo>
                    <a:lnTo>
                      <a:pt x="137" y="15"/>
                    </a:lnTo>
                    <a:lnTo>
                      <a:pt x="136" y="19"/>
                    </a:lnTo>
                    <a:lnTo>
                      <a:pt x="133" y="21"/>
                    </a:lnTo>
                    <a:lnTo>
                      <a:pt x="133" y="22"/>
                    </a:lnTo>
                    <a:lnTo>
                      <a:pt x="131" y="23"/>
                    </a:lnTo>
                    <a:lnTo>
                      <a:pt x="131" y="21"/>
                    </a:lnTo>
                    <a:lnTo>
                      <a:pt x="127" y="20"/>
                    </a:lnTo>
                    <a:lnTo>
                      <a:pt x="126" y="20"/>
                    </a:lnTo>
                    <a:lnTo>
                      <a:pt x="126" y="19"/>
                    </a:lnTo>
                    <a:lnTo>
                      <a:pt x="124" y="18"/>
                    </a:lnTo>
                    <a:lnTo>
                      <a:pt x="123" y="15"/>
                    </a:lnTo>
                    <a:lnTo>
                      <a:pt x="124" y="12"/>
                    </a:lnTo>
                    <a:lnTo>
                      <a:pt x="126" y="8"/>
                    </a:lnTo>
                    <a:lnTo>
                      <a:pt x="124" y="7"/>
                    </a:lnTo>
                    <a:lnTo>
                      <a:pt x="125" y="6"/>
                    </a:lnTo>
                    <a:lnTo>
                      <a:pt x="125" y="5"/>
                    </a:lnTo>
                    <a:lnTo>
                      <a:pt x="121" y="4"/>
                    </a:lnTo>
                    <a:lnTo>
                      <a:pt x="120" y="2"/>
                    </a:lnTo>
                    <a:lnTo>
                      <a:pt x="118" y="0"/>
                    </a:lnTo>
                    <a:lnTo>
                      <a:pt x="116" y="1"/>
                    </a:lnTo>
                    <a:lnTo>
                      <a:pt x="115" y="4"/>
                    </a:lnTo>
                    <a:lnTo>
                      <a:pt x="112" y="2"/>
                    </a:lnTo>
                    <a:lnTo>
                      <a:pt x="111" y="5"/>
                    </a:lnTo>
                    <a:lnTo>
                      <a:pt x="109" y="5"/>
                    </a:lnTo>
                    <a:lnTo>
                      <a:pt x="107" y="6"/>
                    </a:lnTo>
                    <a:lnTo>
                      <a:pt x="107" y="8"/>
                    </a:lnTo>
                    <a:lnTo>
                      <a:pt x="108" y="9"/>
                    </a:lnTo>
                    <a:lnTo>
                      <a:pt x="107" y="14"/>
                    </a:lnTo>
                    <a:lnTo>
                      <a:pt x="106" y="15"/>
                    </a:lnTo>
                    <a:lnTo>
                      <a:pt x="105" y="15"/>
                    </a:lnTo>
                    <a:lnTo>
                      <a:pt x="104" y="14"/>
                    </a:lnTo>
                    <a:lnTo>
                      <a:pt x="102" y="18"/>
                    </a:lnTo>
                    <a:lnTo>
                      <a:pt x="101" y="15"/>
                    </a:lnTo>
                    <a:lnTo>
                      <a:pt x="99" y="15"/>
                    </a:lnTo>
                    <a:lnTo>
                      <a:pt x="98" y="15"/>
                    </a:lnTo>
                    <a:lnTo>
                      <a:pt x="97" y="14"/>
                    </a:lnTo>
                    <a:lnTo>
                      <a:pt x="96" y="15"/>
                    </a:lnTo>
                    <a:lnTo>
                      <a:pt x="95" y="15"/>
                    </a:lnTo>
                    <a:lnTo>
                      <a:pt x="94" y="18"/>
                    </a:lnTo>
                    <a:lnTo>
                      <a:pt x="93" y="18"/>
                    </a:lnTo>
                    <a:lnTo>
                      <a:pt x="93" y="19"/>
                    </a:lnTo>
                    <a:lnTo>
                      <a:pt x="92" y="20"/>
                    </a:lnTo>
                    <a:lnTo>
                      <a:pt x="90" y="19"/>
                    </a:lnTo>
                    <a:lnTo>
                      <a:pt x="89" y="20"/>
                    </a:lnTo>
                    <a:lnTo>
                      <a:pt x="88" y="19"/>
                    </a:lnTo>
                    <a:lnTo>
                      <a:pt x="88" y="18"/>
                    </a:lnTo>
                    <a:lnTo>
                      <a:pt x="86" y="17"/>
                    </a:lnTo>
                    <a:lnTo>
                      <a:pt x="86" y="16"/>
                    </a:lnTo>
                    <a:lnTo>
                      <a:pt x="82" y="14"/>
                    </a:lnTo>
                    <a:lnTo>
                      <a:pt x="82" y="13"/>
                    </a:lnTo>
                    <a:lnTo>
                      <a:pt x="81" y="12"/>
                    </a:lnTo>
                    <a:lnTo>
                      <a:pt x="81" y="15"/>
                    </a:lnTo>
                    <a:lnTo>
                      <a:pt x="79" y="14"/>
                    </a:lnTo>
                    <a:lnTo>
                      <a:pt x="79" y="15"/>
                    </a:lnTo>
                    <a:lnTo>
                      <a:pt x="77" y="14"/>
                    </a:lnTo>
                    <a:lnTo>
                      <a:pt x="76" y="14"/>
                    </a:lnTo>
                    <a:lnTo>
                      <a:pt x="76" y="13"/>
                    </a:lnTo>
                    <a:lnTo>
                      <a:pt x="76" y="12"/>
                    </a:lnTo>
                    <a:lnTo>
                      <a:pt x="75" y="13"/>
                    </a:lnTo>
                    <a:lnTo>
                      <a:pt x="73" y="12"/>
                    </a:lnTo>
                    <a:lnTo>
                      <a:pt x="71" y="13"/>
                    </a:lnTo>
                    <a:lnTo>
                      <a:pt x="71" y="12"/>
                    </a:lnTo>
                    <a:lnTo>
                      <a:pt x="69" y="12"/>
                    </a:lnTo>
                    <a:lnTo>
                      <a:pt x="69" y="11"/>
                    </a:lnTo>
                    <a:lnTo>
                      <a:pt x="68" y="12"/>
                    </a:lnTo>
                    <a:lnTo>
                      <a:pt x="68" y="10"/>
                    </a:lnTo>
                    <a:lnTo>
                      <a:pt x="68" y="13"/>
                    </a:lnTo>
                    <a:lnTo>
                      <a:pt x="69" y="13"/>
                    </a:lnTo>
                    <a:lnTo>
                      <a:pt x="68" y="14"/>
                    </a:lnTo>
                    <a:lnTo>
                      <a:pt x="68" y="13"/>
                    </a:lnTo>
                    <a:lnTo>
                      <a:pt x="66" y="12"/>
                    </a:lnTo>
                    <a:lnTo>
                      <a:pt x="66" y="13"/>
                    </a:lnTo>
                    <a:lnTo>
                      <a:pt x="65" y="13"/>
                    </a:lnTo>
                    <a:lnTo>
                      <a:pt x="65" y="11"/>
                    </a:lnTo>
                    <a:lnTo>
                      <a:pt x="63" y="11"/>
                    </a:lnTo>
                    <a:lnTo>
                      <a:pt x="64" y="6"/>
                    </a:lnTo>
                    <a:lnTo>
                      <a:pt x="61" y="5"/>
                    </a:lnTo>
                    <a:lnTo>
                      <a:pt x="60" y="5"/>
                    </a:lnTo>
                    <a:lnTo>
                      <a:pt x="60" y="6"/>
                    </a:lnTo>
                    <a:lnTo>
                      <a:pt x="61" y="8"/>
                    </a:lnTo>
                    <a:lnTo>
                      <a:pt x="59" y="8"/>
                    </a:lnTo>
                    <a:lnTo>
                      <a:pt x="58" y="8"/>
                    </a:lnTo>
                    <a:lnTo>
                      <a:pt x="58" y="10"/>
                    </a:lnTo>
                    <a:lnTo>
                      <a:pt x="56" y="11"/>
                    </a:lnTo>
                    <a:lnTo>
                      <a:pt x="55" y="10"/>
                    </a:lnTo>
                    <a:lnTo>
                      <a:pt x="55" y="8"/>
                    </a:lnTo>
                    <a:lnTo>
                      <a:pt x="54" y="9"/>
                    </a:lnTo>
                    <a:lnTo>
                      <a:pt x="53" y="8"/>
                    </a:lnTo>
                    <a:lnTo>
                      <a:pt x="52" y="8"/>
                    </a:lnTo>
                    <a:lnTo>
                      <a:pt x="48" y="10"/>
                    </a:lnTo>
                    <a:lnTo>
                      <a:pt x="47" y="10"/>
                    </a:lnTo>
                    <a:lnTo>
                      <a:pt x="47" y="14"/>
                    </a:lnTo>
                    <a:lnTo>
                      <a:pt x="46" y="15"/>
                    </a:lnTo>
                    <a:lnTo>
                      <a:pt x="47" y="15"/>
                    </a:lnTo>
                    <a:lnTo>
                      <a:pt x="47" y="18"/>
                    </a:lnTo>
                    <a:lnTo>
                      <a:pt x="45" y="17"/>
                    </a:lnTo>
                    <a:lnTo>
                      <a:pt x="44" y="18"/>
                    </a:lnTo>
                    <a:lnTo>
                      <a:pt x="42" y="19"/>
                    </a:lnTo>
                    <a:lnTo>
                      <a:pt x="41" y="19"/>
                    </a:lnTo>
                    <a:lnTo>
                      <a:pt x="37" y="18"/>
                    </a:lnTo>
                    <a:lnTo>
                      <a:pt x="37" y="20"/>
                    </a:lnTo>
                    <a:lnTo>
                      <a:pt x="39" y="20"/>
                    </a:lnTo>
                    <a:lnTo>
                      <a:pt x="38" y="21"/>
                    </a:lnTo>
                    <a:lnTo>
                      <a:pt x="36" y="20"/>
                    </a:lnTo>
                    <a:lnTo>
                      <a:pt x="36" y="21"/>
                    </a:lnTo>
                    <a:lnTo>
                      <a:pt x="34" y="22"/>
                    </a:lnTo>
                    <a:lnTo>
                      <a:pt x="33" y="22"/>
                    </a:lnTo>
                    <a:lnTo>
                      <a:pt x="32" y="24"/>
                    </a:lnTo>
                    <a:lnTo>
                      <a:pt x="27" y="25"/>
                    </a:lnTo>
                    <a:lnTo>
                      <a:pt x="24" y="18"/>
                    </a:lnTo>
                    <a:lnTo>
                      <a:pt x="23" y="18"/>
                    </a:lnTo>
                    <a:lnTo>
                      <a:pt x="22" y="18"/>
                    </a:lnTo>
                    <a:lnTo>
                      <a:pt x="23" y="21"/>
                    </a:lnTo>
                    <a:lnTo>
                      <a:pt x="20" y="23"/>
                    </a:lnTo>
                    <a:lnTo>
                      <a:pt x="19" y="21"/>
                    </a:lnTo>
                    <a:lnTo>
                      <a:pt x="19" y="19"/>
                    </a:lnTo>
                    <a:lnTo>
                      <a:pt x="17" y="18"/>
                    </a:lnTo>
                    <a:lnTo>
                      <a:pt x="15" y="19"/>
                    </a:lnTo>
                    <a:lnTo>
                      <a:pt x="13" y="23"/>
                    </a:lnTo>
                    <a:lnTo>
                      <a:pt x="16" y="26"/>
                    </a:lnTo>
                    <a:lnTo>
                      <a:pt x="17" y="25"/>
                    </a:lnTo>
                    <a:lnTo>
                      <a:pt x="19" y="28"/>
                    </a:lnTo>
                    <a:lnTo>
                      <a:pt x="20" y="28"/>
                    </a:lnTo>
                    <a:lnTo>
                      <a:pt x="18" y="29"/>
                    </a:lnTo>
                    <a:lnTo>
                      <a:pt x="17" y="27"/>
                    </a:lnTo>
                    <a:lnTo>
                      <a:pt x="16" y="28"/>
                    </a:lnTo>
                    <a:lnTo>
                      <a:pt x="14" y="28"/>
                    </a:lnTo>
                    <a:lnTo>
                      <a:pt x="14" y="29"/>
                    </a:lnTo>
                    <a:lnTo>
                      <a:pt x="14" y="32"/>
                    </a:lnTo>
                    <a:lnTo>
                      <a:pt x="15" y="34"/>
                    </a:lnTo>
                    <a:lnTo>
                      <a:pt x="14" y="40"/>
                    </a:lnTo>
                    <a:lnTo>
                      <a:pt x="12" y="39"/>
                    </a:lnTo>
                    <a:lnTo>
                      <a:pt x="10" y="40"/>
                    </a:lnTo>
                    <a:lnTo>
                      <a:pt x="9" y="39"/>
                    </a:lnTo>
                    <a:lnTo>
                      <a:pt x="9" y="40"/>
                    </a:lnTo>
                    <a:lnTo>
                      <a:pt x="8" y="40"/>
                    </a:lnTo>
                    <a:lnTo>
                      <a:pt x="6" y="39"/>
                    </a:lnTo>
                    <a:lnTo>
                      <a:pt x="6" y="40"/>
                    </a:lnTo>
                    <a:lnTo>
                      <a:pt x="4" y="41"/>
                    </a:lnTo>
                    <a:lnTo>
                      <a:pt x="4" y="42"/>
                    </a:lnTo>
                    <a:lnTo>
                      <a:pt x="6" y="43"/>
                    </a:lnTo>
                    <a:lnTo>
                      <a:pt x="10" y="44"/>
                    </a:lnTo>
                    <a:lnTo>
                      <a:pt x="9" y="45"/>
                    </a:lnTo>
                    <a:lnTo>
                      <a:pt x="11" y="44"/>
                    </a:lnTo>
                    <a:lnTo>
                      <a:pt x="11" y="46"/>
                    </a:lnTo>
                    <a:lnTo>
                      <a:pt x="11" y="47"/>
                    </a:lnTo>
                    <a:lnTo>
                      <a:pt x="10" y="46"/>
                    </a:lnTo>
                    <a:lnTo>
                      <a:pt x="9" y="47"/>
                    </a:lnTo>
                    <a:lnTo>
                      <a:pt x="8" y="46"/>
                    </a:lnTo>
                    <a:lnTo>
                      <a:pt x="9" y="47"/>
                    </a:lnTo>
                    <a:lnTo>
                      <a:pt x="8" y="47"/>
                    </a:lnTo>
                    <a:lnTo>
                      <a:pt x="6" y="46"/>
                    </a:lnTo>
                    <a:lnTo>
                      <a:pt x="5" y="45"/>
                    </a:lnTo>
                    <a:lnTo>
                      <a:pt x="2" y="47"/>
                    </a:lnTo>
                    <a:lnTo>
                      <a:pt x="0" y="48"/>
                    </a:lnTo>
                    <a:lnTo>
                      <a:pt x="2" y="49"/>
                    </a:lnTo>
                    <a:lnTo>
                      <a:pt x="2" y="51"/>
                    </a:lnTo>
                    <a:lnTo>
                      <a:pt x="2" y="53"/>
                    </a:lnTo>
                    <a:lnTo>
                      <a:pt x="4" y="55"/>
                    </a:lnTo>
                    <a:lnTo>
                      <a:pt x="5" y="55"/>
                    </a:lnTo>
                    <a:lnTo>
                      <a:pt x="5" y="57"/>
                    </a:lnTo>
                    <a:lnTo>
                      <a:pt x="7" y="58"/>
                    </a:lnTo>
                    <a:lnTo>
                      <a:pt x="9" y="59"/>
                    </a:lnTo>
                    <a:lnTo>
                      <a:pt x="9" y="60"/>
                    </a:lnTo>
                    <a:lnTo>
                      <a:pt x="11" y="58"/>
                    </a:lnTo>
                    <a:lnTo>
                      <a:pt x="14" y="59"/>
                    </a:lnTo>
                    <a:lnTo>
                      <a:pt x="14" y="60"/>
                    </a:lnTo>
                    <a:lnTo>
                      <a:pt x="13" y="59"/>
                    </a:lnTo>
                    <a:lnTo>
                      <a:pt x="14" y="61"/>
                    </a:lnTo>
                    <a:lnTo>
                      <a:pt x="16" y="61"/>
                    </a:lnTo>
                    <a:lnTo>
                      <a:pt x="17" y="62"/>
                    </a:lnTo>
                    <a:lnTo>
                      <a:pt x="16" y="63"/>
                    </a:lnTo>
                    <a:lnTo>
                      <a:pt x="14" y="63"/>
                    </a:lnTo>
                    <a:lnTo>
                      <a:pt x="15" y="65"/>
                    </a:lnTo>
                    <a:lnTo>
                      <a:pt x="16" y="65"/>
                    </a:lnTo>
                    <a:lnTo>
                      <a:pt x="17" y="65"/>
                    </a:lnTo>
                    <a:lnTo>
                      <a:pt x="17" y="66"/>
                    </a:lnTo>
                    <a:lnTo>
                      <a:pt x="18" y="65"/>
                    </a:lnTo>
                    <a:lnTo>
                      <a:pt x="19" y="66"/>
                    </a:lnTo>
                    <a:lnTo>
                      <a:pt x="20" y="67"/>
                    </a:lnTo>
                    <a:lnTo>
                      <a:pt x="24" y="65"/>
                    </a:lnTo>
                    <a:lnTo>
                      <a:pt x="24" y="66"/>
                    </a:lnTo>
                    <a:lnTo>
                      <a:pt x="24" y="67"/>
                    </a:lnTo>
                    <a:lnTo>
                      <a:pt x="25" y="68"/>
                    </a:lnTo>
                    <a:lnTo>
                      <a:pt x="24" y="69"/>
                    </a:lnTo>
                    <a:lnTo>
                      <a:pt x="24" y="71"/>
                    </a:lnTo>
                    <a:lnTo>
                      <a:pt x="25" y="71"/>
                    </a:lnTo>
                    <a:lnTo>
                      <a:pt x="27" y="67"/>
                    </a:lnTo>
                    <a:lnTo>
                      <a:pt x="27" y="69"/>
                    </a:lnTo>
                    <a:lnTo>
                      <a:pt x="27" y="70"/>
                    </a:lnTo>
                    <a:lnTo>
                      <a:pt x="28" y="70"/>
                    </a:lnTo>
                    <a:lnTo>
                      <a:pt x="27" y="72"/>
                    </a:lnTo>
                    <a:lnTo>
                      <a:pt x="27" y="74"/>
                    </a:lnTo>
                    <a:lnTo>
                      <a:pt x="24" y="76"/>
                    </a:lnTo>
                    <a:lnTo>
                      <a:pt x="24" y="78"/>
                    </a:lnTo>
                    <a:lnTo>
                      <a:pt x="27" y="80"/>
                    </a:lnTo>
                    <a:lnTo>
                      <a:pt x="34" y="87"/>
                    </a:lnTo>
                    <a:lnTo>
                      <a:pt x="35" y="86"/>
                    </a:lnTo>
                    <a:lnTo>
                      <a:pt x="36" y="86"/>
                    </a:lnTo>
                    <a:lnTo>
                      <a:pt x="36" y="88"/>
                    </a:lnTo>
                    <a:lnTo>
                      <a:pt x="37" y="87"/>
                    </a:lnTo>
                    <a:lnTo>
                      <a:pt x="38" y="88"/>
                    </a:lnTo>
                    <a:lnTo>
                      <a:pt x="38" y="89"/>
                    </a:lnTo>
                    <a:lnTo>
                      <a:pt x="38" y="90"/>
                    </a:lnTo>
                    <a:lnTo>
                      <a:pt x="39" y="91"/>
                    </a:lnTo>
                    <a:lnTo>
                      <a:pt x="40" y="89"/>
                    </a:lnTo>
                    <a:lnTo>
                      <a:pt x="41" y="92"/>
                    </a:lnTo>
                    <a:lnTo>
                      <a:pt x="40" y="94"/>
                    </a:lnTo>
                    <a:lnTo>
                      <a:pt x="41" y="95"/>
                    </a:lnTo>
                    <a:lnTo>
                      <a:pt x="40" y="96"/>
                    </a:lnTo>
                    <a:lnTo>
                      <a:pt x="41" y="98"/>
                    </a:lnTo>
                    <a:lnTo>
                      <a:pt x="40" y="97"/>
                    </a:lnTo>
                    <a:lnTo>
                      <a:pt x="38" y="98"/>
                    </a:lnTo>
                    <a:lnTo>
                      <a:pt x="36" y="100"/>
                    </a:lnTo>
                    <a:lnTo>
                      <a:pt x="39" y="105"/>
                    </a:lnTo>
                    <a:lnTo>
                      <a:pt x="40" y="106"/>
                    </a:lnTo>
                    <a:lnTo>
                      <a:pt x="40" y="108"/>
                    </a:lnTo>
                    <a:lnTo>
                      <a:pt x="40" y="109"/>
                    </a:lnTo>
                    <a:lnTo>
                      <a:pt x="39" y="110"/>
                    </a:lnTo>
                    <a:lnTo>
                      <a:pt x="38" y="109"/>
                    </a:lnTo>
                    <a:lnTo>
                      <a:pt x="38" y="112"/>
                    </a:lnTo>
                    <a:lnTo>
                      <a:pt x="37" y="112"/>
                    </a:lnTo>
                    <a:lnTo>
                      <a:pt x="36" y="113"/>
                    </a:lnTo>
                    <a:lnTo>
                      <a:pt x="36" y="114"/>
                    </a:lnTo>
                    <a:lnTo>
                      <a:pt x="33" y="117"/>
                    </a:lnTo>
                    <a:lnTo>
                      <a:pt x="35" y="119"/>
                    </a:lnTo>
                    <a:lnTo>
                      <a:pt x="33" y="119"/>
                    </a:lnTo>
                    <a:lnTo>
                      <a:pt x="30" y="120"/>
                    </a:lnTo>
                    <a:lnTo>
                      <a:pt x="29" y="120"/>
                    </a:lnTo>
                    <a:lnTo>
                      <a:pt x="29" y="122"/>
                    </a:lnTo>
                    <a:lnTo>
                      <a:pt x="28" y="123"/>
                    </a:lnTo>
                    <a:lnTo>
                      <a:pt x="30" y="124"/>
                    </a:lnTo>
                    <a:lnTo>
                      <a:pt x="30" y="127"/>
                    </a:lnTo>
                    <a:lnTo>
                      <a:pt x="29" y="129"/>
                    </a:lnTo>
                    <a:lnTo>
                      <a:pt x="30" y="129"/>
                    </a:lnTo>
                    <a:lnTo>
                      <a:pt x="29" y="132"/>
                    </a:lnTo>
                    <a:lnTo>
                      <a:pt x="28" y="132"/>
                    </a:lnTo>
                    <a:lnTo>
                      <a:pt x="28" y="130"/>
                    </a:lnTo>
                    <a:lnTo>
                      <a:pt x="27" y="133"/>
                    </a:lnTo>
                    <a:lnTo>
                      <a:pt x="28" y="134"/>
                    </a:lnTo>
                    <a:lnTo>
                      <a:pt x="28" y="136"/>
                    </a:lnTo>
                    <a:lnTo>
                      <a:pt x="27" y="136"/>
                    </a:lnTo>
                    <a:lnTo>
                      <a:pt x="30" y="140"/>
                    </a:lnTo>
                    <a:lnTo>
                      <a:pt x="32" y="142"/>
                    </a:lnTo>
                    <a:lnTo>
                      <a:pt x="33" y="143"/>
                    </a:lnTo>
                    <a:lnTo>
                      <a:pt x="35" y="146"/>
                    </a:lnTo>
                    <a:lnTo>
                      <a:pt x="36" y="147"/>
                    </a:lnTo>
                    <a:lnTo>
                      <a:pt x="38" y="147"/>
                    </a:lnTo>
                    <a:lnTo>
                      <a:pt x="41" y="152"/>
                    </a:lnTo>
                    <a:lnTo>
                      <a:pt x="43" y="152"/>
                    </a:lnTo>
                    <a:lnTo>
                      <a:pt x="43" y="153"/>
                    </a:lnTo>
                    <a:lnTo>
                      <a:pt x="44" y="155"/>
                    </a:lnTo>
                    <a:lnTo>
                      <a:pt x="47" y="155"/>
                    </a:lnTo>
                    <a:lnTo>
                      <a:pt x="46" y="157"/>
                    </a:lnTo>
                    <a:lnTo>
                      <a:pt x="47" y="159"/>
                    </a:lnTo>
                    <a:lnTo>
                      <a:pt x="49" y="159"/>
                    </a:lnTo>
                    <a:lnTo>
                      <a:pt x="49" y="160"/>
                    </a:lnTo>
                    <a:lnTo>
                      <a:pt x="50" y="160"/>
                    </a:lnTo>
                    <a:lnTo>
                      <a:pt x="49" y="160"/>
                    </a:lnTo>
                    <a:lnTo>
                      <a:pt x="50" y="163"/>
                    </a:lnTo>
                    <a:lnTo>
                      <a:pt x="49" y="164"/>
                    </a:lnTo>
                    <a:lnTo>
                      <a:pt x="49" y="165"/>
                    </a:lnTo>
                    <a:lnTo>
                      <a:pt x="50" y="163"/>
                    </a:lnTo>
                    <a:lnTo>
                      <a:pt x="50" y="164"/>
                    </a:lnTo>
                    <a:lnTo>
                      <a:pt x="52" y="163"/>
                    </a:lnTo>
                    <a:lnTo>
                      <a:pt x="52" y="164"/>
                    </a:lnTo>
                    <a:lnTo>
                      <a:pt x="53" y="164"/>
                    </a:lnTo>
                    <a:lnTo>
                      <a:pt x="55" y="164"/>
                    </a:lnTo>
                    <a:lnTo>
                      <a:pt x="57" y="164"/>
                    </a:lnTo>
                    <a:lnTo>
                      <a:pt x="57" y="165"/>
                    </a:lnTo>
                    <a:lnTo>
                      <a:pt x="58" y="165"/>
                    </a:lnTo>
                    <a:lnTo>
                      <a:pt x="58" y="164"/>
                    </a:lnTo>
                    <a:lnTo>
                      <a:pt x="60" y="164"/>
                    </a:lnTo>
                    <a:lnTo>
                      <a:pt x="60" y="163"/>
                    </a:lnTo>
                    <a:lnTo>
                      <a:pt x="63" y="163"/>
                    </a:lnTo>
                    <a:lnTo>
                      <a:pt x="62" y="164"/>
                    </a:lnTo>
                    <a:lnTo>
                      <a:pt x="63" y="168"/>
                    </a:lnTo>
                    <a:lnTo>
                      <a:pt x="64" y="167"/>
                    </a:lnTo>
                    <a:lnTo>
                      <a:pt x="65" y="168"/>
                    </a:lnTo>
                    <a:lnTo>
                      <a:pt x="67" y="168"/>
                    </a:lnTo>
                    <a:lnTo>
                      <a:pt x="68" y="164"/>
                    </a:lnTo>
                    <a:lnTo>
                      <a:pt x="69" y="163"/>
                    </a:lnTo>
                    <a:lnTo>
                      <a:pt x="70" y="166"/>
                    </a:lnTo>
                    <a:lnTo>
                      <a:pt x="71" y="166"/>
                    </a:lnTo>
                    <a:lnTo>
                      <a:pt x="72" y="166"/>
                    </a:lnTo>
                    <a:lnTo>
                      <a:pt x="72" y="167"/>
                    </a:lnTo>
                    <a:lnTo>
                      <a:pt x="75" y="167"/>
                    </a:lnTo>
                    <a:lnTo>
                      <a:pt x="76" y="169"/>
                    </a:lnTo>
                    <a:lnTo>
                      <a:pt x="74" y="169"/>
                    </a:lnTo>
                    <a:lnTo>
                      <a:pt x="74" y="170"/>
                    </a:lnTo>
                    <a:lnTo>
                      <a:pt x="76" y="172"/>
                    </a:lnTo>
                    <a:lnTo>
                      <a:pt x="77" y="170"/>
                    </a:lnTo>
                    <a:lnTo>
                      <a:pt x="77" y="172"/>
                    </a:lnTo>
                    <a:lnTo>
                      <a:pt x="79" y="173"/>
                    </a:lnTo>
                    <a:lnTo>
                      <a:pt x="81" y="171"/>
                    </a:lnTo>
                    <a:lnTo>
                      <a:pt x="81" y="172"/>
                    </a:lnTo>
                    <a:lnTo>
                      <a:pt x="82" y="173"/>
                    </a:lnTo>
                    <a:lnTo>
                      <a:pt x="82" y="176"/>
                    </a:lnTo>
                    <a:lnTo>
                      <a:pt x="83" y="176"/>
                    </a:lnTo>
                    <a:lnTo>
                      <a:pt x="84" y="176"/>
                    </a:lnTo>
                    <a:lnTo>
                      <a:pt x="83" y="177"/>
                    </a:lnTo>
                    <a:lnTo>
                      <a:pt x="82" y="177"/>
                    </a:lnTo>
                    <a:lnTo>
                      <a:pt x="83" y="178"/>
                    </a:lnTo>
                    <a:lnTo>
                      <a:pt x="84" y="178"/>
                    </a:lnTo>
                    <a:lnTo>
                      <a:pt x="84" y="179"/>
                    </a:lnTo>
                    <a:lnTo>
                      <a:pt x="85" y="178"/>
                    </a:lnTo>
                    <a:lnTo>
                      <a:pt x="85" y="179"/>
                    </a:lnTo>
                    <a:lnTo>
                      <a:pt x="86" y="181"/>
                    </a:lnTo>
                    <a:lnTo>
                      <a:pt x="85" y="181"/>
                    </a:lnTo>
                    <a:lnTo>
                      <a:pt x="89" y="184"/>
                    </a:lnTo>
                    <a:lnTo>
                      <a:pt x="89" y="183"/>
                    </a:lnTo>
                    <a:lnTo>
                      <a:pt x="93" y="183"/>
                    </a:lnTo>
                    <a:lnTo>
                      <a:pt x="94" y="185"/>
                    </a:lnTo>
                    <a:lnTo>
                      <a:pt x="96" y="185"/>
                    </a:lnTo>
                    <a:lnTo>
                      <a:pt x="98" y="186"/>
                    </a:lnTo>
                    <a:lnTo>
                      <a:pt x="98" y="185"/>
                    </a:lnTo>
                    <a:lnTo>
                      <a:pt x="100" y="185"/>
                    </a:lnTo>
                    <a:lnTo>
                      <a:pt x="99" y="187"/>
                    </a:lnTo>
                    <a:lnTo>
                      <a:pt x="97" y="192"/>
                    </a:lnTo>
                    <a:lnTo>
                      <a:pt x="97" y="195"/>
                    </a:lnTo>
                    <a:lnTo>
                      <a:pt x="97" y="197"/>
                    </a:lnTo>
                    <a:lnTo>
                      <a:pt x="99" y="197"/>
                    </a:lnTo>
                    <a:lnTo>
                      <a:pt x="101" y="195"/>
                    </a:lnTo>
                    <a:lnTo>
                      <a:pt x="101" y="196"/>
                    </a:lnTo>
                    <a:lnTo>
                      <a:pt x="101" y="195"/>
                    </a:lnTo>
                    <a:lnTo>
                      <a:pt x="102" y="194"/>
                    </a:lnTo>
                    <a:lnTo>
                      <a:pt x="104" y="197"/>
                    </a:lnTo>
                    <a:lnTo>
                      <a:pt x="105" y="196"/>
                    </a:lnTo>
                    <a:lnTo>
                      <a:pt x="106" y="197"/>
                    </a:lnTo>
                    <a:lnTo>
                      <a:pt x="108" y="199"/>
                    </a:lnTo>
                    <a:lnTo>
                      <a:pt x="109" y="199"/>
                    </a:lnTo>
                    <a:lnTo>
                      <a:pt x="111" y="204"/>
                    </a:lnTo>
                    <a:lnTo>
                      <a:pt x="115" y="206"/>
                    </a:lnTo>
                    <a:lnTo>
                      <a:pt x="116" y="208"/>
                    </a:lnTo>
                    <a:lnTo>
                      <a:pt x="118" y="206"/>
                    </a:lnTo>
                    <a:lnTo>
                      <a:pt x="120" y="205"/>
                    </a:lnTo>
                    <a:lnTo>
                      <a:pt x="120" y="210"/>
                    </a:lnTo>
                    <a:lnTo>
                      <a:pt x="118" y="211"/>
                    </a:lnTo>
                    <a:lnTo>
                      <a:pt x="115" y="216"/>
                    </a:lnTo>
                    <a:lnTo>
                      <a:pt x="117" y="219"/>
                    </a:lnTo>
                    <a:lnTo>
                      <a:pt x="116" y="220"/>
                    </a:lnTo>
                    <a:lnTo>
                      <a:pt x="120" y="224"/>
                    </a:lnTo>
                    <a:lnTo>
                      <a:pt x="123" y="224"/>
                    </a:lnTo>
                    <a:lnTo>
                      <a:pt x="126" y="227"/>
                    </a:lnTo>
                    <a:lnTo>
                      <a:pt x="128" y="228"/>
                    </a:lnTo>
                    <a:lnTo>
                      <a:pt x="128" y="229"/>
                    </a:lnTo>
                    <a:lnTo>
                      <a:pt x="129" y="229"/>
                    </a:lnTo>
                    <a:lnTo>
                      <a:pt x="132" y="234"/>
                    </a:lnTo>
                    <a:lnTo>
                      <a:pt x="133" y="234"/>
                    </a:lnTo>
                    <a:lnTo>
                      <a:pt x="134" y="233"/>
                    </a:lnTo>
                    <a:lnTo>
                      <a:pt x="136" y="233"/>
                    </a:lnTo>
                    <a:lnTo>
                      <a:pt x="138" y="234"/>
                    </a:lnTo>
                    <a:lnTo>
                      <a:pt x="140" y="234"/>
                    </a:lnTo>
                    <a:lnTo>
                      <a:pt x="143" y="233"/>
                    </a:lnTo>
                    <a:lnTo>
                      <a:pt x="142" y="227"/>
                    </a:lnTo>
                    <a:lnTo>
                      <a:pt x="146" y="229"/>
                    </a:lnTo>
                    <a:lnTo>
                      <a:pt x="147" y="228"/>
                    </a:lnTo>
                    <a:lnTo>
                      <a:pt x="148" y="228"/>
                    </a:lnTo>
                    <a:lnTo>
                      <a:pt x="147" y="224"/>
                    </a:lnTo>
                    <a:lnTo>
                      <a:pt x="148" y="220"/>
                    </a:lnTo>
                    <a:lnTo>
                      <a:pt x="155" y="215"/>
                    </a:lnTo>
                    <a:lnTo>
                      <a:pt x="156" y="212"/>
                    </a:lnTo>
                    <a:lnTo>
                      <a:pt x="158" y="212"/>
                    </a:lnTo>
                    <a:lnTo>
                      <a:pt x="158" y="214"/>
                    </a:lnTo>
                    <a:lnTo>
                      <a:pt x="159" y="213"/>
                    </a:lnTo>
                    <a:lnTo>
                      <a:pt x="159" y="214"/>
                    </a:lnTo>
                    <a:lnTo>
                      <a:pt x="158" y="215"/>
                    </a:lnTo>
                    <a:lnTo>
                      <a:pt x="159" y="217"/>
                    </a:lnTo>
                    <a:lnTo>
                      <a:pt x="158" y="217"/>
                    </a:lnTo>
                    <a:lnTo>
                      <a:pt x="158" y="219"/>
                    </a:lnTo>
                    <a:lnTo>
                      <a:pt x="161" y="223"/>
                    </a:lnTo>
                    <a:lnTo>
                      <a:pt x="163" y="223"/>
                    </a:lnTo>
                    <a:lnTo>
                      <a:pt x="165" y="223"/>
                    </a:lnTo>
                    <a:lnTo>
                      <a:pt x="166" y="224"/>
                    </a:lnTo>
                    <a:lnTo>
                      <a:pt x="168" y="226"/>
                    </a:lnTo>
                    <a:lnTo>
                      <a:pt x="169" y="227"/>
                    </a:lnTo>
                    <a:lnTo>
                      <a:pt x="170" y="224"/>
                    </a:lnTo>
                    <a:lnTo>
                      <a:pt x="171" y="225"/>
                    </a:lnTo>
                    <a:lnTo>
                      <a:pt x="172" y="225"/>
                    </a:lnTo>
                    <a:lnTo>
                      <a:pt x="174" y="227"/>
                    </a:lnTo>
                    <a:lnTo>
                      <a:pt x="175" y="227"/>
                    </a:lnTo>
                    <a:lnTo>
                      <a:pt x="176" y="229"/>
                    </a:lnTo>
                    <a:lnTo>
                      <a:pt x="177" y="230"/>
                    </a:lnTo>
                    <a:lnTo>
                      <a:pt x="177" y="231"/>
                    </a:lnTo>
                    <a:lnTo>
                      <a:pt x="179" y="233"/>
                    </a:lnTo>
                    <a:lnTo>
                      <a:pt x="180" y="239"/>
                    </a:lnTo>
                    <a:lnTo>
                      <a:pt x="182" y="241"/>
                    </a:lnTo>
                    <a:lnTo>
                      <a:pt x="183" y="240"/>
                    </a:lnTo>
                    <a:lnTo>
                      <a:pt x="185" y="240"/>
                    </a:lnTo>
                    <a:lnTo>
                      <a:pt x="189" y="241"/>
                    </a:lnTo>
                    <a:lnTo>
                      <a:pt x="192" y="239"/>
                    </a:lnTo>
                    <a:lnTo>
                      <a:pt x="194" y="241"/>
                    </a:lnTo>
                    <a:lnTo>
                      <a:pt x="195" y="244"/>
                    </a:lnTo>
                    <a:lnTo>
                      <a:pt x="194" y="245"/>
                    </a:lnTo>
                    <a:lnTo>
                      <a:pt x="195" y="246"/>
                    </a:lnTo>
                    <a:lnTo>
                      <a:pt x="197" y="244"/>
                    </a:lnTo>
                    <a:lnTo>
                      <a:pt x="200" y="244"/>
                    </a:lnTo>
                    <a:lnTo>
                      <a:pt x="201" y="246"/>
                    </a:lnTo>
                    <a:lnTo>
                      <a:pt x="203" y="249"/>
                    </a:lnTo>
                    <a:lnTo>
                      <a:pt x="205" y="249"/>
                    </a:lnTo>
                    <a:lnTo>
                      <a:pt x="205" y="247"/>
                    </a:lnTo>
                    <a:lnTo>
                      <a:pt x="207" y="247"/>
                    </a:lnTo>
                    <a:lnTo>
                      <a:pt x="207" y="250"/>
                    </a:lnTo>
                    <a:lnTo>
                      <a:pt x="209" y="251"/>
                    </a:lnTo>
                    <a:lnTo>
                      <a:pt x="209" y="253"/>
                    </a:lnTo>
                    <a:lnTo>
                      <a:pt x="211" y="253"/>
                    </a:lnTo>
                    <a:lnTo>
                      <a:pt x="211" y="254"/>
                    </a:lnTo>
                    <a:lnTo>
                      <a:pt x="212" y="253"/>
                    </a:lnTo>
                    <a:lnTo>
                      <a:pt x="215" y="255"/>
                    </a:lnTo>
                    <a:lnTo>
                      <a:pt x="218" y="256"/>
                    </a:lnTo>
                    <a:lnTo>
                      <a:pt x="219" y="258"/>
                    </a:lnTo>
                    <a:lnTo>
                      <a:pt x="222" y="264"/>
                    </a:lnTo>
                    <a:lnTo>
                      <a:pt x="224" y="267"/>
                    </a:lnTo>
                    <a:lnTo>
                      <a:pt x="226" y="268"/>
                    </a:lnTo>
                    <a:lnTo>
                      <a:pt x="224" y="272"/>
                    </a:lnTo>
                    <a:lnTo>
                      <a:pt x="227" y="274"/>
                    </a:lnTo>
                    <a:lnTo>
                      <a:pt x="228" y="275"/>
                    </a:lnTo>
                    <a:lnTo>
                      <a:pt x="229" y="278"/>
                    </a:lnTo>
                    <a:lnTo>
                      <a:pt x="231" y="278"/>
                    </a:lnTo>
                    <a:lnTo>
                      <a:pt x="232" y="278"/>
                    </a:lnTo>
                    <a:lnTo>
                      <a:pt x="233" y="276"/>
                    </a:lnTo>
                    <a:lnTo>
                      <a:pt x="236" y="279"/>
                    </a:lnTo>
                    <a:lnTo>
                      <a:pt x="237" y="278"/>
                    </a:lnTo>
                    <a:lnTo>
                      <a:pt x="240" y="281"/>
                    </a:lnTo>
                    <a:lnTo>
                      <a:pt x="243" y="281"/>
                    </a:lnTo>
                    <a:lnTo>
                      <a:pt x="245" y="283"/>
                    </a:lnTo>
                    <a:lnTo>
                      <a:pt x="246" y="285"/>
                    </a:lnTo>
                    <a:lnTo>
                      <a:pt x="248" y="289"/>
                    </a:lnTo>
                    <a:lnTo>
                      <a:pt x="250" y="289"/>
                    </a:lnTo>
                    <a:lnTo>
                      <a:pt x="252" y="291"/>
                    </a:lnTo>
                    <a:lnTo>
                      <a:pt x="252" y="293"/>
                    </a:lnTo>
                    <a:lnTo>
                      <a:pt x="255" y="299"/>
                    </a:lnTo>
                    <a:lnTo>
                      <a:pt x="256" y="300"/>
                    </a:lnTo>
                    <a:lnTo>
                      <a:pt x="257" y="302"/>
                    </a:lnTo>
                    <a:lnTo>
                      <a:pt x="259" y="304"/>
                    </a:lnTo>
                    <a:lnTo>
                      <a:pt x="259" y="301"/>
                    </a:lnTo>
                    <a:lnTo>
                      <a:pt x="263" y="298"/>
                    </a:lnTo>
                    <a:lnTo>
                      <a:pt x="262" y="295"/>
                    </a:lnTo>
                    <a:lnTo>
                      <a:pt x="263" y="293"/>
                    </a:lnTo>
                    <a:lnTo>
                      <a:pt x="265" y="294"/>
                    </a:lnTo>
                    <a:lnTo>
                      <a:pt x="267" y="294"/>
                    </a:lnTo>
                    <a:lnTo>
                      <a:pt x="268" y="292"/>
                    </a:lnTo>
                    <a:lnTo>
                      <a:pt x="269" y="293"/>
                    </a:lnTo>
                    <a:lnTo>
                      <a:pt x="270" y="293"/>
                    </a:lnTo>
                    <a:lnTo>
                      <a:pt x="272" y="294"/>
                    </a:lnTo>
                    <a:lnTo>
                      <a:pt x="270" y="298"/>
                    </a:lnTo>
                    <a:lnTo>
                      <a:pt x="272" y="298"/>
                    </a:lnTo>
                    <a:lnTo>
                      <a:pt x="273" y="297"/>
                    </a:lnTo>
                    <a:lnTo>
                      <a:pt x="274" y="297"/>
                    </a:lnTo>
                    <a:lnTo>
                      <a:pt x="275" y="297"/>
                    </a:lnTo>
                    <a:lnTo>
                      <a:pt x="278" y="297"/>
                    </a:lnTo>
                    <a:lnTo>
                      <a:pt x="282" y="294"/>
                    </a:lnTo>
                    <a:lnTo>
                      <a:pt x="284" y="294"/>
                    </a:lnTo>
                    <a:lnTo>
                      <a:pt x="286" y="298"/>
                    </a:lnTo>
                    <a:lnTo>
                      <a:pt x="288" y="298"/>
                    </a:lnTo>
                    <a:lnTo>
                      <a:pt x="290" y="299"/>
                    </a:lnTo>
                    <a:lnTo>
                      <a:pt x="290" y="298"/>
                    </a:lnTo>
                    <a:lnTo>
                      <a:pt x="295" y="299"/>
                    </a:lnTo>
                    <a:lnTo>
                      <a:pt x="296" y="298"/>
                    </a:lnTo>
                    <a:lnTo>
                      <a:pt x="296" y="300"/>
                    </a:lnTo>
                    <a:lnTo>
                      <a:pt x="297" y="299"/>
                    </a:lnTo>
                    <a:lnTo>
                      <a:pt x="297" y="298"/>
                    </a:lnTo>
                    <a:lnTo>
                      <a:pt x="296" y="295"/>
                    </a:lnTo>
                    <a:lnTo>
                      <a:pt x="298" y="293"/>
                    </a:lnTo>
                    <a:lnTo>
                      <a:pt x="298" y="292"/>
                    </a:lnTo>
                    <a:lnTo>
                      <a:pt x="299" y="291"/>
                    </a:lnTo>
                    <a:lnTo>
                      <a:pt x="299" y="289"/>
                    </a:lnTo>
                    <a:lnTo>
                      <a:pt x="299" y="286"/>
                    </a:lnTo>
                    <a:lnTo>
                      <a:pt x="301" y="284"/>
                    </a:lnTo>
                    <a:lnTo>
                      <a:pt x="301" y="283"/>
                    </a:lnTo>
                    <a:lnTo>
                      <a:pt x="302" y="282"/>
                    </a:lnTo>
                    <a:lnTo>
                      <a:pt x="304" y="282"/>
                    </a:lnTo>
                    <a:lnTo>
                      <a:pt x="305" y="284"/>
                    </a:lnTo>
                    <a:lnTo>
                      <a:pt x="306" y="284"/>
                    </a:lnTo>
                    <a:lnTo>
                      <a:pt x="308" y="282"/>
                    </a:lnTo>
                    <a:lnTo>
                      <a:pt x="308" y="284"/>
                    </a:lnTo>
                    <a:lnTo>
                      <a:pt x="310" y="286"/>
                    </a:lnTo>
                    <a:lnTo>
                      <a:pt x="312" y="285"/>
                    </a:lnTo>
                    <a:lnTo>
                      <a:pt x="314" y="286"/>
                    </a:lnTo>
                    <a:lnTo>
                      <a:pt x="315" y="287"/>
                    </a:lnTo>
                    <a:lnTo>
                      <a:pt x="318" y="287"/>
                    </a:lnTo>
                    <a:lnTo>
                      <a:pt x="318" y="286"/>
                    </a:lnTo>
                    <a:lnTo>
                      <a:pt x="319" y="286"/>
                    </a:lnTo>
                    <a:lnTo>
                      <a:pt x="319" y="285"/>
                    </a:lnTo>
                    <a:lnTo>
                      <a:pt x="319" y="283"/>
                    </a:lnTo>
                    <a:lnTo>
                      <a:pt x="320" y="283"/>
                    </a:lnTo>
                    <a:lnTo>
                      <a:pt x="324" y="285"/>
                    </a:lnTo>
                    <a:lnTo>
                      <a:pt x="328" y="290"/>
                    </a:lnTo>
                    <a:lnTo>
                      <a:pt x="331" y="287"/>
                    </a:lnTo>
                    <a:lnTo>
                      <a:pt x="333" y="289"/>
                    </a:lnTo>
                    <a:lnTo>
                      <a:pt x="333" y="287"/>
                    </a:lnTo>
                    <a:lnTo>
                      <a:pt x="332" y="287"/>
                    </a:lnTo>
                    <a:lnTo>
                      <a:pt x="332" y="286"/>
                    </a:lnTo>
                    <a:lnTo>
                      <a:pt x="336" y="289"/>
                    </a:lnTo>
                    <a:lnTo>
                      <a:pt x="337" y="289"/>
                    </a:lnTo>
                    <a:lnTo>
                      <a:pt x="339" y="289"/>
                    </a:lnTo>
                    <a:lnTo>
                      <a:pt x="341" y="288"/>
                    </a:lnTo>
                    <a:lnTo>
                      <a:pt x="340" y="289"/>
                    </a:lnTo>
                    <a:lnTo>
                      <a:pt x="345" y="291"/>
                    </a:lnTo>
                    <a:lnTo>
                      <a:pt x="346" y="294"/>
                    </a:lnTo>
                    <a:lnTo>
                      <a:pt x="347" y="294"/>
                    </a:lnTo>
                    <a:lnTo>
                      <a:pt x="348" y="294"/>
                    </a:lnTo>
                    <a:lnTo>
                      <a:pt x="355" y="299"/>
                    </a:lnTo>
                    <a:lnTo>
                      <a:pt x="356" y="300"/>
                    </a:lnTo>
                    <a:lnTo>
                      <a:pt x="360" y="303"/>
                    </a:lnTo>
                    <a:lnTo>
                      <a:pt x="363" y="305"/>
                    </a:lnTo>
                    <a:lnTo>
                      <a:pt x="368" y="304"/>
                    </a:lnTo>
                    <a:lnTo>
                      <a:pt x="368" y="302"/>
                    </a:lnTo>
                    <a:lnTo>
                      <a:pt x="369" y="301"/>
                    </a:lnTo>
                    <a:lnTo>
                      <a:pt x="369" y="300"/>
                    </a:lnTo>
                    <a:lnTo>
                      <a:pt x="368" y="298"/>
                    </a:lnTo>
                    <a:lnTo>
                      <a:pt x="370" y="297"/>
                    </a:lnTo>
                    <a:lnTo>
                      <a:pt x="371" y="293"/>
                    </a:lnTo>
                    <a:lnTo>
                      <a:pt x="372" y="292"/>
                    </a:lnTo>
                    <a:lnTo>
                      <a:pt x="372" y="291"/>
                    </a:lnTo>
                    <a:lnTo>
                      <a:pt x="373" y="291"/>
                    </a:lnTo>
                    <a:lnTo>
                      <a:pt x="373" y="293"/>
                    </a:lnTo>
                    <a:lnTo>
                      <a:pt x="374" y="294"/>
                    </a:lnTo>
                    <a:lnTo>
                      <a:pt x="375" y="293"/>
                    </a:lnTo>
                    <a:lnTo>
                      <a:pt x="372" y="290"/>
                    </a:lnTo>
                    <a:lnTo>
                      <a:pt x="370" y="286"/>
                    </a:lnTo>
                    <a:lnTo>
                      <a:pt x="370" y="284"/>
                    </a:lnTo>
                    <a:lnTo>
                      <a:pt x="371" y="283"/>
                    </a:lnTo>
                    <a:lnTo>
                      <a:pt x="371" y="278"/>
                    </a:lnTo>
                    <a:lnTo>
                      <a:pt x="373" y="278"/>
                    </a:lnTo>
                    <a:lnTo>
                      <a:pt x="373" y="276"/>
                    </a:lnTo>
                    <a:lnTo>
                      <a:pt x="375" y="274"/>
                    </a:lnTo>
                    <a:lnTo>
                      <a:pt x="377" y="274"/>
                    </a:lnTo>
                    <a:lnTo>
                      <a:pt x="378" y="274"/>
                    </a:lnTo>
                    <a:lnTo>
                      <a:pt x="378" y="273"/>
                    </a:lnTo>
                    <a:lnTo>
                      <a:pt x="378" y="271"/>
                    </a:lnTo>
                    <a:lnTo>
                      <a:pt x="380" y="270"/>
                    </a:lnTo>
                    <a:lnTo>
                      <a:pt x="382" y="270"/>
                    </a:lnTo>
                    <a:lnTo>
                      <a:pt x="384" y="268"/>
                    </a:lnTo>
                    <a:lnTo>
                      <a:pt x="383" y="265"/>
                    </a:lnTo>
                    <a:lnTo>
                      <a:pt x="385" y="258"/>
                    </a:lnTo>
                    <a:lnTo>
                      <a:pt x="385" y="256"/>
                    </a:lnTo>
                    <a:lnTo>
                      <a:pt x="384" y="257"/>
                    </a:lnTo>
                    <a:lnTo>
                      <a:pt x="384" y="255"/>
                    </a:lnTo>
                    <a:lnTo>
                      <a:pt x="383" y="255"/>
                    </a:lnTo>
                    <a:lnTo>
                      <a:pt x="385" y="251"/>
                    </a:lnTo>
                    <a:lnTo>
                      <a:pt x="386" y="249"/>
                    </a:lnTo>
                    <a:lnTo>
                      <a:pt x="383" y="247"/>
                    </a:lnTo>
                    <a:lnTo>
                      <a:pt x="382" y="244"/>
                    </a:lnTo>
                    <a:lnTo>
                      <a:pt x="379" y="244"/>
                    </a:lnTo>
                    <a:lnTo>
                      <a:pt x="378" y="245"/>
                    </a:lnTo>
                    <a:lnTo>
                      <a:pt x="377" y="244"/>
                    </a:lnTo>
                    <a:lnTo>
                      <a:pt x="377" y="242"/>
                    </a:lnTo>
                    <a:lnTo>
                      <a:pt x="375" y="242"/>
                    </a:lnTo>
                    <a:lnTo>
                      <a:pt x="375" y="244"/>
                    </a:lnTo>
                    <a:lnTo>
                      <a:pt x="373" y="244"/>
                    </a:lnTo>
                    <a:lnTo>
                      <a:pt x="371" y="244"/>
                    </a:lnTo>
                    <a:lnTo>
                      <a:pt x="371" y="242"/>
                    </a:lnTo>
                    <a:lnTo>
                      <a:pt x="373" y="241"/>
                    </a:lnTo>
                    <a:lnTo>
                      <a:pt x="375" y="238"/>
                    </a:lnTo>
                    <a:lnTo>
                      <a:pt x="376" y="238"/>
                    </a:lnTo>
                    <a:lnTo>
                      <a:pt x="378" y="235"/>
                    </a:lnTo>
                    <a:lnTo>
                      <a:pt x="376" y="234"/>
                    </a:lnTo>
                    <a:lnTo>
                      <a:pt x="373" y="229"/>
                    </a:lnTo>
                    <a:lnTo>
                      <a:pt x="375" y="228"/>
                    </a:lnTo>
                    <a:lnTo>
                      <a:pt x="375" y="227"/>
                    </a:lnTo>
                    <a:lnTo>
                      <a:pt x="375" y="226"/>
                    </a:lnTo>
                    <a:lnTo>
                      <a:pt x="376" y="225"/>
                    </a:lnTo>
                    <a:lnTo>
                      <a:pt x="375" y="223"/>
                    </a:lnTo>
                    <a:lnTo>
                      <a:pt x="373" y="222"/>
                    </a:lnTo>
                    <a:lnTo>
                      <a:pt x="371" y="220"/>
                    </a:lnTo>
                    <a:lnTo>
                      <a:pt x="367" y="213"/>
                    </a:lnTo>
                    <a:lnTo>
                      <a:pt x="365" y="207"/>
                    </a:lnTo>
                    <a:lnTo>
                      <a:pt x="366" y="204"/>
                    </a:lnTo>
                    <a:lnTo>
                      <a:pt x="365" y="202"/>
                    </a:lnTo>
                    <a:lnTo>
                      <a:pt x="366" y="200"/>
                    </a:lnTo>
                    <a:lnTo>
                      <a:pt x="365" y="199"/>
                    </a:lnTo>
                    <a:lnTo>
                      <a:pt x="364" y="198"/>
                    </a:lnTo>
                    <a:lnTo>
                      <a:pt x="363" y="197"/>
                    </a:lnTo>
                    <a:lnTo>
                      <a:pt x="363" y="196"/>
                    </a:lnTo>
                    <a:lnTo>
                      <a:pt x="361" y="195"/>
                    </a:lnTo>
                    <a:lnTo>
                      <a:pt x="360" y="192"/>
                    </a:lnTo>
                    <a:lnTo>
                      <a:pt x="362" y="189"/>
                    </a:lnTo>
                    <a:lnTo>
                      <a:pt x="361" y="188"/>
                    </a:lnTo>
                    <a:lnTo>
                      <a:pt x="361" y="186"/>
                    </a:lnTo>
                    <a:lnTo>
                      <a:pt x="362" y="180"/>
                    </a:lnTo>
                    <a:lnTo>
                      <a:pt x="363" y="179"/>
                    </a:lnTo>
                    <a:lnTo>
                      <a:pt x="366" y="177"/>
                    </a:lnTo>
                    <a:lnTo>
                      <a:pt x="367" y="177"/>
                    </a:lnTo>
                    <a:lnTo>
                      <a:pt x="371" y="176"/>
                    </a:lnTo>
                    <a:lnTo>
                      <a:pt x="370" y="175"/>
                    </a:lnTo>
                    <a:lnTo>
                      <a:pt x="371" y="174"/>
                    </a:lnTo>
                    <a:lnTo>
                      <a:pt x="369" y="173"/>
                    </a:lnTo>
                    <a:lnTo>
                      <a:pt x="369" y="170"/>
                    </a:lnTo>
                    <a:lnTo>
                      <a:pt x="367" y="164"/>
                    </a:lnTo>
                    <a:lnTo>
                      <a:pt x="369" y="162"/>
                    </a:lnTo>
                    <a:lnTo>
                      <a:pt x="368" y="160"/>
                    </a:lnTo>
                    <a:lnTo>
                      <a:pt x="368" y="158"/>
                    </a:lnTo>
                    <a:lnTo>
                      <a:pt x="369" y="156"/>
                    </a:lnTo>
                    <a:lnTo>
                      <a:pt x="369" y="154"/>
                    </a:lnTo>
                    <a:lnTo>
                      <a:pt x="370" y="152"/>
                    </a:lnTo>
                    <a:lnTo>
                      <a:pt x="367" y="150"/>
                    </a:lnTo>
                    <a:lnTo>
                      <a:pt x="369" y="147"/>
                    </a:lnTo>
                    <a:lnTo>
                      <a:pt x="366" y="145"/>
                    </a:lnTo>
                    <a:lnTo>
                      <a:pt x="366" y="140"/>
                    </a:lnTo>
                    <a:lnTo>
                      <a:pt x="365" y="139"/>
                    </a:lnTo>
                    <a:lnTo>
                      <a:pt x="365" y="137"/>
                    </a:lnTo>
                    <a:lnTo>
                      <a:pt x="365" y="133"/>
                    </a:lnTo>
                    <a:lnTo>
                      <a:pt x="366" y="130"/>
                    </a:lnTo>
                    <a:lnTo>
                      <a:pt x="365" y="127"/>
                    </a:lnTo>
                    <a:lnTo>
                      <a:pt x="365" y="125"/>
                    </a:lnTo>
                    <a:lnTo>
                      <a:pt x="364" y="123"/>
                    </a:lnTo>
                    <a:lnTo>
                      <a:pt x="362" y="121"/>
                    </a:lnTo>
                    <a:lnTo>
                      <a:pt x="361" y="113"/>
                    </a:lnTo>
                    <a:lnTo>
                      <a:pt x="364" y="113"/>
                    </a:lnTo>
                    <a:lnTo>
                      <a:pt x="369" y="114"/>
                    </a:lnTo>
                    <a:lnTo>
                      <a:pt x="371" y="117"/>
                    </a:lnTo>
                    <a:lnTo>
                      <a:pt x="373" y="117"/>
                    </a:lnTo>
                    <a:lnTo>
                      <a:pt x="373" y="116"/>
                    </a:lnTo>
                    <a:lnTo>
                      <a:pt x="375" y="113"/>
                    </a:lnTo>
                    <a:lnTo>
                      <a:pt x="377" y="112"/>
                    </a:lnTo>
                    <a:lnTo>
                      <a:pt x="377" y="111"/>
                    </a:lnTo>
                    <a:lnTo>
                      <a:pt x="377" y="109"/>
                    </a:lnTo>
                    <a:lnTo>
                      <a:pt x="378" y="107"/>
                    </a:lnTo>
                    <a:lnTo>
                      <a:pt x="379" y="108"/>
                    </a:lnTo>
                    <a:lnTo>
                      <a:pt x="381" y="105"/>
                    </a:lnTo>
                    <a:lnTo>
                      <a:pt x="385" y="104"/>
                    </a:lnTo>
                    <a:lnTo>
                      <a:pt x="385" y="102"/>
                    </a:lnTo>
                    <a:lnTo>
                      <a:pt x="388" y="102"/>
                    </a:lnTo>
                    <a:lnTo>
                      <a:pt x="389" y="101"/>
                    </a:lnTo>
                    <a:lnTo>
                      <a:pt x="389" y="100"/>
                    </a:lnTo>
                    <a:lnTo>
                      <a:pt x="390" y="98"/>
                    </a:lnTo>
                    <a:lnTo>
                      <a:pt x="392" y="96"/>
                    </a:lnTo>
                    <a:lnTo>
                      <a:pt x="390" y="92"/>
                    </a:lnTo>
                    <a:lnTo>
                      <a:pt x="391" y="89"/>
                    </a:lnTo>
                    <a:lnTo>
                      <a:pt x="388" y="85"/>
                    </a:lnTo>
                    <a:lnTo>
                      <a:pt x="389" y="83"/>
                    </a:lnTo>
                    <a:lnTo>
                      <a:pt x="392" y="80"/>
                    </a:lnTo>
                    <a:lnTo>
                      <a:pt x="395" y="78"/>
                    </a:lnTo>
                    <a:lnTo>
                      <a:pt x="394" y="76"/>
                    </a:lnTo>
                    <a:lnTo>
                      <a:pt x="394" y="73"/>
                    </a:lnTo>
                    <a:lnTo>
                      <a:pt x="392" y="67"/>
                    </a:lnTo>
                    <a:lnTo>
                      <a:pt x="391" y="66"/>
                    </a:lnTo>
                    <a:lnTo>
                      <a:pt x="392" y="65"/>
                    </a:lnTo>
                    <a:lnTo>
                      <a:pt x="395" y="65"/>
                    </a:lnTo>
                    <a:lnTo>
                      <a:pt x="398" y="63"/>
                    </a:lnTo>
                    <a:lnTo>
                      <a:pt x="398" y="57"/>
                    </a:lnTo>
                    <a:lnTo>
                      <a:pt x="399" y="57"/>
                    </a:lnTo>
                    <a:lnTo>
                      <a:pt x="399" y="59"/>
                    </a:lnTo>
                    <a:lnTo>
                      <a:pt x="401" y="57"/>
                    </a:lnTo>
                    <a:lnTo>
                      <a:pt x="401" y="54"/>
                    </a:lnTo>
                    <a:lnTo>
                      <a:pt x="402" y="50"/>
                    </a:lnTo>
                    <a:lnTo>
                      <a:pt x="403" y="49"/>
                    </a:lnTo>
                    <a:lnTo>
                      <a:pt x="404" y="46"/>
                    </a:lnTo>
                    <a:lnTo>
                      <a:pt x="406" y="42"/>
                    </a:lnTo>
                    <a:lnTo>
                      <a:pt x="406" y="40"/>
                    </a:lnTo>
                    <a:lnTo>
                      <a:pt x="409" y="38"/>
                    </a:lnTo>
                    <a:lnTo>
                      <a:pt x="410" y="36"/>
                    </a:lnTo>
                    <a:lnTo>
                      <a:pt x="410" y="32"/>
                    </a:lnTo>
                    <a:lnTo>
                      <a:pt x="411" y="31"/>
                    </a:lnTo>
                    <a:lnTo>
                      <a:pt x="410" y="29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8" name="Group 110">
              <a:extLst>
                <a:ext uri="{FF2B5EF4-FFF2-40B4-BE49-F238E27FC236}">
                  <a16:creationId xmlns:a16="http://schemas.microsoft.com/office/drawing/2014/main" id="{3F77884B-FA65-9DB9-F312-16C53A699D8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92" y="3139"/>
              <a:ext cx="454" cy="457"/>
              <a:chOff x="1792" y="3139"/>
              <a:chExt cx="454" cy="457"/>
            </a:xfrm>
          </p:grpSpPr>
          <p:sp>
            <p:nvSpPr>
              <p:cNvPr id="154" name="Freeform 108">
                <a:extLst>
                  <a:ext uri="{FF2B5EF4-FFF2-40B4-BE49-F238E27FC236}">
                    <a16:creationId xmlns:a16="http://schemas.microsoft.com/office/drawing/2014/main" id="{114231F6-A52F-4A4B-5E61-C07A54923D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2" y="3139"/>
                <a:ext cx="454" cy="457"/>
              </a:xfrm>
              <a:custGeom>
                <a:avLst/>
                <a:gdLst>
                  <a:gd name="T0" fmla="*/ 446 w 454"/>
                  <a:gd name="T1" fmla="*/ 367 h 457"/>
                  <a:gd name="T2" fmla="*/ 440 w 454"/>
                  <a:gd name="T3" fmla="*/ 332 h 457"/>
                  <a:gd name="T4" fmla="*/ 417 w 454"/>
                  <a:gd name="T5" fmla="*/ 323 h 457"/>
                  <a:gd name="T6" fmla="*/ 399 w 454"/>
                  <a:gd name="T7" fmla="*/ 311 h 457"/>
                  <a:gd name="T8" fmla="*/ 392 w 454"/>
                  <a:gd name="T9" fmla="*/ 283 h 457"/>
                  <a:gd name="T10" fmla="*/ 384 w 454"/>
                  <a:gd name="T11" fmla="*/ 256 h 457"/>
                  <a:gd name="T12" fmla="*/ 388 w 454"/>
                  <a:gd name="T13" fmla="*/ 238 h 457"/>
                  <a:gd name="T14" fmla="*/ 389 w 454"/>
                  <a:gd name="T15" fmla="*/ 217 h 457"/>
                  <a:gd name="T16" fmla="*/ 373 w 454"/>
                  <a:gd name="T17" fmla="*/ 221 h 457"/>
                  <a:gd name="T18" fmla="*/ 352 w 454"/>
                  <a:gd name="T19" fmla="*/ 207 h 457"/>
                  <a:gd name="T20" fmla="*/ 325 w 454"/>
                  <a:gd name="T21" fmla="*/ 202 h 457"/>
                  <a:gd name="T22" fmla="*/ 312 w 454"/>
                  <a:gd name="T23" fmla="*/ 202 h 457"/>
                  <a:gd name="T24" fmla="*/ 287 w 454"/>
                  <a:gd name="T25" fmla="*/ 167 h 457"/>
                  <a:gd name="T26" fmla="*/ 267 w 454"/>
                  <a:gd name="T27" fmla="*/ 167 h 457"/>
                  <a:gd name="T28" fmla="*/ 256 w 454"/>
                  <a:gd name="T29" fmla="*/ 139 h 457"/>
                  <a:gd name="T30" fmla="*/ 242 w 454"/>
                  <a:gd name="T31" fmla="*/ 148 h 457"/>
                  <a:gd name="T32" fmla="*/ 249 w 454"/>
                  <a:gd name="T33" fmla="*/ 158 h 457"/>
                  <a:gd name="T34" fmla="*/ 214 w 454"/>
                  <a:gd name="T35" fmla="*/ 170 h 457"/>
                  <a:gd name="T36" fmla="*/ 191 w 454"/>
                  <a:gd name="T37" fmla="*/ 161 h 457"/>
                  <a:gd name="T38" fmla="*/ 175 w 454"/>
                  <a:gd name="T39" fmla="*/ 143 h 457"/>
                  <a:gd name="T40" fmla="*/ 173 w 454"/>
                  <a:gd name="T41" fmla="*/ 125 h 457"/>
                  <a:gd name="T42" fmla="*/ 159 w 454"/>
                  <a:gd name="T43" fmla="*/ 98 h 457"/>
                  <a:gd name="T44" fmla="*/ 136 w 454"/>
                  <a:gd name="T45" fmla="*/ 70 h 457"/>
                  <a:gd name="T46" fmla="*/ 165 w 454"/>
                  <a:gd name="T47" fmla="*/ 64 h 457"/>
                  <a:gd name="T48" fmla="*/ 176 w 454"/>
                  <a:gd name="T49" fmla="*/ 38 h 457"/>
                  <a:gd name="T50" fmla="*/ 173 w 454"/>
                  <a:gd name="T51" fmla="*/ 4 h 457"/>
                  <a:gd name="T52" fmla="*/ 140 w 454"/>
                  <a:gd name="T53" fmla="*/ 25 h 457"/>
                  <a:gd name="T54" fmla="*/ 120 w 454"/>
                  <a:gd name="T55" fmla="*/ 20 h 457"/>
                  <a:gd name="T56" fmla="*/ 95 w 454"/>
                  <a:gd name="T57" fmla="*/ 28 h 457"/>
                  <a:gd name="T58" fmla="*/ 77 w 454"/>
                  <a:gd name="T59" fmla="*/ 40 h 457"/>
                  <a:gd name="T60" fmla="*/ 48 w 454"/>
                  <a:gd name="T61" fmla="*/ 64 h 457"/>
                  <a:gd name="T62" fmla="*/ 31 w 454"/>
                  <a:gd name="T63" fmla="*/ 110 h 457"/>
                  <a:gd name="T64" fmla="*/ 8 w 454"/>
                  <a:gd name="T65" fmla="*/ 147 h 457"/>
                  <a:gd name="T66" fmla="*/ 9 w 454"/>
                  <a:gd name="T67" fmla="*/ 172 h 457"/>
                  <a:gd name="T68" fmla="*/ 3 w 454"/>
                  <a:gd name="T69" fmla="*/ 189 h 457"/>
                  <a:gd name="T70" fmla="*/ 9 w 454"/>
                  <a:gd name="T71" fmla="*/ 209 h 457"/>
                  <a:gd name="T72" fmla="*/ 16 w 454"/>
                  <a:gd name="T73" fmla="*/ 221 h 457"/>
                  <a:gd name="T74" fmla="*/ 25 w 454"/>
                  <a:gd name="T75" fmla="*/ 222 h 457"/>
                  <a:gd name="T76" fmla="*/ 39 w 454"/>
                  <a:gd name="T77" fmla="*/ 232 h 457"/>
                  <a:gd name="T78" fmla="*/ 63 w 454"/>
                  <a:gd name="T79" fmla="*/ 243 h 457"/>
                  <a:gd name="T80" fmla="*/ 72 w 454"/>
                  <a:gd name="T81" fmla="*/ 260 h 457"/>
                  <a:gd name="T82" fmla="*/ 100 w 454"/>
                  <a:gd name="T83" fmla="*/ 260 h 457"/>
                  <a:gd name="T84" fmla="*/ 130 w 454"/>
                  <a:gd name="T85" fmla="*/ 270 h 457"/>
                  <a:gd name="T86" fmla="*/ 143 w 454"/>
                  <a:gd name="T87" fmla="*/ 281 h 457"/>
                  <a:gd name="T88" fmla="*/ 149 w 454"/>
                  <a:gd name="T89" fmla="*/ 310 h 457"/>
                  <a:gd name="T90" fmla="*/ 163 w 454"/>
                  <a:gd name="T91" fmla="*/ 326 h 457"/>
                  <a:gd name="T92" fmla="*/ 179 w 454"/>
                  <a:gd name="T93" fmla="*/ 348 h 457"/>
                  <a:gd name="T94" fmla="*/ 177 w 454"/>
                  <a:gd name="T95" fmla="*/ 361 h 457"/>
                  <a:gd name="T96" fmla="*/ 193 w 454"/>
                  <a:gd name="T97" fmla="*/ 362 h 457"/>
                  <a:gd name="T98" fmla="*/ 209 w 454"/>
                  <a:gd name="T99" fmla="*/ 379 h 457"/>
                  <a:gd name="T100" fmla="*/ 239 w 454"/>
                  <a:gd name="T101" fmla="*/ 391 h 457"/>
                  <a:gd name="T102" fmla="*/ 272 w 454"/>
                  <a:gd name="T103" fmla="*/ 406 h 457"/>
                  <a:gd name="T104" fmla="*/ 304 w 454"/>
                  <a:gd name="T105" fmla="*/ 427 h 457"/>
                  <a:gd name="T106" fmla="*/ 320 w 454"/>
                  <a:gd name="T107" fmla="*/ 454 h 457"/>
                  <a:gd name="T108" fmla="*/ 350 w 454"/>
                  <a:gd name="T109" fmla="*/ 442 h 457"/>
                  <a:gd name="T110" fmla="*/ 364 w 454"/>
                  <a:gd name="T111" fmla="*/ 420 h 457"/>
                  <a:gd name="T112" fmla="*/ 381 w 454"/>
                  <a:gd name="T113" fmla="*/ 407 h 457"/>
                  <a:gd name="T114" fmla="*/ 404 w 454"/>
                  <a:gd name="T115" fmla="*/ 413 h 457"/>
                  <a:gd name="T116" fmla="*/ 438 w 454"/>
                  <a:gd name="T117" fmla="*/ 409 h 457"/>
                  <a:gd name="T118" fmla="*/ 454 w 454"/>
                  <a:gd name="T119" fmla="*/ 394 h 45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454"/>
                  <a:gd name="T181" fmla="*/ 0 h 457"/>
                  <a:gd name="T182" fmla="*/ 454 w 454"/>
                  <a:gd name="T183" fmla="*/ 457 h 45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454" h="457">
                    <a:moveTo>
                      <a:pt x="451" y="392"/>
                    </a:moveTo>
                    <a:lnTo>
                      <a:pt x="450" y="388"/>
                    </a:lnTo>
                    <a:lnTo>
                      <a:pt x="448" y="388"/>
                    </a:lnTo>
                    <a:lnTo>
                      <a:pt x="448" y="384"/>
                    </a:lnTo>
                    <a:lnTo>
                      <a:pt x="447" y="383"/>
                    </a:lnTo>
                    <a:lnTo>
                      <a:pt x="448" y="381"/>
                    </a:lnTo>
                    <a:lnTo>
                      <a:pt x="447" y="377"/>
                    </a:lnTo>
                    <a:lnTo>
                      <a:pt x="448" y="377"/>
                    </a:lnTo>
                    <a:lnTo>
                      <a:pt x="449" y="372"/>
                    </a:lnTo>
                    <a:lnTo>
                      <a:pt x="447" y="372"/>
                    </a:lnTo>
                    <a:lnTo>
                      <a:pt x="446" y="371"/>
                    </a:lnTo>
                    <a:lnTo>
                      <a:pt x="446" y="367"/>
                    </a:lnTo>
                    <a:lnTo>
                      <a:pt x="446" y="364"/>
                    </a:lnTo>
                    <a:lnTo>
                      <a:pt x="445" y="361"/>
                    </a:lnTo>
                    <a:lnTo>
                      <a:pt x="446" y="359"/>
                    </a:lnTo>
                    <a:lnTo>
                      <a:pt x="445" y="354"/>
                    </a:lnTo>
                    <a:lnTo>
                      <a:pt x="444" y="354"/>
                    </a:lnTo>
                    <a:lnTo>
                      <a:pt x="444" y="351"/>
                    </a:lnTo>
                    <a:lnTo>
                      <a:pt x="443" y="346"/>
                    </a:lnTo>
                    <a:lnTo>
                      <a:pt x="443" y="343"/>
                    </a:lnTo>
                    <a:lnTo>
                      <a:pt x="443" y="339"/>
                    </a:lnTo>
                    <a:lnTo>
                      <a:pt x="444" y="336"/>
                    </a:lnTo>
                    <a:lnTo>
                      <a:pt x="443" y="333"/>
                    </a:lnTo>
                    <a:lnTo>
                      <a:pt x="443" y="332"/>
                    </a:lnTo>
                    <a:lnTo>
                      <a:pt x="440" y="332"/>
                    </a:lnTo>
                    <a:lnTo>
                      <a:pt x="437" y="329"/>
                    </a:lnTo>
                    <a:lnTo>
                      <a:pt x="433" y="330"/>
                    </a:lnTo>
                    <a:lnTo>
                      <a:pt x="432" y="329"/>
                    </a:lnTo>
                    <a:lnTo>
                      <a:pt x="428" y="332"/>
                    </a:lnTo>
                    <a:lnTo>
                      <a:pt x="425" y="332"/>
                    </a:lnTo>
                    <a:lnTo>
                      <a:pt x="425" y="329"/>
                    </a:lnTo>
                    <a:lnTo>
                      <a:pt x="423" y="328"/>
                    </a:lnTo>
                    <a:lnTo>
                      <a:pt x="421" y="328"/>
                    </a:lnTo>
                    <a:lnTo>
                      <a:pt x="419" y="328"/>
                    </a:lnTo>
                    <a:lnTo>
                      <a:pt x="420" y="326"/>
                    </a:lnTo>
                    <a:lnTo>
                      <a:pt x="418" y="324"/>
                    </a:lnTo>
                    <a:lnTo>
                      <a:pt x="419" y="323"/>
                    </a:lnTo>
                    <a:lnTo>
                      <a:pt x="417" y="323"/>
                    </a:lnTo>
                    <a:lnTo>
                      <a:pt x="418" y="321"/>
                    </a:lnTo>
                    <a:lnTo>
                      <a:pt x="418" y="318"/>
                    </a:lnTo>
                    <a:lnTo>
                      <a:pt x="413" y="317"/>
                    </a:lnTo>
                    <a:lnTo>
                      <a:pt x="410" y="317"/>
                    </a:lnTo>
                    <a:lnTo>
                      <a:pt x="408" y="317"/>
                    </a:lnTo>
                    <a:lnTo>
                      <a:pt x="407" y="318"/>
                    </a:lnTo>
                    <a:lnTo>
                      <a:pt x="407" y="315"/>
                    </a:lnTo>
                    <a:lnTo>
                      <a:pt x="405" y="314"/>
                    </a:lnTo>
                    <a:lnTo>
                      <a:pt x="404" y="314"/>
                    </a:lnTo>
                    <a:lnTo>
                      <a:pt x="403" y="315"/>
                    </a:lnTo>
                    <a:lnTo>
                      <a:pt x="403" y="313"/>
                    </a:lnTo>
                    <a:lnTo>
                      <a:pt x="400" y="313"/>
                    </a:lnTo>
                    <a:lnTo>
                      <a:pt x="399" y="311"/>
                    </a:lnTo>
                    <a:lnTo>
                      <a:pt x="399" y="310"/>
                    </a:lnTo>
                    <a:lnTo>
                      <a:pt x="398" y="309"/>
                    </a:lnTo>
                    <a:lnTo>
                      <a:pt x="397" y="307"/>
                    </a:lnTo>
                    <a:lnTo>
                      <a:pt x="396" y="307"/>
                    </a:lnTo>
                    <a:lnTo>
                      <a:pt x="397" y="306"/>
                    </a:lnTo>
                    <a:lnTo>
                      <a:pt x="396" y="304"/>
                    </a:lnTo>
                    <a:lnTo>
                      <a:pt x="398" y="296"/>
                    </a:lnTo>
                    <a:lnTo>
                      <a:pt x="397" y="294"/>
                    </a:lnTo>
                    <a:lnTo>
                      <a:pt x="395" y="294"/>
                    </a:lnTo>
                    <a:lnTo>
                      <a:pt x="394" y="293"/>
                    </a:lnTo>
                    <a:lnTo>
                      <a:pt x="394" y="290"/>
                    </a:lnTo>
                    <a:lnTo>
                      <a:pt x="394" y="285"/>
                    </a:lnTo>
                    <a:lnTo>
                      <a:pt x="392" y="283"/>
                    </a:lnTo>
                    <a:lnTo>
                      <a:pt x="392" y="280"/>
                    </a:lnTo>
                    <a:lnTo>
                      <a:pt x="391" y="278"/>
                    </a:lnTo>
                    <a:lnTo>
                      <a:pt x="391" y="276"/>
                    </a:lnTo>
                    <a:lnTo>
                      <a:pt x="391" y="273"/>
                    </a:lnTo>
                    <a:lnTo>
                      <a:pt x="390" y="272"/>
                    </a:lnTo>
                    <a:lnTo>
                      <a:pt x="390" y="270"/>
                    </a:lnTo>
                    <a:lnTo>
                      <a:pt x="388" y="268"/>
                    </a:lnTo>
                    <a:lnTo>
                      <a:pt x="387" y="264"/>
                    </a:lnTo>
                    <a:lnTo>
                      <a:pt x="388" y="262"/>
                    </a:lnTo>
                    <a:lnTo>
                      <a:pt x="386" y="261"/>
                    </a:lnTo>
                    <a:lnTo>
                      <a:pt x="386" y="259"/>
                    </a:lnTo>
                    <a:lnTo>
                      <a:pt x="385" y="258"/>
                    </a:lnTo>
                    <a:lnTo>
                      <a:pt x="384" y="256"/>
                    </a:lnTo>
                    <a:lnTo>
                      <a:pt x="384" y="254"/>
                    </a:lnTo>
                    <a:lnTo>
                      <a:pt x="389" y="251"/>
                    </a:lnTo>
                    <a:lnTo>
                      <a:pt x="391" y="249"/>
                    </a:lnTo>
                    <a:lnTo>
                      <a:pt x="390" y="248"/>
                    </a:lnTo>
                    <a:lnTo>
                      <a:pt x="389" y="246"/>
                    </a:lnTo>
                    <a:lnTo>
                      <a:pt x="391" y="246"/>
                    </a:lnTo>
                    <a:lnTo>
                      <a:pt x="391" y="244"/>
                    </a:lnTo>
                    <a:lnTo>
                      <a:pt x="395" y="244"/>
                    </a:lnTo>
                    <a:lnTo>
                      <a:pt x="396" y="242"/>
                    </a:lnTo>
                    <a:lnTo>
                      <a:pt x="394" y="240"/>
                    </a:lnTo>
                    <a:lnTo>
                      <a:pt x="391" y="239"/>
                    </a:lnTo>
                    <a:lnTo>
                      <a:pt x="388" y="239"/>
                    </a:lnTo>
                    <a:lnTo>
                      <a:pt x="388" y="238"/>
                    </a:lnTo>
                    <a:lnTo>
                      <a:pt x="386" y="236"/>
                    </a:lnTo>
                    <a:lnTo>
                      <a:pt x="386" y="234"/>
                    </a:lnTo>
                    <a:lnTo>
                      <a:pt x="385" y="232"/>
                    </a:lnTo>
                    <a:lnTo>
                      <a:pt x="385" y="231"/>
                    </a:lnTo>
                    <a:lnTo>
                      <a:pt x="387" y="230"/>
                    </a:lnTo>
                    <a:lnTo>
                      <a:pt x="388" y="228"/>
                    </a:lnTo>
                    <a:lnTo>
                      <a:pt x="387" y="226"/>
                    </a:lnTo>
                    <a:lnTo>
                      <a:pt x="388" y="225"/>
                    </a:lnTo>
                    <a:lnTo>
                      <a:pt x="390" y="221"/>
                    </a:lnTo>
                    <a:lnTo>
                      <a:pt x="388" y="219"/>
                    </a:lnTo>
                    <a:lnTo>
                      <a:pt x="389" y="218"/>
                    </a:lnTo>
                    <a:lnTo>
                      <a:pt x="388" y="217"/>
                    </a:lnTo>
                    <a:lnTo>
                      <a:pt x="389" y="217"/>
                    </a:lnTo>
                    <a:lnTo>
                      <a:pt x="388" y="213"/>
                    </a:lnTo>
                    <a:lnTo>
                      <a:pt x="384" y="214"/>
                    </a:lnTo>
                    <a:lnTo>
                      <a:pt x="381" y="210"/>
                    </a:lnTo>
                    <a:lnTo>
                      <a:pt x="379" y="210"/>
                    </a:lnTo>
                    <a:lnTo>
                      <a:pt x="380" y="212"/>
                    </a:lnTo>
                    <a:lnTo>
                      <a:pt x="379" y="217"/>
                    </a:lnTo>
                    <a:lnTo>
                      <a:pt x="381" y="218"/>
                    </a:lnTo>
                    <a:lnTo>
                      <a:pt x="378" y="221"/>
                    </a:lnTo>
                    <a:lnTo>
                      <a:pt x="376" y="222"/>
                    </a:lnTo>
                    <a:lnTo>
                      <a:pt x="375" y="222"/>
                    </a:lnTo>
                    <a:lnTo>
                      <a:pt x="374" y="222"/>
                    </a:lnTo>
                    <a:lnTo>
                      <a:pt x="373" y="221"/>
                    </a:lnTo>
                    <a:lnTo>
                      <a:pt x="371" y="222"/>
                    </a:lnTo>
                    <a:lnTo>
                      <a:pt x="372" y="221"/>
                    </a:lnTo>
                    <a:lnTo>
                      <a:pt x="371" y="220"/>
                    </a:lnTo>
                    <a:lnTo>
                      <a:pt x="369" y="221"/>
                    </a:lnTo>
                    <a:lnTo>
                      <a:pt x="366" y="218"/>
                    </a:lnTo>
                    <a:lnTo>
                      <a:pt x="365" y="220"/>
                    </a:lnTo>
                    <a:lnTo>
                      <a:pt x="364" y="218"/>
                    </a:lnTo>
                    <a:lnTo>
                      <a:pt x="363" y="216"/>
                    </a:lnTo>
                    <a:lnTo>
                      <a:pt x="362" y="215"/>
                    </a:lnTo>
                    <a:lnTo>
                      <a:pt x="359" y="213"/>
                    </a:lnTo>
                    <a:lnTo>
                      <a:pt x="359" y="209"/>
                    </a:lnTo>
                    <a:lnTo>
                      <a:pt x="354" y="209"/>
                    </a:lnTo>
                    <a:lnTo>
                      <a:pt x="352" y="207"/>
                    </a:lnTo>
                    <a:lnTo>
                      <a:pt x="351" y="206"/>
                    </a:lnTo>
                    <a:lnTo>
                      <a:pt x="351" y="202"/>
                    </a:lnTo>
                    <a:lnTo>
                      <a:pt x="343" y="202"/>
                    </a:lnTo>
                    <a:lnTo>
                      <a:pt x="342" y="202"/>
                    </a:lnTo>
                    <a:lnTo>
                      <a:pt x="338" y="202"/>
                    </a:lnTo>
                    <a:lnTo>
                      <a:pt x="334" y="201"/>
                    </a:lnTo>
                    <a:lnTo>
                      <a:pt x="332" y="199"/>
                    </a:lnTo>
                    <a:lnTo>
                      <a:pt x="325" y="195"/>
                    </a:lnTo>
                    <a:lnTo>
                      <a:pt x="324" y="198"/>
                    </a:lnTo>
                    <a:lnTo>
                      <a:pt x="325" y="199"/>
                    </a:lnTo>
                    <a:lnTo>
                      <a:pt x="328" y="200"/>
                    </a:lnTo>
                    <a:lnTo>
                      <a:pt x="329" y="201"/>
                    </a:lnTo>
                    <a:lnTo>
                      <a:pt x="325" y="202"/>
                    </a:lnTo>
                    <a:lnTo>
                      <a:pt x="326" y="203"/>
                    </a:lnTo>
                    <a:lnTo>
                      <a:pt x="327" y="204"/>
                    </a:lnTo>
                    <a:lnTo>
                      <a:pt x="325" y="205"/>
                    </a:lnTo>
                    <a:lnTo>
                      <a:pt x="323" y="204"/>
                    </a:lnTo>
                    <a:lnTo>
                      <a:pt x="323" y="202"/>
                    </a:lnTo>
                    <a:lnTo>
                      <a:pt x="322" y="202"/>
                    </a:lnTo>
                    <a:lnTo>
                      <a:pt x="322" y="205"/>
                    </a:lnTo>
                    <a:lnTo>
                      <a:pt x="320" y="209"/>
                    </a:lnTo>
                    <a:lnTo>
                      <a:pt x="318" y="209"/>
                    </a:lnTo>
                    <a:lnTo>
                      <a:pt x="318" y="208"/>
                    </a:lnTo>
                    <a:lnTo>
                      <a:pt x="315" y="205"/>
                    </a:lnTo>
                    <a:lnTo>
                      <a:pt x="314" y="202"/>
                    </a:lnTo>
                    <a:lnTo>
                      <a:pt x="312" y="202"/>
                    </a:lnTo>
                    <a:lnTo>
                      <a:pt x="309" y="196"/>
                    </a:lnTo>
                    <a:lnTo>
                      <a:pt x="311" y="191"/>
                    </a:lnTo>
                    <a:lnTo>
                      <a:pt x="310" y="187"/>
                    </a:lnTo>
                    <a:lnTo>
                      <a:pt x="309" y="185"/>
                    </a:lnTo>
                    <a:lnTo>
                      <a:pt x="299" y="181"/>
                    </a:lnTo>
                    <a:lnTo>
                      <a:pt x="296" y="182"/>
                    </a:lnTo>
                    <a:lnTo>
                      <a:pt x="295" y="182"/>
                    </a:lnTo>
                    <a:lnTo>
                      <a:pt x="293" y="180"/>
                    </a:lnTo>
                    <a:lnTo>
                      <a:pt x="294" y="178"/>
                    </a:lnTo>
                    <a:lnTo>
                      <a:pt x="293" y="174"/>
                    </a:lnTo>
                    <a:lnTo>
                      <a:pt x="292" y="168"/>
                    </a:lnTo>
                    <a:lnTo>
                      <a:pt x="288" y="169"/>
                    </a:lnTo>
                    <a:lnTo>
                      <a:pt x="287" y="167"/>
                    </a:lnTo>
                    <a:lnTo>
                      <a:pt x="286" y="167"/>
                    </a:lnTo>
                    <a:lnTo>
                      <a:pt x="285" y="166"/>
                    </a:lnTo>
                    <a:lnTo>
                      <a:pt x="283" y="166"/>
                    </a:lnTo>
                    <a:lnTo>
                      <a:pt x="283" y="167"/>
                    </a:lnTo>
                    <a:lnTo>
                      <a:pt x="282" y="167"/>
                    </a:lnTo>
                    <a:lnTo>
                      <a:pt x="282" y="168"/>
                    </a:lnTo>
                    <a:lnTo>
                      <a:pt x="282" y="170"/>
                    </a:lnTo>
                    <a:lnTo>
                      <a:pt x="281" y="172"/>
                    </a:lnTo>
                    <a:lnTo>
                      <a:pt x="277" y="174"/>
                    </a:lnTo>
                    <a:lnTo>
                      <a:pt x="275" y="170"/>
                    </a:lnTo>
                    <a:lnTo>
                      <a:pt x="273" y="168"/>
                    </a:lnTo>
                    <a:lnTo>
                      <a:pt x="272" y="166"/>
                    </a:lnTo>
                    <a:lnTo>
                      <a:pt x="267" y="167"/>
                    </a:lnTo>
                    <a:lnTo>
                      <a:pt x="265" y="164"/>
                    </a:lnTo>
                    <a:lnTo>
                      <a:pt x="263" y="161"/>
                    </a:lnTo>
                    <a:lnTo>
                      <a:pt x="262" y="157"/>
                    </a:lnTo>
                    <a:lnTo>
                      <a:pt x="263" y="157"/>
                    </a:lnTo>
                    <a:lnTo>
                      <a:pt x="265" y="154"/>
                    </a:lnTo>
                    <a:lnTo>
                      <a:pt x="262" y="151"/>
                    </a:lnTo>
                    <a:lnTo>
                      <a:pt x="262" y="149"/>
                    </a:lnTo>
                    <a:lnTo>
                      <a:pt x="260" y="149"/>
                    </a:lnTo>
                    <a:lnTo>
                      <a:pt x="262" y="144"/>
                    </a:lnTo>
                    <a:lnTo>
                      <a:pt x="261" y="143"/>
                    </a:lnTo>
                    <a:lnTo>
                      <a:pt x="259" y="143"/>
                    </a:lnTo>
                    <a:lnTo>
                      <a:pt x="256" y="141"/>
                    </a:lnTo>
                    <a:lnTo>
                      <a:pt x="256" y="139"/>
                    </a:lnTo>
                    <a:lnTo>
                      <a:pt x="255" y="138"/>
                    </a:lnTo>
                    <a:lnTo>
                      <a:pt x="255" y="135"/>
                    </a:lnTo>
                    <a:lnTo>
                      <a:pt x="252" y="135"/>
                    </a:lnTo>
                    <a:lnTo>
                      <a:pt x="251" y="134"/>
                    </a:lnTo>
                    <a:lnTo>
                      <a:pt x="249" y="133"/>
                    </a:lnTo>
                    <a:lnTo>
                      <a:pt x="249" y="132"/>
                    </a:lnTo>
                    <a:lnTo>
                      <a:pt x="247" y="132"/>
                    </a:lnTo>
                    <a:lnTo>
                      <a:pt x="241" y="136"/>
                    </a:lnTo>
                    <a:lnTo>
                      <a:pt x="239" y="137"/>
                    </a:lnTo>
                    <a:lnTo>
                      <a:pt x="239" y="140"/>
                    </a:lnTo>
                    <a:lnTo>
                      <a:pt x="239" y="144"/>
                    </a:lnTo>
                    <a:lnTo>
                      <a:pt x="240" y="148"/>
                    </a:lnTo>
                    <a:lnTo>
                      <a:pt x="242" y="148"/>
                    </a:lnTo>
                    <a:lnTo>
                      <a:pt x="244" y="144"/>
                    </a:lnTo>
                    <a:lnTo>
                      <a:pt x="246" y="145"/>
                    </a:lnTo>
                    <a:lnTo>
                      <a:pt x="247" y="146"/>
                    </a:lnTo>
                    <a:lnTo>
                      <a:pt x="249" y="146"/>
                    </a:lnTo>
                    <a:lnTo>
                      <a:pt x="250" y="150"/>
                    </a:lnTo>
                    <a:lnTo>
                      <a:pt x="250" y="151"/>
                    </a:lnTo>
                    <a:lnTo>
                      <a:pt x="248" y="152"/>
                    </a:lnTo>
                    <a:lnTo>
                      <a:pt x="249" y="154"/>
                    </a:lnTo>
                    <a:lnTo>
                      <a:pt x="249" y="156"/>
                    </a:lnTo>
                    <a:lnTo>
                      <a:pt x="248" y="156"/>
                    </a:lnTo>
                    <a:lnTo>
                      <a:pt x="247" y="157"/>
                    </a:lnTo>
                    <a:lnTo>
                      <a:pt x="249" y="158"/>
                    </a:lnTo>
                    <a:lnTo>
                      <a:pt x="248" y="161"/>
                    </a:lnTo>
                    <a:lnTo>
                      <a:pt x="247" y="159"/>
                    </a:lnTo>
                    <a:lnTo>
                      <a:pt x="247" y="158"/>
                    </a:lnTo>
                    <a:lnTo>
                      <a:pt x="246" y="157"/>
                    </a:lnTo>
                    <a:lnTo>
                      <a:pt x="238" y="157"/>
                    </a:lnTo>
                    <a:lnTo>
                      <a:pt x="238" y="153"/>
                    </a:lnTo>
                    <a:lnTo>
                      <a:pt x="234" y="155"/>
                    </a:lnTo>
                    <a:lnTo>
                      <a:pt x="231" y="158"/>
                    </a:lnTo>
                    <a:lnTo>
                      <a:pt x="228" y="157"/>
                    </a:lnTo>
                    <a:lnTo>
                      <a:pt x="225" y="158"/>
                    </a:lnTo>
                    <a:lnTo>
                      <a:pt x="224" y="158"/>
                    </a:lnTo>
                    <a:lnTo>
                      <a:pt x="215" y="168"/>
                    </a:lnTo>
                    <a:lnTo>
                      <a:pt x="214" y="170"/>
                    </a:lnTo>
                    <a:lnTo>
                      <a:pt x="211" y="170"/>
                    </a:lnTo>
                    <a:lnTo>
                      <a:pt x="206" y="168"/>
                    </a:lnTo>
                    <a:lnTo>
                      <a:pt x="203" y="168"/>
                    </a:lnTo>
                    <a:lnTo>
                      <a:pt x="200" y="170"/>
                    </a:lnTo>
                    <a:lnTo>
                      <a:pt x="198" y="167"/>
                    </a:lnTo>
                    <a:lnTo>
                      <a:pt x="197" y="167"/>
                    </a:lnTo>
                    <a:lnTo>
                      <a:pt x="197" y="165"/>
                    </a:lnTo>
                    <a:lnTo>
                      <a:pt x="195" y="165"/>
                    </a:lnTo>
                    <a:lnTo>
                      <a:pt x="195" y="164"/>
                    </a:lnTo>
                    <a:lnTo>
                      <a:pt x="193" y="163"/>
                    </a:lnTo>
                    <a:lnTo>
                      <a:pt x="192" y="161"/>
                    </a:lnTo>
                    <a:lnTo>
                      <a:pt x="191" y="161"/>
                    </a:lnTo>
                    <a:lnTo>
                      <a:pt x="190" y="159"/>
                    </a:lnTo>
                    <a:lnTo>
                      <a:pt x="192" y="156"/>
                    </a:lnTo>
                    <a:lnTo>
                      <a:pt x="190" y="152"/>
                    </a:lnTo>
                    <a:lnTo>
                      <a:pt x="189" y="151"/>
                    </a:lnTo>
                    <a:lnTo>
                      <a:pt x="183" y="151"/>
                    </a:lnTo>
                    <a:lnTo>
                      <a:pt x="183" y="149"/>
                    </a:lnTo>
                    <a:lnTo>
                      <a:pt x="181" y="149"/>
                    </a:lnTo>
                    <a:lnTo>
                      <a:pt x="181" y="148"/>
                    </a:lnTo>
                    <a:lnTo>
                      <a:pt x="180" y="146"/>
                    </a:lnTo>
                    <a:lnTo>
                      <a:pt x="179" y="147"/>
                    </a:lnTo>
                    <a:lnTo>
                      <a:pt x="179" y="146"/>
                    </a:lnTo>
                    <a:lnTo>
                      <a:pt x="177" y="145"/>
                    </a:lnTo>
                    <a:lnTo>
                      <a:pt x="175" y="143"/>
                    </a:lnTo>
                    <a:lnTo>
                      <a:pt x="177" y="142"/>
                    </a:lnTo>
                    <a:lnTo>
                      <a:pt x="177" y="140"/>
                    </a:lnTo>
                    <a:lnTo>
                      <a:pt x="177" y="138"/>
                    </a:lnTo>
                    <a:lnTo>
                      <a:pt x="175" y="138"/>
                    </a:lnTo>
                    <a:lnTo>
                      <a:pt x="177" y="135"/>
                    </a:lnTo>
                    <a:lnTo>
                      <a:pt x="175" y="134"/>
                    </a:lnTo>
                    <a:lnTo>
                      <a:pt x="176" y="134"/>
                    </a:lnTo>
                    <a:lnTo>
                      <a:pt x="176" y="131"/>
                    </a:lnTo>
                    <a:lnTo>
                      <a:pt x="173" y="130"/>
                    </a:lnTo>
                    <a:lnTo>
                      <a:pt x="174" y="128"/>
                    </a:lnTo>
                    <a:lnTo>
                      <a:pt x="173" y="126"/>
                    </a:lnTo>
                    <a:lnTo>
                      <a:pt x="172" y="126"/>
                    </a:lnTo>
                    <a:lnTo>
                      <a:pt x="173" y="125"/>
                    </a:lnTo>
                    <a:lnTo>
                      <a:pt x="173" y="124"/>
                    </a:lnTo>
                    <a:lnTo>
                      <a:pt x="173" y="123"/>
                    </a:lnTo>
                    <a:lnTo>
                      <a:pt x="172" y="122"/>
                    </a:lnTo>
                    <a:lnTo>
                      <a:pt x="172" y="120"/>
                    </a:lnTo>
                    <a:lnTo>
                      <a:pt x="172" y="118"/>
                    </a:lnTo>
                    <a:lnTo>
                      <a:pt x="170" y="116"/>
                    </a:lnTo>
                    <a:lnTo>
                      <a:pt x="168" y="116"/>
                    </a:lnTo>
                    <a:lnTo>
                      <a:pt x="168" y="115"/>
                    </a:lnTo>
                    <a:lnTo>
                      <a:pt x="166" y="113"/>
                    </a:lnTo>
                    <a:lnTo>
                      <a:pt x="167" y="109"/>
                    </a:lnTo>
                    <a:lnTo>
                      <a:pt x="160" y="100"/>
                    </a:lnTo>
                    <a:lnTo>
                      <a:pt x="159" y="98"/>
                    </a:lnTo>
                    <a:lnTo>
                      <a:pt x="155" y="98"/>
                    </a:lnTo>
                    <a:lnTo>
                      <a:pt x="152" y="104"/>
                    </a:lnTo>
                    <a:lnTo>
                      <a:pt x="149" y="101"/>
                    </a:lnTo>
                    <a:lnTo>
                      <a:pt x="146" y="100"/>
                    </a:lnTo>
                    <a:lnTo>
                      <a:pt x="144" y="91"/>
                    </a:lnTo>
                    <a:lnTo>
                      <a:pt x="141" y="88"/>
                    </a:lnTo>
                    <a:lnTo>
                      <a:pt x="138" y="86"/>
                    </a:lnTo>
                    <a:lnTo>
                      <a:pt x="138" y="85"/>
                    </a:lnTo>
                    <a:lnTo>
                      <a:pt x="136" y="85"/>
                    </a:lnTo>
                    <a:lnTo>
                      <a:pt x="135" y="80"/>
                    </a:lnTo>
                    <a:lnTo>
                      <a:pt x="133" y="75"/>
                    </a:lnTo>
                    <a:lnTo>
                      <a:pt x="135" y="71"/>
                    </a:lnTo>
                    <a:lnTo>
                      <a:pt x="136" y="70"/>
                    </a:lnTo>
                    <a:lnTo>
                      <a:pt x="140" y="71"/>
                    </a:lnTo>
                    <a:lnTo>
                      <a:pt x="141" y="72"/>
                    </a:lnTo>
                    <a:lnTo>
                      <a:pt x="143" y="70"/>
                    </a:lnTo>
                    <a:lnTo>
                      <a:pt x="145" y="70"/>
                    </a:lnTo>
                    <a:lnTo>
                      <a:pt x="148" y="69"/>
                    </a:lnTo>
                    <a:lnTo>
                      <a:pt x="152" y="69"/>
                    </a:lnTo>
                    <a:lnTo>
                      <a:pt x="156" y="67"/>
                    </a:lnTo>
                    <a:lnTo>
                      <a:pt x="157" y="68"/>
                    </a:lnTo>
                    <a:lnTo>
                      <a:pt x="159" y="67"/>
                    </a:lnTo>
                    <a:lnTo>
                      <a:pt x="160" y="68"/>
                    </a:lnTo>
                    <a:lnTo>
                      <a:pt x="164" y="67"/>
                    </a:lnTo>
                    <a:lnTo>
                      <a:pt x="164" y="64"/>
                    </a:lnTo>
                    <a:lnTo>
                      <a:pt x="165" y="64"/>
                    </a:lnTo>
                    <a:lnTo>
                      <a:pt x="165" y="60"/>
                    </a:lnTo>
                    <a:lnTo>
                      <a:pt x="167" y="59"/>
                    </a:lnTo>
                    <a:lnTo>
                      <a:pt x="168" y="58"/>
                    </a:lnTo>
                    <a:lnTo>
                      <a:pt x="169" y="57"/>
                    </a:lnTo>
                    <a:lnTo>
                      <a:pt x="170" y="58"/>
                    </a:lnTo>
                    <a:lnTo>
                      <a:pt x="173" y="60"/>
                    </a:lnTo>
                    <a:lnTo>
                      <a:pt x="176" y="58"/>
                    </a:lnTo>
                    <a:lnTo>
                      <a:pt x="179" y="58"/>
                    </a:lnTo>
                    <a:lnTo>
                      <a:pt x="179" y="56"/>
                    </a:lnTo>
                    <a:lnTo>
                      <a:pt x="179" y="53"/>
                    </a:lnTo>
                    <a:lnTo>
                      <a:pt x="179" y="51"/>
                    </a:lnTo>
                    <a:lnTo>
                      <a:pt x="181" y="45"/>
                    </a:lnTo>
                    <a:lnTo>
                      <a:pt x="176" y="38"/>
                    </a:lnTo>
                    <a:lnTo>
                      <a:pt x="172" y="34"/>
                    </a:lnTo>
                    <a:lnTo>
                      <a:pt x="172" y="31"/>
                    </a:lnTo>
                    <a:lnTo>
                      <a:pt x="173" y="26"/>
                    </a:lnTo>
                    <a:lnTo>
                      <a:pt x="175" y="24"/>
                    </a:lnTo>
                    <a:lnTo>
                      <a:pt x="178" y="18"/>
                    </a:lnTo>
                    <a:lnTo>
                      <a:pt x="180" y="17"/>
                    </a:lnTo>
                    <a:lnTo>
                      <a:pt x="180" y="15"/>
                    </a:lnTo>
                    <a:lnTo>
                      <a:pt x="181" y="15"/>
                    </a:lnTo>
                    <a:lnTo>
                      <a:pt x="180" y="13"/>
                    </a:lnTo>
                    <a:lnTo>
                      <a:pt x="177" y="13"/>
                    </a:lnTo>
                    <a:lnTo>
                      <a:pt x="176" y="12"/>
                    </a:lnTo>
                    <a:lnTo>
                      <a:pt x="174" y="11"/>
                    </a:lnTo>
                    <a:lnTo>
                      <a:pt x="173" y="4"/>
                    </a:lnTo>
                    <a:lnTo>
                      <a:pt x="167" y="0"/>
                    </a:lnTo>
                    <a:lnTo>
                      <a:pt x="164" y="0"/>
                    </a:lnTo>
                    <a:lnTo>
                      <a:pt x="164" y="6"/>
                    </a:lnTo>
                    <a:lnTo>
                      <a:pt x="163" y="10"/>
                    </a:lnTo>
                    <a:lnTo>
                      <a:pt x="164" y="11"/>
                    </a:lnTo>
                    <a:lnTo>
                      <a:pt x="164" y="12"/>
                    </a:lnTo>
                    <a:lnTo>
                      <a:pt x="163" y="13"/>
                    </a:lnTo>
                    <a:lnTo>
                      <a:pt x="155" y="19"/>
                    </a:lnTo>
                    <a:lnTo>
                      <a:pt x="152" y="22"/>
                    </a:lnTo>
                    <a:lnTo>
                      <a:pt x="148" y="24"/>
                    </a:lnTo>
                    <a:lnTo>
                      <a:pt x="143" y="25"/>
                    </a:lnTo>
                    <a:lnTo>
                      <a:pt x="142" y="26"/>
                    </a:lnTo>
                    <a:lnTo>
                      <a:pt x="140" y="25"/>
                    </a:lnTo>
                    <a:lnTo>
                      <a:pt x="140" y="24"/>
                    </a:lnTo>
                    <a:lnTo>
                      <a:pt x="138" y="23"/>
                    </a:lnTo>
                    <a:lnTo>
                      <a:pt x="138" y="20"/>
                    </a:lnTo>
                    <a:lnTo>
                      <a:pt x="137" y="19"/>
                    </a:lnTo>
                    <a:lnTo>
                      <a:pt x="134" y="19"/>
                    </a:lnTo>
                    <a:lnTo>
                      <a:pt x="133" y="20"/>
                    </a:lnTo>
                    <a:lnTo>
                      <a:pt x="131" y="20"/>
                    </a:lnTo>
                    <a:lnTo>
                      <a:pt x="129" y="23"/>
                    </a:lnTo>
                    <a:lnTo>
                      <a:pt x="128" y="22"/>
                    </a:lnTo>
                    <a:lnTo>
                      <a:pt x="125" y="23"/>
                    </a:lnTo>
                    <a:lnTo>
                      <a:pt x="123" y="22"/>
                    </a:lnTo>
                    <a:lnTo>
                      <a:pt x="121" y="20"/>
                    </a:lnTo>
                    <a:lnTo>
                      <a:pt x="120" y="20"/>
                    </a:lnTo>
                    <a:lnTo>
                      <a:pt x="119" y="19"/>
                    </a:lnTo>
                    <a:lnTo>
                      <a:pt x="117" y="19"/>
                    </a:lnTo>
                    <a:lnTo>
                      <a:pt x="111" y="18"/>
                    </a:lnTo>
                    <a:lnTo>
                      <a:pt x="105" y="20"/>
                    </a:lnTo>
                    <a:lnTo>
                      <a:pt x="104" y="20"/>
                    </a:lnTo>
                    <a:lnTo>
                      <a:pt x="102" y="21"/>
                    </a:lnTo>
                    <a:lnTo>
                      <a:pt x="100" y="20"/>
                    </a:lnTo>
                    <a:lnTo>
                      <a:pt x="100" y="24"/>
                    </a:lnTo>
                    <a:lnTo>
                      <a:pt x="99" y="26"/>
                    </a:lnTo>
                    <a:lnTo>
                      <a:pt x="97" y="26"/>
                    </a:lnTo>
                    <a:lnTo>
                      <a:pt x="95" y="28"/>
                    </a:lnTo>
                    <a:lnTo>
                      <a:pt x="92" y="26"/>
                    </a:lnTo>
                    <a:lnTo>
                      <a:pt x="91" y="31"/>
                    </a:lnTo>
                    <a:lnTo>
                      <a:pt x="90" y="34"/>
                    </a:lnTo>
                    <a:lnTo>
                      <a:pt x="91" y="37"/>
                    </a:lnTo>
                    <a:lnTo>
                      <a:pt x="90" y="40"/>
                    </a:lnTo>
                    <a:lnTo>
                      <a:pt x="90" y="43"/>
                    </a:lnTo>
                    <a:lnTo>
                      <a:pt x="88" y="44"/>
                    </a:lnTo>
                    <a:lnTo>
                      <a:pt x="88" y="46"/>
                    </a:lnTo>
                    <a:lnTo>
                      <a:pt x="86" y="47"/>
                    </a:lnTo>
                    <a:lnTo>
                      <a:pt x="83" y="46"/>
                    </a:lnTo>
                    <a:lnTo>
                      <a:pt x="82" y="47"/>
                    </a:lnTo>
                    <a:lnTo>
                      <a:pt x="80" y="45"/>
                    </a:lnTo>
                    <a:lnTo>
                      <a:pt x="77" y="40"/>
                    </a:lnTo>
                    <a:lnTo>
                      <a:pt x="75" y="44"/>
                    </a:lnTo>
                    <a:lnTo>
                      <a:pt x="71" y="47"/>
                    </a:lnTo>
                    <a:lnTo>
                      <a:pt x="67" y="54"/>
                    </a:lnTo>
                    <a:lnTo>
                      <a:pt x="64" y="57"/>
                    </a:lnTo>
                    <a:lnTo>
                      <a:pt x="59" y="53"/>
                    </a:lnTo>
                    <a:lnTo>
                      <a:pt x="57" y="54"/>
                    </a:lnTo>
                    <a:lnTo>
                      <a:pt x="55" y="57"/>
                    </a:lnTo>
                    <a:lnTo>
                      <a:pt x="55" y="60"/>
                    </a:lnTo>
                    <a:lnTo>
                      <a:pt x="53" y="61"/>
                    </a:lnTo>
                    <a:lnTo>
                      <a:pt x="52" y="62"/>
                    </a:lnTo>
                    <a:lnTo>
                      <a:pt x="50" y="60"/>
                    </a:lnTo>
                    <a:lnTo>
                      <a:pt x="48" y="64"/>
                    </a:lnTo>
                    <a:lnTo>
                      <a:pt x="46" y="66"/>
                    </a:lnTo>
                    <a:lnTo>
                      <a:pt x="42" y="70"/>
                    </a:lnTo>
                    <a:lnTo>
                      <a:pt x="41" y="70"/>
                    </a:lnTo>
                    <a:lnTo>
                      <a:pt x="37" y="73"/>
                    </a:lnTo>
                    <a:lnTo>
                      <a:pt x="37" y="76"/>
                    </a:lnTo>
                    <a:lnTo>
                      <a:pt x="37" y="81"/>
                    </a:lnTo>
                    <a:lnTo>
                      <a:pt x="39" y="83"/>
                    </a:lnTo>
                    <a:lnTo>
                      <a:pt x="37" y="86"/>
                    </a:lnTo>
                    <a:lnTo>
                      <a:pt x="30" y="91"/>
                    </a:lnTo>
                    <a:lnTo>
                      <a:pt x="31" y="100"/>
                    </a:lnTo>
                    <a:lnTo>
                      <a:pt x="31" y="104"/>
                    </a:lnTo>
                    <a:lnTo>
                      <a:pt x="31" y="107"/>
                    </a:lnTo>
                    <a:lnTo>
                      <a:pt x="31" y="110"/>
                    </a:lnTo>
                    <a:lnTo>
                      <a:pt x="28" y="117"/>
                    </a:lnTo>
                    <a:lnTo>
                      <a:pt x="25" y="118"/>
                    </a:lnTo>
                    <a:lnTo>
                      <a:pt x="23" y="120"/>
                    </a:lnTo>
                    <a:lnTo>
                      <a:pt x="21" y="122"/>
                    </a:lnTo>
                    <a:lnTo>
                      <a:pt x="18" y="123"/>
                    </a:lnTo>
                    <a:lnTo>
                      <a:pt x="15" y="129"/>
                    </a:lnTo>
                    <a:lnTo>
                      <a:pt x="12" y="132"/>
                    </a:lnTo>
                    <a:lnTo>
                      <a:pt x="12" y="138"/>
                    </a:lnTo>
                    <a:lnTo>
                      <a:pt x="12" y="140"/>
                    </a:lnTo>
                    <a:lnTo>
                      <a:pt x="12" y="143"/>
                    </a:lnTo>
                    <a:lnTo>
                      <a:pt x="8" y="145"/>
                    </a:lnTo>
                    <a:lnTo>
                      <a:pt x="7" y="145"/>
                    </a:lnTo>
                    <a:lnTo>
                      <a:pt x="8" y="147"/>
                    </a:lnTo>
                    <a:lnTo>
                      <a:pt x="11" y="149"/>
                    </a:lnTo>
                    <a:lnTo>
                      <a:pt x="16" y="156"/>
                    </a:lnTo>
                    <a:lnTo>
                      <a:pt x="17" y="159"/>
                    </a:lnTo>
                    <a:lnTo>
                      <a:pt x="17" y="160"/>
                    </a:lnTo>
                    <a:lnTo>
                      <a:pt x="18" y="162"/>
                    </a:lnTo>
                    <a:lnTo>
                      <a:pt x="17" y="164"/>
                    </a:lnTo>
                    <a:lnTo>
                      <a:pt x="17" y="165"/>
                    </a:lnTo>
                    <a:lnTo>
                      <a:pt x="16" y="167"/>
                    </a:lnTo>
                    <a:lnTo>
                      <a:pt x="15" y="166"/>
                    </a:lnTo>
                    <a:lnTo>
                      <a:pt x="14" y="170"/>
                    </a:lnTo>
                    <a:lnTo>
                      <a:pt x="12" y="170"/>
                    </a:lnTo>
                    <a:lnTo>
                      <a:pt x="11" y="172"/>
                    </a:lnTo>
                    <a:lnTo>
                      <a:pt x="9" y="172"/>
                    </a:lnTo>
                    <a:lnTo>
                      <a:pt x="9" y="174"/>
                    </a:lnTo>
                    <a:lnTo>
                      <a:pt x="6" y="174"/>
                    </a:lnTo>
                    <a:lnTo>
                      <a:pt x="7" y="177"/>
                    </a:lnTo>
                    <a:lnTo>
                      <a:pt x="6" y="178"/>
                    </a:lnTo>
                    <a:lnTo>
                      <a:pt x="9" y="179"/>
                    </a:lnTo>
                    <a:lnTo>
                      <a:pt x="8" y="182"/>
                    </a:lnTo>
                    <a:lnTo>
                      <a:pt x="8" y="183"/>
                    </a:lnTo>
                    <a:lnTo>
                      <a:pt x="7" y="184"/>
                    </a:lnTo>
                    <a:lnTo>
                      <a:pt x="7" y="183"/>
                    </a:lnTo>
                    <a:lnTo>
                      <a:pt x="6" y="185"/>
                    </a:lnTo>
                    <a:lnTo>
                      <a:pt x="6" y="186"/>
                    </a:lnTo>
                    <a:lnTo>
                      <a:pt x="4" y="188"/>
                    </a:lnTo>
                    <a:lnTo>
                      <a:pt x="3" y="189"/>
                    </a:lnTo>
                    <a:lnTo>
                      <a:pt x="1" y="189"/>
                    </a:lnTo>
                    <a:lnTo>
                      <a:pt x="2" y="192"/>
                    </a:lnTo>
                    <a:lnTo>
                      <a:pt x="1" y="192"/>
                    </a:lnTo>
                    <a:lnTo>
                      <a:pt x="0" y="194"/>
                    </a:lnTo>
                    <a:lnTo>
                      <a:pt x="3" y="196"/>
                    </a:lnTo>
                    <a:lnTo>
                      <a:pt x="4" y="198"/>
                    </a:lnTo>
                    <a:lnTo>
                      <a:pt x="3" y="202"/>
                    </a:lnTo>
                    <a:lnTo>
                      <a:pt x="4" y="200"/>
                    </a:lnTo>
                    <a:lnTo>
                      <a:pt x="6" y="200"/>
                    </a:lnTo>
                    <a:lnTo>
                      <a:pt x="6" y="202"/>
                    </a:lnTo>
                    <a:lnTo>
                      <a:pt x="6" y="204"/>
                    </a:lnTo>
                    <a:lnTo>
                      <a:pt x="7" y="209"/>
                    </a:lnTo>
                    <a:lnTo>
                      <a:pt x="9" y="209"/>
                    </a:lnTo>
                    <a:lnTo>
                      <a:pt x="9" y="212"/>
                    </a:lnTo>
                    <a:lnTo>
                      <a:pt x="12" y="209"/>
                    </a:lnTo>
                    <a:lnTo>
                      <a:pt x="14" y="209"/>
                    </a:lnTo>
                    <a:lnTo>
                      <a:pt x="15" y="209"/>
                    </a:lnTo>
                    <a:lnTo>
                      <a:pt x="15" y="208"/>
                    </a:lnTo>
                    <a:lnTo>
                      <a:pt x="16" y="207"/>
                    </a:lnTo>
                    <a:lnTo>
                      <a:pt x="18" y="208"/>
                    </a:lnTo>
                    <a:lnTo>
                      <a:pt x="20" y="205"/>
                    </a:lnTo>
                    <a:lnTo>
                      <a:pt x="21" y="205"/>
                    </a:lnTo>
                    <a:lnTo>
                      <a:pt x="19" y="212"/>
                    </a:lnTo>
                    <a:lnTo>
                      <a:pt x="16" y="218"/>
                    </a:lnTo>
                    <a:lnTo>
                      <a:pt x="15" y="221"/>
                    </a:lnTo>
                    <a:lnTo>
                      <a:pt x="16" y="221"/>
                    </a:lnTo>
                    <a:lnTo>
                      <a:pt x="16" y="222"/>
                    </a:lnTo>
                    <a:lnTo>
                      <a:pt x="17" y="222"/>
                    </a:lnTo>
                    <a:lnTo>
                      <a:pt x="17" y="224"/>
                    </a:lnTo>
                    <a:lnTo>
                      <a:pt x="17" y="223"/>
                    </a:lnTo>
                    <a:lnTo>
                      <a:pt x="18" y="222"/>
                    </a:lnTo>
                    <a:lnTo>
                      <a:pt x="19" y="223"/>
                    </a:lnTo>
                    <a:lnTo>
                      <a:pt x="20" y="223"/>
                    </a:lnTo>
                    <a:lnTo>
                      <a:pt x="20" y="222"/>
                    </a:lnTo>
                    <a:lnTo>
                      <a:pt x="21" y="222"/>
                    </a:lnTo>
                    <a:lnTo>
                      <a:pt x="22" y="221"/>
                    </a:lnTo>
                    <a:lnTo>
                      <a:pt x="22" y="222"/>
                    </a:lnTo>
                    <a:lnTo>
                      <a:pt x="24" y="221"/>
                    </a:lnTo>
                    <a:lnTo>
                      <a:pt x="25" y="222"/>
                    </a:lnTo>
                    <a:lnTo>
                      <a:pt x="26" y="222"/>
                    </a:lnTo>
                    <a:lnTo>
                      <a:pt x="27" y="225"/>
                    </a:lnTo>
                    <a:lnTo>
                      <a:pt x="30" y="225"/>
                    </a:lnTo>
                    <a:lnTo>
                      <a:pt x="31" y="226"/>
                    </a:lnTo>
                    <a:lnTo>
                      <a:pt x="33" y="226"/>
                    </a:lnTo>
                    <a:lnTo>
                      <a:pt x="33" y="227"/>
                    </a:lnTo>
                    <a:lnTo>
                      <a:pt x="33" y="229"/>
                    </a:lnTo>
                    <a:lnTo>
                      <a:pt x="34" y="228"/>
                    </a:lnTo>
                    <a:lnTo>
                      <a:pt x="37" y="230"/>
                    </a:lnTo>
                    <a:lnTo>
                      <a:pt x="37" y="231"/>
                    </a:lnTo>
                    <a:lnTo>
                      <a:pt x="39" y="232"/>
                    </a:lnTo>
                    <a:lnTo>
                      <a:pt x="41" y="231"/>
                    </a:lnTo>
                    <a:lnTo>
                      <a:pt x="45" y="233"/>
                    </a:lnTo>
                    <a:lnTo>
                      <a:pt x="45" y="235"/>
                    </a:lnTo>
                    <a:lnTo>
                      <a:pt x="45" y="236"/>
                    </a:lnTo>
                    <a:lnTo>
                      <a:pt x="47" y="234"/>
                    </a:lnTo>
                    <a:lnTo>
                      <a:pt x="48" y="233"/>
                    </a:lnTo>
                    <a:lnTo>
                      <a:pt x="51" y="233"/>
                    </a:lnTo>
                    <a:lnTo>
                      <a:pt x="55" y="231"/>
                    </a:lnTo>
                    <a:lnTo>
                      <a:pt x="57" y="235"/>
                    </a:lnTo>
                    <a:lnTo>
                      <a:pt x="58" y="234"/>
                    </a:lnTo>
                    <a:lnTo>
                      <a:pt x="58" y="236"/>
                    </a:lnTo>
                    <a:lnTo>
                      <a:pt x="62" y="242"/>
                    </a:lnTo>
                    <a:lnTo>
                      <a:pt x="63" y="243"/>
                    </a:lnTo>
                    <a:lnTo>
                      <a:pt x="64" y="243"/>
                    </a:lnTo>
                    <a:lnTo>
                      <a:pt x="64" y="246"/>
                    </a:lnTo>
                    <a:lnTo>
                      <a:pt x="67" y="247"/>
                    </a:lnTo>
                    <a:lnTo>
                      <a:pt x="67" y="250"/>
                    </a:lnTo>
                    <a:lnTo>
                      <a:pt x="66" y="251"/>
                    </a:lnTo>
                    <a:lnTo>
                      <a:pt x="66" y="252"/>
                    </a:lnTo>
                    <a:lnTo>
                      <a:pt x="69" y="255"/>
                    </a:lnTo>
                    <a:lnTo>
                      <a:pt x="69" y="256"/>
                    </a:lnTo>
                    <a:lnTo>
                      <a:pt x="67" y="256"/>
                    </a:lnTo>
                    <a:lnTo>
                      <a:pt x="69" y="259"/>
                    </a:lnTo>
                    <a:lnTo>
                      <a:pt x="70" y="261"/>
                    </a:lnTo>
                    <a:lnTo>
                      <a:pt x="70" y="260"/>
                    </a:lnTo>
                    <a:lnTo>
                      <a:pt x="72" y="260"/>
                    </a:lnTo>
                    <a:lnTo>
                      <a:pt x="74" y="259"/>
                    </a:lnTo>
                    <a:lnTo>
                      <a:pt x="77" y="257"/>
                    </a:lnTo>
                    <a:lnTo>
                      <a:pt x="82" y="260"/>
                    </a:lnTo>
                    <a:lnTo>
                      <a:pt x="84" y="261"/>
                    </a:lnTo>
                    <a:lnTo>
                      <a:pt x="86" y="260"/>
                    </a:lnTo>
                    <a:lnTo>
                      <a:pt x="87" y="260"/>
                    </a:lnTo>
                    <a:lnTo>
                      <a:pt x="89" y="267"/>
                    </a:lnTo>
                    <a:lnTo>
                      <a:pt x="91" y="268"/>
                    </a:lnTo>
                    <a:lnTo>
                      <a:pt x="96" y="270"/>
                    </a:lnTo>
                    <a:lnTo>
                      <a:pt x="99" y="264"/>
                    </a:lnTo>
                    <a:lnTo>
                      <a:pt x="99" y="262"/>
                    </a:lnTo>
                    <a:lnTo>
                      <a:pt x="100" y="260"/>
                    </a:lnTo>
                    <a:lnTo>
                      <a:pt x="102" y="261"/>
                    </a:lnTo>
                    <a:lnTo>
                      <a:pt x="102" y="262"/>
                    </a:lnTo>
                    <a:lnTo>
                      <a:pt x="105" y="264"/>
                    </a:lnTo>
                    <a:lnTo>
                      <a:pt x="108" y="266"/>
                    </a:lnTo>
                    <a:lnTo>
                      <a:pt x="112" y="273"/>
                    </a:lnTo>
                    <a:lnTo>
                      <a:pt x="115" y="275"/>
                    </a:lnTo>
                    <a:lnTo>
                      <a:pt x="120" y="275"/>
                    </a:lnTo>
                    <a:lnTo>
                      <a:pt x="120" y="272"/>
                    </a:lnTo>
                    <a:lnTo>
                      <a:pt x="123" y="272"/>
                    </a:lnTo>
                    <a:lnTo>
                      <a:pt x="124" y="270"/>
                    </a:lnTo>
                    <a:lnTo>
                      <a:pt x="126" y="270"/>
                    </a:lnTo>
                    <a:lnTo>
                      <a:pt x="127" y="268"/>
                    </a:lnTo>
                    <a:lnTo>
                      <a:pt x="130" y="270"/>
                    </a:lnTo>
                    <a:lnTo>
                      <a:pt x="132" y="270"/>
                    </a:lnTo>
                    <a:lnTo>
                      <a:pt x="134" y="274"/>
                    </a:lnTo>
                    <a:lnTo>
                      <a:pt x="136" y="273"/>
                    </a:lnTo>
                    <a:lnTo>
                      <a:pt x="137" y="274"/>
                    </a:lnTo>
                    <a:lnTo>
                      <a:pt x="139" y="276"/>
                    </a:lnTo>
                    <a:lnTo>
                      <a:pt x="137" y="277"/>
                    </a:lnTo>
                    <a:lnTo>
                      <a:pt x="139" y="278"/>
                    </a:lnTo>
                    <a:lnTo>
                      <a:pt x="140" y="279"/>
                    </a:lnTo>
                    <a:lnTo>
                      <a:pt x="141" y="280"/>
                    </a:lnTo>
                    <a:lnTo>
                      <a:pt x="142" y="280"/>
                    </a:lnTo>
                    <a:lnTo>
                      <a:pt x="143" y="277"/>
                    </a:lnTo>
                    <a:lnTo>
                      <a:pt x="144" y="277"/>
                    </a:lnTo>
                    <a:lnTo>
                      <a:pt x="143" y="281"/>
                    </a:lnTo>
                    <a:lnTo>
                      <a:pt x="144" y="282"/>
                    </a:lnTo>
                    <a:lnTo>
                      <a:pt x="143" y="282"/>
                    </a:lnTo>
                    <a:lnTo>
                      <a:pt x="143" y="284"/>
                    </a:lnTo>
                    <a:lnTo>
                      <a:pt x="142" y="284"/>
                    </a:lnTo>
                    <a:lnTo>
                      <a:pt x="139" y="289"/>
                    </a:lnTo>
                    <a:lnTo>
                      <a:pt x="138" y="291"/>
                    </a:lnTo>
                    <a:lnTo>
                      <a:pt x="139" y="296"/>
                    </a:lnTo>
                    <a:lnTo>
                      <a:pt x="139" y="302"/>
                    </a:lnTo>
                    <a:lnTo>
                      <a:pt x="140" y="304"/>
                    </a:lnTo>
                    <a:lnTo>
                      <a:pt x="147" y="310"/>
                    </a:lnTo>
                    <a:lnTo>
                      <a:pt x="147" y="311"/>
                    </a:lnTo>
                    <a:lnTo>
                      <a:pt x="148" y="312"/>
                    </a:lnTo>
                    <a:lnTo>
                      <a:pt x="149" y="310"/>
                    </a:lnTo>
                    <a:lnTo>
                      <a:pt x="149" y="311"/>
                    </a:lnTo>
                    <a:lnTo>
                      <a:pt x="150" y="310"/>
                    </a:lnTo>
                    <a:lnTo>
                      <a:pt x="151" y="310"/>
                    </a:lnTo>
                    <a:lnTo>
                      <a:pt x="151" y="306"/>
                    </a:lnTo>
                    <a:lnTo>
                      <a:pt x="152" y="304"/>
                    </a:lnTo>
                    <a:lnTo>
                      <a:pt x="155" y="307"/>
                    </a:lnTo>
                    <a:lnTo>
                      <a:pt x="157" y="314"/>
                    </a:lnTo>
                    <a:lnTo>
                      <a:pt x="161" y="318"/>
                    </a:lnTo>
                    <a:lnTo>
                      <a:pt x="159" y="321"/>
                    </a:lnTo>
                    <a:lnTo>
                      <a:pt x="161" y="323"/>
                    </a:lnTo>
                    <a:lnTo>
                      <a:pt x="161" y="327"/>
                    </a:lnTo>
                    <a:lnTo>
                      <a:pt x="162" y="328"/>
                    </a:lnTo>
                    <a:lnTo>
                      <a:pt x="163" y="326"/>
                    </a:lnTo>
                    <a:lnTo>
                      <a:pt x="164" y="326"/>
                    </a:lnTo>
                    <a:lnTo>
                      <a:pt x="166" y="330"/>
                    </a:lnTo>
                    <a:lnTo>
                      <a:pt x="169" y="332"/>
                    </a:lnTo>
                    <a:lnTo>
                      <a:pt x="172" y="333"/>
                    </a:lnTo>
                    <a:lnTo>
                      <a:pt x="173" y="337"/>
                    </a:lnTo>
                    <a:lnTo>
                      <a:pt x="175" y="340"/>
                    </a:lnTo>
                    <a:lnTo>
                      <a:pt x="176" y="341"/>
                    </a:lnTo>
                    <a:lnTo>
                      <a:pt x="177" y="343"/>
                    </a:lnTo>
                    <a:lnTo>
                      <a:pt x="177" y="346"/>
                    </a:lnTo>
                    <a:lnTo>
                      <a:pt x="179" y="346"/>
                    </a:lnTo>
                    <a:lnTo>
                      <a:pt x="179" y="347"/>
                    </a:lnTo>
                    <a:lnTo>
                      <a:pt x="179" y="348"/>
                    </a:lnTo>
                    <a:lnTo>
                      <a:pt x="179" y="350"/>
                    </a:lnTo>
                    <a:lnTo>
                      <a:pt x="180" y="349"/>
                    </a:lnTo>
                    <a:lnTo>
                      <a:pt x="181" y="350"/>
                    </a:lnTo>
                    <a:lnTo>
                      <a:pt x="180" y="353"/>
                    </a:lnTo>
                    <a:lnTo>
                      <a:pt x="182" y="354"/>
                    </a:lnTo>
                    <a:lnTo>
                      <a:pt x="183" y="354"/>
                    </a:lnTo>
                    <a:lnTo>
                      <a:pt x="182" y="354"/>
                    </a:lnTo>
                    <a:lnTo>
                      <a:pt x="183" y="354"/>
                    </a:lnTo>
                    <a:lnTo>
                      <a:pt x="182" y="356"/>
                    </a:lnTo>
                    <a:lnTo>
                      <a:pt x="183" y="357"/>
                    </a:lnTo>
                    <a:lnTo>
                      <a:pt x="181" y="359"/>
                    </a:lnTo>
                    <a:lnTo>
                      <a:pt x="180" y="358"/>
                    </a:lnTo>
                    <a:lnTo>
                      <a:pt x="177" y="361"/>
                    </a:lnTo>
                    <a:lnTo>
                      <a:pt x="177" y="363"/>
                    </a:lnTo>
                    <a:lnTo>
                      <a:pt x="178" y="363"/>
                    </a:lnTo>
                    <a:lnTo>
                      <a:pt x="179" y="365"/>
                    </a:lnTo>
                    <a:lnTo>
                      <a:pt x="179" y="368"/>
                    </a:lnTo>
                    <a:lnTo>
                      <a:pt x="181" y="370"/>
                    </a:lnTo>
                    <a:lnTo>
                      <a:pt x="184" y="365"/>
                    </a:lnTo>
                    <a:lnTo>
                      <a:pt x="185" y="364"/>
                    </a:lnTo>
                    <a:lnTo>
                      <a:pt x="187" y="364"/>
                    </a:lnTo>
                    <a:lnTo>
                      <a:pt x="187" y="363"/>
                    </a:lnTo>
                    <a:lnTo>
                      <a:pt x="188" y="361"/>
                    </a:lnTo>
                    <a:lnTo>
                      <a:pt x="192" y="364"/>
                    </a:lnTo>
                    <a:lnTo>
                      <a:pt x="192" y="362"/>
                    </a:lnTo>
                    <a:lnTo>
                      <a:pt x="193" y="362"/>
                    </a:lnTo>
                    <a:lnTo>
                      <a:pt x="193" y="363"/>
                    </a:lnTo>
                    <a:lnTo>
                      <a:pt x="192" y="364"/>
                    </a:lnTo>
                    <a:lnTo>
                      <a:pt x="195" y="367"/>
                    </a:lnTo>
                    <a:lnTo>
                      <a:pt x="193" y="370"/>
                    </a:lnTo>
                    <a:lnTo>
                      <a:pt x="194" y="370"/>
                    </a:lnTo>
                    <a:lnTo>
                      <a:pt x="194" y="371"/>
                    </a:lnTo>
                    <a:lnTo>
                      <a:pt x="195" y="371"/>
                    </a:lnTo>
                    <a:lnTo>
                      <a:pt x="194" y="374"/>
                    </a:lnTo>
                    <a:lnTo>
                      <a:pt x="196" y="374"/>
                    </a:lnTo>
                    <a:lnTo>
                      <a:pt x="196" y="376"/>
                    </a:lnTo>
                    <a:lnTo>
                      <a:pt x="205" y="376"/>
                    </a:lnTo>
                    <a:lnTo>
                      <a:pt x="207" y="376"/>
                    </a:lnTo>
                    <a:lnTo>
                      <a:pt x="209" y="379"/>
                    </a:lnTo>
                    <a:lnTo>
                      <a:pt x="210" y="377"/>
                    </a:lnTo>
                    <a:lnTo>
                      <a:pt x="211" y="377"/>
                    </a:lnTo>
                    <a:lnTo>
                      <a:pt x="213" y="381"/>
                    </a:lnTo>
                    <a:lnTo>
                      <a:pt x="216" y="384"/>
                    </a:lnTo>
                    <a:lnTo>
                      <a:pt x="216" y="389"/>
                    </a:lnTo>
                    <a:lnTo>
                      <a:pt x="215" y="393"/>
                    </a:lnTo>
                    <a:lnTo>
                      <a:pt x="217" y="394"/>
                    </a:lnTo>
                    <a:lnTo>
                      <a:pt x="218" y="394"/>
                    </a:lnTo>
                    <a:lnTo>
                      <a:pt x="221" y="394"/>
                    </a:lnTo>
                    <a:lnTo>
                      <a:pt x="227" y="391"/>
                    </a:lnTo>
                    <a:lnTo>
                      <a:pt x="233" y="391"/>
                    </a:lnTo>
                    <a:lnTo>
                      <a:pt x="236" y="390"/>
                    </a:lnTo>
                    <a:lnTo>
                      <a:pt x="239" y="391"/>
                    </a:lnTo>
                    <a:lnTo>
                      <a:pt x="241" y="389"/>
                    </a:lnTo>
                    <a:lnTo>
                      <a:pt x="244" y="391"/>
                    </a:lnTo>
                    <a:lnTo>
                      <a:pt x="246" y="390"/>
                    </a:lnTo>
                    <a:lnTo>
                      <a:pt x="248" y="391"/>
                    </a:lnTo>
                    <a:lnTo>
                      <a:pt x="252" y="389"/>
                    </a:lnTo>
                    <a:lnTo>
                      <a:pt x="255" y="394"/>
                    </a:lnTo>
                    <a:lnTo>
                      <a:pt x="261" y="394"/>
                    </a:lnTo>
                    <a:lnTo>
                      <a:pt x="263" y="393"/>
                    </a:lnTo>
                    <a:lnTo>
                      <a:pt x="264" y="394"/>
                    </a:lnTo>
                    <a:lnTo>
                      <a:pt x="265" y="398"/>
                    </a:lnTo>
                    <a:lnTo>
                      <a:pt x="269" y="404"/>
                    </a:lnTo>
                    <a:lnTo>
                      <a:pt x="272" y="406"/>
                    </a:lnTo>
                    <a:lnTo>
                      <a:pt x="276" y="405"/>
                    </a:lnTo>
                    <a:lnTo>
                      <a:pt x="277" y="405"/>
                    </a:lnTo>
                    <a:lnTo>
                      <a:pt x="278" y="407"/>
                    </a:lnTo>
                    <a:lnTo>
                      <a:pt x="286" y="411"/>
                    </a:lnTo>
                    <a:lnTo>
                      <a:pt x="288" y="410"/>
                    </a:lnTo>
                    <a:lnTo>
                      <a:pt x="290" y="406"/>
                    </a:lnTo>
                    <a:lnTo>
                      <a:pt x="292" y="406"/>
                    </a:lnTo>
                    <a:lnTo>
                      <a:pt x="296" y="407"/>
                    </a:lnTo>
                    <a:lnTo>
                      <a:pt x="299" y="409"/>
                    </a:lnTo>
                    <a:lnTo>
                      <a:pt x="300" y="411"/>
                    </a:lnTo>
                    <a:lnTo>
                      <a:pt x="300" y="420"/>
                    </a:lnTo>
                    <a:lnTo>
                      <a:pt x="302" y="423"/>
                    </a:lnTo>
                    <a:lnTo>
                      <a:pt x="304" y="427"/>
                    </a:lnTo>
                    <a:lnTo>
                      <a:pt x="306" y="428"/>
                    </a:lnTo>
                    <a:lnTo>
                      <a:pt x="309" y="430"/>
                    </a:lnTo>
                    <a:lnTo>
                      <a:pt x="311" y="430"/>
                    </a:lnTo>
                    <a:lnTo>
                      <a:pt x="312" y="434"/>
                    </a:lnTo>
                    <a:lnTo>
                      <a:pt x="313" y="435"/>
                    </a:lnTo>
                    <a:lnTo>
                      <a:pt x="312" y="435"/>
                    </a:lnTo>
                    <a:lnTo>
                      <a:pt x="313" y="437"/>
                    </a:lnTo>
                    <a:lnTo>
                      <a:pt x="315" y="437"/>
                    </a:lnTo>
                    <a:lnTo>
                      <a:pt x="316" y="442"/>
                    </a:lnTo>
                    <a:lnTo>
                      <a:pt x="313" y="451"/>
                    </a:lnTo>
                    <a:lnTo>
                      <a:pt x="316" y="451"/>
                    </a:lnTo>
                    <a:lnTo>
                      <a:pt x="318" y="451"/>
                    </a:lnTo>
                    <a:lnTo>
                      <a:pt x="320" y="454"/>
                    </a:lnTo>
                    <a:lnTo>
                      <a:pt x="322" y="454"/>
                    </a:lnTo>
                    <a:lnTo>
                      <a:pt x="324" y="455"/>
                    </a:lnTo>
                    <a:lnTo>
                      <a:pt x="326" y="454"/>
                    </a:lnTo>
                    <a:lnTo>
                      <a:pt x="332" y="457"/>
                    </a:lnTo>
                    <a:lnTo>
                      <a:pt x="336" y="457"/>
                    </a:lnTo>
                    <a:lnTo>
                      <a:pt x="337" y="455"/>
                    </a:lnTo>
                    <a:lnTo>
                      <a:pt x="338" y="454"/>
                    </a:lnTo>
                    <a:lnTo>
                      <a:pt x="344" y="451"/>
                    </a:lnTo>
                    <a:lnTo>
                      <a:pt x="345" y="449"/>
                    </a:lnTo>
                    <a:lnTo>
                      <a:pt x="345" y="447"/>
                    </a:lnTo>
                    <a:lnTo>
                      <a:pt x="346" y="445"/>
                    </a:lnTo>
                    <a:lnTo>
                      <a:pt x="347" y="444"/>
                    </a:lnTo>
                    <a:lnTo>
                      <a:pt x="350" y="442"/>
                    </a:lnTo>
                    <a:lnTo>
                      <a:pt x="348" y="440"/>
                    </a:lnTo>
                    <a:lnTo>
                      <a:pt x="350" y="439"/>
                    </a:lnTo>
                    <a:lnTo>
                      <a:pt x="352" y="439"/>
                    </a:lnTo>
                    <a:lnTo>
                      <a:pt x="353" y="436"/>
                    </a:lnTo>
                    <a:lnTo>
                      <a:pt x="358" y="434"/>
                    </a:lnTo>
                    <a:lnTo>
                      <a:pt x="359" y="430"/>
                    </a:lnTo>
                    <a:lnTo>
                      <a:pt x="361" y="429"/>
                    </a:lnTo>
                    <a:lnTo>
                      <a:pt x="362" y="427"/>
                    </a:lnTo>
                    <a:lnTo>
                      <a:pt x="364" y="427"/>
                    </a:lnTo>
                    <a:lnTo>
                      <a:pt x="365" y="426"/>
                    </a:lnTo>
                    <a:lnTo>
                      <a:pt x="366" y="425"/>
                    </a:lnTo>
                    <a:lnTo>
                      <a:pt x="364" y="423"/>
                    </a:lnTo>
                    <a:lnTo>
                      <a:pt x="364" y="420"/>
                    </a:lnTo>
                    <a:lnTo>
                      <a:pt x="363" y="418"/>
                    </a:lnTo>
                    <a:lnTo>
                      <a:pt x="363" y="416"/>
                    </a:lnTo>
                    <a:lnTo>
                      <a:pt x="363" y="414"/>
                    </a:lnTo>
                    <a:lnTo>
                      <a:pt x="365" y="414"/>
                    </a:lnTo>
                    <a:lnTo>
                      <a:pt x="365" y="413"/>
                    </a:lnTo>
                    <a:lnTo>
                      <a:pt x="366" y="410"/>
                    </a:lnTo>
                    <a:lnTo>
                      <a:pt x="368" y="410"/>
                    </a:lnTo>
                    <a:lnTo>
                      <a:pt x="368" y="409"/>
                    </a:lnTo>
                    <a:lnTo>
                      <a:pt x="373" y="407"/>
                    </a:lnTo>
                    <a:lnTo>
                      <a:pt x="376" y="408"/>
                    </a:lnTo>
                    <a:lnTo>
                      <a:pt x="380" y="407"/>
                    </a:lnTo>
                    <a:lnTo>
                      <a:pt x="381" y="406"/>
                    </a:lnTo>
                    <a:lnTo>
                      <a:pt x="381" y="407"/>
                    </a:lnTo>
                    <a:lnTo>
                      <a:pt x="382" y="409"/>
                    </a:lnTo>
                    <a:lnTo>
                      <a:pt x="382" y="413"/>
                    </a:lnTo>
                    <a:lnTo>
                      <a:pt x="386" y="414"/>
                    </a:lnTo>
                    <a:lnTo>
                      <a:pt x="389" y="413"/>
                    </a:lnTo>
                    <a:lnTo>
                      <a:pt x="392" y="414"/>
                    </a:lnTo>
                    <a:lnTo>
                      <a:pt x="392" y="412"/>
                    </a:lnTo>
                    <a:lnTo>
                      <a:pt x="396" y="412"/>
                    </a:lnTo>
                    <a:lnTo>
                      <a:pt x="397" y="411"/>
                    </a:lnTo>
                    <a:lnTo>
                      <a:pt x="399" y="411"/>
                    </a:lnTo>
                    <a:lnTo>
                      <a:pt x="400" y="410"/>
                    </a:lnTo>
                    <a:lnTo>
                      <a:pt x="401" y="410"/>
                    </a:lnTo>
                    <a:lnTo>
                      <a:pt x="404" y="411"/>
                    </a:lnTo>
                    <a:lnTo>
                      <a:pt x="404" y="413"/>
                    </a:lnTo>
                    <a:lnTo>
                      <a:pt x="405" y="414"/>
                    </a:lnTo>
                    <a:lnTo>
                      <a:pt x="407" y="414"/>
                    </a:lnTo>
                    <a:lnTo>
                      <a:pt x="411" y="413"/>
                    </a:lnTo>
                    <a:lnTo>
                      <a:pt x="413" y="415"/>
                    </a:lnTo>
                    <a:lnTo>
                      <a:pt x="417" y="419"/>
                    </a:lnTo>
                    <a:lnTo>
                      <a:pt x="420" y="421"/>
                    </a:lnTo>
                    <a:lnTo>
                      <a:pt x="422" y="419"/>
                    </a:lnTo>
                    <a:lnTo>
                      <a:pt x="423" y="420"/>
                    </a:lnTo>
                    <a:lnTo>
                      <a:pt x="430" y="414"/>
                    </a:lnTo>
                    <a:lnTo>
                      <a:pt x="433" y="412"/>
                    </a:lnTo>
                    <a:lnTo>
                      <a:pt x="433" y="413"/>
                    </a:lnTo>
                    <a:lnTo>
                      <a:pt x="436" y="412"/>
                    </a:lnTo>
                    <a:lnTo>
                      <a:pt x="438" y="409"/>
                    </a:lnTo>
                    <a:lnTo>
                      <a:pt x="441" y="410"/>
                    </a:lnTo>
                    <a:lnTo>
                      <a:pt x="446" y="410"/>
                    </a:lnTo>
                    <a:lnTo>
                      <a:pt x="450" y="410"/>
                    </a:lnTo>
                    <a:lnTo>
                      <a:pt x="450" y="409"/>
                    </a:lnTo>
                    <a:lnTo>
                      <a:pt x="448" y="409"/>
                    </a:lnTo>
                    <a:lnTo>
                      <a:pt x="446" y="406"/>
                    </a:lnTo>
                    <a:lnTo>
                      <a:pt x="448" y="404"/>
                    </a:lnTo>
                    <a:lnTo>
                      <a:pt x="448" y="402"/>
                    </a:lnTo>
                    <a:lnTo>
                      <a:pt x="448" y="401"/>
                    </a:lnTo>
                    <a:lnTo>
                      <a:pt x="449" y="401"/>
                    </a:lnTo>
                    <a:lnTo>
                      <a:pt x="450" y="401"/>
                    </a:lnTo>
                    <a:lnTo>
                      <a:pt x="453" y="400"/>
                    </a:lnTo>
                    <a:lnTo>
                      <a:pt x="454" y="394"/>
                    </a:lnTo>
                    <a:lnTo>
                      <a:pt x="451" y="39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5" name="Freeform 109">
                <a:extLst>
                  <a:ext uri="{FF2B5EF4-FFF2-40B4-BE49-F238E27FC236}">
                    <a16:creationId xmlns:a16="http://schemas.microsoft.com/office/drawing/2014/main" id="{AE925D3B-B0C2-C7BA-E51A-E352545030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2" y="3139"/>
                <a:ext cx="454" cy="457"/>
              </a:xfrm>
              <a:custGeom>
                <a:avLst/>
                <a:gdLst>
                  <a:gd name="T0" fmla="*/ 446 w 454"/>
                  <a:gd name="T1" fmla="*/ 367 h 457"/>
                  <a:gd name="T2" fmla="*/ 440 w 454"/>
                  <a:gd name="T3" fmla="*/ 332 h 457"/>
                  <a:gd name="T4" fmla="*/ 417 w 454"/>
                  <a:gd name="T5" fmla="*/ 323 h 457"/>
                  <a:gd name="T6" fmla="*/ 399 w 454"/>
                  <a:gd name="T7" fmla="*/ 311 h 457"/>
                  <a:gd name="T8" fmla="*/ 392 w 454"/>
                  <a:gd name="T9" fmla="*/ 283 h 457"/>
                  <a:gd name="T10" fmla="*/ 384 w 454"/>
                  <a:gd name="T11" fmla="*/ 256 h 457"/>
                  <a:gd name="T12" fmla="*/ 388 w 454"/>
                  <a:gd name="T13" fmla="*/ 238 h 457"/>
                  <a:gd name="T14" fmla="*/ 389 w 454"/>
                  <a:gd name="T15" fmla="*/ 217 h 457"/>
                  <a:gd name="T16" fmla="*/ 373 w 454"/>
                  <a:gd name="T17" fmla="*/ 221 h 457"/>
                  <a:gd name="T18" fmla="*/ 352 w 454"/>
                  <a:gd name="T19" fmla="*/ 207 h 457"/>
                  <a:gd name="T20" fmla="*/ 325 w 454"/>
                  <a:gd name="T21" fmla="*/ 202 h 457"/>
                  <a:gd name="T22" fmla="*/ 312 w 454"/>
                  <a:gd name="T23" fmla="*/ 202 h 457"/>
                  <a:gd name="T24" fmla="*/ 287 w 454"/>
                  <a:gd name="T25" fmla="*/ 167 h 457"/>
                  <a:gd name="T26" fmla="*/ 267 w 454"/>
                  <a:gd name="T27" fmla="*/ 167 h 457"/>
                  <a:gd name="T28" fmla="*/ 256 w 454"/>
                  <a:gd name="T29" fmla="*/ 139 h 457"/>
                  <a:gd name="T30" fmla="*/ 242 w 454"/>
                  <a:gd name="T31" fmla="*/ 148 h 457"/>
                  <a:gd name="T32" fmla="*/ 249 w 454"/>
                  <a:gd name="T33" fmla="*/ 158 h 457"/>
                  <a:gd name="T34" fmla="*/ 214 w 454"/>
                  <a:gd name="T35" fmla="*/ 170 h 457"/>
                  <a:gd name="T36" fmla="*/ 191 w 454"/>
                  <a:gd name="T37" fmla="*/ 161 h 457"/>
                  <a:gd name="T38" fmla="*/ 175 w 454"/>
                  <a:gd name="T39" fmla="*/ 143 h 457"/>
                  <a:gd name="T40" fmla="*/ 173 w 454"/>
                  <a:gd name="T41" fmla="*/ 125 h 457"/>
                  <a:gd name="T42" fmla="*/ 159 w 454"/>
                  <a:gd name="T43" fmla="*/ 98 h 457"/>
                  <a:gd name="T44" fmla="*/ 136 w 454"/>
                  <a:gd name="T45" fmla="*/ 70 h 457"/>
                  <a:gd name="T46" fmla="*/ 165 w 454"/>
                  <a:gd name="T47" fmla="*/ 64 h 457"/>
                  <a:gd name="T48" fmla="*/ 176 w 454"/>
                  <a:gd name="T49" fmla="*/ 38 h 457"/>
                  <a:gd name="T50" fmla="*/ 173 w 454"/>
                  <a:gd name="T51" fmla="*/ 4 h 457"/>
                  <a:gd name="T52" fmla="*/ 140 w 454"/>
                  <a:gd name="T53" fmla="*/ 25 h 457"/>
                  <a:gd name="T54" fmla="*/ 120 w 454"/>
                  <a:gd name="T55" fmla="*/ 20 h 457"/>
                  <a:gd name="T56" fmla="*/ 95 w 454"/>
                  <a:gd name="T57" fmla="*/ 28 h 457"/>
                  <a:gd name="T58" fmla="*/ 77 w 454"/>
                  <a:gd name="T59" fmla="*/ 40 h 457"/>
                  <a:gd name="T60" fmla="*/ 48 w 454"/>
                  <a:gd name="T61" fmla="*/ 64 h 457"/>
                  <a:gd name="T62" fmla="*/ 31 w 454"/>
                  <a:gd name="T63" fmla="*/ 110 h 457"/>
                  <a:gd name="T64" fmla="*/ 8 w 454"/>
                  <a:gd name="T65" fmla="*/ 147 h 457"/>
                  <a:gd name="T66" fmla="*/ 9 w 454"/>
                  <a:gd name="T67" fmla="*/ 172 h 457"/>
                  <a:gd name="T68" fmla="*/ 3 w 454"/>
                  <a:gd name="T69" fmla="*/ 189 h 457"/>
                  <a:gd name="T70" fmla="*/ 9 w 454"/>
                  <a:gd name="T71" fmla="*/ 209 h 457"/>
                  <a:gd name="T72" fmla="*/ 16 w 454"/>
                  <a:gd name="T73" fmla="*/ 221 h 457"/>
                  <a:gd name="T74" fmla="*/ 25 w 454"/>
                  <a:gd name="T75" fmla="*/ 222 h 457"/>
                  <a:gd name="T76" fmla="*/ 39 w 454"/>
                  <a:gd name="T77" fmla="*/ 232 h 457"/>
                  <a:gd name="T78" fmla="*/ 63 w 454"/>
                  <a:gd name="T79" fmla="*/ 243 h 457"/>
                  <a:gd name="T80" fmla="*/ 72 w 454"/>
                  <a:gd name="T81" fmla="*/ 260 h 457"/>
                  <a:gd name="T82" fmla="*/ 100 w 454"/>
                  <a:gd name="T83" fmla="*/ 260 h 457"/>
                  <a:gd name="T84" fmla="*/ 130 w 454"/>
                  <a:gd name="T85" fmla="*/ 270 h 457"/>
                  <a:gd name="T86" fmla="*/ 143 w 454"/>
                  <a:gd name="T87" fmla="*/ 281 h 457"/>
                  <a:gd name="T88" fmla="*/ 149 w 454"/>
                  <a:gd name="T89" fmla="*/ 310 h 457"/>
                  <a:gd name="T90" fmla="*/ 163 w 454"/>
                  <a:gd name="T91" fmla="*/ 326 h 457"/>
                  <a:gd name="T92" fmla="*/ 179 w 454"/>
                  <a:gd name="T93" fmla="*/ 348 h 457"/>
                  <a:gd name="T94" fmla="*/ 177 w 454"/>
                  <a:gd name="T95" fmla="*/ 361 h 457"/>
                  <a:gd name="T96" fmla="*/ 193 w 454"/>
                  <a:gd name="T97" fmla="*/ 362 h 457"/>
                  <a:gd name="T98" fmla="*/ 209 w 454"/>
                  <a:gd name="T99" fmla="*/ 379 h 457"/>
                  <a:gd name="T100" fmla="*/ 239 w 454"/>
                  <a:gd name="T101" fmla="*/ 391 h 457"/>
                  <a:gd name="T102" fmla="*/ 272 w 454"/>
                  <a:gd name="T103" fmla="*/ 406 h 457"/>
                  <a:gd name="T104" fmla="*/ 304 w 454"/>
                  <a:gd name="T105" fmla="*/ 427 h 457"/>
                  <a:gd name="T106" fmla="*/ 320 w 454"/>
                  <a:gd name="T107" fmla="*/ 454 h 457"/>
                  <a:gd name="T108" fmla="*/ 350 w 454"/>
                  <a:gd name="T109" fmla="*/ 442 h 457"/>
                  <a:gd name="T110" fmla="*/ 364 w 454"/>
                  <a:gd name="T111" fmla="*/ 420 h 457"/>
                  <a:gd name="T112" fmla="*/ 381 w 454"/>
                  <a:gd name="T113" fmla="*/ 407 h 457"/>
                  <a:gd name="T114" fmla="*/ 404 w 454"/>
                  <a:gd name="T115" fmla="*/ 413 h 457"/>
                  <a:gd name="T116" fmla="*/ 438 w 454"/>
                  <a:gd name="T117" fmla="*/ 409 h 457"/>
                  <a:gd name="T118" fmla="*/ 454 w 454"/>
                  <a:gd name="T119" fmla="*/ 394 h 45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454"/>
                  <a:gd name="T181" fmla="*/ 0 h 457"/>
                  <a:gd name="T182" fmla="*/ 454 w 454"/>
                  <a:gd name="T183" fmla="*/ 457 h 45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454" h="457">
                    <a:moveTo>
                      <a:pt x="451" y="392"/>
                    </a:moveTo>
                    <a:lnTo>
                      <a:pt x="450" y="388"/>
                    </a:lnTo>
                    <a:lnTo>
                      <a:pt x="448" y="388"/>
                    </a:lnTo>
                    <a:lnTo>
                      <a:pt x="448" y="384"/>
                    </a:lnTo>
                    <a:lnTo>
                      <a:pt x="447" y="383"/>
                    </a:lnTo>
                    <a:lnTo>
                      <a:pt x="448" y="381"/>
                    </a:lnTo>
                    <a:lnTo>
                      <a:pt x="447" y="377"/>
                    </a:lnTo>
                    <a:lnTo>
                      <a:pt x="448" y="377"/>
                    </a:lnTo>
                    <a:lnTo>
                      <a:pt x="449" y="372"/>
                    </a:lnTo>
                    <a:lnTo>
                      <a:pt x="447" y="372"/>
                    </a:lnTo>
                    <a:lnTo>
                      <a:pt x="446" y="371"/>
                    </a:lnTo>
                    <a:lnTo>
                      <a:pt x="446" y="367"/>
                    </a:lnTo>
                    <a:lnTo>
                      <a:pt x="446" y="364"/>
                    </a:lnTo>
                    <a:lnTo>
                      <a:pt x="445" y="361"/>
                    </a:lnTo>
                    <a:lnTo>
                      <a:pt x="446" y="359"/>
                    </a:lnTo>
                    <a:lnTo>
                      <a:pt x="445" y="354"/>
                    </a:lnTo>
                    <a:lnTo>
                      <a:pt x="444" y="354"/>
                    </a:lnTo>
                    <a:lnTo>
                      <a:pt x="444" y="351"/>
                    </a:lnTo>
                    <a:lnTo>
                      <a:pt x="443" y="346"/>
                    </a:lnTo>
                    <a:lnTo>
                      <a:pt x="443" y="343"/>
                    </a:lnTo>
                    <a:lnTo>
                      <a:pt x="443" y="339"/>
                    </a:lnTo>
                    <a:lnTo>
                      <a:pt x="444" y="336"/>
                    </a:lnTo>
                    <a:lnTo>
                      <a:pt x="443" y="333"/>
                    </a:lnTo>
                    <a:lnTo>
                      <a:pt x="443" y="332"/>
                    </a:lnTo>
                    <a:lnTo>
                      <a:pt x="440" y="332"/>
                    </a:lnTo>
                    <a:lnTo>
                      <a:pt x="437" y="329"/>
                    </a:lnTo>
                    <a:lnTo>
                      <a:pt x="433" y="330"/>
                    </a:lnTo>
                    <a:lnTo>
                      <a:pt x="432" y="329"/>
                    </a:lnTo>
                    <a:lnTo>
                      <a:pt x="428" y="332"/>
                    </a:lnTo>
                    <a:lnTo>
                      <a:pt x="425" y="332"/>
                    </a:lnTo>
                    <a:lnTo>
                      <a:pt x="425" y="329"/>
                    </a:lnTo>
                    <a:lnTo>
                      <a:pt x="423" y="328"/>
                    </a:lnTo>
                    <a:lnTo>
                      <a:pt x="421" y="328"/>
                    </a:lnTo>
                    <a:lnTo>
                      <a:pt x="419" y="328"/>
                    </a:lnTo>
                    <a:lnTo>
                      <a:pt x="420" y="326"/>
                    </a:lnTo>
                    <a:lnTo>
                      <a:pt x="418" y="324"/>
                    </a:lnTo>
                    <a:lnTo>
                      <a:pt x="419" y="323"/>
                    </a:lnTo>
                    <a:lnTo>
                      <a:pt x="417" y="323"/>
                    </a:lnTo>
                    <a:lnTo>
                      <a:pt x="418" y="321"/>
                    </a:lnTo>
                    <a:lnTo>
                      <a:pt x="418" y="318"/>
                    </a:lnTo>
                    <a:lnTo>
                      <a:pt x="413" y="317"/>
                    </a:lnTo>
                    <a:lnTo>
                      <a:pt x="410" y="317"/>
                    </a:lnTo>
                    <a:lnTo>
                      <a:pt x="408" y="317"/>
                    </a:lnTo>
                    <a:lnTo>
                      <a:pt x="407" y="318"/>
                    </a:lnTo>
                    <a:lnTo>
                      <a:pt x="407" y="315"/>
                    </a:lnTo>
                    <a:lnTo>
                      <a:pt x="405" y="314"/>
                    </a:lnTo>
                    <a:lnTo>
                      <a:pt x="404" y="314"/>
                    </a:lnTo>
                    <a:lnTo>
                      <a:pt x="403" y="315"/>
                    </a:lnTo>
                    <a:lnTo>
                      <a:pt x="403" y="313"/>
                    </a:lnTo>
                    <a:lnTo>
                      <a:pt x="400" y="313"/>
                    </a:lnTo>
                    <a:lnTo>
                      <a:pt x="399" y="311"/>
                    </a:lnTo>
                    <a:lnTo>
                      <a:pt x="399" y="310"/>
                    </a:lnTo>
                    <a:lnTo>
                      <a:pt x="398" y="309"/>
                    </a:lnTo>
                    <a:lnTo>
                      <a:pt x="397" y="307"/>
                    </a:lnTo>
                    <a:lnTo>
                      <a:pt x="396" y="307"/>
                    </a:lnTo>
                    <a:lnTo>
                      <a:pt x="397" y="306"/>
                    </a:lnTo>
                    <a:lnTo>
                      <a:pt x="396" y="304"/>
                    </a:lnTo>
                    <a:lnTo>
                      <a:pt x="398" y="296"/>
                    </a:lnTo>
                    <a:lnTo>
                      <a:pt x="397" y="294"/>
                    </a:lnTo>
                    <a:lnTo>
                      <a:pt x="395" y="294"/>
                    </a:lnTo>
                    <a:lnTo>
                      <a:pt x="394" y="293"/>
                    </a:lnTo>
                    <a:lnTo>
                      <a:pt x="394" y="290"/>
                    </a:lnTo>
                    <a:lnTo>
                      <a:pt x="394" y="285"/>
                    </a:lnTo>
                    <a:lnTo>
                      <a:pt x="392" y="283"/>
                    </a:lnTo>
                    <a:lnTo>
                      <a:pt x="392" y="280"/>
                    </a:lnTo>
                    <a:lnTo>
                      <a:pt x="391" y="278"/>
                    </a:lnTo>
                    <a:lnTo>
                      <a:pt x="391" y="276"/>
                    </a:lnTo>
                    <a:lnTo>
                      <a:pt x="391" y="273"/>
                    </a:lnTo>
                    <a:lnTo>
                      <a:pt x="390" y="272"/>
                    </a:lnTo>
                    <a:lnTo>
                      <a:pt x="390" y="270"/>
                    </a:lnTo>
                    <a:lnTo>
                      <a:pt x="388" y="268"/>
                    </a:lnTo>
                    <a:lnTo>
                      <a:pt x="387" y="264"/>
                    </a:lnTo>
                    <a:lnTo>
                      <a:pt x="388" y="262"/>
                    </a:lnTo>
                    <a:lnTo>
                      <a:pt x="386" y="261"/>
                    </a:lnTo>
                    <a:lnTo>
                      <a:pt x="386" y="259"/>
                    </a:lnTo>
                    <a:lnTo>
                      <a:pt x="385" y="258"/>
                    </a:lnTo>
                    <a:lnTo>
                      <a:pt x="384" y="256"/>
                    </a:lnTo>
                    <a:lnTo>
                      <a:pt x="384" y="254"/>
                    </a:lnTo>
                    <a:lnTo>
                      <a:pt x="389" y="251"/>
                    </a:lnTo>
                    <a:lnTo>
                      <a:pt x="391" y="249"/>
                    </a:lnTo>
                    <a:lnTo>
                      <a:pt x="390" y="248"/>
                    </a:lnTo>
                    <a:lnTo>
                      <a:pt x="389" y="246"/>
                    </a:lnTo>
                    <a:lnTo>
                      <a:pt x="391" y="246"/>
                    </a:lnTo>
                    <a:lnTo>
                      <a:pt x="391" y="244"/>
                    </a:lnTo>
                    <a:lnTo>
                      <a:pt x="395" y="244"/>
                    </a:lnTo>
                    <a:lnTo>
                      <a:pt x="396" y="242"/>
                    </a:lnTo>
                    <a:lnTo>
                      <a:pt x="394" y="240"/>
                    </a:lnTo>
                    <a:lnTo>
                      <a:pt x="391" y="239"/>
                    </a:lnTo>
                    <a:lnTo>
                      <a:pt x="388" y="239"/>
                    </a:lnTo>
                    <a:lnTo>
                      <a:pt x="388" y="238"/>
                    </a:lnTo>
                    <a:lnTo>
                      <a:pt x="386" y="236"/>
                    </a:lnTo>
                    <a:lnTo>
                      <a:pt x="386" y="234"/>
                    </a:lnTo>
                    <a:lnTo>
                      <a:pt x="385" y="232"/>
                    </a:lnTo>
                    <a:lnTo>
                      <a:pt x="385" y="231"/>
                    </a:lnTo>
                    <a:lnTo>
                      <a:pt x="387" y="230"/>
                    </a:lnTo>
                    <a:lnTo>
                      <a:pt x="388" y="228"/>
                    </a:lnTo>
                    <a:lnTo>
                      <a:pt x="387" y="226"/>
                    </a:lnTo>
                    <a:lnTo>
                      <a:pt x="388" y="225"/>
                    </a:lnTo>
                    <a:lnTo>
                      <a:pt x="390" y="221"/>
                    </a:lnTo>
                    <a:lnTo>
                      <a:pt x="388" y="219"/>
                    </a:lnTo>
                    <a:lnTo>
                      <a:pt x="389" y="218"/>
                    </a:lnTo>
                    <a:lnTo>
                      <a:pt x="388" y="217"/>
                    </a:lnTo>
                    <a:lnTo>
                      <a:pt x="389" y="217"/>
                    </a:lnTo>
                    <a:lnTo>
                      <a:pt x="388" y="213"/>
                    </a:lnTo>
                    <a:lnTo>
                      <a:pt x="384" y="214"/>
                    </a:lnTo>
                    <a:lnTo>
                      <a:pt x="381" y="210"/>
                    </a:lnTo>
                    <a:lnTo>
                      <a:pt x="379" y="210"/>
                    </a:lnTo>
                    <a:lnTo>
                      <a:pt x="380" y="212"/>
                    </a:lnTo>
                    <a:lnTo>
                      <a:pt x="379" y="217"/>
                    </a:lnTo>
                    <a:lnTo>
                      <a:pt x="381" y="218"/>
                    </a:lnTo>
                    <a:lnTo>
                      <a:pt x="378" y="221"/>
                    </a:lnTo>
                    <a:lnTo>
                      <a:pt x="376" y="222"/>
                    </a:lnTo>
                    <a:lnTo>
                      <a:pt x="375" y="222"/>
                    </a:lnTo>
                    <a:lnTo>
                      <a:pt x="374" y="222"/>
                    </a:lnTo>
                    <a:lnTo>
                      <a:pt x="373" y="221"/>
                    </a:lnTo>
                    <a:lnTo>
                      <a:pt x="371" y="222"/>
                    </a:lnTo>
                    <a:lnTo>
                      <a:pt x="372" y="221"/>
                    </a:lnTo>
                    <a:lnTo>
                      <a:pt x="371" y="220"/>
                    </a:lnTo>
                    <a:lnTo>
                      <a:pt x="369" y="221"/>
                    </a:lnTo>
                    <a:lnTo>
                      <a:pt x="366" y="218"/>
                    </a:lnTo>
                    <a:lnTo>
                      <a:pt x="365" y="220"/>
                    </a:lnTo>
                    <a:lnTo>
                      <a:pt x="364" y="218"/>
                    </a:lnTo>
                    <a:lnTo>
                      <a:pt x="363" y="216"/>
                    </a:lnTo>
                    <a:lnTo>
                      <a:pt x="362" y="215"/>
                    </a:lnTo>
                    <a:lnTo>
                      <a:pt x="359" y="213"/>
                    </a:lnTo>
                    <a:lnTo>
                      <a:pt x="359" y="209"/>
                    </a:lnTo>
                    <a:lnTo>
                      <a:pt x="354" y="209"/>
                    </a:lnTo>
                    <a:lnTo>
                      <a:pt x="352" y="207"/>
                    </a:lnTo>
                    <a:lnTo>
                      <a:pt x="351" y="206"/>
                    </a:lnTo>
                    <a:lnTo>
                      <a:pt x="351" y="202"/>
                    </a:lnTo>
                    <a:lnTo>
                      <a:pt x="343" y="202"/>
                    </a:lnTo>
                    <a:lnTo>
                      <a:pt x="342" y="202"/>
                    </a:lnTo>
                    <a:lnTo>
                      <a:pt x="338" y="202"/>
                    </a:lnTo>
                    <a:lnTo>
                      <a:pt x="334" y="201"/>
                    </a:lnTo>
                    <a:lnTo>
                      <a:pt x="332" y="199"/>
                    </a:lnTo>
                    <a:lnTo>
                      <a:pt x="325" y="195"/>
                    </a:lnTo>
                    <a:lnTo>
                      <a:pt x="324" y="198"/>
                    </a:lnTo>
                    <a:lnTo>
                      <a:pt x="325" y="199"/>
                    </a:lnTo>
                    <a:lnTo>
                      <a:pt x="328" y="200"/>
                    </a:lnTo>
                    <a:lnTo>
                      <a:pt x="329" y="201"/>
                    </a:lnTo>
                    <a:lnTo>
                      <a:pt x="325" y="202"/>
                    </a:lnTo>
                    <a:lnTo>
                      <a:pt x="326" y="203"/>
                    </a:lnTo>
                    <a:lnTo>
                      <a:pt x="327" y="204"/>
                    </a:lnTo>
                    <a:lnTo>
                      <a:pt x="325" y="205"/>
                    </a:lnTo>
                    <a:lnTo>
                      <a:pt x="323" y="204"/>
                    </a:lnTo>
                    <a:lnTo>
                      <a:pt x="323" y="202"/>
                    </a:lnTo>
                    <a:lnTo>
                      <a:pt x="322" y="202"/>
                    </a:lnTo>
                    <a:lnTo>
                      <a:pt x="322" y="205"/>
                    </a:lnTo>
                    <a:lnTo>
                      <a:pt x="320" y="209"/>
                    </a:lnTo>
                    <a:lnTo>
                      <a:pt x="318" y="209"/>
                    </a:lnTo>
                    <a:lnTo>
                      <a:pt x="318" y="208"/>
                    </a:lnTo>
                    <a:lnTo>
                      <a:pt x="315" y="205"/>
                    </a:lnTo>
                    <a:lnTo>
                      <a:pt x="314" y="202"/>
                    </a:lnTo>
                    <a:lnTo>
                      <a:pt x="312" y="202"/>
                    </a:lnTo>
                    <a:lnTo>
                      <a:pt x="309" y="196"/>
                    </a:lnTo>
                    <a:lnTo>
                      <a:pt x="311" y="191"/>
                    </a:lnTo>
                    <a:lnTo>
                      <a:pt x="310" y="187"/>
                    </a:lnTo>
                    <a:lnTo>
                      <a:pt x="309" y="185"/>
                    </a:lnTo>
                    <a:lnTo>
                      <a:pt x="299" y="181"/>
                    </a:lnTo>
                    <a:lnTo>
                      <a:pt x="296" y="182"/>
                    </a:lnTo>
                    <a:lnTo>
                      <a:pt x="295" y="182"/>
                    </a:lnTo>
                    <a:lnTo>
                      <a:pt x="293" y="180"/>
                    </a:lnTo>
                    <a:lnTo>
                      <a:pt x="294" y="178"/>
                    </a:lnTo>
                    <a:lnTo>
                      <a:pt x="293" y="174"/>
                    </a:lnTo>
                    <a:lnTo>
                      <a:pt x="292" y="168"/>
                    </a:lnTo>
                    <a:lnTo>
                      <a:pt x="288" y="169"/>
                    </a:lnTo>
                    <a:lnTo>
                      <a:pt x="287" y="167"/>
                    </a:lnTo>
                    <a:lnTo>
                      <a:pt x="286" y="167"/>
                    </a:lnTo>
                    <a:lnTo>
                      <a:pt x="285" y="166"/>
                    </a:lnTo>
                    <a:lnTo>
                      <a:pt x="283" y="166"/>
                    </a:lnTo>
                    <a:lnTo>
                      <a:pt x="283" y="167"/>
                    </a:lnTo>
                    <a:lnTo>
                      <a:pt x="282" y="167"/>
                    </a:lnTo>
                    <a:lnTo>
                      <a:pt x="282" y="168"/>
                    </a:lnTo>
                    <a:lnTo>
                      <a:pt x="282" y="170"/>
                    </a:lnTo>
                    <a:lnTo>
                      <a:pt x="281" y="172"/>
                    </a:lnTo>
                    <a:lnTo>
                      <a:pt x="277" y="174"/>
                    </a:lnTo>
                    <a:lnTo>
                      <a:pt x="275" y="170"/>
                    </a:lnTo>
                    <a:lnTo>
                      <a:pt x="273" y="168"/>
                    </a:lnTo>
                    <a:lnTo>
                      <a:pt x="272" y="166"/>
                    </a:lnTo>
                    <a:lnTo>
                      <a:pt x="267" y="167"/>
                    </a:lnTo>
                    <a:lnTo>
                      <a:pt x="265" y="164"/>
                    </a:lnTo>
                    <a:lnTo>
                      <a:pt x="263" y="161"/>
                    </a:lnTo>
                    <a:lnTo>
                      <a:pt x="262" y="157"/>
                    </a:lnTo>
                    <a:lnTo>
                      <a:pt x="263" y="157"/>
                    </a:lnTo>
                    <a:lnTo>
                      <a:pt x="265" y="154"/>
                    </a:lnTo>
                    <a:lnTo>
                      <a:pt x="262" y="151"/>
                    </a:lnTo>
                    <a:lnTo>
                      <a:pt x="262" y="149"/>
                    </a:lnTo>
                    <a:lnTo>
                      <a:pt x="260" y="149"/>
                    </a:lnTo>
                    <a:lnTo>
                      <a:pt x="262" y="144"/>
                    </a:lnTo>
                    <a:lnTo>
                      <a:pt x="261" y="143"/>
                    </a:lnTo>
                    <a:lnTo>
                      <a:pt x="259" y="143"/>
                    </a:lnTo>
                    <a:lnTo>
                      <a:pt x="256" y="141"/>
                    </a:lnTo>
                    <a:lnTo>
                      <a:pt x="256" y="139"/>
                    </a:lnTo>
                    <a:lnTo>
                      <a:pt x="255" y="138"/>
                    </a:lnTo>
                    <a:lnTo>
                      <a:pt x="255" y="135"/>
                    </a:lnTo>
                    <a:lnTo>
                      <a:pt x="252" y="135"/>
                    </a:lnTo>
                    <a:lnTo>
                      <a:pt x="251" y="134"/>
                    </a:lnTo>
                    <a:lnTo>
                      <a:pt x="249" y="133"/>
                    </a:lnTo>
                    <a:lnTo>
                      <a:pt x="249" y="132"/>
                    </a:lnTo>
                    <a:lnTo>
                      <a:pt x="247" y="132"/>
                    </a:lnTo>
                    <a:lnTo>
                      <a:pt x="241" y="136"/>
                    </a:lnTo>
                    <a:lnTo>
                      <a:pt x="239" y="137"/>
                    </a:lnTo>
                    <a:lnTo>
                      <a:pt x="239" y="140"/>
                    </a:lnTo>
                    <a:lnTo>
                      <a:pt x="239" y="144"/>
                    </a:lnTo>
                    <a:lnTo>
                      <a:pt x="240" y="148"/>
                    </a:lnTo>
                    <a:lnTo>
                      <a:pt x="242" y="148"/>
                    </a:lnTo>
                    <a:lnTo>
                      <a:pt x="244" y="144"/>
                    </a:lnTo>
                    <a:lnTo>
                      <a:pt x="246" y="145"/>
                    </a:lnTo>
                    <a:lnTo>
                      <a:pt x="247" y="146"/>
                    </a:lnTo>
                    <a:lnTo>
                      <a:pt x="249" y="146"/>
                    </a:lnTo>
                    <a:lnTo>
                      <a:pt x="250" y="150"/>
                    </a:lnTo>
                    <a:lnTo>
                      <a:pt x="250" y="151"/>
                    </a:lnTo>
                    <a:lnTo>
                      <a:pt x="248" y="152"/>
                    </a:lnTo>
                    <a:lnTo>
                      <a:pt x="249" y="154"/>
                    </a:lnTo>
                    <a:lnTo>
                      <a:pt x="249" y="156"/>
                    </a:lnTo>
                    <a:lnTo>
                      <a:pt x="248" y="156"/>
                    </a:lnTo>
                    <a:lnTo>
                      <a:pt x="247" y="157"/>
                    </a:lnTo>
                    <a:lnTo>
                      <a:pt x="249" y="158"/>
                    </a:lnTo>
                    <a:lnTo>
                      <a:pt x="248" y="161"/>
                    </a:lnTo>
                    <a:lnTo>
                      <a:pt x="247" y="159"/>
                    </a:lnTo>
                    <a:lnTo>
                      <a:pt x="247" y="158"/>
                    </a:lnTo>
                    <a:lnTo>
                      <a:pt x="246" y="157"/>
                    </a:lnTo>
                    <a:lnTo>
                      <a:pt x="238" y="157"/>
                    </a:lnTo>
                    <a:lnTo>
                      <a:pt x="238" y="153"/>
                    </a:lnTo>
                    <a:lnTo>
                      <a:pt x="234" y="155"/>
                    </a:lnTo>
                    <a:lnTo>
                      <a:pt x="231" y="158"/>
                    </a:lnTo>
                    <a:lnTo>
                      <a:pt x="228" y="157"/>
                    </a:lnTo>
                    <a:lnTo>
                      <a:pt x="225" y="158"/>
                    </a:lnTo>
                    <a:lnTo>
                      <a:pt x="224" y="158"/>
                    </a:lnTo>
                    <a:lnTo>
                      <a:pt x="215" y="168"/>
                    </a:lnTo>
                    <a:lnTo>
                      <a:pt x="214" y="170"/>
                    </a:lnTo>
                    <a:lnTo>
                      <a:pt x="211" y="170"/>
                    </a:lnTo>
                    <a:lnTo>
                      <a:pt x="206" y="168"/>
                    </a:lnTo>
                    <a:lnTo>
                      <a:pt x="203" y="168"/>
                    </a:lnTo>
                    <a:lnTo>
                      <a:pt x="200" y="170"/>
                    </a:lnTo>
                    <a:lnTo>
                      <a:pt x="198" y="167"/>
                    </a:lnTo>
                    <a:lnTo>
                      <a:pt x="197" y="167"/>
                    </a:lnTo>
                    <a:lnTo>
                      <a:pt x="197" y="165"/>
                    </a:lnTo>
                    <a:lnTo>
                      <a:pt x="195" y="165"/>
                    </a:lnTo>
                    <a:lnTo>
                      <a:pt x="195" y="164"/>
                    </a:lnTo>
                    <a:lnTo>
                      <a:pt x="193" y="163"/>
                    </a:lnTo>
                    <a:lnTo>
                      <a:pt x="192" y="161"/>
                    </a:lnTo>
                    <a:lnTo>
                      <a:pt x="191" y="161"/>
                    </a:lnTo>
                    <a:lnTo>
                      <a:pt x="190" y="159"/>
                    </a:lnTo>
                    <a:lnTo>
                      <a:pt x="192" y="156"/>
                    </a:lnTo>
                    <a:lnTo>
                      <a:pt x="190" y="152"/>
                    </a:lnTo>
                    <a:lnTo>
                      <a:pt x="189" y="151"/>
                    </a:lnTo>
                    <a:lnTo>
                      <a:pt x="183" y="151"/>
                    </a:lnTo>
                    <a:lnTo>
                      <a:pt x="183" y="149"/>
                    </a:lnTo>
                    <a:lnTo>
                      <a:pt x="181" y="149"/>
                    </a:lnTo>
                    <a:lnTo>
                      <a:pt x="181" y="148"/>
                    </a:lnTo>
                    <a:lnTo>
                      <a:pt x="180" y="146"/>
                    </a:lnTo>
                    <a:lnTo>
                      <a:pt x="179" y="147"/>
                    </a:lnTo>
                    <a:lnTo>
                      <a:pt x="179" y="146"/>
                    </a:lnTo>
                    <a:lnTo>
                      <a:pt x="177" y="145"/>
                    </a:lnTo>
                    <a:lnTo>
                      <a:pt x="175" y="143"/>
                    </a:lnTo>
                    <a:lnTo>
                      <a:pt x="177" y="142"/>
                    </a:lnTo>
                    <a:lnTo>
                      <a:pt x="177" y="140"/>
                    </a:lnTo>
                    <a:lnTo>
                      <a:pt x="177" y="138"/>
                    </a:lnTo>
                    <a:lnTo>
                      <a:pt x="175" y="138"/>
                    </a:lnTo>
                    <a:lnTo>
                      <a:pt x="177" y="135"/>
                    </a:lnTo>
                    <a:lnTo>
                      <a:pt x="175" y="134"/>
                    </a:lnTo>
                    <a:lnTo>
                      <a:pt x="176" y="134"/>
                    </a:lnTo>
                    <a:lnTo>
                      <a:pt x="176" y="131"/>
                    </a:lnTo>
                    <a:lnTo>
                      <a:pt x="173" y="130"/>
                    </a:lnTo>
                    <a:lnTo>
                      <a:pt x="174" y="128"/>
                    </a:lnTo>
                    <a:lnTo>
                      <a:pt x="173" y="126"/>
                    </a:lnTo>
                    <a:lnTo>
                      <a:pt x="172" y="126"/>
                    </a:lnTo>
                    <a:lnTo>
                      <a:pt x="173" y="125"/>
                    </a:lnTo>
                    <a:lnTo>
                      <a:pt x="173" y="124"/>
                    </a:lnTo>
                    <a:lnTo>
                      <a:pt x="173" y="123"/>
                    </a:lnTo>
                    <a:lnTo>
                      <a:pt x="172" y="122"/>
                    </a:lnTo>
                    <a:lnTo>
                      <a:pt x="172" y="120"/>
                    </a:lnTo>
                    <a:lnTo>
                      <a:pt x="172" y="118"/>
                    </a:lnTo>
                    <a:lnTo>
                      <a:pt x="170" y="116"/>
                    </a:lnTo>
                    <a:lnTo>
                      <a:pt x="168" y="116"/>
                    </a:lnTo>
                    <a:lnTo>
                      <a:pt x="168" y="115"/>
                    </a:lnTo>
                    <a:lnTo>
                      <a:pt x="166" y="113"/>
                    </a:lnTo>
                    <a:lnTo>
                      <a:pt x="167" y="109"/>
                    </a:lnTo>
                    <a:lnTo>
                      <a:pt x="160" y="100"/>
                    </a:lnTo>
                    <a:lnTo>
                      <a:pt x="159" y="98"/>
                    </a:lnTo>
                    <a:lnTo>
                      <a:pt x="155" y="98"/>
                    </a:lnTo>
                    <a:lnTo>
                      <a:pt x="152" y="104"/>
                    </a:lnTo>
                    <a:lnTo>
                      <a:pt x="149" y="101"/>
                    </a:lnTo>
                    <a:lnTo>
                      <a:pt x="146" y="100"/>
                    </a:lnTo>
                    <a:lnTo>
                      <a:pt x="144" y="91"/>
                    </a:lnTo>
                    <a:lnTo>
                      <a:pt x="141" y="88"/>
                    </a:lnTo>
                    <a:lnTo>
                      <a:pt x="138" y="86"/>
                    </a:lnTo>
                    <a:lnTo>
                      <a:pt x="138" y="85"/>
                    </a:lnTo>
                    <a:lnTo>
                      <a:pt x="136" y="85"/>
                    </a:lnTo>
                    <a:lnTo>
                      <a:pt x="135" y="80"/>
                    </a:lnTo>
                    <a:lnTo>
                      <a:pt x="133" y="75"/>
                    </a:lnTo>
                    <a:lnTo>
                      <a:pt x="135" y="71"/>
                    </a:lnTo>
                    <a:lnTo>
                      <a:pt x="136" y="70"/>
                    </a:lnTo>
                    <a:lnTo>
                      <a:pt x="140" y="71"/>
                    </a:lnTo>
                    <a:lnTo>
                      <a:pt x="141" y="72"/>
                    </a:lnTo>
                    <a:lnTo>
                      <a:pt x="143" y="70"/>
                    </a:lnTo>
                    <a:lnTo>
                      <a:pt x="145" y="70"/>
                    </a:lnTo>
                    <a:lnTo>
                      <a:pt x="148" y="69"/>
                    </a:lnTo>
                    <a:lnTo>
                      <a:pt x="152" y="69"/>
                    </a:lnTo>
                    <a:lnTo>
                      <a:pt x="156" y="67"/>
                    </a:lnTo>
                    <a:lnTo>
                      <a:pt x="157" y="68"/>
                    </a:lnTo>
                    <a:lnTo>
                      <a:pt x="159" y="67"/>
                    </a:lnTo>
                    <a:lnTo>
                      <a:pt x="160" y="68"/>
                    </a:lnTo>
                    <a:lnTo>
                      <a:pt x="164" y="67"/>
                    </a:lnTo>
                    <a:lnTo>
                      <a:pt x="164" y="64"/>
                    </a:lnTo>
                    <a:lnTo>
                      <a:pt x="165" y="64"/>
                    </a:lnTo>
                    <a:lnTo>
                      <a:pt x="165" y="60"/>
                    </a:lnTo>
                    <a:lnTo>
                      <a:pt x="167" y="59"/>
                    </a:lnTo>
                    <a:lnTo>
                      <a:pt x="168" y="58"/>
                    </a:lnTo>
                    <a:lnTo>
                      <a:pt x="169" y="57"/>
                    </a:lnTo>
                    <a:lnTo>
                      <a:pt x="170" y="58"/>
                    </a:lnTo>
                    <a:lnTo>
                      <a:pt x="173" y="60"/>
                    </a:lnTo>
                    <a:lnTo>
                      <a:pt x="176" y="58"/>
                    </a:lnTo>
                    <a:lnTo>
                      <a:pt x="179" y="58"/>
                    </a:lnTo>
                    <a:lnTo>
                      <a:pt x="179" y="56"/>
                    </a:lnTo>
                    <a:lnTo>
                      <a:pt x="179" y="53"/>
                    </a:lnTo>
                    <a:lnTo>
                      <a:pt x="179" y="51"/>
                    </a:lnTo>
                    <a:lnTo>
                      <a:pt x="181" y="45"/>
                    </a:lnTo>
                    <a:lnTo>
                      <a:pt x="176" y="38"/>
                    </a:lnTo>
                    <a:lnTo>
                      <a:pt x="172" y="34"/>
                    </a:lnTo>
                    <a:lnTo>
                      <a:pt x="172" y="31"/>
                    </a:lnTo>
                    <a:lnTo>
                      <a:pt x="173" y="26"/>
                    </a:lnTo>
                    <a:lnTo>
                      <a:pt x="175" y="24"/>
                    </a:lnTo>
                    <a:lnTo>
                      <a:pt x="178" y="18"/>
                    </a:lnTo>
                    <a:lnTo>
                      <a:pt x="180" y="17"/>
                    </a:lnTo>
                    <a:lnTo>
                      <a:pt x="180" y="15"/>
                    </a:lnTo>
                    <a:lnTo>
                      <a:pt x="181" y="15"/>
                    </a:lnTo>
                    <a:lnTo>
                      <a:pt x="180" y="13"/>
                    </a:lnTo>
                    <a:lnTo>
                      <a:pt x="177" y="13"/>
                    </a:lnTo>
                    <a:lnTo>
                      <a:pt x="176" y="12"/>
                    </a:lnTo>
                    <a:lnTo>
                      <a:pt x="174" y="11"/>
                    </a:lnTo>
                    <a:lnTo>
                      <a:pt x="173" y="4"/>
                    </a:lnTo>
                    <a:lnTo>
                      <a:pt x="167" y="0"/>
                    </a:lnTo>
                    <a:lnTo>
                      <a:pt x="164" y="0"/>
                    </a:lnTo>
                    <a:lnTo>
                      <a:pt x="164" y="6"/>
                    </a:lnTo>
                    <a:lnTo>
                      <a:pt x="163" y="10"/>
                    </a:lnTo>
                    <a:lnTo>
                      <a:pt x="164" y="11"/>
                    </a:lnTo>
                    <a:lnTo>
                      <a:pt x="164" y="12"/>
                    </a:lnTo>
                    <a:lnTo>
                      <a:pt x="163" y="13"/>
                    </a:lnTo>
                    <a:lnTo>
                      <a:pt x="155" y="19"/>
                    </a:lnTo>
                    <a:lnTo>
                      <a:pt x="152" y="22"/>
                    </a:lnTo>
                    <a:lnTo>
                      <a:pt x="148" y="24"/>
                    </a:lnTo>
                    <a:lnTo>
                      <a:pt x="143" y="25"/>
                    </a:lnTo>
                    <a:lnTo>
                      <a:pt x="142" y="26"/>
                    </a:lnTo>
                    <a:lnTo>
                      <a:pt x="140" y="25"/>
                    </a:lnTo>
                    <a:lnTo>
                      <a:pt x="140" y="24"/>
                    </a:lnTo>
                    <a:lnTo>
                      <a:pt x="138" y="23"/>
                    </a:lnTo>
                    <a:lnTo>
                      <a:pt x="138" y="20"/>
                    </a:lnTo>
                    <a:lnTo>
                      <a:pt x="137" y="19"/>
                    </a:lnTo>
                    <a:lnTo>
                      <a:pt x="134" y="19"/>
                    </a:lnTo>
                    <a:lnTo>
                      <a:pt x="133" y="20"/>
                    </a:lnTo>
                    <a:lnTo>
                      <a:pt x="131" y="20"/>
                    </a:lnTo>
                    <a:lnTo>
                      <a:pt x="129" y="23"/>
                    </a:lnTo>
                    <a:lnTo>
                      <a:pt x="128" y="22"/>
                    </a:lnTo>
                    <a:lnTo>
                      <a:pt x="125" y="23"/>
                    </a:lnTo>
                    <a:lnTo>
                      <a:pt x="123" y="22"/>
                    </a:lnTo>
                    <a:lnTo>
                      <a:pt x="121" y="20"/>
                    </a:lnTo>
                    <a:lnTo>
                      <a:pt x="120" y="20"/>
                    </a:lnTo>
                    <a:lnTo>
                      <a:pt x="119" y="19"/>
                    </a:lnTo>
                    <a:lnTo>
                      <a:pt x="117" y="19"/>
                    </a:lnTo>
                    <a:lnTo>
                      <a:pt x="111" y="18"/>
                    </a:lnTo>
                    <a:lnTo>
                      <a:pt x="105" y="20"/>
                    </a:lnTo>
                    <a:lnTo>
                      <a:pt x="104" y="20"/>
                    </a:lnTo>
                    <a:lnTo>
                      <a:pt x="102" y="21"/>
                    </a:lnTo>
                    <a:lnTo>
                      <a:pt x="100" y="20"/>
                    </a:lnTo>
                    <a:lnTo>
                      <a:pt x="100" y="24"/>
                    </a:lnTo>
                    <a:lnTo>
                      <a:pt x="99" y="26"/>
                    </a:lnTo>
                    <a:lnTo>
                      <a:pt x="97" y="26"/>
                    </a:lnTo>
                    <a:lnTo>
                      <a:pt x="95" y="28"/>
                    </a:lnTo>
                    <a:lnTo>
                      <a:pt x="92" y="26"/>
                    </a:lnTo>
                    <a:lnTo>
                      <a:pt x="91" y="31"/>
                    </a:lnTo>
                    <a:lnTo>
                      <a:pt x="90" y="34"/>
                    </a:lnTo>
                    <a:lnTo>
                      <a:pt x="91" y="37"/>
                    </a:lnTo>
                    <a:lnTo>
                      <a:pt x="90" y="40"/>
                    </a:lnTo>
                    <a:lnTo>
                      <a:pt x="90" y="43"/>
                    </a:lnTo>
                    <a:lnTo>
                      <a:pt x="88" y="44"/>
                    </a:lnTo>
                    <a:lnTo>
                      <a:pt x="88" y="46"/>
                    </a:lnTo>
                    <a:lnTo>
                      <a:pt x="86" y="47"/>
                    </a:lnTo>
                    <a:lnTo>
                      <a:pt x="83" y="46"/>
                    </a:lnTo>
                    <a:lnTo>
                      <a:pt x="82" y="47"/>
                    </a:lnTo>
                    <a:lnTo>
                      <a:pt x="80" y="45"/>
                    </a:lnTo>
                    <a:lnTo>
                      <a:pt x="77" y="40"/>
                    </a:lnTo>
                    <a:lnTo>
                      <a:pt x="75" y="44"/>
                    </a:lnTo>
                    <a:lnTo>
                      <a:pt x="71" y="47"/>
                    </a:lnTo>
                    <a:lnTo>
                      <a:pt x="67" y="54"/>
                    </a:lnTo>
                    <a:lnTo>
                      <a:pt x="64" y="57"/>
                    </a:lnTo>
                    <a:lnTo>
                      <a:pt x="59" y="53"/>
                    </a:lnTo>
                    <a:lnTo>
                      <a:pt x="57" y="54"/>
                    </a:lnTo>
                    <a:lnTo>
                      <a:pt x="55" y="57"/>
                    </a:lnTo>
                    <a:lnTo>
                      <a:pt x="55" y="60"/>
                    </a:lnTo>
                    <a:lnTo>
                      <a:pt x="53" y="61"/>
                    </a:lnTo>
                    <a:lnTo>
                      <a:pt x="52" y="62"/>
                    </a:lnTo>
                    <a:lnTo>
                      <a:pt x="50" y="60"/>
                    </a:lnTo>
                    <a:lnTo>
                      <a:pt x="48" y="64"/>
                    </a:lnTo>
                    <a:lnTo>
                      <a:pt x="46" y="66"/>
                    </a:lnTo>
                    <a:lnTo>
                      <a:pt x="42" y="70"/>
                    </a:lnTo>
                    <a:lnTo>
                      <a:pt x="41" y="70"/>
                    </a:lnTo>
                    <a:lnTo>
                      <a:pt x="37" y="73"/>
                    </a:lnTo>
                    <a:lnTo>
                      <a:pt x="37" y="76"/>
                    </a:lnTo>
                    <a:lnTo>
                      <a:pt x="37" y="81"/>
                    </a:lnTo>
                    <a:lnTo>
                      <a:pt x="39" y="83"/>
                    </a:lnTo>
                    <a:lnTo>
                      <a:pt x="37" y="86"/>
                    </a:lnTo>
                    <a:lnTo>
                      <a:pt x="30" y="91"/>
                    </a:lnTo>
                    <a:lnTo>
                      <a:pt x="31" y="100"/>
                    </a:lnTo>
                    <a:lnTo>
                      <a:pt x="31" y="104"/>
                    </a:lnTo>
                    <a:lnTo>
                      <a:pt x="31" y="107"/>
                    </a:lnTo>
                    <a:lnTo>
                      <a:pt x="31" y="110"/>
                    </a:lnTo>
                    <a:lnTo>
                      <a:pt x="28" y="117"/>
                    </a:lnTo>
                    <a:lnTo>
                      <a:pt x="25" y="118"/>
                    </a:lnTo>
                    <a:lnTo>
                      <a:pt x="23" y="120"/>
                    </a:lnTo>
                    <a:lnTo>
                      <a:pt x="21" y="122"/>
                    </a:lnTo>
                    <a:lnTo>
                      <a:pt x="18" y="123"/>
                    </a:lnTo>
                    <a:lnTo>
                      <a:pt x="15" y="129"/>
                    </a:lnTo>
                    <a:lnTo>
                      <a:pt x="12" y="132"/>
                    </a:lnTo>
                    <a:lnTo>
                      <a:pt x="12" y="138"/>
                    </a:lnTo>
                    <a:lnTo>
                      <a:pt x="12" y="140"/>
                    </a:lnTo>
                    <a:lnTo>
                      <a:pt x="12" y="143"/>
                    </a:lnTo>
                    <a:lnTo>
                      <a:pt x="8" y="145"/>
                    </a:lnTo>
                    <a:lnTo>
                      <a:pt x="7" y="145"/>
                    </a:lnTo>
                    <a:lnTo>
                      <a:pt x="8" y="147"/>
                    </a:lnTo>
                    <a:lnTo>
                      <a:pt x="11" y="149"/>
                    </a:lnTo>
                    <a:lnTo>
                      <a:pt x="16" y="156"/>
                    </a:lnTo>
                    <a:lnTo>
                      <a:pt x="17" y="159"/>
                    </a:lnTo>
                    <a:lnTo>
                      <a:pt x="17" y="160"/>
                    </a:lnTo>
                    <a:lnTo>
                      <a:pt x="18" y="162"/>
                    </a:lnTo>
                    <a:lnTo>
                      <a:pt x="17" y="164"/>
                    </a:lnTo>
                    <a:lnTo>
                      <a:pt x="17" y="165"/>
                    </a:lnTo>
                    <a:lnTo>
                      <a:pt x="16" y="167"/>
                    </a:lnTo>
                    <a:lnTo>
                      <a:pt x="15" y="166"/>
                    </a:lnTo>
                    <a:lnTo>
                      <a:pt x="14" y="170"/>
                    </a:lnTo>
                    <a:lnTo>
                      <a:pt x="12" y="170"/>
                    </a:lnTo>
                    <a:lnTo>
                      <a:pt x="11" y="172"/>
                    </a:lnTo>
                    <a:lnTo>
                      <a:pt x="9" y="172"/>
                    </a:lnTo>
                    <a:lnTo>
                      <a:pt x="9" y="174"/>
                    </a:lnTo>
                    <a:lnTo>
                      <a:pt x="6" y="174"/>
                    </a:lnTo>
                    <a:lnTo>
                      <a:pt x="7" y="177"/>
                    </a:lnTo>
                    <a:lnTo>
                      <a:pt x="6" y="178"/>
                    </a:lnTo>
                    <a:lnTo>
                      <a:pt x="9" y="179"/>
                    </a:lnTo>
                    <a:lnTo>
                      <a:pt x="8" y="182"/>
                    </a:lnTo>
                    <a:lnTo>
                      <a:pt x="8" y="183"/>
                    </a:lnTo>
                    <a:lnTo>
                      <a:pt x="7" y="184"/>
                    </a:lnTo>
                    <a:lnTo>
                      <a:pt x="7" y="183"/>
                    </a:lnTo>
                    <a:lnTo>
                      <a:pt x="6" y="185"/>
                    </a:lnTo>
                    <a:lnTo>
                      <a:pt x="6" y="186"/>
                    </a:lnTo>
                    <a:lnTo>
                      <a:pt x="4" y="188"/>
                    </a:lnTo>
                    <a:lnTo>
                      <a:pt x="3" y="189"/>
                    </a:lnTo>
                    <a:lnTo>
                      <a:pt x="1" y="189"/>
                    </a:lnTo>
                    <a:lnTo>
                      <a:pt x="2" y="192"/>
                    </a:lnTo>
                    <a:lnTo>
                      <a:pt x="1" y="192"/>
                    </a:lnTo>
                    <a:lnTo>
                      <a:pt x="0" y="194"/>
                    </a:lnTo>
                    <a:lnTo>
                      <a:pt x="3" y="196"/>
                    </a:lnTo>
                    <a:lnTo>
                      <a:pt x="4" y="198"/>
                    </a:lnTo>
                    <a:lnTo>
                      <a:pt x="3" y="202"/>
                    </a:lnTo>
                    <a:lnTo>
                      <a:pt x="4" y="200"/>
                    </a:lnTo>
                    <a:lnTo>
                      <a:pt x="6" y="200"/>
                    </a:lnTo>
                    <a:lnTo>
                      <a:pt x="6" y="202"/>
                    </a:lnTo>
                    <a:lnTo>
                      <a:pt x="6" y="204"/>
                    </a:lnTo>
                    <a:lnTo>
                      <a:pt x="7" y="209"/>
                    </a:lnTo>
                    <a:lnTo>
                      <a:pt x="9" y="209"/>
                    </a:lnTo>
                    <a:lnTo>
                      <a:pt x="9" y="212"/>
                    </a:lnTo>
                    <a:lnTo>
                      <a:pt x="12" y="209"/>
                    </a:lnTo>
                    <a:lnTo>
                      <a:pt x="14" y="209"/>
                    </a:lnTo>
                    <a:lnTo>
                      <a:pt x="15" y="209"/>
                    </a:lnTo>
                    <a:lnTo>
                      <a:pt x="15" y="208"/>
                    </a:lnTo>
                    <a:lnTo>
                      <a:pt x="16" y="207"/>
                    </a:lnTo>
                    <a:lnTo>
                      <a:pt x="18" y="208"/>
                    </a:lnTo>
                    <a:lnTo>
                      <a:pt x="20" y="205"/>
                    </a:lnTo>
                    <a:lnTo>
                      <a:pt x="21" y="205"/>
                    </a:lnTo>
                    <a:lnTo>
                      <a:pt x="19" y="212"/>
                    </a:lnTo>
                    <a:lnTo>
                      <a:pt x="16" y="218"/>
                    </a:lnTo>
                    <a:lnTo>
                      <a:pt x="15" y="221"/>
                    </a:lnTo>
                    <a:lnTo>
                      <a:pt x="16" y="221"/>
                    </a:lnTo>
                    <a:lnTo>
                      <a:pt x="16" y="222"/>
                    </a:lnTo>
                    <a:lnTo>
                      <a:pt x="17" y="222"/>
                    </a:lnTo>
                    <a:lnTo>
                      <a:pt x="17" y="224"/>
                    </a:lnTo>
                    <a:lnTo>
                      <a:pt x="17" y="223"/>
                    </a:lnTo>
                    <a:lnTo>
                      <a:pt x="18" y="222"/>
                    </a:lnTo>
                    <a:lnTo>
                      <a:pt x="19" y="223"/>
                    </a:lnTo>
                    <a:lnTo>
                      <a:pt x="20" y="223"/>
                    </a:lnTo>
                    <a:lnTo>
                      <a:pt x="20" y="222"/>
                    </a:lnTo>
                    <a:lnTo>
                      <a:pt x="21" y="222"/>
                    </a:lnTo>
                    <a:lnTo>
                      <a:pt x="22" y="221"/>
                    </a:lnTo>
                    <a:lnTo>
                      <a:pt x="22" y="222"/>
                    </a:lnTo>
                    <a:lnTo>
                      <a:pt x="24" y="221"/>
                    </a:lnTo>
                    <a:lnTo>
                      <a:pt x="25" y="222"/>
                    </a:lnTo>
                    <a:lnTo>
                      <a:pt x="26" y="222"/>
                    </a:lnTo>
                    <a:lnTo>
                      <a:pt x="27" y="225"/>
                    </a:lnTo>
                    <a:lnTo>
                      <a:pt x="30" y="225"/>
                    </a:lnTo>
                    <a:lnTo>
                      <a:pt x="31" y="226"/>
                    </a:lnTo>
                    <a:lnTo>
                      <a:pt x="33" y="226"/>
                    </a:lnTo>
                    <a:lnTo>
                      <a:pt x="33" y="227"/>
                    </a:lnTo>
                    <a:lnTo>
                      <a:pt x="33" y="229"/>
                    </a:lnTo>
                    <a:lnTo>
                      <a:pt x="34" y="228"/>
                    </a:lnTo>
                    <a:lnTo>
                      <a:pt x="37" y="230"/>
                    </a:lnTo>
                    <a:lnTo>
                      <a:pt x="37" y="231"/>
                    </a:lnTo>
                    <a:lnTo>
                      <a:pt x="39" y="232"/>
                    </a:lnTo>
                    <a:lnTo>
                      <a:pt x="41" y="231"/>
                    </a:lnTo>
                    <a:lnTo>
                      <a:pt x="45" y="233"/>
                    </a:lnTo>
                    <a:lnTo>
                      <a:pt x="45" y="235"/>
                    </a:lnTo>
                    <a:lnTo>
                      <a:pt x="45" y="236"/>
                    </a:lnTo>
                    <a:lnTo>
                      <a:pt x="47" y="234"/>
                    </a:lnTo>
                    <a:lnTo>
                      <a:pt x="48" y="233"/>
                    </a:lnTo>
                    <a:lnTo>
                      <a:pt x="51" y="233"/>
                    </a:lnTo>
                    <a:lnTo>
                      <a:pt x="55" y="231"/>
                    </a:lnTo>
                    <a:lnTo>
                      <a:pt x="57" y="235"/>
                    </a:lnTo>
                    <a:lnTo>
                      <a:pt x="58" y="234"/>
                    </a:lnTo>
                    <a:lnTo>
                      <a:pt x="58" y="236"/>
                    </a:lnTo>
                    <a:lnTo>
                      <a:pt x="62" y="242"/>
                    </a:lnTo>
                    <a:lnTo>
                      <a:pt x="63" y="243"/>
                    </a:lnTo>
                    <a:lnTo>
                      <a:pt x="64" y="243"/>
                    </a:lnTo>
                    <a:lnTo>
                      <a:pt x="64" y="246"/>
                    </a:lnTo>
                    <a:lnTo>
                      <a:pt x="67" y="247"/>
                    </a:lnTo>
                    <a:lnTo>
                      <a:pt x="67" y="250"/>
                    </a:lnTo>
                    <a:lnTo>
                      <a:pt x="66" y="251"/>
                    </a:lnTo>
                    <a:lnTo>
                      <a:pt x="66" y="252"/>
                    </a:lnTo>
                    <a:lnTo>
                      <a:pt x="69" y="255"/>
                    </a:lnTo>
                    <a:lnTo>
                      <a:pt x="69" y="256"/>
                    </a:lnTo>
                    <a:lnTo>
                      <a:pt x="67" y="256"/>
                    </a:lnTo>
                    <a:lnTo>
                      <a:pt x="69" y="259"/>
                    </a:lnTo>
                    <a:lnTo>
                      <a:pt x="70" y="261"/>
                    </a:lnTo>
                    <a:lnTo>
                      <a:pt x="70" y="260"/>
                    </a:lnTo>
                    <a:lnTo>
                      <a:pt x="72" y="260"/>
                    </a:lnTo>
                    <a:lnTo>
                      <a:pt x="74" y="259"/>
                    </a:lnTo>
                    <a:lnTo>
                      <a:pt x="77" y="257"/>
                    </a:lnTo>
                    <a:lnTo>
                      <a:pt x="82" y="260"/>
                    </a:lnTo>
                    <a:lnTo>
                      <a:pt x="84" y="261"/>
                    </a:lnTo>
                    <a:lnTo>
                      <a:pt x="86" y="260"/>
                    </a:lnTo>
                    <a:lnTo>
                      <a:pt x="87" y="260"/>
                    </a:lnTo>
                    <a:lnTo>
                      <a:pt x="89" y="267"/>
                    </a:lnTo>
                    <a:lnTo>
                      <a:pt x="91" y="268"/>
                    </a:lnTo>
                    <a:lnTo>
                      <a:pt x="96" y="270"/>
                    </a:lnTo>
                    <a:lnTo>
                      <a:pt x="99" y="264"/>
                    </a:lnTo>
                    <a:lnTo>
                      <a:pt x="99" y="262"/>
                    </a:lnTo>
                    <a:lnTo>
                      <a:pt x="100" y="260"/>
                    </a:lnTo>
                    <a:lnTo>
                      <a:pt x="102" y="261"/>
                    </a:lnTo>
                    <a:lnTo>
                      <a:pt x="102" y="262"/>
                    </a:lnTo>
                    <a:lnTo>
                      <a:pt x="105" y="264"/>
                    </a:lnTo>
                    <a:lnTo>
                      <a:pt x="108" y="266"/>
                    </a:lnTo>
                    <a:lnTo>
                      <a:pt x="112" y="273"/>
                    </a:lnTo>
                    <a:lnTo>
                      <a:pt x="115" y="275"/>
                    </a:lnTo>
                    <a:lnTo>
                      <a:pt x="120" y="275"/>
                    </a:lnTo>
                    <a:lnTo>
                      <a:pt x="120" y="272"/>
                    </a:lnTo>
                    <a:lnTo>
                      <a:pt x="123" y="272"/>
                    </a:lnTo>
                    <a:lnTo>
                      <a:pt x="124" y="270"/>
                    </a:lnTo>
                    <a:lnTo>
                      <a:pt x="126" y="270"/>
                    </a:lnTo>
                    <a:lnTo>
                      <a:pt x="127" y="268"/>
                    </a:lnTo>
                    <a:lnTo>
                      <a:pt x="130" y="270"/>
                    </a:lnTo>
                    <a:lnTo>
                      <a:pt x="132" y="270"/>
                    </a:lnTo>
                    <a:lnTo>
                      <a:pt x="134" y="274"/>
                    </a:lnTo>
                    <a:lnTo>
                      <a:pt x="136" y="273"/>
                    </a:lnTo>
                    <a:lnTo>
                      <a:pt x="137" y="274"/>
                    </a:lnTo>
                    <a:lnTo>
                      <a:pt x="139" y="276"/>
                    </a:lnTo>
                    <a:lnTo>
                      <a:pt x="137" y="277"/>
                    </a:lnTo>
                    <a:lnTo>
                      <a:pt x="139" y="278"/>
                    </a:lnTo>
                    <a:lnTo>
                      <a:pt x="140" y="279"/>
                    </a:lnTo>
                    <a:lnTo>
                      <a:pt x="141" y="280"/>
                    </a:lnTo>
                    <a:lnTo>
                      <a:pt x="142" y="280"/>
                    </a:lnTo>
                    <a:lnTo>
                      <a:pt x="143" y="277"/>
                    </a:lnTo>
                    <a:lnTo>
                      <a:pt x="144" y="277"/>
                    </a:lnTo>
                    <a:lnTo>
                      <a:pt x="143" y="281"/>
                    </a:lnTo>
                    <a:lnTo>
                      <a:pt x="144" y="282"/>
                    </a:lnTo>
                    <a:lnTo>
                      <a:pt x="143" y="282"/>
                    </a:lnTo>
                    <a:lnTo>
                      <a:pt x="143" y="284"/>
                    </a:lnTo>
                    <a:lnTo>
                      <a:pt x="142" y="284"/>
                    </a:lnTo>
                    <a:lnTo>
                      <a:pt x="139" y="289"/>
                    </a:lnTo>
                    <a:lnTo>
                      <a:pt x="138" y="291"/>
                    </a:lnTo>
                    <a:lnTo>
                      <a:pt x="139" y="296"/>
                    </a:lnTo>
                    <a:lnTo>
                      <a:pt x="139" y="302"/>
                    </a:lnTo>
                    <a:lnTo>
                      <a:pt x="140" y="304"/>
                    </a:lnTo>
                    <a:lnTo>
                      <a:pt x="147" y="310"/>
                    </a:lnTo>
                    <a:lnTo>
                      <a:pt x="147" y="311"/>
                    </a:lnTo>
                    <a:lnTo>
                      <a:pt x="148" y="312"/>
                    </a:lnTo>
                    <a:lnTo>
                      <a:pt x="149" y="310"/>
                    </a:lnTo>
                    <a:lnTo>
                      <a:pt x="149" y="311"/>
                    </a:lnTo>
                    <a:lnTo>
                      <a:pt x="150" y="310"/>
                    </a:lnTo>
                    <a:lnTo>
                      <a:pt x="151" y="310"/>
                    </a:lnTo>
                    <a:lnTo>
                      <a:pt x="151" y="306"/>
                    </a:lnTo>
                    <a:lnTo>
                      <a:pt x="152" y="304"/>
                    </a:lnTo>
                    <a:lnTo>
                      <a:pt x="155" y="307"/>
                    </a:lnTo>
                    <a:lnTo>
                      <a:pt x="157" y="314"/>
                    </a:lnTo>
                    <a:lnTo>
                      <a:pt x="161" y="318"/>
                    </a:lnTo>
                    <a:lnTo>
                      <a:pt x="159" y="321"/>
                    </a:lnTo>
                    <a:lnTo>
                      <a:pt x="161" y="323"/>
                    </a:lnTo>
                    <a:lnTo>
                      <a:pt x="161" y="327"/>
                    </a:lnTo>
                    <a:lnTo>
                      <a:pt x="162" y="328"/>
                    </a:lnTo>
                    <a:lnTo>
                      <a:pt x="163" y="326"/>
                    </a:lnTo>
                    <a:lnTo>
                      <a:pt x="164" y="326"/>
                    </a:lnTo>
                    <a:lnTo>
                      <a:pt x="166" y="330"/>
                    </a:lnTo>
                    <a:lnTo>
                      <a:pt x="169" y="332"/>
                    </a:lnTo>
                    <a:lnTo>
                      <a:pt x="172" y="333"/>
                    </a:lnTo>
                    <a:lnTo>
                      <a:pt x="173" y="337"/>
                    </a:lnTo>
                    <a:lnTo>
                      <a:pt x="175" y="340"/>
                    </a:lnTo>
                    <a:lnTo>
                      <a:pt x="176" y="341"/>
                    </a:lnTo>
                    <a:lnTo>
                      <a:pt x="177" y="343"/>
                    </a:lnTo>
                    <a:lnTo>
                      <a:pt x="177" y="346"/>
                    </a:lnTo>
                    <a:lnTo>
                      <a:pt x="179" y="346"/>
                    </a:lnTo>
                    <a:lnTo>
                      <a:pt x="179" y="347"/>
                    </a:lnTo>
                    <a:lnTo>
                      <a:pt x="179" y="348"/>
                    </a:lnTo>
                    <a:lnTo>
                      <a:pt x="179" y="350"/>
                    </a:lnTo>
                    <a:lnTo>
                      <a:pt x="180" y="349"/>
                    </a:lnTo>
                    <a:lnTo>
                      <a:pt x="181" y="350"/>
                    </a:lnTo>
                    <a:lnTo>
                      <a:pt x="180" y="353"/>
                    </a:lnTo>
                    <a:lnTo>
                      <a:pt x="182" y="354"/>
                    </a:lnTo>
                    <a:lnTo>
                      <a:pt x="183" y="354"/>
                    </a:lnTo>
                    <a:lnTo>
                      <a:pt x="182" y="354"/>
                    </a:lnTo>
                    <a:lnTo>
                      <a:pt x="183" y="354"/>
                    </a:lnTo>
                    <a:lnTo>
                      <a:pt x="182" y="356"/>
                    </a:lnTo>
                    <a:lnTo>
                      <a:pt x="183" y="357"/>
                    </a:lnTo>
                    <a:lnTo>
                      <a:pt x="181" y="359"/>
                    </a:lnTo>
                    <a:lnTo>
                      <a:pt x="180" y="358"/>
                    </a:lnTo>
                    <a:lnTo>
                      <a:pt x="177" y="361"/>
                    </a:lnTo>
                    <a:lnTo>
                      <a:pt x="177" y="363"/>
                    </a:lnTo>
                    <a:lnTo>
                      <a:pt x="178" y="363"/>
                    </a:lnTo>
                    <a:lnTo>
                      <a:pt x="179" y="365"/>
                    </a:lnTo>
                    <a:lnTo>
                      <a:pt x="179" y="368"/>
                    </a:lnTo>
                    <a:lnTo>
                      <a:pt x="181" y="370"/>
                    </a:lnTo>
                    <a:lnTo>
                      <a:pt x="184" y="365"/>
                    </a:lnTo>
                    <a:lnTo>
                      <a:pt x="185" y="364"/>
                    </a:lnTo>
                    <a:lnTo>
                      <a:pt x="187" y="364"/>
                    </a:lnTo>
                    <a:lnTo>
                      <a:pt x="187" y="363"/>
                    </a:lnTo>
                    <a:lnTo>
                      <a:pt x="188" y="361"/>
                    </a:lnTo>
                    <a:lnTo>
                      <a:pt x="192" y="364"/>
                    </a:lnTo>
                    <a:lnTo>
                      <a:pt x="192" y="362"/>
                    </a:lnTo>
                    <a:lnTo>
                      <a:pt x="193" y="362"/>
                    </a:lnTo>
                    <a:lnTo>
                      <a:pt x="193" y="363"/>
                    </a:lnTo>
                    <a:lnTo>
                      <a:pt x="192" y="364"/>
                    </a:lnTo>
                    <a:lnTo>
                      <a:pt x="195" y="367"/>
                    </a:lnTo>
                    <a:lnTo>
                      <a:pt x="193" y="370"/>
                    </a:lnTo>
                    <a:lnTo>
                      <a:pt x="194" y="370"/>
                    </a:lnTo>
                    <a:lnTo>
                      <a:pt x="194" y="371"/>
                    </a:lnTo>
                    <a:lnTo>
                      <a:pt x="195" y="371"/>
                    </a:lnTo>
                    <a:lnTo>
                      <a:pt x="194" y="374"/>
                    </a:lnTo>
                    <a:lnTo>
                      <a:pt x="196" y="374"/>
                    </a:lnTo>
                    <a:lnTo>
                      <a:pt x="196" y="376"/>
                    </a:lnTo>
                    <a:lnTo>
                      <a:pt x="205" y="376"/>
                    </a:lnTo>
                    <a:lnTo>
                      <a:pt x="207" y="376"/>
                    </a:lnTo>
                    <a:lnTo>
                      <a:pt x="209" y="379"/>
                    </a:lnTo>
                    <a:lnTo>
                      <a:pt x="210" y="377"/>
                    </a:lnTo>
                    <a:lnTo>
                      <a:pt x="211" y="377"/>
                    </a:lnTo>
                    <a:lnTo>
                      <a:pt x="213" y="381"/>
                    </a:lnTo>
                    <a:lnTo>
                      <a:pt x="216" y="384"/>
                    </a:lnTo>
                    <a:lnTo>
                      <a:pt x="216" y="389"/>
                    </a:lnTo>
                    <a:lnTo>
                      <a:pt x="215" y="393"/>
                    </a:lnTo>
                    <a:lnTo>
                      <a:pt x="217" y="394"/>
                    </a:lnTo>
                    <a:lnTo>
                      <a:pt x="218" y="394"/>
                    </a:lnTo>
                    <a:lnTo>
                      <a:pt x="221" y="394"/>
                    </a:lnTo>
                    <a:lnTo>
                      <a:pt x="227" y="391"/>
                    </a:lnTo>
                    <a:lnTo>
                      <a:pt x="233" y="391"/>
                    </a:lnTo>
                    <a:lnTo>
                      <a:pt x="236" y="390"/>
                    </a:lnTo>
                    <a:lnTo>
                      <a:pt x="239" y="391"/>
                    </a:lnTo>
                    <a:lnTo>
                      <a:pt x="241" y="389"/>
                    </a:lnTo>
                    <a:lnTo>
                      <a:pt x="244" y="391"/>
                    </a:lnTo>
                    <a:lnTo>
                      <a:pt x="246" y="390"/>
                    </a:lnTo>
                    <a:lnTo>
                      <a:pt x="248" y="391"/>
                    </a:lnTo>
                    <a:lnTo>
                      <a:pt x="252" y="389"/>
                    </a:lnTo>
                    <a:lnTo>
                      <a:pt x="255" y="394"/>
                    </a:lnTo>
                    <a:lnTo>
                      <a:pt x="261" y="394"/>
                    </a:lnTo>
                    <a:lnTo>
                      <a:pt x="263" y="393"/>
                    </a:lnTo>
                    <a:lnTo>
                      <a:pt x="264" y="394"/>
                    </a:lnTo>
                    <a:lnTo>
                      <a:pt x="265" y="398"/>
                    </a:lnTo>
                    <a:lnTo>
                      <a:pt x="269" y="404"/>
                    </a:lnTo>
                    <a:lnTo>
                      <a:pt x="272" y="406"/>
                    </a:lnTo>
                    <a:lnTo>
                      <a:pt x="276" y="405"/>
                    </a:lnTo>
                    <a:lnTo>
                      <a:pt x="277" y="405"/>
                    </a:lnTo>
                    <a:lnTo>
                      <a:pt x="278" y="407"/>
                    </a:lnTo>
                    <a:lnTo>
                      <a:pt x="286" y="411"/>
                    </a:lnTo>
                    <a:lnTo>
                      <a:pt x="288" y="410"/>
                    </a:lnTo>
                    <a:lnTo>
                      <a:pt x="290" y="406"/>
                    </a:lnTo>
                    <a:lnTo>
                      <a:pt x="292" y="406"/>
                    </a:lnTo>
                    <a:lnTo>
                      <a:pt x="296" y="407"/>
                    </a:lnTo>
                    <a:lnTo>
                      <a:pt x="299" y="409"/>
                    </a:lnTo>
                    <a:lnTo>
                      <a:pt x="300" y="411"/>
                    </a:lnTo>
                    <a:lnTo>
                      <a:pt x="300" y="420"/>
                    </a:lnTo>
                    <a:lnTo>
                      <a:pt x="302" y="423"/>
                    </a:lnTo>
                    <a:lnTo>
                      <a:pt x="304" y="427"/>
                    </a:lnTo>
                    <a:lnTo>
                      <a:pt x="306" y="428"/>
                    </a:lnTo>
                    <a:lnTo>
                      <a:pt x="309" y="430"/>
                    </a:lnTo>
                    <a:lnTo>
                      <a:pt x="311" y="430"/>
                    </a:lnTo>
                    <a:lnTo>
                      <a:pt x="312" y="434"/>
                    </a:lnTo>
                    <a:lnTo>
                      <a:pt x="313" y="435"/>
                    </a:lnTo>
                    <a:lnTo>
                      <a:pt x="312" y="435"/>
                    </a:lnTo>
                    <a:lnTo>
                      <a:pt x="313" y="437"/>
                    </a:lnTo>
                    <a:lnTo>
                      <a:pt x="315" y="437"/>
                    </a:lnTo>
                    <a:lnTo>
                      <a:pt x="316" y="442"/>
                    </a:lnTo>
                    <a:lnTo>
                      <a:pt x="313" y="451"/>
                    </a:lnTo>
                    <a:lnTo>
                      <a:pt x="316" y="451"/>
                    </a:lnTo>
                    <a:lnTo>
                      <a:pt x="318" y="451"/>
                    </a:lnTo>
                    <a:lnTo>
                      <a:pt x="320" y="454"/>
                    </a:lnTo>
                    <a:lnTo>
                      <a:pt x="322" y="454"/>
                    </a:lnTo>
                    <a:lnTo>
                      <a:pt x="324" y="455"/>
                    </a:lnTo>
                    <a:lnTo>
                      <a:pt x="326" y="454"/>
                    </a:lnTo>
                    <a:lnTo>
                      <a:pt x="332" y="457"/>
                    </a:lnTo>
                    <a:lnTo>
                      <a:pt x="336" y="457"/>
                    </a:lnTo>
                    <a:lnTo>
                      <a:pt x="337" y="455"/>
                    </a:lnTo>
                    <a:lnTo>
                      <a:pt x="338" y="454"/>
                    </a:lnTo>
                    <a:lnTo>
                      <a:pt x="344" y="451"/>
                    </a:lnTo>
                    <a:lnTo>
                      <a:pt x="345" y="449"/>
                    </a:lnTo>
                    <a:lnTo>
                      <a:pt x="345" y="447"/>
                    </a:lnTo>
                    <a:lnTo>
                      <a:pt x="346" y="445"/>
                    </a:lnTo>
                    <a:lnTo>
                      <a:pt x="347" y="444"/>
                    </a:lnTo>
                    <a:lnTo>
                      <a:pt x="350" y="442"/>
                    </a:lnTo>
                    <a:lnTo>
                      <a:pt x="348" y="440"/>
                    </a:lnTo>
                    <a:lnTo>
                      <a:pt x="350" y="439"/>
                    </a:lnTo>
                    <a:lnTo>
                      <a:pt x="352" y="439"/>
                    </a:lnTo>
                    <a:lnTo>
                      <a:pt x="353" y="436"/>
                    </a:lnTo>
                    <a:lnTo>
                      <a:pt x="358" y="434"/>
                    </a:lnTo>
                    <a:lnTo>
                      <a:pt x="359" y="430"/>
                    </a:lnTo>
                    <a:lnTo>
                      <a:pt x="361" y="429"/>
                    </a:lnTo>
                    <a:lnTo>
                      <a:pt x="362" y="427"/>
                    </a:lnTo>
                    <a:lnTo>
                      <a:pt x="364" y="427"/>
                    </a:lnTo>
                    <a:lnTo>
                      <a:pt x="365" y="426"/>
                    </a:lnTo>
                    <a:lnTo>
                      <a:pt x="366" y="425"/>
                    </a:lnTo>
                    <a:lnTo>
                      <a:pt x="364" y="423"/>
                    </a:lnTo>
                    <a:lnTo>
                      <a:pt x="364" y="420"/>
                    </a:lnTo>
                    <a:lnTo>
                      <a:pt x="363" y="418"/>
                    </a:lnTo>
                    <a:lnTo>
                      <a:pt x="363" y="416"/>
                    </a:lnTo>
                    <a:lnTo>
                      <a:pt x="363" y="414"/>
                    </a:lnTo>
                    <a:lnTo>
                      <a:pt x="365" y="414"/>
                    </a:lnTo>
                    <a:lnTo>
                      <a:pt x="365" y="413"/>
                    </a:lnTo>
                    <a:lnTo>
                      <a:pt x="366" y="410"/>
                    </a:lnTo>
                    <a:lnTo>
                      <a:pt x="368" y="410"/>
                    </a:lnTo>
                    <a:lnTo>
                      <a:pt x="368" y="409"/>
                    </a:lnTo>
                    <a:lnTo>
                      <a:pt x="373" y="407"/>
                    </a:lnTo>
                    <a:lnTo>
                      <a:pt x="376" y="408"/>
                    </a:lnTo>
                    <a:lnTo>
                      <a:pt x="380" y="407"/>
                    </a:lnTo>
                    <a:lnTo>
                      <a:pt x="381" y="406"/>
                    </a:lnTo>
                    <a:lnTo>
                      <a:pt x="381" y="407"/>
                    </a:lnTo>
                    <a:lnTo>
                      <a:pt x="382" y="409"/>
                    </a:lnTo>
                    <a:lnTo>
                      <a:pt x="382" y="413"/>
                    </a:lnTo>
                    <a:lnTo>
                      <a:pt x="386" y="414"/>
                    </a:lnTo>
                    <a:lnTo>
                      <a:pt x="389" y="413"/>
                    </a:lnTo>
                    <a:lnTo>
                      <a:pt x="392" y="414"/>
                    </a:lnTo>
                    <a:lnTo>
                      <a:pt x="392" y="412"/>
                    </a:lnTo>
                    <a:lnTo>
                      <a:pt x="396" y="412"/>
                    </a:lnTo>
                    <a:lnTo>
                      <a:pt x="397" y="411"/>
                    </a:lnTo>
                    <a:lnTo>
                      <a:pt x="399" y="411"/>
                    </a:lnTo>
                    <a:lnTo>
                      <a:pt x="400" y="410"/>
                    </a:lnTo>
                    <a:lnTo>
                      <a:pt x="401" y="410"/>
                    </a:lnTo>
                    <a:lnTo>
                      <a:pt x="404" y="411"/>
                    </a:lnTo>
                    <a:lnTo>
                      <a:pt x="404" y="413"/>
                    </a:lnTo>
                    <a:lnTo>
                      <a:pt x="405" y="414"/>
                    </a:lnTo>
                    <a:lnTo>
                      <a:pt x="407" y="414"/>
                    </a:lnTo>
                    <a:lnTo>
                      <a:pt x="411" y="413"/>
                    </a:lnTo>
                    <a:lnTo>
                      <a:pt x="413" y="415"/>
                    </a:lnTo>
                    <a:lnTo>
                      <a:pt x="417" y="419"/>
                    </a:lnTo>
                    <a:lnTo>
                      <a:pt x="420" y="421"/>
                    </a:lnTo>
                    <a:lnTo>
                      <a:pt x="422" y="419"/>
                    </a:lnTo>
                    <a:lnTo>
                      <a:pt x="423" y="420"/>
                    </a:lnTo>
                    <a:lnTo>
                      <a:pt x="430" y="414"/>
                    </a:lnTo>
                    <a:lnTo>
                      <a:pt x="433" y="412"/>
                    </a:lnTo>
                    <a:lnTo>
                      <a:pt x="433" y="413"/>
                    </a:lnTo>
                    <a:lnTo>
                      <a:pt x="436" y="412"/>
                    </a:lnTo>
                    <a:lnTo>
                      <a:pt x="438" y="409"/>
                    </a:lnTo>
                    <a:lnTo>
                      <a:pt x="441" y="410"/>
                    </a:lnTo>
                    <a:lnTo>
                      <a:pt x="446" y="410"/>
                    </a:lnTo>
                    <a:lnTo>
                      <a:pt x="450" y="410"/>
                    </a:lnTo>
                    <a:lnTo>
                      <a:pt x="450" y="409"/>
                    </a:lnTo>
                    <a:lnTo>
                      <a:pt x="448" y="409"/>
                    </a:lnTo>
                    <a:lnTo>
                      <a:pt x="446" y="406"/>
                    </a:lnTo>
                    <a:lnTo>
                      <a:pt x="448" y="404"/>
                    </a:lnTo>
                    <a:lnTo>
                      <a:pt x="448" y="402"/>
                    </a:lnTo>
                    <a:lnTo>
                      <a:pt x="448" y="401"/>
                    </a:lnTo>
                    <a:lnTo>
                      <a:pt x="449" y="401"/>
                    </a:lnTo>
                    <a:lnTo>
                      <a:pt x="450" y="401"/>
                    </a:lnTo>
                    <a:lnTo>
                      <a:pt x="453" y="400"/>
                    </a:lnTo>
                    <a:lnTo>
                      <a:pt x="454" y="394"/>
                    </a:lnTo>
                    <a:lnTo>
                      <a:pt x="451" y="392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9" name="Group 113">
              <a:extLst>
                <a:ext uri="{FF2B5EF4-FFF2-40B4-BE49-F238E27FC236}">
                  <a16:creationId xmlns:a16="http://schemas.microsoft.com/office/drawing/2014/main" id="{45051391-4171-66FD-C583-CC779D6953A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156" y="3285"/>
              <a:ext cx="422" cy="438"/>
              <a:chOff x="1156" y="3285"/>
              <a:chExt cx="422" cy="438"/>
            </a:xfrm>
          </p:grpSpPr>
          <p:sp>
            <p:nvSpPr>
              <p:cNvPr id="152" name="Freeform 111">
                <a:extLst>
                  <a:ext uri="{FF2B5EF4-FFF2-40B4-BE49-F238E27FC236}">
                    <a16:creationId xmlns:a16="http://schemas.microsoft.com/office/drawing/2014/main" id="{E79C8ACD-25E2-539D-E30C-432B43404B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6" y="3285"/>
                <a:ext cx="422" cy="438"/>
              </a:xfrm>
              <a:custGeom>
                <a:avLst/>
                <a:gdLst>
                  <a:gd name="T0" fmla="*/ 418 w 422"/>
                  <a:gd name="T1" fmla="*/ 168 h 438"/>
                  <a:gd name="T2" fmla="*/ 390 w 422"/>
                  <a:gd name="T3" fmla="*/ 138 h 438"/>
                  <a:gd name="T4" fmla="*/ 364 w 422"/>
                  <a:gd name="T5" fmla="*/ 110 h 438"/>
                  <a:gd name="T6" fmla="*/ 338 w 422"/>
                  <a:gd name="T7" fmla="*/ 91 h 438"/>
                  <a:gd name="T8" fmla="*/ 320 w 422"/>
                  <a:gd name="T9" fmla="*/ 76 h 438"/>
                  <a:gd name="T10" fmla="*/ 291 w 422"/>
                  <a:gd name="T11" fmla="*/ 93 h 438"/>
                  <a:gd name="T12" fmla="*/ 269 w 422"/>
                  <a:gd name="T13" fmla="*/ 61 h 438"/>
                  <a:gd name="T14" fmla="*/ 255 w 422"/>
                  <a:gd name="T15" fmla="*/ 47 h 438"/>
                  <a:gd name="T16" fmla="*/ 244 w 422"/>
                  <a:gd name="T17" fmla="*/ 35 h 438"/>
                  <a:gd name="T18" fmla="*/ 226 w 422"/>
                  <a:gd name="T19" fmla="*/ 32 h 438"/>
                  <a:gd name="T20" fmla="*/ 213 w 422"/>
                  <a:gd name="T21" fmla="*/ 24 h 438"/>
                  <a:gd name="T22" fmla="*/ 190 w 422"/>
                  <a:gd name="T23" fmla="*/ 0 h 438"/>
                  <a:gd name="T24" fmla="*/ 171 w 422"/>
                  <a:gd name="T25" fmla="*/ 11 h 438"/>
                  <a:gd name="T26" fmla="*/ 165 w 422"/>
                  <a:gd name="T27" fmla="*/ 29 h 438"/>
                  <a:gd name="T28" fmla="*/ 150 w 422"/>
                  <a:gd name="T29" fmla="*/ 34 h 438"/>
                  <a:gd name="T30" fmla="*/ 126 w 422"/>
                  <a:gd name="T31" fmla="*/ 41 h 438"/>
                  <a:gd name="T32" fmla="*/ 109 w 422"/>
                  <a:gd name="T33" fmla="*/ 41 h 438"/>
                  <a:gd name="T34" fmla="*/ 96 w 422"/>
                  <a:gd name="T35" fmla="*/ 62 h 438"/>
                  <a:gd name="T36" fmla="*/ 112 w 422"/>
                  <a:gd name="T37" fmla="*/ 94 h 438"/>
                  <a:gd name="T38" fmla="*/ 97 w 422"/>
                  <a:gd name="T39" fmla="*/ 104 h 438"/>
                  <a:gd name="T40" fmla="*/ 86 w 422"/>
                  <a:gd name="T41" fmla="*/ 114 h 438"/>
                  <a:gd name="T42" fmla="*/ 72 w 422"/>
                  <a:gd name="T43" fmla="*/ 104 h 438"/>
                  <a:gd name="T44" fmla="*/ 49 w 422"/>
                  <a:gd name="T45" fmla="*/ 105 h 438"/>
                  <a:gd name="T46" fmla="*/ 37 w 422"/>
                  <a:gd name="T47" fmla="*/ 112 h 438"/>
                  <a:gd name="T48" fmla="*/ 21 w 422"/>
                  <a:gd name="T49" fmla="*/ 130 h 438"/>
                  <a:gd name="T50" fmla="*/ 16 w 422"/>
                  <a:gd name="T51" fmla="*/ 149 h 438"/>
                  <a:gd name="T52" fmla="*/ 5 w 422"/>
                  <a:gd name="T53" fmla="*/ 183 h 438"/>
                  <a:gd name="T54" fmla="*/ 1 w 422"/>
                  <a:gd name="T55" fmla="*/ 201 h 438"/>
                  <a:gd name="T56" fmla="*/ 1 w 422"/>
                  <a:gd name="T57" fmla="*/ 223 h 438"/>
                  <a:gd name="T58" fmla="*/ 19 w 422"/>
                  <a:gd name="T59" fmla="*/ 253 h 438"/>
                  <a:gd name="T60" fmla="*/ 43 w 422"/>
                  <a:gd name="T61" fmla="*/ 258 h 438"/>
                  <a:gd name="T62" fmla="*/ 58 w 422"/>
                  <a:gd name="T63" fmla="*/ 275 h 438"/>
                  <a:gd name="T64" fmla="*/ 85 w 422"/>
                  <a:gd name="T65" fmla="*/ 288 h 438"/>
                  <a:gd name="T66" fmla="*/ 109 w 422"/>
                  <a:gd name="T67" fmla="*/ 293 h 438"/>
                  <a:gd name="T68" fmla="*/ 113 w 422"/>
                  <a:gd name="T69" fmla="*/ 321 h 438"/>
                  <a:gd name="T70" fmla="*/ 131 w 422"/>
                  <a:gd name="T71" fmla="*/ 341 h 438"/>
                  <a:gd name="T72" fmla="*/ 153 w 422"/>
                  <a:gd name="T73" fmla="*/ 347 h 438"/>
                  <a:gd name="T74" fmla="*/ 172 w 422"/>
                  <a:gd name="T75" fmla="*/ 351 h 438"/>
                  <a:gd name="T76" fmla="*/ 173 w 422"/>
                  <a:gd name="T77" fmla="*/ 371 h 438"/>
                  <a:gd name="T78" fmla="*/ 156 w 422"/>
                  <a:gd name="T79" fmla="*/ 388 h 438"/>
                  <a:gd name="T80" fmla="*/ 144 w 422"/>
                  <a:gd name="T81" fmla="*/ 407 h 438"/>
                  <a:gd name="T82" fmla="*/ 166 w 422"/>
                  <a:gd name="T83" fmla="*/ 424 h 438"/>
                  <a:gd name="T84" fmla="*/ 179 w 422"/>
                  <a:gd name="T85" fmla="*/ 435 h 438"/>
                  <a:gd name="T86" fmla="*/ 195 w 422"/>
                  <a:gd name="T87" fmla="*/ 427 h 438"/>
                  <a:gd name="T88" fmla="*/ 216 w 422"/>
                  <a:gd name="T89" fmla="*/ 427 h 438"/>
                  <a:gd name="T90" fmla="*/ 239 w 422"/>
                  <a:gd name="T91" fmla="*/ 409 h 438"/>
                  <a:gd name="T92" fmla="*/ 253 w 422"/>
                  <a:gd name="T93" fmla="*/ 398 h 438"/>
                  <a:gd name="T94" fmla="*/ 277 w 422"/>
                  <a:gd name="T95" fmla="*/ 396 h 438"/>
                  <a:gd name="T96" fmla="*/ 288 w 422"/>
                  <a:gd name="T97" fmla="*/ 409 h 438"/>
                  <a:gd name="T98" fmla="*/ 307 w 422"/>
                  <a:gd name="T99" fmla="*/ 406 h 438"/>
                  <a:gd name="T100" fmla="*/ 326 w 422"/>
                  <a:gd name="T101" fmla="*/ 404 h 438"/>
                  <a:gd name="T102" fmla="*/ 346 w 422"/>
                  <a:gd name="T103" fmla="*/ 392 h 438"/>
                  <a:gd name="T104" fmla="*/ 363 w 422"/>
                  <a:gd name="T105" fmla="*/ 370 h 438"/>
                  <a:gd name="T106" fmla="*/ 354 w 422"/>
                  <a:gd name="T107" fmla="*/ 355 h 438"/>
                  <a:gd name="T108" fmla="*/ 363 w 422"/>
                  <a:gd name="T109" fmla="*/ 332 h 438"/>
                  <a:gd name="T110" fmla="*/ 375 w 422"/>
                  <a:gd name="T111" fmla="*/ 311 h 438"/>
                  <a:gd name="T112" fmla="*/ 377 w 422"/>
                  <a:gd name="T113" fmla="*/ 289 h 438"/>
                  <a:gd name="T114" fmla="*/ 396 w 422"/>
                  <a:gd name="T115" fmla="*/ 275 h 438"/>
                  <a:gd name="T116" fmla="*/ 405 w 422"/>
                  <a:gd name="T117" fmla="*/ 253 h 438"/>
                  <a:gd name="T118" fmla="*/ 410 w 422"/>
                  <a:gd name="T119" fmla="*/ 221 h 438"/>
                  <a:gd name="T120" fmla="*/ 408 w 422"/>
                  <a:gd name="T121" fmla="*/ 201 h 43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422"/>
                  <a:gd name="T184" fmla="*/ 0 h 438"/>
                  <a:gd name="T185" fmla="*/ 422 w 422"/>
                  <a:gd name="T186" fmla="*/ 438 h 43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422" h="438">
                    <a:moveTo>
                      <a:pt x="422" y="187"/>
                    </a:moveTo>
                    <a:lnTo>
                      <a:pt x="421" y="184"/>
                    </a:lnTo>
                    <a:lnTo>
                      <a:pt x="417" y="183"/>
                    </a:lnTo>
                    <a:lnTo>
                      <a:pt x="417" y="182"/>
                    </a:lnTo>
                    <a:lnTo>
                      <a:pt x="415" y="182"/>
                    </a:lnTo>
                    <a:lnTo>
                      <a:pt x="414" y="181"/>
                    </a:lnTo>
                    <a:lnTo>
                      <a:pt x="414" y="180"/>
                    </a:lnTo>
                    <a:lnTo>
                      <a:pt x="413" y="179"/>
                    </a:lnTo>
                    <a:lnTo>
                      <a:pt x="413" y="178"/>
                    </a:lnTo>
                    <a:lnTo>
                      <a:pt x="411" y="177"/>
                    </a:lnTo>
                    <a:lnTo>
                      <a:pt x="412" y="175"/>
                    </a:lnTo>
                    <a:lnTo>
                      <a:pt x="414" y="175"/>
                    </a:lnTo>
                    <a:lnTo>
                      <a:pt x="415" y="174"/>
                    </a:lnTo>
                    <a:lnTo>
                      <a:pt x="417" y="172"/>
                    </a:lnTo>
                    <a:lnTo>
                      <a:pt x="417" y="169"/>
                    </a:lnTo>
                    <a:lnTo>
                      <a:pt x="418" y="169"/>
                    </a:lnTo>
                    <a:lnTo>
                      <a:pt x="418" y="168"/>
                    </a:lnTo>
                    <a:lnTo>
                      <a:pt x="418" y="164"/>
                    </a:lnTo>
                    <a:lnTo>
                      <a:pt x="418" y="163"/>
                    </a:lnTo>
                    <a:lnTo>
                      <a:pt x="414" y="157"/>
                    </a:lnTo>
                    <a:lnTo>
                      <a:pt x="414" y="155"/>
                    </a:lnTo>
                    <a:lnTo>
                      <a:pt x="413" y="152"/>
                    </a:lnTo>
                    <a:lnTo>
                      <a:pt x="410" y="152"/>
                    </a:lnTo>
                    <a:lnTo>
                      <a:pt x="408" y="149"/>
                    </a:lnTo>
                    <a:lnTo>
                      <a:pt x="408" y="147"/>
                    </a:lnTo>
                    <a:lnTo>
                      <a:pt x="405" y="145"/>
                    </a:lnTo>
                    <a:lnTo>
                      <a:pt x="403" y="145"/>
                    </a:lnTo>
                    <a:lnTo>
                      <a:pt x="400" y="142"/>
                    </a:lnTo>
                    <a:lnTo>
                      <a:pt x="398" y="143"/>
                    </a:lnTo>
                    <a:lnTo>
                      <a:pt x="396" y="140"/>
                    </a:lnTo>
                    <a:lnTo>
                      <a:pt x="395" y="142"/>
                    </a:lnTo>
                    <a:lnTo>
                      <a:pt x="394" y="142"/>
                    </a:lnTo>
                    <a:lnTo>
                      <a:pt x="392" y="142"/>
                    </a:lnTo>
                    <a:lnTo>
                      <a:pt x="391" y="139"/>
                    </a:lnTo>
                    <a:lnTo>
                      <a:pt x="390" y="138"/>
                    </a:lnTo>
                    <a:lnTo>
                      <a:pt x="387" y="136"/>
                    </a:lnTo>
                    <a:lnTo>
                      <a:pt x="389" y="132"/>
                    </a:lnTo>
                    <a:lnTo>
                      <a:pt x="387" y="131"/>
                    </a:lnTo>
                    <a:lnTo>
                      <a:pt x="385" y="128"/>
                    </a:lnTo>
                    <a:lnTo>
                      <a:pt x="382" y="122"/>
                    </a:lnTo>
                    <a:lnTo>
                      <a:pt x="380" y="120"/>
                    </a:lnTo>
                    <a:lnTo>
                      <a:pt x="377" y="119"/>
                    </a:lnTo>
                    <a:lnTo>
                      <a:pt x="375" y="117"/>
                    </a:lnTo>
                    <a:lnTo>
                      <a:pt x="374" y="117"/>
                    </a:lnTo>
                    <a:lnTo>
                      <a:pt x="372" y="117"/>
                    </a:lnTo>
                    <a:lnTo>
                      <a:pt x="372" y="115"/>
                    </a:lnTo>
                    <a:lnTo>
                      <a:pt x="370" y="114"/>
                    </a:lnTo>
                    <a:lnTo>
                      <a:pt x="369" y="111"/>
                    </a:lnTo>
                    <a:lnTo>
                      <a:pt x="368" y="111"/>
                    </a:lnTo>
                    <a:lnTo>
                      <a:pt x="367" y="113"/>
                    </a:lnTo>
                    <a:lnTo>
                      <a:pt x="366" y="113"/>
                    </a:lnTo>
                    <a:lnTo>
                      <a:pt x="364" y="110"/>
                    </a:lnTo>
                    <a:lnTo>
                      <a:pt x="362" y="108"/>
                    </a:lnTo>
                    <a:lnTo>
                      <a:pt x="360" y="108"/>
                    </a:lnTo>
                    <a:lnTo>
                      <a:pt x="358" y="110"/>
                    </a:lnTo>
                    <a:lnTo>
                      <a:pt x="357" y="109"/>
                    </a:lnTo>
                    <a:lnTo>
                      <a:pt x="358" y="108"/>
                    </a:lnTo>
                    <a:lnTo>
                      <a:pt x="356" y="105"/>
                    </a:lnTo>
                    <a:lnTo>
                      <a:pt x="355" y="103"/>
                    </a:lnTo>
                    <a:lnTo>
                      <a:pt x="351" y="105"/>
                    </a:lnTo>
                    <a:lnTo>
                      <a:pt x="348" y="104"/>
                    </a:lnTo>
                    <a:lnTo>
                      <a:pt x="346" y="104"/>
                    </a:lnTo>
                    <a:lnTo>
                      <a:pt x="345" y="105"/>
                    </a:lnTo>
                    <a:lnTo>
                      <a:pt x="343" y="103"/>
                    </a:lnTo>
                    <a:lnTo>
                      <a:pt x="342" y="97"/>
                    </a:lnTo>
                    <a:lnTo>
                      <a:pt x="340" y="94"/>
                    </a:lnTo>
                    <a:lnTo>
                      <a:pt x="339" y="93"/>
                    </a:lnTo>
                    <a:lnTo>
                      <a:pt x="338" y="91"/>
                    </a:lnTo>
                    <a:lnTo>
                      <a:pt x="337" y="91"/>
                    </a:lnTo>
                    <a:lnTo>
                      <a:pt x="335" y="89"/>
                    </a:lnTo>
                    <a:lnTo>
                      <a:pt x="334" y="89"/>
                    </a:lnTo>
                    <a:lnTo>
                      <a:pt x="333" y="88"/>
                    </a:lnTo>
                    <a:lnTo>
                      <a:pt x="332" y="91"/>
                    </a:lnTo>
                    <a:lnTo>
                      <a:pt x="331" y="90"/>
                    </a:lnTo>
                    <a:lnTo>
                      <a:pt x="329" y="88"/>
                    </a:lnTo>
                    <a:lnTo>
                      <a:pt x="328" y="87"/>
                    </a:lnTo>
                    <a:lnTo>
                      <a:pt x="326" y="87"/>
                    </a:lnTo>
                    <a:lnTo>
                      <a:pt x="324" y="87"/>
                    </a:lnTo>
                    <a:lnTo>
                      <a:pt x="321" y="83"/>
                    </a:lnTo>
                    <a:lnTo>
                      <a:pt x="321" y="81"/>
                    </a:lnTo>
                    <a:lnTo>
                      <a:pt x="321" y="79"/>
                    </a:lnTo>
                    <a:lnTo>
                      <a:pt x="321" y="78"/>
                    </a:lnTo>
                    <a:lnTo>
                      <a:pt x="322" y="77"/>
                    </a:lnTo>
                    <a:lnTo>
                      <a:pt x="321" y="78"/>
                    </a:lnTo>
                    <a:lnTo>
                      <a:pt x="320" y="76"/>
                    </a:lnTo>
                    <a:lnTo>
                      <a:pt x="318" y="76"/>
                    </a:lnTo>
                    <a:lnTo>
                      <a:pt x="318" y="79"/>
                    </a:lnTo>
                    <a:lnTo>
                      <a:pt x="311" y="84"/>
                    </a:lnTo>
                    <a:lnTo>
                      <a:pt x="310" y="88"/>
                    </a:lnTo>
                    <a:lnTo>
                      <a:pt x="310" y="92"/>
                    </a:lnTo>
                    <a:lnTo>
                      <a:pt x="309" y="93"/>
                    </a:lnTo>
                    <a:lnTo>
                      <a:pt x="305" y="91"/>
                    </a:lnTo>
                    <a:lnTo>
                      <a:pt x="306" y="97"/>
                    </a:lnTo>
                    <a:lnTo>
                      <a:pt x="303" y="98"/>
                    </a:lnTo>
                    <a:lnTo>
                      <a:pt x="301" y="98"/>
                    </a:lnTo>
                    <a:lnTo>
                      <a:pt x="299" y="97"/>
                    </a:lnTo>
                    <a:lnTo>
                      <a:pt x="297" y="97"/>
                    </a:lnTo>
                    <a:lnTo>
                      <a:pt x="296" y="98"/>
                    </a:lnTo>
                    <a:lnTo>
                      <a:pt x="295" y="98"/>
                    </a:lnTo>
                    <a:lnTo>
                      <a:pt x="292" y="93"/>
                    </a:lnTo>
                    <a:lnTo>
                      <a:pt x="291" y="93"/>
                    </a:lnTo>
                    <a:lnTo>
                      <a:pt x="291" y="92"/>
                    </a:lnTo>
                    <a:lnTo>
                      <a:pt x="289" y="91"/>
                    </a:lnTo>
                    <a:lnTo>
                      <a:pt x="286" y="88"/>
                    </a:lnTo>
                    <a:lnTo>
                      <a:pt x="283" y="88"/>
                    </a:lnTo>
                    <a:lnTo>
                      <a:pt x="279" y="84"/>
                    </a:lnTo>
                    <a:lnTo>
                      <a:pt x="280" y="83"/>
                    </a:lnTo>
                    <a:lnTo>
                      <a:pt x="278" y="80"/>
                    </a:lnTo>
                    <a:lnTo>
                      <a:pt x="281" y="75"/>
                    </a:lnTo>
                    <a:lnTo>
                      <a:pt x="283" y="74"/>
                    </a:lnTo>
                    <a:lnTo>
                      <a:pt x="283" y="69"/>
                    </a:lnTo>
                    <a:lnTo>
                      <a:pt x="281" y="70"/>
                    </a:lnTo>
                    <a:lnTo>
                      <a:pt x="279" y="71"/>
                    </a:lnTo>
                    <a:lnTo>
                      <a:pt x="278" y="70"/>
                    </a:lnTo>
                    <a:lnTo>
                      <a:pt x="274" y="68"/>
                    </a:lnTo>
                    <a:lnTo>
                      <a:pt x="272" y="63"/>
                    </a:lnTo>
                    <a:lnTo>
                      <a:pt x="271" y="63"/>
                    </a:lnTo>
                    <a:lnTo>
                      <a:pt x="269" y="61"/>
                    </a:lnTo>
                    <a:lnTo>
                      <a:pt x="268" y="60"/>
                    </a:lnTo>
                    <a:lnTo>
                      <a:pt x="266" y="61"/>
                    </a:lnTo>
                    <a:lnTo>
                      <a:pt x="265" y="58"/>
                    </a:lnTo>
                    <a:lnTo>
                      <a:pt x="264" y="59"/>
                    </a:lnTo>
                    <a:lnTo>
                      <a:pt x="264" y="60"/>
                    </a:lnTo>
                    <a:lnTo>
                      <a:pt x="263" y="59"/>
                    </a:lnTo>
                    <a:lnTo>
                      <a:pt x="261" y="61"/>
                    </a:lnTo>
                    <a:lnTo>
                      <a:pt x="260" y="61"/>
                    </a:lnTo>
                    <a:lnTo>
                      <a:pt x="260" y="59"/>
                    </a:lnTo>
                    <a:lnTo>
                      <a:pt x="260" y="56"/>
                    </a:lnTo>
                    <a:lnTo>
                      <a:pt x="261" y="51"/>
                    </a:lnTo>
                    <a:lnTo>
                      <a:pt x="263" y="49"/>
                    </a:lnTo>
                    <a:lnTo>
                      <a:pt x="261" y="49"/>
                    </a:lnTo>
                    <a:lnTo>
                      <a:pt x="261" y="50"/>
                    </a:lnTo>
                    <a:lnTo>
                      <a:pt x="259" y="49"/>
                    </a:lnTo>
                    <a:lnTo>
                      <a:pt x="257" y="49"/>
                    </a:lnTo>
                    <a:lnTo>
                      <a:pt x="255" y="47"/>
                    </a:lnTo>
                    <a:lnTo>
                      <a:pt x="252" y="47"/>
                    </a:lnTo>
                    <a:lnTo>
                      <a:pt x="248" y="45"/>
                    </a:lnTo>
                    <a:lnTo>
                      <a:pt x="249" y="45"/>
                    </a:lnTo>
                    <a:lnTo>
                      <a:pt x="248" y="43"/>
                    </a:lnTo>
                    <a:lnTo>
                      <a:pt x="248" y="42"/>
                    </a:lnTo>
                    <a:lnTo>
                      <a:pt x="247" y="43"/>
                    </a:lnTo>
                    <a:lnTo>
                      <a:pt x="247" y="42"/>
                    </a:lnTo>
                    <a:lnTo>
                      <a:pt x="246" y="42"/>
                    </a:lnTo>
                    <a:lnTo>
                      <a:pt x="245" y="41"/>
                    </a:lnTo>
                    <a:lnTo>
                      <a:pt x="246" y="41"/>
                    </a:lnTo>
                    <a:lnTo>
                      <a:pt x="247" y="40"/>
                    </a:lnTo>
                    <a:lnTo>
                      <a:pt x="246" y="40"/>
                    </a:lnTo>
                    <a:lnTo>
                      <a:pt x="245" y="40"/>
                    </a:lnTo>
                    <a:lnTo>
                      <a:pt x="245" y="37"/>
                    </a:lnTo>
                    <a:lnTo>
                      <a:pt x="244" y="36"/>
                    </a:lnTo>
                    <a:lnTo>
                      <a:pt x="244" y="35"/>
                    </a:lnTo>
                    <a:lnTo>
                      <a:pt x="242" y="37"/>
                    </a:lnTo>
                    <a:lnTo>
                      <a:pt x="240" y="36"/>
                    </a:lnTo>
                    <a:lnTo>
                      <a:pt x="240" y="34"/>
                    </a:lnTo>
                    <a:lnTo>
                      <a:pt x="239" y="36"/>
                    </a:lnTo>
                    <a:lnTo>
                      <a:pt x="237" y="34"/>
                    </a:lnTo>
                    <a:lnTo>
                      <a:pt x="237" y="33"/>
                    </a:lnTo>
                    <a:lnTo>
                      <a:pt x="239" y="33"/>
                    </a:lnTo>
                    <a:lnTo>
                      <a:pt x="238" y="31"/>
                    </a:lnTo>
                    <a:lnTo>
                      <a:pt x="235" y="31"/>
                    </a:lnTo>
                    <a:lnTo>
                      <a:pt x="235" y="30"/>
                    </a:lnTo>
                    <a:lnTo>
                      <a:pt x="234" y="30"/>
                    </a:lnTo>
                    <a:lnTo>
                      <a:pt x="233" y="30"/>
                    </a:lnTo>
                    <a:lnTo>
                      <a:pt x="232" y="27"/>
                    </a:lnTo>
                    <a:lnTo>
                      <a:pt x="231" y="28"/>
                    </a:lnTo>
                    <a:lnTo>
                      <a:pt x="230" y="32"/>
                    </a:lnTo>
                    <a:lnTo>
                      <a:pt x="228" y="32"/>
                    </a:lnTo>
                    <a:lnTo>
                      <a:pt x="227" y="31"/>
                    </a:lnTo>
                    <a:lnTo>
                      <a:pt x="226" y="32"/>
                    </a:lnTo>
                    <a:lnTo>
                      <a:pt x="225" y="28"/>
                    </a:lnTo>
                    <a:lnTo>
                      <a:pt x="226" y="27"/>
                    </a:lnTo>
                    <a:lnTo>
                      <a:pt x="223" y="27"/>
                    </a:lnTo>
                    <a:lnTo>
                      <a:pt x="223" y="28"/>
                    </a:lnTo>
                    <a:lnTo>
                      <a:pt x="221" y="28"/>
                    </a:lnTo>
                    <a:lnTo>
                      <a:pt x="221" y="29"/>
                    </a:lnTo>
                    <a:lnTo>
                      <a:pt x="220" y="29"/>
                    </a:lnTo>
                    <a:lnTo>
                      <a:pt x="220" y="28"/>
                    </a:lnTo>
                    <a:lnTo>
                      <a:pt x="218" y="28"/>
                    </a:lnTo>
                    <a:lnTo>
                      <a:pt x="216" y="28"/>
                    </a:lnTo>
                    <a:lnTo>
                      <a:pt x="215" y="28"/>
                    </a:lnTo>
                    <a:lnTo>
                      <a:pt x="215" y="27"/>
                    </a:lnTo>
                    <a:lnTo>
                      <a:pt x="213" y="28"/>
                    </a:lnTo>
                    <a:lnTo>
                      <a:pt x="213" y="27"/>
                    </a:lnTo>
                    <a:lnTo>
                      <a:pt x="213" y="29"/>
                    </a:lnTo>
                    <a:lnTo>
                      <a:pt x="212" y="28"/>
                    </a:lnTo>
                    <a:lnTo>
                      <a:pt x="213" y="27"/>
                    </a:lnTo>
                    <a:lnTo>
                      <a:pt x="213" y="24"/>
                    </a:lnTo>
                    <a:lnTo>
                      <a:pt x="212" y="24"/>
                    </a:lnTo>
                    <a:lnTo>
                      <a:pt x="212" y="23"/>
                    </a:lnTo>
                    <a:lnTo>
                      <a:pt x="210" y="23"/>
                    </a:lnTo>
                    <a:lnTo>
                      <a:pt x="209" y="21"/>
                    </a:lnTo>
                    <a:lnTo>
                      <a:pt x="209" y="19"/>
                    </a:lnTo>
                    <a:lnTo>
                      <a:pt x="207" y="19"/>
                    </a:lnTo>
                    <a:lnTo>
                      <a:pt x="206" y="17"/>
                    </a:lnTo>
                    <a:lnTo>
                      <a:pt x="206" y="16"/>
                    </a:lnTo>
                    <a:lnTo>
                      <a:pt x="204" y="16"/>
                    </a:lnTo>
                    <a:lnTo>
                      <a:pt x="201" y="11"/>
                    </a:lnTo>
                    <a:lnTo>
                      <a:pt x="199" y="11"/>
                    </a:lnTo>
                    <a:lnTo>
                      <a:pt x="198" y="10"/>
                    </a:lnTo>
                    <a:lnTo>
                      <a:pt x="196" y="7"/>
                    </a:lnTo>
                    <a:lnTo>
                      <a:pt x="195" y="6"/>
                    </a:lnTo>
                    <a:lnTo>
                      <a:pt x="193" y="4"/>
                    </a:lnTo>
                    <a:lnTo>
                      <a:pt x="190" y="0"/>
                    </a:lnTo>
                    <a:lnTo>
                      <a:pt x="189" y="1"/>
                    </a:lnTo>
                    <a:lnTo>
                      <a:pt x="189" y="4"/>
                    </a:lnTo>
                    <a:lnTo>
                      <a:pt x="187" y="6"/>
                    </a:lnTo>
                    <a:lnTo>
                      <a:pt x="186" y="4"/>
                    </a:lnTo>
                    <a:lnTo>
                      <a:pt x="183" y="4"/>
                    </a:lnTo>
                    <a:lnTo>
                      <a:pt x="183" y="5"/>
                    </a:lnTo>
                    <a:lnTo>
                      <a:pt x="183" y="6"/>
                    </a:lnTo>
                    <a:lnTo>
                      <a:pt x="183" y="7"/>
                    </a:lnTo>
                    <a:lnTo>
                      <a:pt x="181" y="8"/>
                    </a:lnTo>
                    <a:lnTo>
                      <a:pt x="180" y="8"/>
                    </a:lnTo>
                    <a:lnTo>
                      <a:pt x="180" y="10"/>
                    </a:lnTo>
                    <a:lnTo>
                      <a:pt x="179" y="10"/>
                    </a:lnTo>
                    <a:lnTo>
                      <a:pt x="178" y="7"/>
                    </a:lnTo>
                    <a:lnTo>
                      <a:pt x="176" y="6"/>
                    </a:lnTo>
                    <a:lnTo>
                      <a:pt x="175" y="6"/>
                    </a:lnTo>
                    <a:lnTo>
                      <a:pt x="171" y="10"/>
                    </a:lnTo>
                    <a:lnTo>
                      <a:pt x="171" y="11"/>
                    </a:lnTo>
                    <a:lnTo>
                      <a:pt x="169" y="11"/>
                    </a:lnTo>
                    <a:lnTo>
                      <a:pt x="167" y="13"/>
                    </a:lnTo>
                    <a:lnTo>
                      <a:pt x="166" y="16"/>
                    </a:lnTo>
                    <a:lnTo>
                      <a:pt x="166" y="17"/>
                    </a:lnTo>
                    <a:lnTo>
                      <a:pt x="166" y="19"/>
                    </a:lnTo>
                    <a:lnTo>
                      <a:pt x="168" y="19"/>
                    </a:lnTo>
                    <a:lnTo>
                      <a:pt x="169" y="19"/>
                    </a:lnTo>
                    <a:lnTo>
                      <a:pt x="169" y="21"/>
                    </a:lnTo>
                    <a:lnTo>
                      <a:pt x="170" y="22"/>
                    </a:lnTo>
                    <a:lnTo>
                      <a:pt x="169" y="24"/>
                    </a:lnTo>
                    <a:lnTo>
                      <a:pt x="171" y="25"/>
                    </a:lnTo>
                    <a:lnTo>
                      <a:pt x="170" y="26"/>
                    </a:lnTo>
                    <a:lnTo>
                      <a:pt x="170" y="27"/>
                    </a:lnTo>
                    <a:lnTo>
                      <a:pt x="169" y="28"/>
                    </a:lnTo>
                    <a:lnTo>
                      <a:pt x="167" y="28"/>
                    </a:lnTo>
                    <a:lnTo>
                      <a:pt x="166" y="30"/>
                    </a:lnTo>
                    <a:lnTo>
                      <a:pt x="165" y="29"/>
                    </a:lnTo>
                    <a:lnTo>
                      <a:pt x="164" y="29"/>
                    </a:lnTo>
                    <a:lnTo>
                      <a:pt x="164" y="28"/>
                    </a:lnTo>
                    <a:lnTo>
                      <a:pt x="162" y="29"/>
                    </a:lnTo>
                    <a:lnTo>
                      <a:pt x="159" y="27"/>
                    </a:lnTo>
                    <a:lnTo>
                      <a:pt x="159" y="28"/>
                    </a:lnTo>
                    <a:lnTo>
                      <a:pt x="158" y="28"/>
                    </a:lnTo>
                    <a:lnTo>
                      <a:pt x="157" y="27"/>
                    </a:lnTo>
                    <a:lnTo>
                      <a:pt x="157" y="24"/>
                    </a:lnTo>
                    <a:lnTo>
                      <a:pt x="156" y="25"/>
                    </a:lnTo>
                    <a:lnTo>
                      <a:pt x="156" y="24"/>
                    </a:lnTo>
                    <a:lnTo>
                      <a:pt x="155" y="27"/>
                    </a:lnTo>
                    <a:lnTo>
                      <a:pt x="152" y="29"/>
                    </a:lnTo>
                    <a:lnTo>
                      <a:pt x="151" y="32"/>
                    </a:lnTo>
                    <a:lnTo>
                      <a:pt x="152" y="33"/>
                    </a:lnTo>
                    <a:lnTo>
                      <a:pt x="151" y="34"/>
                    </a:lnTo>
                    <a:lnTo>
                      <a:pt x="151" y="36"/>
                    </a:lnTo>
                    <a:lnTo>
                      <a:pt x="150" y="36"/>
                    </a:lnTo>
                    <a:lnTo>
                      <a:pt x="150" y="34"/>
                    </a:lnTo>
                    <a:lnTo>
                      <a:pt x="148" y="34"/>
                    </a:lnTo>
                    <a:lnTo>
                      <a:pt x="145" y="37"/>
                    </a:lnTo>
                    <a:lnTo>
                      <a:pt x="142" y="34"/>
                    </a:lnTo>
                    <a:lnTo>
                      <a:pt x="139" y="36"/>
                    </a:lnTo>
                    <a:lnTo>
                      <a:pt x="136" y="38"/>
                    </a:lnTo>
                    <a:lnTo>
                      <a:pt x="135" y="38"/>
                    </a:lnTo>
                    <a:lnTo>
                      <a:pt x="134" y="38"/>
                    </a:lnTo>
                    <a:lnTo>
                      <a:pt x="133" y="38"/>
                    </a:lnTo>
                    <a:lnTo>
                      <a:pt x="131" y="38"/>
                    </a:lnTo>
                    <a:lnTo>
                      <a:pt x="131" y="36"/>
                    </a:lnTo>
                    <a:lnTo>
                      <a:pt x="131" y="38"/>
                    </a:lnTo>
                    <a:lnTo>
                      <a:pt x="130" y="38"/>
                    </a:lnTo>
                    <a:lnTo>
                      <a:pt x="128" y="38"/>
                    </a:lnTo>
                    <a:lnTo>
                      <a:pt x="127" y="40"/>
                    </a:lnTo>
                    <a:lnTo>
                      <a:pt x="126" y="39"/>
                    </a:lnTo>
                    <a:lnTo>
                      <a:pt x="125" y="40"/>
                    </a:lnTo>
                    <a:lnTo>
                      <a:pt x="126" y="41"/>
                    </a:lnTo>
                    <a:lnTo>
                      <a:pt x="123" y="42"/>
                    </a:lnTo>
                    <a:lnTo>
                      <a:pt x="123" y="41"/>
                    </a:lnTo>
                    <a:lnTo>
                      <a:pt x="122" y="43"/>
                    </a:lnTo>
                    <a:lnTo>
                      <a:pt x="121" y="41"/>
                    </a:lnTo>
                    <a:lnTo>
                      <a:pt x="120" y="42"/>
                    </a:lnTo>
                    <a:lnTo>
                      <a:pt x="120" y="41"/>
                    </a:lnTo>
                    <a:lnTo>
                      <a:pt x="117" y="41"/>
                    </a:lnTo>
                    <a:lnTo>
                      <a:pt x="120" y="38"/>
                    </a:lnTo>
                    <a:lnTo>
                      <a:pt x="119" y="37"/>
                    </a:lnTo>
                    <a:lnTo>
                      <a:pt x="118" y="37"/>
                    </a:lnTo>
                    <a:lnTo>
                      <a:pt x="117" y="38"/>
                    </a:lnTo>
                    <a:lnTo>
                      <a:pt x="115" y="38"/>
                    </a:lnTo>
                    <a:lnTo>
                      <a:pt x="114" y="40"/>
                    </a:lnTo>
                    <a:lnTo>
                      <a:pt x="112" y="40"/>
                    </a:lnTo>
                    <a:lnTo>
                      <a:pt x="112" y="39"/>
                    </a:lnTo>
                    <a:lnTo>
                      <a:pt x="110" y="41"/>
                    </a:lnTo>
                    <a:lnTo>
                      <a:pt x="109" y="41"/>
                    </a:lnTo>
                    <a:lnTo>
                      <a:pt x="109" y="43"/>
                    </a:lnTo>
                    <a:lnTo>
                      <a:pt x="110" y="44"/>
                    </a:lnTo>
                    <a:lnTo>
                      <a:pt x="110" y="45"/>
                    </a:lnTo>
                    <a:lnTo>
                      <a:pt x="107" y="47"/>
                    </a:lnTo>
                    <a:lnTo>
                      <a:pt x="107" y="51"/>
                    </a:lnTo>
                    <a:lnTo>
                      <a:pt x="107" y="53"/>
                    </a:lnTo>
                    <a:lnTo>
                      <a:pt x="102" y="55"/>
                    </a:lnTo>
                    <a:lnTo>
                      <a:pt x="102" y="56"/>
                    </a:lnTo>
                    <a:lnTo>
                      <a:pt x="100" y="59"/>
                    </a:lnTo>
                    <a:lnTo>
                      <a:pt x="99" y="59"/>
                    </a:lnTo>
                    <a:lnTo>
                      <a:pt x="99" y="58"/>
                    </a:lnTo>
                    <a:lnTo>
                      <a:pt x="98" y="58"/>
                    </a:lnTo>
                    <a:lnTo>
                      <a:pt x="98" y="59"/>
                    </a:lnTo>
                    <a:lnTo>
                      <a:pt x="97" y="59"/>
                    </a:lnTo>
                    <a:lnTo>
                      <a:pt x="98" y="61"/>
                    </a:lnTo>
                    <a:lnTo>
                      <a:pt x="96" y="62"/>
                    </a:lnTo>
                    <a:lnTo>
                      <a:pt x="96" y="64"/>
                    </a:lnTo>
                    <a:lnTo>
                      <a:pt x="95" y="65"/>
                    </a:lnTo>
                    <a:lnTo>
                      <a:pt x="96" y="67"/>
                    </a:lnTo>
                    <a:lnTo>
                      <a:pt x="94" y="71"/>
                    </a:lnTo>
                    <a:lnTo>
                      <a:pt x="95" y="73"/>
                    </a:lnTo>
                    <a:lnTo>
                      <a:pt x="94" y="75"/>
                    </a:lnTo>
                    <a:lnTo>
                      <a:pt x="96" y="76"/>
                    </a:lnTo>
                    <a:lnTo>
                      <a:pt x="95" y="76"/>
                    </a:lnTo>
                    <a:lnTo>
                      <a:pt x="96" y="80"/>
                    </a:lnTo>
                    <a:lnTo>
                      <a:pt x="97" y="80"/>
                    </a:lnTo>
                    <a:lnTo>
                      <a:pt x="99" y="77"/>
                    </a:lnTo>
                    <a:lnTo>
                      <a:pt x="101" y="82"/>
                    </a:lnTo>
                    <a:lnTo>
                      <a:pt x="104" y="81"/>
                    </a:lnTo>
                    <a:lnTo>
                      <a:pt x="109" y="82"/>
                    </a:lnTo>
                    <a:lnTo>
                      <a:pt x="108" y="84"/>
                    </a:lnTo>
                    <a:lnTo>
                      <a:pt x="109" y="88"/>
                    </a:lnTo>
                    <a:lnTo>
                      <a:pt x="112" y="93"/>
                    </a:lnTo>
                    <a:lnTo>
                      <a:pt x="112" y="94"/>
                    </a:lnTo>
                    <a:lnTo>
                      <a:pt x="110" y="95"/>
                    </a:lnTo>
                    <a:lnTo>
                      <a:pt x="110" y="97"/>
                    </a:lnTo>
                    <a:lnTo>
                      <a:pt x="111" y="98"/>
                    </a:lnTo>
                    <a:lnTo>
                      <a:pt x="109" y="102"/>
                    </a:lnTo>
                    <a:lnTo>
                      <a:pt x="108" y="100"/>
                    </a:lnTo>
                    <a:lnTo>
                      <a:pt x="108" y="102"/>
                    </a:lnTo>
                    <a:lnTo>
                      <a:pt x="107" y="102"/>
                    </a:lnTo>
                    <a:lnTo>
                      <a:pt x="105" y="104"/>
                    </a:lnTo>
                    <a:lnTo>
                      <a:pt x="105" y="105"/>
                    </a:lnTo>
                    <a:lnTo>
                      <a:pt x="102" y="106"/>
                    </a:lnTo>
                    <a:lnTo>
                      <a:pt x="102" y="105"/>
                    </a:lnTo>
                    <a:lnTo>
                      <a:pt x="101" y="105"/>
                    </a:lnTo>
                    <a:lnTo>
                      <a:pt x="99" y="106"/>
                    </a:lnTo>
                    <a:lnTo>
                      <a:pt x="99" y="105"/>
                    </a:lnTo>
                    <a:lnTo>
                      <a:pt x="98" y="106"/>
                    </a:lnTo>
                    <a:lnTo>
                      <a:pt x="97" y="104"/>
                    </a:lnTo>
                    <a:lnTo>
                      <a:pt x="94" y="102"/>
                    </a:lnTo>
                    <a:lnTo>
                      <a:pt x="94" y="103"/>
                    </a:lnTo>
                    <a:lnTo>
                      <a:pt x="92" y="102"/>
                    </a:lnTo>
                    <a:lnTo>
                      <a:pt x="92" y="105"/>
                    </a:lnTo>
                    <a:lnTo>
                      <a:pt x="90" y="106"/>
                    </a:lnTo>
                    <a:lnTo>
                      <a:pt x="89" y="105"/>
                    </a:lnTo>
                    <a:lnTo>
                      <a:pt x="90" y="104"/>
                    </a:lnTo>
                    <a:lnTo>
                      <a:pt x="88" y="104"/>
                    </a:lnTo>
                    <a:lnTo>
                      <a:pt x="88" y="105"/>
                    </a:lnTo>
                    <a:lnTo>
                      <a:pt x="89" y="106"/>
                    </a:lnTo>
                    <a:lnTo>
                      <a:pt x="89" y="108"/>
                    </a:lnTo>
                    <a:lnTo>
                      <a:pt x="87" y="108"/>
                    </a:lnTo>
                    <a:lnTo>
                      <a:pt x="87" y="110"/>
                    </a:lnTo>
                    <a:lnTo>
                      <a:pt x="86" y="110"/>
                    </a:lnTo>
                    <a:lnTo>
                      <a:pt x="86" y="111"/>
                    </a:lnTo>
                    <a:lnTo>
                      <a:pt x="86" y="113"/>
                    </a:lnTo>
                    <a:lnTo>
                      <a:pt x="86" y="114"/>
                    </a:lnTo>
                    <a:lnTo>
                      <a:pt x="82" y="114"/>
                    </a:lnTo>
                    <a:lnTo>
                      <a:pt x="82" y="111"/>
                    </a:lnTo>
                    <a:lnTo>
                      <a:pt x="82" y="109"/>
                    </a:lnTo>
                    <a:lnTo>
                      <a:pt x="79" y="107"/>
                    </a:lnTo>
                    <a:lnTo>
                      <a:pt x="79" y="108"/>
                    </a:lnTo>
                    <a:lnTo>
                      <a:pt x="77" y="108"/>
                    </a:lnTo>
                    <a:lnTo>
                      <a:pt x="76" y="108"/>
                    </a:lnTo>
                    <a:lnTo>
                      <a:pt x="75" y="108"/>
                    </a:lnTo>
                    <a:lnTo>
                      <a:pt x="74" y="106"/>
                    </a:lnTo>
                    <a:lnTo>
                      <a:pt x="74" y="105"/>
                    </a:lnTo>
                    <a:lnTo>
                      <a:pt x="73" y="105"/>
                    </a:lnTo>
                    <a:lnTo>
                      <a:pt x="73" y="104"/>
                    </a:lnTo>
                    <a:lnTo>
                      <a:pt x="74" y="104"/>
                    </a:lnTo>
                    <a:lnTo>
                      <a:pt x="74" y="103"/>
                    </a:lnTo>
                    <a:lnTo>
                      <a:pt x="73" y="103"/>
                    </a:lnTo>
                    <a:lnTo>
                      <a:pt x="72" y="104"/>
                    </a:lnTo>
                    <a:lnTo>
                      <a:pt x="71" y="104"/>
                    </a:lnTo>
                    <a:lnTo>
                      <a:pt x="70" y="104"/>
                    </a:lnTo>
                    <a:lnTo>
                      <a:pt x="70" y="107"/>
                    </a:lnTo>
                    <a:lnTo>
                      <a:pt x="68" y="105"/>
                    </a:lnTo>
                    <a:lnTo>
                      <a:pt x="65" y="106"/>
                    </a:lnTo>
                    <a:lnTo>
                      <a:pt x="65" y="108"/>
                    </a:lnTo>
                    <a:lnTo>
                      <a:pt x="63" y="108"/>
                    </a:lnTo>
                    <a:lnTo>
                      <a:pt x="62" y="106"/>
                    </a:lnTo>
                    <a:lnTo>
                      <a:pt x="61" y="108"/>
                    </a:lnTo>
                    <a:lnTo>
                      <a:pt x="60" y="108"/>
                    </a:lnTo>
                    <a:lnTo>
                      <a:pt x="59" y="107"/>
                    </a:lnTo>
                    <a:lnTo>
                      <a:pt x="57" y="108"/>
                    </a:lnTo>
                    <a:lnTo>
                      <a:pt x="54" y="105"/>
                    </a:lnTo>
                    <a:lnTo>
                      <a:pt x="52" y="105"/>
                    </a:lnTo>
                    <a:lnTo>
                      <a:pt x="52" y="104"/>
                    </a:lnTo>
                    <a:lnTo>
                      <a:pt x="49" y="104"/>
                    </a:lnTo>
                    <a:lnTo>
                      <a:pt x="49" y="105"/>
                    </a:lnTo>
                    <a:lnTo>
                      <a:pt x="48" y="105"/>
                    </a:lnTo>
                    <a:lnTo>
                      <a:pt x="47" y="105"/>
                    </a:lnTo>
                    <a:lnTo>
                      <a:pt x="47" y="104"/>
                    </a:lnTo>
                    <a:lnTo>
                      <a:pt x="46" y="104"/>
                    </a:lnTo>
                    <a:lnTo>
                      <a:pt x="44" y="103"/>
                    </a:lnTo>
                    <a:lnTo>
                      <a:pt x="45" y="102"/>
                    </a:lnTo>
                    <a:lnTo>
                      <a:pt x="43" y="100"/>
                    </a:lnTo>
                    <a:lnTo>
                      <a:pt x="38" y="100"/>
                    </a:lnTo>
                    <a:lnTo>
                      <a:pt x="36" y="100"/>
                    </a:lnTo>
                    <a:lnTo>
                      <a:pt x="33" y="104"/>
                    </a:lnTo>
                    <a:lnTo>
                      <a:pt x="34" y="105"/>
                    </a:lnTo>
                    <a:lnTo>
                      <a:pt x="36" y="106"/>
                    </a:lnTo>
                    <a:lnTo>
                      <a:pt x="37" y="109"/>
                    </a:lnTo>
                    <a:lnTo>
                      <a:pt x="37" y="110"/>
                    </a:lnTo>
                    <a:lnTo>
                      <a:pt x="37" y="111"/>
                    </a:lnTo>
                    <a:lnTo>
                      <a:pt x="37" y="112"/>
                    </a:lnTo>
                    <a:lnTo>
                      <a:pt x="34" y="113"/>
                    </a:lnTo>
                    <a:lnTo>
                      <a:pt x="30" y="111"/>
                    </a:lnTo>
                    <a:lnTo>
                      <a:pt x="29" y="114"/>
                    </a:lnTo>
                    <a:lnTo>
                      <a:pt x="26" y="111"/>
                    </a:lnTo>
                    <a:lnTo>
                      <a:pt x="24" y="111"/>
                    </a:lnTo>
                    <a:lnTo>
                      <a:pt x="23" y="112"/>
                    </a:lnTo>
                    <a:lnTo>
                      <a:pt x="23" y="115"/>
                    </a:lnTo>
                    <a:lnTo>
                      <a:pt x="22" y="115"/>
                    </a:lnTo>
                    <a:lnTo>
                      <a:pt x="22" y="116"/>
                    </a:lnTo>
                    <a:lnTo>
                      <a:pt x="23" y="117"/>
                    </a:lnTo>
                    <a:lnTo>
                      <a:pt x="24" y="121"/>
                    </a:lnTo>
                    <a:lnTo>
                      <a:pt x="23" y="121"/>
                    </a:lnTo>
                    <a:lnTo>
                      <a:pt x="21" y="121"/>
                    </a:lnTo>
                    <a:lnTo>
                      <a:pt x="21" y="124"/>
                    </a:lnTo>
                    <a:lnTo>
                      <a:pt x="19" y="127"/>
                    </a:lnTo>
                    <a:lnTo>
                      <a:pt x="21" y="130"/>
                    </a:lnTo>
                    <a:lnTo>
                      <a:pt x="21" y="134"/>
                    </a:lnTo>
                    <a:lnTo>
                      <a:pt x="22" y="135"/>
                    </a:lnTo>
                    <a:lnTo>
                      <a:pt x="22" y="136"/>
                    </a:lnTo>
                    <a:lnTo>
                      <a:pt x="20" y="138"/>
                    </a:lnTo>
                    <a:lnTo>
                      <a:pt x="17" y="136"/>
                    </a:lnTo>
                    <a:lnTo>
                      <a:pt x="16" y="136"/>
                    </a:lnTo>
                    <a:lnTo>
                      <a:pt x="14" y="135"/>
                    </a:lnTo>
                    <a:lnTo>
                      <a:pt x="14" y="136"/>
                    </a:lnTo>
                    <a:lnTo>
                      <a:pt x="13" y="135"/>
                    </a:lnTo>
                    <a:lnTo>
                      <a:pt x="11" y="138"/>
                    </a:lnTo>
                    <a:lnTo>
                      <a:pt x="11" y="140"/>
                    </a:lnTo>
                    <a:lnTo>
                      <a:pt x="13" y="141"/>
                    </a:lnTo>
                    <a:lnTo>
                      <a:pt x="14" y="142"/>
                    </a:lnTo>
                    <a:lnTo>
                      <a:pt x="14" y="143"/>
                    </a:lnTo>
                    <a:lnTo>
                      <a:pt x="14" y="144"/>
                    </a:lnTo>
                    <a:lnTo>
                      <a:pt x="17" y="148"/>
                    </a:lnTo>
                    <a:lnTo>
                      <a:pt x="16" y="148"/>
                    </a:lnTo>
                    <a:lnTo>
                      <a:pt x="16" y="149"/>
                    </a:lnTo>
                    <a:lnTo>
                      <a:pt x="17" y="149"/>
                    </a:lnTo>
                    <a:lnTo>
                      <a:pt x="16" y="152"/>
                    </a:lnTo>
                    <a:lnTo>
                      <a:pt x="17" y="155"/>
                    </a:lnTo>
                    <a:lnTo>
                      <a:pt x="16" y="155"/>
                    </a:lnTo>
                    <a:lnTo>
                      <a:pt x="14" y="158"/>
                    </a:lnTo>
                    <a:lnTo>
                      <a:pt x="13" y="158"/>
                    </a:lnTo>
                    <a:lnTo>
                      <a:pt x="13" y="161"/>
                    </a:lnTo>
                    <a:lnTo>
                      <a:pt x="14" y="161"/>
                    </a:lnTo>
                    <a:lnTo>
                      <a:pt x="14" y="162"/>
                    </a:lnTo>
                    <a:lnTo>
                      <a:pt x="13" y="171"/>
                    </a:lnTo>
                    <a:lnTo>
                      <a:pt x="11" y="171"/>
                    </a:lnTo>
                    <a:lnTo>
                      <a:pt x="9" y="173"/>
                    </a:lnTo>
                    <a:lnTo>
                      <a:pt x="9" y="178"/>
                    </a:lnTo>
                    <a:lnTo>
                      <a:pt x="7" y="180"/>
                    </a:lnTo>
                    <a:lnTo>
                      <a:pt x="6" y="180"/>
                    </a:lnTo>
                    <a:lnTo>
                      <a:pt x="5" y="181"/>
                    </a:lnTo>
                    <a:lnTo>
                      <a:pt x="5" y="183"/>
                    </a:lnTo>
                    <a:lnTo>
                      <a:pt x="7" y="182"/>
                    </a:lnTo>
                    <a:lnTo>
                      <a:pt x="8" y="181"/>
                    </a:lnTo>
                    <a:lnTo>
                      <a:pt x="9" y="181"/>
                    </a:lnTo>
                    <a:lnTo>
                      <a:pt x="8" y="184"/>
                    </a:lnTo>
                    <a:lnTo>
                      <a:pt x="6" y="185"/>
                    </a:lnTo>
                    <a:lnTo>
                      <a:pt x="6" y="187"/>
                    </a:lnTo>
                    <a:lnTo>
                      <a:pt x="5" y="187"/>
                    </a:lnTo>
                    <a:lnTo>
                      <a:pt x="5" y="191"/>
                    </a:lnTo>
                    <a:lnTo>
                      <a:pt x="4" y="192"/>
                    </a:lnTo>
                    <a:lnTo>
                      <a:pt x="4" y="193"/>
                    </a:lnTo>
                    <a:lnTo>
                      <a:pt x="4" y="195"/>
                    </a:lnTo>
                    <a:lnTo>
                      <a:pt x="3" y="196"/>
                    </a:lnTo>
                    <a:lnTo>
                      <a:pt x="1" y="195"/>
                    </a:lnTo>
                    <a:lnTo>
                      <a:pt x="1" y="197"/>
                    </a:lnTo>
                    <a:lnTo>
                      <a:pt x="2" y="198"/>
                    </a:lnTo>
                    <a:lnTo>
                      <a:pt x="1" y="198"/>
                    </a:lnTo>
                    <a:lnTo>
                      <a:pt x="0" y="200"/>
                    </a:lnTo>
                    <a:lnTo>
                      <a:pt x="1" y="201"/>
                    </a:lnTo>
                    <a:lnTo>
                      <a:pt x="1" y="202"/>
                    </a:lnTo>
                    <a:lnTo>
                      <a:pt x="0" y="204"/>
                    </a:lnTo>
                    <a:lnTo>
                      <a:pt x="0" y="205"/>
                    </a:lnTo>
                    <a:lnTo>
                      <a:pt x="1" y="205"/>
                    </a:lnTo>
                    <a:lnTo>
                      <a:pt x="4" y="208"/>
                    </a:lnTo>
                    <a:lnTo>
                      <a:pt x="7" y="208"/>
                    </a:lnTo>
                    <a:lnTo>
                      <a:pt x="8" y="211"/>
                    </a:lnTo>
                    <a:lnTo>
                      <a:pt x="8" y="215"/>
                    </a:lnTo>
                    <a:lnTo>
                      <a:pt x="10" y="215"/>
                    </a:lnTo>
                    <a:lnTo>
                      <a:pt x="9" y="217"/>
                    </a:lnTo>
                    <a:lnTo>
                      <a:pt x="8" y="216"/>
                    </a:lnTo>
                    <a:lnTo>
                      <a:pt x="7" y="217"/>
                    </a:lnTo>
                    <a:lnTo>
                      <a:pt x="5" y="219"/>
                    </a:lnTo>
                    <a:lnTo>
                      <a:pt x="4" y="219"/>
                    </a:lnTo>
                    <a:lnTo>
                      <a:pt x="4" y="221"/>
                    </a:lnTo>
                    <a:lnTo>
                      <a:pt x="3" y="221"/>
                    </a:lnTo>
                    <a:lnTo>
                      <a:pt x="3" y="223"/>
                    </a:lnTo>
                    <a:lnTo>
                      <a:pt x="1" y="223"/>
                    </a:lnTo>
                    <a:lnTo>
                      <a:pt x="1" y="225"/>
                    </a:lnTo>
                    <a:lnTo>
                      <a:pt x="2" y="226"/>
                    </a:lnTo>
                    <a:lnTo>
                      <a:pt x="4" y="230"/>
                    </a:lnTo>
                    <a:lnTo>
                      <a:pt x="7" y="231"/>
                    </a:lnTo>
                    <a:lnTo>
                      <a:pt x="7" y="232"/>
                    </a:lnTo>
                    <a:lnTo>
                      <a:pt x="5" y="236"/>
                    </a:lnTo>
                    <a:lnTo>
                      <a:pt x="8" y="237"/>
                    </a:lnTo>
                    <a:lnTo>
                      <a:pt x="11" y="238"/>
                    </a:lnTo>
                    <a:lnTo>
                      <a:pt x="11" y="239"/>
                    </a:lnTo>
                    <a:lnTo>
                      <a:pt x="12" y="240"/>
                    </a:lnTo>
                    <a:lnTo>
                      <a:pt x="11" y="242"/>
                    </a:lnTo>
                    <a:lnTo>
                      <a:pt x="13" y="245"/>
                    </a:lnTo>
                    <a:lnTo>
                      <a:pt x="13" y="246"/>
                    </a:lnTo>
                    <a:lnTo>
                      <a:pt x="14" y="245"/>
                    </a:lnTo>
                    <a:lnTo>
                      <a:pt x="17" y="248"/>
                    </a:lnTo>
                    <a:lnTo>
                      <a:pt x="18" y="251"/>
                    </a:lnTo>
                    <a:lnTo>
                      <a:pt x="18" y="253"/>
                    </a:lnTo>
                    <a:lnTo>
                      <a:pt x="19" y="253"/>
                    </a:lnTo>
                    <a:lnTo>
                      <a:pt x="22" y="255"/>
                    </a:lnTo>
                    <a:lnTo>
                      <a:pt x="25" y="250"/>
                    </a:lnTo>
                    <a:lnTo>
                      <a:pt x="27" y="249"/>
                    </a:lnTo>
                    <a:lnTo>
                      <a:pt x="29" y="248"/>
                    </a:lnTo>
                    <a:lnTo>
                      <a:pt x="30" y="248"/>
                    </a:lnTo>
                    <a:lnTo>
                      <a:pt x="31" y="247"/>
                    </a:lnTo>
                    <a:lnTo>
                      <a:pt x="33" y="246"/>
                    </a:lnTo>
                    <a:lnTo>
                      <a:pt x="34" y="247"/>
                    </a:lnTo>
                    <a:lnTo>
                      <a:pt x="35" y="247"/>
                    </a:lnTo>
                    <a:lnTo>
                      <a:pt x="34" y="249"/>
                    </a:lnTo>
                    <a:lnTo>
                      <a:pt x="36" y="249"/>
                    </a:lnTo>
                    <a:lnTo>
                      <a:pt x="37" y="253"/>
                    </a:lnTo>
                    <a:lnTo>
                      <a:pt x="38" y="255"/>
                    </a:lnTo>
                    <a:lnTo>
                      <a:pt x="41" y="258"/>
                    </a:lnTo>
                    <a:lnTo>
                      <a:pt x="41" y="259"/>
                    </a:lnTo>
                    <a:lnTo>
                      <a:pt x="42" y="259"/>
                    </a:lnTo>
                    <a:lnTo>
                      <a:pt x="43" y="258"/>
                    </a:lnTo>
                    <a:lnTo>
                      <a:pt x="44" y="259"/>
                    </a:lnTo>
                    <a:lnTo>
                      <a:pt x="47" y="260"/>
                    </a:lnTo>
                    <a:lnTo>
                      <a:pt x="52" y="262"/>
                    </a:lnTo>
                    <a:lnTo>
                      <a:pt x="52" y="265"/>
                    </a:lnTo>
                    <a:lnTo>
                      <a:pt x="50" y="266"/>
                    </a:lnTo>
                    <a:lnTo>
                      <a:pt x="51" y="269"/>
                    </a:lnTo>
                    <a:lnTo>
                      <a:pt x="50" y="271"/>
                    </a:lnTo>
                    <a:lnTo>
                      <a:pt x="45" y="270"/>
                    </a:lnTo>
                    <a:lnTo>
                      <a:pt x="44" y="269"/>
                    </a:lnTo>
                    <a:lnTo>
                      <a:pt x="45" y="272"/>
                    </a:lnTo>
                    <a:lnTo>
                      <a:pt x="47" y="272"/>
                    </a:lnTo>
                    <a:lnTo>
                      <a:pt x="49" y="275"/>
                    </a:lnTo>
                    <a:lnTo>
                      <a:pt x="52" y="272"/>
                    </a:lnTo>
                    <a:lnTo>
                      <a:pt x="55" y="272"/>
                    </a:lnTo>
                    <a:lnTo>
                      <a:pt x="57" y="273"/>
                    </a:lnTo>
                    <a:lnTo>
                      <a:pt x="57" y="275"/>
                    </a:lnTo>
                    <a:lnTo>
                      <a:pt x="58" y="275"/>
                    </a:lnTo>
                    <a:lnTo>
                      <a:pt x="59" y="278"/>
                    </a:lnTo>
                    <a:lnTo>
                      <a:pt x="60" y="279"/>
                    </a:lnTo>
                    <a:lnTo>
                      <a:pt x="59" y="280"/>
                    </a:lnTo>
                    <a:lnTo>
                      <a:pt x="60" y="284"/>
                    </a:lnTo>
                    <a:lnTo>
                      <a:pt x="59" y="285"/>
                    </a:lnTo>
                    <a:lnTo>
                      <a:pt x="62" y="287"/>
                    </a:lnTo>
                    <a:lnTo>
                      <a:pt x="65" y="288"/>
                    </a:lnTo>
                    <a:lnTo>
                      <a:pt x="66" y="289"/>
                    </a:lnTo>
                    <a:lnTo>
                      <a:pt x="69" y="287"/>
                    </a:lnTo>
                    <a:lnTo>
                      <a:pt x="74" y="283"/>
                    </a:lnTo>
                    <a:lnTo>
                      <a:pt x="74" y="281"/>
                    </a:lnTo>
                    <a:lnTo>
                      <a:pt x="76" y="281"/>
                    </a:lnTo>
                    <a:lnTo>
                      <a:pt x="77" y="287"/>
                    </a:lnTo>
                    <a:lnTo>
                      <a:pt x="78" y="285"/>
                    </a:lnTo>
                    <a:lnTo>
                      <a:pt x="81" y="285"/>
                    </a:lnTo>
                    <a:lnTo>
                      <a:pt x="84" y="288"/>
                    </a:lnTo>
                    <a:lnTo>
                      <a:pt x="85" y="288"/>
                    </a:lnTo>
                    <a:lnTo>
                      <a:pt x="87" y="289"/>
                    </a:lnTo>
                    <a:lnTo>
                      <a:pt x="91" y="293"/>
                    </a:lnTo>
                    <a:lnTo>
                      <a:pt x="90" y="294"/>
                    </a:lnTo>
                    <a:lnTo>
                      <a:pt x="89" y="297"/>
                    </a:lnTo>
                    <a:lnTo>
                      <a:pt x="91" y="296"/>
                    </a:lnTo>
                    <a:lnTo>
                      <a:pt x="91" y="295"/>
                    </a:lnTo>
                    <a:lnTo>
                      <a:pt x="93" y="294"/>
                    </a:lnTo>
                    <a:lnTo>
                      <a:pt x="94" y="294"/>
                    </a:lnTo>
                    <a:lnTo>
                      <a:pt x="95" y="296"/>
                    </a:lnTo>
                    <a:lnTo>
                      <a:pt x="97" y="295"/>
                    </a:lnTo>
                    <a:lnTo>
                      <a:pt x="99" y="293"/>
                    </a:lnTo>
                    <a:lnTo>
                      <a:pt x="101" y="293"/>
                    </a:lnTo>
                    <a:lnTo>
                      <a:pt x="104" y="296"/>
                    </a:lnTo>
                    <a:lnTo>
                      <a:pt x="107" y="295"/>
                    </a:lnTo>
                    <a:lnTo>
                      <a:pt x="107" y="293"/>
                    </a:lnTo>
                    <a:lnTo>
                      <a:pt x="109" y="293"/>
                    </a:lnTo>
                    <a:lnTo>
                      <a:pt x="109" y="294"/>
                    </a:lnTo>
                    <a:lnTo>
                      <a:pt x="110" y="294"/>
                    </a:lnTo>
                    <a:lnTo>
                      <a:pt x="112" y="294"/>
                    </a:lnTo>
                    <a:lnTo>
                      <a:pt x="114" y="295"/>
                    </a:lnTo>
                    <a:lnTo>
                      <a:pt x="115" y="296"/>
                    </a:lnTo>
                    <a:lnTo>
                      <a:pt x="115" y="300"/>
                    </a:lnTo>
                    <a:lnTo>
                      <a:pt x="115" y="303"/>
                    </a:lnTo>
                    <a:lnTo>
                      <a:pt x="115" y="306"/>
                    </a:lnTo>
                    <a:lnTo>
                      <a:pt x="116" y="307"/>
                    </a:lnTo>
                    <a:lnTo>
                      <a:pt x="114" y="310"/>
                    </a:lnTo>
                    <a:lnTo>
                      <a:pt x="114" y="311"/>
                    </a:lnTo>
                    <a:lnTo>
                      <a:pt x="112" y="313"/>
                    </a:lnTo>
                    <a:lnTo>
                      <a:pt x="112" y="316"/>
                    </a:lnTo>
                    <a:lnTo>
                      <a:pt x="110" y="319"/>
                    </a:lnTo>
                    <a:lnTo>
                      <a:pt x="112" y="319"/>
                    </a:lnTo>
                    <a:lnTo>
                      <a:pt x="113" y="319"/>
                    </a:lnTo>
                    <a:lnTo>
                      <a:pt x="113" y="321"/>
                    </a:lnTo>
                    <a:lnTo>
                      <a:pt x="114" y="324"/>
                    </a:lnTo>
                    <a:lnTo>
                      <a:pt x="114" y="326"/>
                    </a:lnTo>
                    <a:lnTo>
                      <a:pt x="115" y="326"/>
                    </a:lnTo>
                    <a:lnTo>
                      <a:pt x="115" y="324"/>
                    </a:lnTo>
                    <a:lnTo>
                      <a:pt x="116" y="324"/>
                    </a:lnTo>
                    <a:lnTo>
                      <a:pt x="117" y="324"/>
                    </a:lnTo>
                    <a:lnTo>
                      <a:pt x="116" y="326"/>
                    </a:lnTo>
                    <a:lnTo>
                      <a:pt x="118" y="328"/>
                    </a:lnTo>
                    <a:lnTo>
                      <a:pt x="119" y="327"/>
                    </a:lnTo>
                    <a:lnTo>
                      <a:pt x="120" y="329"/>
                    </a:lnTo>
                    <a:lnTo>
                      <a:pt x="121" y="332"/>
                    </a:lnTo>
                    <a:lnTo>
                      <a:pt x="120" y="334"/>
                    </a:lnTo>
                    <a:lnTo>
                      <a:pt x="123" y="336"/>
                    </a:lnTo>
                    <a:lnTo>
                      <a:pt x="124" y="336"/>
                    </a:lnTo>
                    <a:lnTo>
                      <a:pt x="125" y="336"/>
                    </a:lnTo>
                    <a:lnTo>
                      <a:pt x="127" y="337"/>
                    </a:lnTo>
                    <a:lnTo>
                      <a:pt x="128" y="340"/>
                    </a:lnTo>
                    <a:lnTo>
                      <a:pt x="131" y="341"/>
                    </a:lnTo>
                    <a:lnTo>
                      <a:pt x="131" y="344"/>
                    </a:lnTo>
                    <a:lnTo>
                      <a:pt x="131" y="345"/>
                    </a:lnTo>
                    <a:lnTo>
                      <a:pt x="133" y="343"/>
                    </a:lnTo>
                    <a:lnTo>
                      <a:pt x="134" y="340"/>
                    </a:lnTo>
                    <a:lnTo>
                      <a:pt x="135" y="339"/>
                    </a:lnTo>
                    <a:lnTo>
                      <a:pt x="136" y="338"/>
                    </a:lnTo>
                    <a:lnTo>
                      <a:pt x="138" y="338"/>
                    </a:lnTo>
                    <a:lnTo>
                      <a:pt x="139" y="340"/>
                    </a:lnTo>
                    <a:lnTo>
                      <a:pt x="141" y="344"/>
                    </a:lnTo>
                    <a:lnTo>
                      <a:pt x="142" y="344"/>
                    </a:lnTo>
                    <a:lnTo>
                      <a:pt x="142" y="346"/>
                    </a:lnTo>
                    <a:lnTo>
                      <a:pt x="143" y="345"/>
                    </a:lnTo>
                    <a:lnTo>
                      <a:pt x="144" y="346"/>
                    </a:lnTo>
                    <a:lnTo>
                      <a:pt x="144" y="344"/>
                    </a:lnTo>
                    <a:lnTo>
                      <a:pt x="149" y="346"/>
                    </a:lnTo>
                    <a:lnTo>
                      <a:pt x="151" y="346"/>
                    </a:lnTo>
                    <a:lnTo>
                      <a:pt x="153" y="347"/>
                    </a:lnTo>
                    <a:lnTo>
                      <a:pt x="156" y="343"/>
                    </a:lnTo>
                    <a:lnTo>
                      <a:pt x="157" y="342"/>
                    </a:lnTo>
                    <a:lnTo>
                      <a:pt x="160" y="343"/>
                    </a:lnTo>
                    <a:lnTo>
                      <a:pt x="161" y="345"/>
                    </a:lnTo>
                    <a:lnTo>
                      <a:pt x="161" y="346"/>
                    </a:lnTo>
                    <a:lnTo>
                      <a:pt x="163" y="346"/>
                    </a:lnTo>
                    <a:lnTo>
                      <a:pt x="164" y="345"/>
                    </a:lnTo>
                    <a:lnTo>
                      <a:pt x="163" y="343"/>
                    </a:lnTo>
                    <a:lnTo>
                      <a:pt x="164" y="341"/>
                    </a:lnTo>
                    <a:lnTo>
                      <a:pt x="165" y="341"/>
                    </a:lnTo>
                    <a:lnTo>
                      <a:pt x="166" y="341"/>
                    </a:lnTo>
                    <a:lnTo>
                      <a:pt x="169" y="343"/>
                    </a:lnTo>
                    <a:lnTo>
                      <a:pt x="168" y="346"/>
                    </a:lnTo>
                    <a:lnTo>
                      <a:pt x="169" y="343"/>
                    </a:lnTo>
                    <a:lnTo>
                      <a:pt x="172" y="345"/>
                    </a:lnTo>
                    <a:lnTo>
                      <a:pt x="172" y="349"/>
                    </a:lnTo>
                    <a:lnTo>
                      <a:pt x="172" y="351"/>
                    </a:lnTo>
                    <a:lnTo>
                      <a:pt x="169" y="351"/>
                    </a:lnTo>
                    <a:lnTo>
                      <a:pt x="168" y="351"/>
                    </a:lnTo>
                    <a:lnTo>
                      <a:pt x="169" y="353"/>
                    </a:lnTo>
                    <a:lnTo>
                      <a:pt x="172" y="357"/>
                    </a:lnTo>
                    <a:lnTo>
                      <a:pt x="173" y="357"/>
                    </a:lnTo>
                    <a:lnTo>
                      <a:pt x="172" y="356"/>
                    </a:lnTo>
                    <a:lnTo>
                      <a:pt x="174" y="355"/>
                    </a:lnTo>
                    <a:lnTo>
                      <a:pt x="177" y="357"/>
                    </a:lnTo>
                    <a:lnTo>
                      <a:pt x="177" y="358"/>
                    </a:lnTo>
                    <a:lnTo>
                      <a:pt x="175" y="358"/>
                    </a:lnTo>
                    <a:lnTo>
                      <a:pt x="174" y="359"/>
                    </a:lnTo>
                    <a:lnTo>
                      <a:pt x="179" y="366"/>
                    </a:lnTo>
                    <a:lnTo>
                      <a:pt x="176" y="366"/>
                    </a:lnTo>
                    <a:lnTo>
                      <a:pt x="177" y="369"/>
                    </a:lnTo>
                    <a:lnTo>
                      <a:pt x="177" y="371"/>
                    </a:lnTo>
                    <a:lnTo>
                      <a:pt x="176" y="372"/>
                    </a:lnTo>
                    <a:lnTo>
                      <a:pt x="174" y="372"/>
                    </a:lnTo>
                    <a:lnTo>
                      <a:pt x="173" y="371"/>
                    </a:lnTo>
                    <a:lnTo>
                      <a:pt x="172" y="372"/>
                    </a:lnTo>
                    <a:lnTo>
                      <a:pt x="172" y="371"/>
                    </a:lnTo>
                    <a:lnTo>
                      <a:pt x="169" y="371"/>
                    </a:lnTo>
                    <a:lnTo>
                      <a:pt x="165" y="369"/>
                    </a:lnTo>
                    <a:lnTo>
                      <a:pt x="164" y="371"/>
                    </a:lnTo>
                    <a:lnTo>
                      <a:pt x="166" y="374"/>
                    </a:lnTo>
                    <a:lnTo>
                      <a:pt x="165" y="377"/>
                    </a:lnTo>
                    <a:lnTo>
                      <a:pt x="164" y="376"/>
                    </a:lnTo>
                    <a:lnTo>
                      <a:pt x="161" y="376"/>
                    </a:lnTo>
                    <a:lnTo>
                      <a:pt x="161" y="377"/>
                    </a:lnTo>
                    <a:lnTo>
                      <a:pt x="162" y="377"/>
                    </a:lnTo>
                    <a:lnTo>
                      <a:pt x="161" y="380"/>
                    </a:lnTo>
                    <a:lnTo>
                      <a:pt x="163" y="381"/>
                    </a:lnTo>
                    <a:lnTo>
                      <a:pt x="162" y="384"/>
                    </a:lnTo>
                    <a:lnTo>
                      <a:pt x="159" y="385"/>
                    </a:lnTo>
                    <a:lnTo>
                      <a:pt x="156" y="385"/>
                    </a:lnTo>
                    <a:lnTo>
                      <a:pt x="156" y="387"/>
                    </a:lnTo>
                    <a:lnTo>
                      <a:pt x="156" y="388"/>
                    </a:lnTo>
                    <a:lnTo>
                      <a:pt x="157" y="389"/>
                    </a:lnTo>
                    <a:lnTo>
                      <a:pt x="156" y="391"/>
                    </a:lnTo>
                    <a:lnTo>
                      <a:pt x="156" y="392"/>
                    </a:lnTo>
                    <a:lnTo>
                      <a:pt x="155" y="393"/>
                    </a:lnTo>
                    <a:lnTo>
                      <a:pt x="155" y="394"/>
                    </a:lnTo>
                    <a:lnTo>
                      <a:pt x="152" y="393"/>
                    </a:lnTo>
                    <a:lnTo>
                      <a:pt x="152" y="397"/>
                    </a:lnTo>
                    <a:lnTo>
                      <a:pt x="152" y="396"/>
                    </a:lnTo>
                    <a:lnTo>
                      <a:pt x="151" y="395"/>
                    </a:lnTo>
                    <a:lnTo>
                      <a:pt x="150" y="395"/>
                    </a:lnTo>
                    <a:lnTo>
                      <a:pt x="150" y="397"/>
                    </a:lnTo>
                    <a:lnTo>
                      <a:pt x="148" y="399"/>
                    </a:lnTo>
                    <a:lnTo>
                      <a:pt x="146" y="399"/>
                    </a:lnTo>
                    <a:lnTo>
                      <a:pt x="144" y="400"/>
                    </a:lnTo>
                    <a:lnTo>
                      <a:pt x="144" y="402"/>
                    </a:lnTo>
                    <a:lnTo>
                      <a:pt x="142" y="404"/>
                    </a:lnTo>
                    <a:lnTo>
                      <a:pt x="144" y="407"/>
                    </a:lnTo>
                    <a:lnTo>
                      <a:pt x="145" y="406"/>
                    </a:lnTo>
                    <a:lnTo>
                      <a:pt x="147" y="406"/>
                    </a:lnTo>
                    <a:lnTo>
                      <a:pt x="149" y="404"/>
                    </a:lnTo>
                    <a:lnTo>
                      <a:pt x="151" y="405"/>
                    </a:lnTo>
                    <a:lnTo>
                      <a:pt x="152" y="406"/>
                    </a:lnTo>
                    <a:lnTo>
                      <a:pt x="153" y="408"/>
                    </a:lnTo>
                    <a:lnTo>
                      <a:pt x="152" y="409"/>
                    </a:lnTo>
                    <a:lnTo>
                      <a:pt x="152" y="411"/>
                    </a:lnTo>
                    <a:lnTo>
                      <a:pt x="151" y="413"/>
                    </a:lnTo>
                    <a:lnTo>
                      <a:pt x="152" y="415"/>
                    </a:lnTo>
                    <a:lnTo>
                      <a:pt x="153" y="416"/>
                    </a:lnTo>
                    <a:lnTo>
                      <a:pt x="158" y="417"/>
                    </a:lnTo>
                    <a:lnTo>
                      <a:pt x="159" y="417"/>
                    </a:lnTo>
                    <a:lnTo>
                      <a:pt x="163" y="419"/>
                    </a:lnTo>
                    <a:lnTo>
                      <a:pt x="167" y="422"/>
                    </a:lnTo>
                    <a:lnTo>
                      <a:pt x="166" y="423"/>
                    </a:lnTo>
                    <a:lnTo>
                      <a:pt x="166" y="424"/>
                    </a:lnTo>
                    <a:lnTo>
                      <a:pt x="165" y="425"/>
                    </a:lnTo>
                    <a:lnTo>
                      <a:pt x="164" y="427"/>
                    </a:lnTo>
                    <a:lnTo>
                      <a:pt x="167" y="430"/>
                    </a:lnTo>
                    <a:lnTo>
                      <a:pt x="170" y="428"/>
                    </a:lnTo>
                    <a:lnTo>
                      <a:pt x="169" y="428"/>
                    </a:lnTo>
                    <a:lnTo>
                      <a:pt x="169" y="427"/>
                    </a:lnTo>
                    <a:lnTo>
                      <a:pt x="167" y="427"/>
                    </a:lnTo>
                    <a:lnTo>
                      <a:pt x="166" y="427"/>
                    </a:lnTo>
                    <a:lnTo>
                      <a:pt x="169" y="427"/>
                    </a:lnTo>
                    <a:lnTo>
                      <a:pt x="173" y="430"/>
                    </a:lnTo>
                    <a:lnTo>
                      <a:pt x="172" y="427"/>
                    </a:lnTo>
                    <a:lnTo>
                      <a:pt x="175" y="426"/>
                    </a:lnTo>
                    <a:lnTo>
                      <a:pt x="176" y="427"/>
                    </a:lnTo>
                    <a:lnTo>
                      <a:pt x="177" y="429"/>
                    </a:lnTo>
                    <a:lnTo>
                      <a:pt x="178" y="430"/>
                    </a:lnTo>
                    <a:lnTo>
                      <a:pt x="177" y="432"/>
                    </a:lnTo>
                    <a:lnTo>
                      <a:pt x="177" y="434"/>
                    </a:lnTo>
                    <a:lnTo>
                      <a:pt x="179" y="435"/>
                    </a:lnTo>
                    <a:lnTo>
                      <a:pt x="180" y="435"/>
                    </a:lnTo>
                    <a:lnTo>
                      <a:pt x="182" y="434"/>
                    </a:lnTo>
                    <a:lnTo>
                      <a:pt x="182" y="437"/>
                    </a:lnTo>
                    <a:lnTo>
                      <a:pt x="183" y="438"/>
                    </a:lnTo>
                    <a:lnTo>
                      <a:pt x="185" y="435"/>
                    </a:lnTo>
                    <a:lnTo>
                      <a:pt x="185" y="434"/>
                    </a:lnTo>
                    <a:lnTo>
                      <a:pt x="185" y="433"/>
                    </a:lnTo>
                    <a:lnTo>
                      <a:pt x="187" y="433"/>
                    </a:lnTo>
                    <a:lnTo>
                      <a:pt x="187" y="431"/>
                    </a:lnTo>
                    <a:lnTo>
                      <a:pt x="189" y="430"/>
                    </a:lnTo>
                    <a:lnTo>
                      <a:pt x="190" y="430"/>
                    </a:lnTo>
                    <a:lnTo>
                      <a:pt x="188" y="426"/>
                    </a:lnTo>
                    <a:lnTo>
                      <a:pt x="190" y="425"/>
                    </a:lnTo>
                    <a:lnTo>
                      <a:pt x="191" y="425"/>
                    </a:lnTo>
                    <a:lnTo>
                      <a:pt x="192" y="427"/>
                    </a:lnTo>
                    <a:lnTo>
                      <a:pt x="194" y="427"/>
                    </a:lnTo>
                    <a:lnTo>
                      <a:pt x="194" y="428"/>
                    </a:lnTo>
                    <a:lnTo>
                      <a:pt x="195" y="427"/>
                    </a:lnTo>
                    <a:lnTo>
                      <a:pt x="198" y="425"/>
                    </a:lnTo>
                    <a:lnTo>
                      <a:pt x="201" y="425"/>
                    </a:lnTo>
                    <a:lnTo>
                      <a:pt x="201" y="427"/>
                    </a:lnTo>
                    <a:lnTo>
                      <a:pt x="204" y="429"/>
                    </a:lnTo>
                    <a:lnTo>
                      <a:pt x="204" y="432"/>
                    </a:lnTo>
                    <a:lnTo>
                      <a:pt x="206" y="434"/>
                    </a:lnTo>
                    <a:lnTo>
                      <a:pt x="207" y="435"/>
                    </a:lnTo>
                    <a:lnTo>
                      <a:pt x="208" y="434"/>
                    </a:lnTo>
                    <a:lnTo>
                      <a:pt x="209" y="434"/>
                    </a:lnTo>
                    <a:lnTo>
                      <a:pt x="209" y="432"/>
                    </a:lnTo>
                    <a:lnTo>
                      <a:pt x="211" y="430"/>
                    </a:lnTo>
                    <a:lnTo>
                      <a:pt x="210" y="430"/>
                    </a:lnTo>
                    <a:lnTo>
                      <a:pt x="210" y="429"/>
                    </a:lnTo>
                    <a:lnTo>
                      <a:pt x="209" y="428"/>
                    </a:lnTo>
                    <a:lnTo>
                      <a:pt x="211" y="429"/>
                    </a:lnTo>
                    <a:lnTo>
                      <a:pt x="213" y="426"/>
                    </a:lnTo>
                    <a:lnTo>
                      <a:pt x="215" y="428"/>
                    </a:lnTo>
                    <a:lnTo>
                      <a:pt x="216" y="427"/>
                    </a:lnTo>
                    <a:lnTo>
                      <a:pt x="216" y="426"/>
                    </a:lnTo>
                    <a:lnTo>
                      <a:pt x="216" y="422"/>
                    </a:lnTo>
                    <a:lnTo>
                      <a:pt x="216" y="421"/>
                    </a:lnTo>
                    <a:lnTo>
                      <a:pt x="218" y="422"/>
                    </a:lnTo>
                    <a:lnTo>
                      <a:pt x="223" y="423"/>
                    </a:lnTo>
                    <a:lnTo>
                      <a:pt x="226" y="421"/>
                    </a:lnTo>
                    <a:lnTo>
                      <a:pt x="227" y="418"/>
                    </a:lnTo>
                    <a:lnTo>
                      <a:pt x="229" y="418"/>
                    </a:lnTo>
                    <a:lnTo>
                      <a:pt x="229" y="417"/>
                    </a:lnTo>
                    <a:lnTo>
                      <a:pt x="230" y="417"/>
                    </a:lnTo>
                    <a:lnTo>
                      <a:pt x="230" y="416"/>
                    </a:lnTo>
                    <a:lnTo>
                      <a:pt x="228" y="415"/>
                    </a:lnTo>
                    <a:lnTo>
                      <a:pt x="229" y="413"/>
                    </a:lnTo>
                    <a:lnTo>
                      <a:pt x="230" y="413"/>
                    </a:lnTo>
                    <a:lnTo>
                      <a:pt x="233" y="411"/>
                    </a:lnTo>
                    <a:lnTo>
                      <a:pt x="234" y="410"/>
                    </a:lnTo>
                    <a:lnTo>
                      <a:pt x="237" y="411"/>
                    </a:lnTo>
                    <a:lnTo>
                      <a:pt x="239" y="409"/>
                    </a:lnTo>
                    <a:lnTo>
                      <a:pt x="242" y="411"/>
                    </a:lnTo>
                    <a:lnTo>
                      <a:pt x="243" y="409"/>
                    </a:lnTo>
                    <a:lnTo>
                      <a:pt x="246" y="411"/>
                    </a:lnTo>
                    <a:lnTo>
                      <a:pt x="247" y="411"/>
                    </a:lnTo>
                    <a:lnTo>
                      <a:pt x="247" y="413"/>
                    </a:lnTo>
                    <a:lnTo>
                      <a:pt x="250" y="413"/>
                    </a:lnTo>
                    <a:lnTo>
                      <a:pt x="248" y="411"/>
                    </a:lnTo>
                    <a:lnTo>
                      <a:pt x="250" y="410"/>
                    </a:lnTo>
                    <a:lnTo>
                      <a:pt x="251" y="410"/>
                    </a:lnTo>
                    <a:lnTo>
                      <a:pt x="252" y="410"/>
                    </a:lnTo>
                    <a:lnTo>
                      <a:pt x="251" y="408"/>
                    </a:lnTo>
                    <a:lnTo>
                      <a:pt x="252" y="408"/>
                    </a:lnTo>
                    <a:lnTo>
                      <a:pt x="252" y="407"/>
                    </a:lnTo>
                    <a:lnTo>
                      <a:pt x="251" y="407"/>
                    </a:lnTo>
                    <a:lnTo>
                      <a:pt x="253" y="404"/>
                    </a:lnTo>
                    <a:lnTo>
                      <a:pt x="253" y="402"/>
                    </a:lnTo>
                    <a:lnTo>
                      <a:pt x="254" y="401"/>
                    </a:lnTo>
                    <a:lnTo>
                      <a:pt x="253" y="398"/>
                    </a:lnTo>
                    <a:lnTo>
                      <a:pt x="255" y="399"/>
                    </a:lnTo>
                    <a:lnTo>
                      <a:pt x="256" y="399"/>
                    </a:lnTo>
                    <a:lnTo>
                      <a:pt x="260" y="402"/>
                    </a:lnTo>
                    <a:lnTo>
                      <a:pt x="260" y="403"/>
                    </a:lnTo>
                    <a:lnTo>
                      <a:pt x="258" y="403"/>
                    </a:lnTo>
                    <a:lnTo>
                      <a:pt x="258" y="404"/>
                    </a:lnTo>
                    <a:lnTo>
                      <a:pt x="260" y="404"/>
                    </a:lnTo>
                    <a:lnTo>
                      <a:pt x="261" y="404"/>
                    </a:lnTo>
                    <a:lnTo>
                      <a:pt x="261" y="405"/>
                    </a:lnTo>
                    <a:lnTo>
                      <a:pt x="264" y="402"/>
                    </a:lnTo>
                    <a:lnTo>
                      <a:pt x="268" y="400"/>
                    </a:lnTo>
                    <a:lnTo>
                      <a:pt x="266" y="400"/>
                    </a:lnTo>
                    <a:lnTo>
                      <a:pt x="267" y="394"/>
                    </a:lnTo>
                    <a:lnTo>
                      <a:pt x="271" y="398"/>
                    </a:lnTo>
                    <a:lnTo>
                      <a:pt x="273" y="395"/>
                    </a:lnTo>
                    <a:lnTo>
                      <a:pt x="276" y="393"/>
                    </a:lnTo>
                    <a:lnTo>
                      <a:pt x="277" y="394"/>
                    </a:lnTo>
                    <a:lnTo>
                      <a:pt x="277" y="396"/>
                    </a:lnTo>
                    <a:lnTo>
                      <a:pt x="277" y="398"/>
                    </a:lnTo>
                    <a:lnTo>
                      <a:pt x="278" y="398"/>
                    </a:lnTo>
                    <a:lnTo>
                      <a:pt x="278" y="400"/>
                    </a:lnTo>
                    <a:lnTo>
                      <a:pt x="277" y="400"/>
                    </a:lnTo>
                    <a:lnTo>
                      <a:pt x="278" y="401"/>
                    </a:lnTo>
                    <a:lnTo>
                      <a:pt x="277" y="401"/>
                    </a:lnTo>
                    <a:lnTo>
                      <a:pt x="277" y="402"/>
                    </a:lnTo>
                    <a:lnTo>
                      <a:pt x="278" y="402"/>
                    </a:lnTo>
                    <a:lnTo>
                      <a:pt x="279" y="404"/>
                    </a:lnTo>
                    <a:lnTo>
                      <a:pt x="280" y="403"/>
                    </a:lnTo>
                    <a:lnTo>
                      <a:pt x="280" y="401"/>
                    </a:lnTo>
                    <a:lnTo>
                      <a:pt x="280" y="402"/>
                    </a:lnTo>
                    <a:lnTo>
                      <a:pt x="281" y="404"/>
                    </a:lnTo>
                    <a:lnTo>
                      <a:pt x="280" y="404"/>
                    </a:lnTo>
                    <a:lnTo>
                      <a:pt x="280" y="405"/>
                    </a:lnTo>
                    <a:lnTo>
                      <a:pt x="283" y="407"/>
                    </a:lnTo>
                    <a:lnTo>
                      <a:pt x="285" y="408"/>
                    </a:lnTo>
                    <a:lnTo>
                      <a:pt x="288" y="409"/>
                    </a:lnTo>
                    <a:lnTo>
                      <a:pt x="289" y="408"/>
                    </a:lnTo>
                    <a:lnTo>
                      <a:pt x="291" y="408"/>
                    </a:lnTo>
                    <a:lnTo>
                      <a:pt x="293" y="406"/>
                    </a:lnTo>
                    <a:lnTo>
                      <a:pt x="294" y="406"/>
                    </a:lnTo>
                    <a:lnTo>
                      <a:pt x="295" y="403"/>
                    </a:lnTo>
                    <a:lnTo>
                      <a:pt x="294" y="401"/>
                    </a:lnTo>
                    <a:lnTo>
                      <a:pt x="294" y="400"/>
                    </a:lnTo>
                    <a:lnTo>
                      <a:pt x="296" y="400"/>
                    </a:lnTo>
                    <a:lnTo>
                      <a:pt x="296" y="401"/>
                    </a:lnTo>
                    <a:lnTo>
                      <a:pt x="296" y="403"/>
                    </a:lnTo>
                    <a:lnTo>
                      <a:pt x="298" y="403"/>
                    </a:lnTo>
                    <a:lnTo>
                      <a:pt x="298" y="404"/>
                    </a:lnTo>
                    <a:lnTo>
                      <a:pt x="300" y="404"/>
                    </a:lnTo>
                    <a:lnTo>
                      <a:pt x="301" y="404"/>
                    </a:lnTo>
                    <a:lnTo>
                      <a:pt x="303" y="406"/>
                    </a:lnTo>
                    <a:lnTo>
                      <a:pt x="304" y="407"/>
                    </a:lnTo>
                    <a:lnTo>
                      <a:pt x="305" y="406"/>
                    </a:lnTo>
                    <a:lnTo>
                      <a:pt x="307" y="406"/>
                    </a:lnTo>
                    <a:lnTo>
                      <a:pt x="308" y="409"/>
                    </a:lnTo>
                    <a:lnTo>
                      <a:pt x="309" y="410"/>
                    </a:lnTo>
                    <a:lnTo>
                      <a:pt x="309" y="407"/>
                    </a:lnTo>
                    <a:lnTo>
                      <a:pt x="309" y="406"/>
                    </a:lnTo>
                    <a:lnTo>
                      <a:pt x="311" y="406"/>
                    </a:lnTo>
                    <a:lnTo>
                      <a:pt x="313" y="407"/>
                    </a:lnTo>
                    <a:lnTo>
                      <a:pt x="313" y="406"/>
                    </a:lnTo>
                    <a:lnTo>
                      <a:pt x="314" y="406"/>
                    </a:lnTo>
                    <a:lnTo>
                      <a:pt x="318" y="408"/>
                    </a:lnTo>
                    <a:lnTo>
                      <a:pt x="318" y="407"/>
                    </a:lnTo>
                    <a:lnTo>
                      <a:pt x="320" y="407"/>
                    </a:lnTo>
                    <a:lnTo>
                      <a:pt x="318" y="406"/>
                    </a:lnTo>
                    <a:lnTo>
                      <a:pt x="320" y="406"/>
                    </a:lnTo>
                    <a:lnTo>
                      <a:pt x="320" y="404"/>
                    </a:lnTo>
                    <a:lnTo>
                      <a:pt x="321" y="404"/>
                    </a:lnTo>
                    <a:lnTo>
                      <a:pt x="322" y="406"/>
                    </a:lnTo>
                    <a:lnTo>
                      <a:pt x="326" y="404"/>
                    </a:lnTo>
                    <a:lnTo>
                      <a:pt x="326" y="403"/>
                    </a:lnTo>
                    <a:lnTo>
                      <a:pt x="325" y="402"/>
                    </a:lnTo>
                    <a:lnTo>
                      <a:pt x="325" y="400"/>
                    </a:lnTo>
                    <a:lnTo>
                      <a:pt x="321" y="398"/>
                    </a:lnTo>
                    <a:lnTo>
                      <a:pt x="324" y="396"/>
                    </a:lnTo>
                    <a:lnTo>
                      <a:pt x="323" y="395"/>
                    </a:lnTo>
                    <a:lnTo>
                      <a:pt x="324" y="396"/>
                    </a:lnTo>
                    <a:lnTo>
                      <a:pt x="329" y="394"/>
                    </a:lnTo>
                    <a:lnTo>
                      <a:pt x="330" y="394"/>
                    </a:lnTo>
                    <a:lnTo>
                      <a:pt x="332" y="393"/>
                    </a:lnTo>
                    <a:lnTo>
                      <a:pt x="333" y="393"/>
                    </a:lnTo>
                    <a:lnTo>
                      <a:pt x="336" y="394"/>
                    </a:lnTo>
                    <a:lnTo>
                      <a:pt x="337" y="393"/>
                    </a:lnTo>
                    <a:lnTo>
                      <a:pt x="339" y="394"/>
                    </a:lnTo>
                    <a:lnTo>
                      <a:pt x="342" y="393"/>
                    </a:lnTo>
                    <a:lnTo>
                      <a:pt x="345" y="395"/>
                    </a:lnTo>
                    <a:lnTo>
                      <a:pt x="346" y="393"/>
                    </a:lnTo>
                    <a:lnTo>
                      <a:pt x="346" y="392"/>
                    </a:lnTo>
                    <a:lnTo>
                      <a:pt x="348" y="390"/>
                    </a:lnTo>
                    <a:lnTo>
                      <a:pt x="350" y="390"/>
                    </a:lnTo>
                    <a:lnTo>
                      <a:pt x="350" y="388"/>
                    </a:lnTo>
                    <a:lnTo>
                      <a:pt x="348" y="384"/>
                    </a:lnTo>
                    <a:lnTo>
                      <a:pt x="349" y="383"/>
                    </a:lnTo>
                    <a:lnTo>
                      <a:pt x="351" y="383"/>
                    </a:lnTo>
                    <a:lnTo>
                      <a:pt x="353" y="383"/>
                    </a:lnTo>
                    <a:lnTo>
                      <a:pt x="355" y="383"/>
                    </a:lnTo>
                    <a:lnTo>
                      <a:pt x="356" y="383"/>
                    </a:lnTo>
                    <a:lnTo>
                      <a:pt x="357" y="381"/>
                    </a:lnTo>
                    <a:lnTo>
                      <a:pt x="359" y="381"/>
                    </a:lnTo>
                    <a:lnTo>
                      <a:pt x="359" y="380"/>
                    </a:lnTo>
                    <a:lnTo>
                      <a:pt x="361" y="378"/>
                    </a:lnTo>
                    <a:lnTo>
                      <a:pt x="362" y="376"/>
                    </a:lnTo>
                    <a:lnTo>
                      <a:pt x="362" y="377"/>
                    </a:lnTo>
                    <a:lnTo>
                      <a:pt x="362" y="376"/>
                    </a:lnTo>
                    <a:lnTo>
                      <a:pt x="364" y="370"/>
                    </a:lnTo>
                    <a:lnTo>
                      <a:pt x="363" y="370"/>
                    </a:lnTo>
                    <a:lnTo>
                      <a:pt x="363" y="367"/>
                    </a:lnTo>
                    <a:lnTo>
                      <a:pt x="360" y="367"/>
                    </a:lnTo>
                    <a:lnTo>
                      <a:pt x="362" y="364"/>
                    </a:lnTo>
                    <a:lnTo>
                      <a:pt x="362" y="362"/>
                    </a:lnTo>
                    <a:lnTo>
                      <a:pt x="361" y="361"/>
                    </a:lnTo>
                    <a:lnTo>
                      <a:pt x="361" y="363"/>
                    </a:lnTo>
                    <a:lnTo>
                      <a:pt x="358" y="365"/>
                    </a:lnTo>
                    <a:lnTo>
                      <a:pt x="356" y="364"/>
                    </a:lnTo>
                    <a:lnTo>
                      <a:pt x="355" y="366"/>
                    </a:lnTo>
                    <a:lnTo>
                      <a:pt x="354" y="366"/>
                    </a:lnTo>
                    <a:lnTo>
                      <a:pt x="356" y="364"/>
                    </a:lnTo>
                    <a:lnTo>
                      <a:pt x="356" y="362"/>
                    </a:lnTo>
                    <a:lnTo>
                      <a:pt x="357" y="363"/>
                    </a:lnTo>
                    <a:lnTo>
                      <a:pt x="358" y="361"/>
                    </a:lnTo>
                    <a:lnTo>
                      <a:pt x="356" y="358"/>
                    </a:lnTo>
                    <a:lnTo>
                      <a:pt x="356" y="357"/>
                    </a:lnTo>
                    <a:lnTo>
                      <a:pt x="356" y="354"/>
                    </a:lnTo>
                    <a:lnTo>
                      <a:pt x="354" y="355"/>
                    </a:lnTo>
                    <a:lnTo>
                      <a:pt x="355" y="353"/>
                    </a:lnTo>
                    <a:lnTo>
                      <a:pt x="353" y="353"/>
                    </a:lnTo>
                    <a:lnTo>
                      <a:pt x="354" y="351"/>
                    </a:lnTo>
                    <a:lnTo>
                      <a:pt x="356" y="347"/>
                    </a:lnTo>
                    <a:lnTo>
                      <a:pt x="359" y="347"/>
                    </a:lnTo>
                    <a:lnTo>
                      <a:pt x="362" y="349"/>
                    </a:lnTo>
                    <a:lnTo>
                      <a:pt x="364" y="347"/>
                    </a:lnTo>
                    <a:lnTo>
                      <a:pt x="364" y="346"/>
                    </a:lnTo>
                    <a:lnTo>
                      <a:pt x="366" y="348"/>
                    </a:lnTo>
                    <a:lnTo>
                      <a:pt x="368" y="345"/>
                    </a:lnTo>
                    <a:lnTo>
                      <a:pt x="366" y="344"/>
                    </a:lnTo>
                    <a:lnTo>
                      <a:pt x="366" y="340"/>
                    </a:lnTo>
                    <a:lnTo>
                      <a:pt x="367" y="338"/>
                    </a:lnTo>
                    <a:lnTo>
                      <a:pt x="367" y="339"/>
                    </a:lnTo>
                    <a:lnTo>
                      <a:pt x="368" y="337"/>
                    </a:lnTo>
                    <a:lnTo>
                      <a:pt x="366" y="334"/>
                    </a:lnTo>
                    <a:lnTo>
                      <a:pt x="365" y="332"/>
                    </a:lnTo>
                    <a:lnTo>
                      <a:pt x="363" y="332"/>
                    </a:lnTo>
                    <a:lnTo>
                      <a:pt x="361" y="331"/>
                    </a:lnTo>
                    <a:lnTo>
                      <a:pt x="359" y="331"/>
                    </a:lnTo>
                    <a:lnTo>
                      <a:pt x="358" y="330"/>
                    </a:lnTo>
                    <a:lnTo>
                      <a:pt x="359" y="326"/>
                    </a:lnTo>
                    <a:lnTo>
                      <a:pt x="359" y="324"/>
                    </a:lnTo>
                    <a:lnTo>
                      <a:pt x="360" y="322"/>
                    </a:lnTo>
                    <a:lnTo>
                      <a:pt x="362" y="317"/>
                    </a:lnTo>
                    <a:lnTo>
                      <a:pt x="364" y="315"/>
                    </a:lnTo>
                    <a:lnTo>
                      <a:pt x="364" y="313"/>
                    </a:lnTo>
                    <a:lnTo>
                      <a:pt x="366" y="311"/>
                    </a:lnTo>
                    <a:lnTo>
                      <a:pt x="369" y="311"/>
                    </a:lnTo>
                    <a:lnTo>
                      <a:pt x="369" y="313"/>
                    </a:lnTo>
                    <a:lnTo>
                      <a:pt x="370" y="313"/>
                    </a:lnTo>
                    <a:lnTo>
                      <a:pt x="371" y="312"/>
                    </a:lnTo>
                    <a:lnTo>
                      <a:pt x="373" y="311"/>
                    </a:lnTo>
                    <a:lnTo>
                      <a:pt x="374" y="311"/>
                    </a:lnTo>
                    <a:lnTo>
                      <a:pt x="375" y="311"/>
                    </a:lnTo>
                    <a:lnTo>
                      <a:pt x="375" y="307"/>
                    </a:lnTo>
                    <a:lnTo>
                      <a:pt x="372" y="306"/>
                    </a:lnTo>
                    <a:lnTo>
                      <a:pt x="373" y="303"/>
                    </a:lnTo>
                    <a:lnTo>
                      <a:pt x="372" y="303"/>
                    </a:lnTo>
                    <a:lnTo>
                      <a:pt x="372" y="302"/>
                    </a:lnTo>
                    <a:lnTo>
                      <a:pt x="368" y="302"/>
                    </a:lnTo>
                    <a:lnTo>
                      <a:pt x="367" y="300"/>
                    </a:lnTo>
                    <a:lnTo>
                      <a:pt x="367" y="297"/>
                    </a:lnTo>
                    <a:lnTo>
                      <a:pt x="369" y="294"/>
                    </a:lnTo>
                    <a:lnTo>
                      <a:pt x="369" y="293"/>
                    </a:lnTo>
                    <a:lnTo>
                      <a:pt x="370" y="294"/>
                    </a:lnTo>
                    <a:lnTo>
                      <a:pt x="373" y="293"/>
                    </a:lnTo>
                    <a:lnTo>
                      <a:pt x="373" y="292"/>
                    </a:lnTo>
                    <a:lnTo>
                      <a:pt x="375" y="293"/>
                    </a:lnTo>
                    <a:lnTo>
                      <a:pt x="375" y="292"/>
                    </a:lnTo>
                    <a:lnTo>
                      <a:pt x="374" y="290"/>
                    </a:lnTo>
                    <a:lnTo>
                      <a:pt x="375" y="289"/>
                    </a:lnTo>
                    <a:lnTo>
                      <a:pt x="377" y="289"/>
                    </a:lnTo>
                    <a:lnTo>
                      <a:pt x="378" y="288"/>
                    </a:lnTo>
                    <a:lnTo>
                      <a:pt x="378" y="286"/>
                    </a:lnTo>
                    <a:lnTo>
                      <a:pt x="379" y="285"/>
                    </a:lnTo>
                    <a:lnTo>
                      <a:pt x="378" y="283"/>
                    </a:lnTo>
                    <a:lnTo>
                      <a:pt x="378" y="282"/>
                    </a:lnTo>
                    <a:lnTo>
                      <a:pt x="378" y="281"/>
                    </a:lnTo>
                    <a:lnTo>
                      <a:pt x="378" y="279"/>
                    </a:lnTo>
                    <a:lnTo>
                      <a:pt x="379" y="279"/>
                    </a:lnTo>
                    <a:lnTo>
                      <a:pt x="382" y="279"/>
                    </a:lnTo>
                    <a:lnTo>
                      <a:pt x="384" y="278"/>
                    </a:lnTo>
                    <a:lnTo>
                      <a:pt x="386" y="279"/>
                    </a:lnTo>
                    <a:lnTo>
                      <a:pt x="390" y="276"/>
                    </a:lnTo>
                    <a:lnTo>
                      <a:pt x="392" y="274"/>
                    </a:lnTo>
                    <a:lnTo>
                      <a:pt x="392" y="272"/>
                    </a:lnTo>
                    <a:lnTo>
                      <a:pt x="395" y="272"/>
                    </a:lnTo>
                    <a:lnTo>
                      <a:pt x="395" y="274"/>
                    </a:lnTo>
                    <a:lnTo>
                      <a:pt x="396" y="275"/>
                    </a:lnTo>
                    <a:lnTo>
                      <a:pt x="396" y="274"/>
                    </a:lnTo>
                    <a:lnTo>
                      <a:pt x="398" y="272"/>
                    </a:lnTo>
                    <a:lnTo>
                      <a:pt x="400" y="272"/>
                    </a:lnTo>
                    <a:lnTo>
                      <a:pt x="403" y="270"/>
                    </a:lnTo>
                    <a:lnTo>
                      <a:pt x="403" y="268"/>
                    </a:lnTo>
                    <a:lnTo>
                      <a:pt x="406" y="268"/>
                    </a:lnTo>
                    <a:lnTo>
                      <a:pt x="406" y="266"/>
                    </a:lnTo>
                    <a:lnTo>
                      <a:pt x="405" y="266"/>
                    </a:lnTo>
                    <a:lnTo>
                      <a:pt x="406" y="266"/>
                    </a:lnTo>
                    <a:lnTo>
                      <a:pt x="405" y="264"/>
                    </a:lnTo>
                    <a:lnTo>
                      <a:pt x="403" y="260"/>
                    </a:lnTo>
                    <a:lnTo>
                      <a:pt x="406" y="258"/>
                    </a:lnTo>
                    <a:lnTo>
                      <a:pt x="405" y="258"/>
                    </a:lnTo>
                    <a:lnTo>
                      <a:pt x="404" y="253"/>
                    </a:lnTo>
                    <a:lnTo>
                      <a:pt x="405" y="253"/>
                    </a:lnTo>
                    <a:lnTo>
                      <a:pt x="405" y="251"/>
                    </a:lnTo>
                    <a:lnTo>
                      <a:pt x="406" y="248"/>
                    </a:lnTo>
                    <a:lnTo>
                      <a:pt x="406" y="246"/>
                    </a:lnTo>
                    <a:lnTo>
                      <a:pt x="407" y="244"/>
                    </a:lnTo>
                    <a:lnTo>
                      <a:pt x="408" y="243"/>
                    </a:lnTo>
                    <a:lnTo>
                      <a:pt x="408" y="240"/>
                    </a:lnTo>
                    <a:lnTo>
                      <a:pt x="406" y="242"/>
                    </a:lnTo>
                    <a:lnTo>
                      <a:pt x="405" y="241"/>
                    </a:lnTo>
                    <a:lnTo>
                      <a:pt x="404" y="239"/>
                    </a:lnTo>
                    <a:lnTo>
                      <a:pt x="406" y="238"/>
                    </a:lnTo>
                    <a:lnTo>
                      <a:pt x="405" y="236"/>
                    </a:lnTo>
                    <a:lnTo>
                      <a:pt x="405" y="235"/>
                    </a:lnTo>
                    <a:lnTo>
                      <a:pt x="406" y="234"/>
                    </a:lnTo>
                    <a:lnTo>
                      <a:pt x="404" y="229"/>
                    </a:lnTo>
                    <a:lnTo>
                      <a:pt x="405" y="226"/>
                    </a:lnTo>
                    <a:lnTo>
                      <a:pt x="406" y="225"/>
                    </a:lnTo>
                    <a:lnTo>
                      <a:pt x="408" y="223"/>
                    </a:lnTo>
                    <a:lnTo>
                      <a:pt x="410" y="221"/>
                    </a:lnTo>
                    <a:lnTo>
                      <a:pt x="408" y="217"/>
                    </a:lnTo>
                    <a:lnTo>
                      <a:pt x="412" y="215"/>
                    </a:lnTo>
                    <a:lnTo>
                      <a:pt x="413" y="213"/>
                    </a:lnTo>
                    <a:lnTo>
                      <a:pt x="410" y="212"/>
                    </a:lnTo>
                    <a:lnTo>
                      <a:pt x="410" y="211"/>
                    </a:lnTo>
                    <a:lnTo>
                      <a:pt x="410" y="209"/>
                    </a:lnTo>
                    <a:lnTo>
                      <a:pt x="411" y="208"/>
                    </a:lnTo>
                    <a:lnTo>
                      <a:pt x="410" y="208"/>
                    </a:lnTo>
                    <a:lnTo>
                      <a:pt x="409" y="209"/>
                    </a:lnTo>
                    <a:lnTo>
                      <a:pt x="408" y="208"/>
                    </a:lnTo>
                    <a:lnTo>
                      <a:pt x="406" y="206"/>
                    </a:lnTo>
                    <a:lnTo>
                      <a:pt x="405" y="204"/>
                    </a:lnTo>
                    <a:lnTo>
                      <a:pt x="406" y="203"/>
                    </a:lnTo>
                    <a:lnTo>
                      <a:pt x="406" y="202"/>
                    </a:lnTo>
                    <a:lnTo>
                      <a:pt x="404" y="200"/>
                    </a:lnTo>
                    <a:lnTo>
                      <a:pt x="405" y="200"/>
                    </a:lnTo>
                    <a:lnTo>
                      <a:pt x="407" y="200"/>
                    </a:lnTo>
                    <a:lnTo>
                      <a:pt x="408" y="201"/>
                    </a:lnTo>
                    <a:lnTo>
                      <a:pt x="409" y="205"/>
                    </a:lnTo>
                    <a:lnTo>
                      <a:pt x="412" y="204"/>
                    </a:lnTo>
                    <a:lnTo>
                      <a:pt x="413" y="203"/>
                    </a:lnTo>
                    <a:lnTo>
                      <a:pt x="413" y="202"/>
                    </a:lnTo>
                    <a:lnTo>
                      <a:pt x="416" y="200"/>
                    </a:lnTo>
                    <a:lnTo>
                      <a:pt x="418" y="197"/>
                    </a:lnTo>
                    <a:lnTo>
                      <a:pt x="419" y="197"/>
                    </a:lnTo>
                    <a:lnTo>
                      <a:pt x="422" y="191"/>
                    </a:lnTo>
                    <a:lnTo>
                      <a:pt x="422" y="1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3" name="Freeform 112">
                <a:extLst>
                  <a:ext uri="{FF2B5EF4-FFF2-40B4-BE49-F238E27FC236}">
                    <a16:creationId xmlns:a16="http://schemas.microsoft.com/office/drawing/2014/main" id="{44ACF689-F35D-0640-6147-BDC433B0A3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6" y="3285"/>
                <a:ext cx="422" cy="438"/>
              </a:xfrm>
              <a:custGeom>
                <a:avLst/>
                <a:gdLst>
                  <a:gd name="T0" fmla="*/ 418 w 422"/>
                  <a:gd name="T1" fmla="*/ 168 h 438"/>
                  <a:gd name="T2" fmla="*/ 390 w 422"/>
                  <a:gd name="T3" fmla="*/ 138 h 438"/>
                  <a:gd name="T4" fmla="*/ 364 w 422"/>
                  <a:gd name="T5" fmla="*/ 110 h 438"/>
                  <a:gd name="T6" fmla="*/ 338 w 422"/>
                  <a:gd name="T7" fmla="*/ 91 h 438"/>
                  <a:gd name="T8" fmla="*/ 320 w 422"/>
                  <a:gd name="T9" fmla="*/ 76 h 438"/>
                  <a:gd name="T10" fmla="*/ 291 w 422"/>
                  <a:gd name="T11" fmla="*/ 93 h 438"/>
                  <a:gd name="T12" fmla="*/ 269 w 422"/>
                  <a:gd name="T13" fmla="*/ 61 h 438"/>
                  <a:gd name="T14" fmla="*/ 255 w 422"/>
                  <a:gd name="T15" fmla="*/ 47 h 438"/>
                  <a:gd name="T16" fmla="*/ 244 w 422"/>
                  <a:gd name="T17" fmla="*/ 35 h 438"/>
                  <a:gd name="T18" fmla="*/ 226 w 422"/>
                  <a:gd name="T19" fmla="*/ 32 h 438"/>
                  <a:gd name="T20" fmla="*/ 213 w 422"/>
                  <a:gd name="T21" fmla="*/ 24 h 438"/>
                  <a:gd name="T22" fmla="*/ 190 w 422"/>
                  <a:gd name="T23" fmla="*/ 0 h 438"/>
                  <a:gd name="T24" fmla="*/ 171 w 422"/>
                  <a:gd name="T25" fmla="*/ 11 h 438"/>
                  <a:gd name="T26" fmla="*/ 165 w 422"/>
                  <a:gd name="T27" fmla="*/ 29 h 438"/>
                  <a:gd name="T28" fmla="*/ 150 w 422"/>
                  <a:gd name="T29" fmla="*/ 34 h 438"/>
                  <a:gd name="T30" fmla="*/ 126 w 422"/>
                  <a:gd name="T31" fmla="*/ 41 h 438"/>
                  <a:gd name="T32" fmla="*/ 109 w 422"/>
                  <a:gd name="T33" fmla="*/ 41 h 438"/>
                  <a:gd name="T34" fmla="*/ 96 w 422"/>
                  <a:gd name="T35" fmla="*/ 62 h 438"/>
                  <a:gd name="T36" fmla="*/ 112 w 422"/>
                  <a:gd name="T37" fmla="*/ 94 h 438"/>
                  <a:gd name="T38" fmla="*/ 97 w 422"/>
                  <a:gd name="T39" fmla="*/ 104 h 438"/>
                  <a:gd name="T40" fmla="*/ 86 w 422"/>
                  <a:gd name="T41" fmla="*/ 114 h 438"/>
                  <a:gd name="T42" fmla="*/ 72 w 422"/>
                  <a:gd name="T43" fmla="*/ 104 h 438"/>
                  <a:gd name="T44" fmla="*/ 49 w 422"/>
                  <a:gd name="T45" fmla="*/ 105 h 438"/>
                  <a:gd name="T46" fmla="*/ 37 w 422"/>
                  <a:gd name="T47" fmla="*/ 112 h 438"/>
                  <a:gd name="T48" fmla="*/ 21 w 422"/>
                  <a:gd name="T49" fmla="*/ 130 h 438"/>
                  <a:gd name="T50" fmla="*/ 16 w 422"/>
                  <a:gd name="T51" fmla="*/ 149 h 438"/>
                  <a:gd name="T52" fmla="*/ 5 w 422"/>
                  <a:gd name="T53" fmla="*/ 183 h 438"/>
                  <a:gd name="T54" fmla="*/ 1 w 422"/>
                  <a:gd name="T55" fmla="*/ 201 h 438"/>
                  <a:gd name="T56" fmla="*/ 1 w 422"/>
                  <a:gd name="T57" fmla="*/ 223 h 438"/>
                  <a:gd name="T58" fmla="*/ 19 w 422"/>
                  <a:gd name="T59" fmla="*/ 253 h 438"/>
                  <a:gd name="T60" fmla="*/ 43 w 422"/>
                  <a:gd name="T61" fmla="*/ 258 h 438"/>
                  <a:gd name="T62" fmla="*/ 58 w 422"/>
                  <a:gd name="T63" fmla="*/ 275 h 438"/>
                  <a:gd name="T64" fmla="*/ 85 w 422"/>
                  <a:gd name="T65" fmla="*/ 288 h 438"/>
                  <a:gd name="T66" fmla="*/ 109 w 422"/>
                  <a:gd name="T67" fmla="*/ 293 h 438"/>
                  <a:gd name="T68" fmla="*/ 113 w 422"/>
                  <a:gd name="T69" fmla="*/ 321 h 438"/>
                  <a:gd name="T70" fmla="*/ 131 w 422"/>
                  <a:gd name="T71" fmla="*/ 341 h 438"/>
                  <a:gd name="T72" fmla="*/ 153 w 422"/>
                  <a:gd name="T73" fmla="*/ 347 h 438"/>
                  <a:gd name="T74" fmla="*/ 172 w 422"/>
                  <a:gd name="T75" fmla="*/ 351 h 438"/>
                  <a:gd name="T76" fmla="*/ 173 w 422"/>
                  <a:gd name="T77" fmla="*/ 371 h 438"/>
                  <a:gd name="T78" fmla="*/ 156 w 422"/>
                  <a:gd name="T79" fmla="*/ 388 h 438"/>
                  <a:gd name="T80" fmla="*/ 144 w 422"/>
                  <a:gd name="T81" fmla="*/ 407 h 438"/>
                  <a:gd name="T82" fmla="*/ 166 w 422"/>
                  <a:gd name="T83" fmla="*/ 424 h 438"/>
                  <a:gd name="T84" fmla="*/ 179 w 422"/>
                  <a:gd name="T85" fmla="*/ 435 h 438"/>
                  <a:gd name="T86" fmla="*/ 195 w 422"/>
                  <a:gd name="T87" fmla="*/ 427 h 438"/>
                  <a:gd name="T88" fmla="*/ 216 w 422"/>
                  <a:gd name="T89" fmla="*/ 427 h 438"/>
                  <a:gd name="T90" fmla="*/ 239 w 422"/>
                  <a:gd name="T91" fmla="*/ 409 h 438"/>
                  <a:gd name="T92" fmla="*/ 253 w 422"/>
                  <a:gd name="T93" fmla="*/ 398 h 438"/>
                  <a:gd name="T94" fmla="*/ 277 w 422"/>
                  <a:gd name="T95" fmla="*/ 396 h 438"/>
                  <a:gd name="T96" fmla="*/ 288 w 422"/>
                  <a:gd name="T97" fmla="*/ 409 h 438"/>
                  <a:gd name="T98" fmla="*/ 307 w 422"/>
                  <a:gd name="T99" fmla="*/ 406 h 438"/>
                  <a:gd name="T100" fmla="*/ 326 w 422"/>
                  <a:gd name="T101" fmla="*/ 404 h 438"/>
                  <a:gd name="T102" fmla="*/ 346 w 422"/>
                  <a:gd name="T103" fmla="*/ 392 h 438"/>
                  <a:gd name="T104" fmla="*/ 363 w 422"/>
                  <a:gd name="T105" fmla="*/ 370 h 438"/>
                  <a:gd name="T106" fmla="*/ 354 w 422"/>
                  <a:gd name="T107" fmla="*/ 355 h 438"/>
                  <a:gd name="T108" fmla="*/ 363 w 422"/>
                  <a:gd name="T109" fmla="*/ 332 h 438"/>
                  <a:gd name="T110" fmla="*/ 375 w 422"/>
                  <a:gd name="T111" fmla="*/ 311 h 438"/>
                  <a:gd name="T112" fmla="*/ 377 w 422"/>
                  <a:gd name="T113" fmla="*/ 289 h 438"/>
                  <a:gd name="T114" fmla="*/ 396 w 422"/>
                  <a:gd name="T115" fmla="*/ 275 h 438"/>
                  <a:gd name="T116" fmla="*/ 405 w 422"/>
                  <a:gd name="T117" fmla="*/ 253 h 438"/>
                  <a:gd name="T118" fmla="*/ 410 w 422"/>
                  <a:gd name="T119" fmla="*/ 221 h 438"/>
                  <a:gd name="T120" fmla="*/ 408 w 422"/>
                  <a:gd name="T121" fmla="*/ 201 h 43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422"/>
                  <a:gd name="T184" fmla="*/ 0 h 438"/>
                  <a:gd name="T185" fmla="*/ 422 w 422"/>
                  <a:gd name="T186" fmla="*/ 438 h 43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422" h="438">
                    <a:moveTo>
                      <a:pt x="422" y="187"/>
                    </a:moveTo>
                    <a:lnTo>
                      <a:pt x="421" y="184"/>
                    </a:lnTo>
                    <a:lnTo>
                      <a:pt x="417" y="183"/>
                    </a:lnTo>
                    <a:lnTo>
                      <a:pt x="417" y="182"/>
                    </a:lnTo>
                    <a:lnTo>
                      <a:pt x="415" y="182"/>
                    </a:lnTo>
                    <a:lnTo>
                      <a:pt x="414" y="181"/>
                    </a:lnTo>
                    <a:lnTo>
                      <a:pt x="414" y="180"/>
                    </a:lnTo>
                    <a:lnTo>
                      <a:pt x="413" y="179"/>
                    </a:lnTo>
                    <a:lnTo>
                      <a:pt x="413" y="178"/>
                    </a:lnTo>
                    <a:lnTo>
                      <a:pt x="411" y="177"/>
                    </a:lnTo>
                    <a:lnTo>
                      <a:pt x="412" y="175"/>
                    </a:lnTo>
                    <a:lnTo>
                      <a:pt x="414" y="175"/>
                    </a:lnTo>
                    <a:lnTo>
                      <a:pt x="415" y="174"/>
                    </a:lnTo>
                    <a:lnTo>
                      <a:pt x="417" y="172"/>
                    </a:lnTo>
                    <a:lnTo>
                      <a:pt x="417" y="169"/>
                    </a:lnTo>
                    <a:lnTo>
                      <a:pt x="418" y="169"/>
                    </a:lnTo>
                    <a:lnTo>
                      <a:pt x="418" y="168"/>
                    </a:lnTo>
                    <a:lnTo>
                      <a:pt x="418" y="164"/>
                    </a:lnTo>
                    <a:lnTo>
                      <a:pt x="418" y="163"/>
                    </a:lnTo>
                    <a:lnTo>
                      <a:pt x="414" y="157"/>
                    </a:lnTo>
                    <a:lnTo>
                      <a:pt x="414" y="155"/>
                    </a:lnTo>
                    <a:lnTo>
                      <a:pt x="413" y="152"/>
                    </a:lnTo>
                    <a:lnTo>
                      <a:pt x="410" y="152"/>
                    </a:lnTo>
                    <a:lnTo>
                      <a:pt x="408" y="149"/>
                    </a:lnTo>
                    <a:lnTo>
                      <a:pt x="408" y="147"/>
                    </a:lnTo>
                    <a:lnTo>
                      <a:pt x="405" y="145"/>
                    </a:lnTo>
                    <a:lnTo>
                      <a:pt x="403" y="145"/>
                    </a:lnTo>
                    <a:lnTo>
                      <a:pt x="400" y="142"/>
                    </a:lnTo>
                    <a:lnTo>
                      <a:pt x="398" y="143"/>
                    </a:lnTo>
                    <a:lnTo>
                      <a:pt x="396" y="140"/>
                    </a:lnTo>
                    <a:lnTo>
                      <a:pt x="395" y="142"/>
                    </a:lnTo>
                    <a:lnTo>
                      <a:pt x="394" y="142"/>
                    </a:lnTo>
                    <a:lnTo>
                      <a:pt x="392" y="142"/>
                    </a:lnTo>
                    <a:lnTo>
                      <a:pt x="391" y="139"/>
                    </a:lnTo>
                    <a:lnTo>
                      <a:pt x="390" y="138"/>
                    </a:lnTo>
                    <a:lnTo>
                      <a:pt x="387" y="136"/>
                    </a:lnTo>
                    <a:lnTo>
                      <a:pt x="389" y="132"/>
                    </a:lnTo>
                    <a:lnTo>
                      <a:pt x="387" y="131"/>
                    </a:lnTo>
                    <a:lnTo>
                      <a:pt x="385" y="128"/>
                    </a:lnTo>
                    <a:lnTo>
                      <a:pt x="382" y="122"/>
                    </a:lnTo>
                    <a:lnTo>
                      <a:pt x="380" y="120"/>
                    </a:lnTo>
                    <a:lnTo>
                      <a:pt x="377" y="119"/>
                    </a:lnTo>
                    <a:lnTo>
                      <a:pt x="375" y="117"/>
                    </a:lnTo>
                    <a:lnTo>
                      <a:pt x="374" y="117"/>
                    </a:lnTo>
                    <a:lnTo>
                      <a:pt x="372" y="117"/>
                    </a:lnTo>
                    <a:lnTo>
                      <a:pt x="372" y="115"/>
                    </a:lnTo>
                    <a:lnTo>
                      <a:pt x="370" y="114"/>
                    </a:lnTo>
                    <a:lnTo>
                      <a:pt x="369" y="111"/>
                    </a:lnTo>
                    <a:lnTo>
                      <a:pt x="368" y="111"/>
                    </a:lnTo>
                    <a:lnTo>
                      <a:pt x="367" y="113"/>
                    </a:lnTo>
                    <a:lnTo>
                      <a:pt x="366" y="113"/>
                    </a:lnTo>
                    <a:lnTo>
                      <a:pt x="364" y="110"/>
                    </a:lnTo>
                    <a:lnTo>
                      <a:pt x="362" y="108"/>
                    </a:lnTo>
                    <a:lnTo>
                      <a:pt x="360" y="108"/>
                    </a:lnTo>
                    <a:lnTo>
                      <a:pt x="358" y="110"/>
                    </a:lnTo>
                    <a:lnTo>
                      <a:pt x="357" y="109"/>
                    </a:lnTo>
                    <a:lnTo>
                      <a:pt x="358" y="108"/>
                    </a:lnTo>
                    <a:lnTo>
                      <a:pt x="356" y="105"/>
                    </a:lnTo>
                    <a:lnTo>
                      <a:pt x="355" y="103"/>
                    </a:lnTo>
                    <a:lnTo>
                      <a:pt x="351" y="105"/>
                    </a:lnTo>
                    <a:lnTo>
                      <a:pt x="348" y="104"/>
                    </a:lnTo>
                    <a:lnTo>
                      <a:pt x="346" y="104"/>
                    </a:lnTo>
                    <a:lnTo>
                      <a:pt x="345" y="105"/>
                    </a:lnTo>
                    <a:lnTo>
                      <a:pt x="343" y="103"/>
                    </a:lnTo>
                    <a:lnTo>
                      <a:pt x="342" y="97"/>
                    </a:lnTo>
                    <a:lnTo>
                      <a:pt x="340" y="94"/>
                    </a:lnTo>
                    <a:lnTo>
                      <a:pt x="339" y="93"/>
                    </a:lnTo>
                    <a:lnTo>
                      <a:pt x="338" y="91"/>
                    </a:lnTo>
                    <a:lnTo>
                      <a:pt x="337" y="91"/>
                    </a:lnTo>
                    <a:lnTo>
                      <a:pt x="335" y="89"/>
                    </a:lnTo>
                    <a:lnTo>
                      <a:pt x="334" y="89"/>
                    </a:lnTo>
                    <a:lnTo>
                      <a:pt x="333" y="88"/>
                    </a:lnTo>
                    <a:lnTo>
                      <a:pt x="332" y="91"/>
                    </a:lnTo>
                    <a:lnTo>
                      <a:pt x="331" y="90"/>
                    </a:lnTo>
                    <a:lnTo>
                      <a:pt x="329" y="88"/>
                    </a:lnTo>
                    <a:lnTo>
                      <a:pt x="328" y="87"/>
                    </a:lnTo>
                    <a:lnTo>
                      <a:pt x="326" y="87"/>
                    </a:lnTo>
                    <a:lnTo>
                      <a:pt x="324" y="87"/>
                    </a:lnTo>
                    <a:lnTo>
                      <a:pt x="321" y="83"/>
                    </a:lnTo>
                    <a:lnTo>
                      <a:pt x="321" y="81"/>
                    </a:lnTo>
                    <a:lnTo>
                      <a:pt x="321" y="79"/>
                    </a:lnTo>
                    <a:lnTo>
                      <a:pt x="321" y="78"/>
                    </a:lnTo>
                    <a:lnTo>
                      <a:pt x="322" y="77"/>
                    </a:lnTo>
                    <a:lnTo>
                      <a:pt x="321" y="78"/>
                    </a:lnTo>
                    <a:lnTo>
                      <a:pt x="320" y="76"/>
                    </a:lnTo>
                    <a:lnTo>
                      <a:pt x="318" y="76"/>
                    </a:lnTo>
                    <a:lnTo>
                      <a:pt x="318" y="79"/>
                    </a:lnTo>
                    <a:lnTo>
                      <a:pt x="311" y="84"/>
                    </a:lnTo>
                    <a:lnTo>
                      <a:pt x="310" y="88"/>
                    </a:lnTo>
                    <a:lnTo>
                      <a:pt x="310" y="92"/>
                    </a:lnTo>
                    <a:lnTo>
                      <a:pt x="309" y="93"/>
                    </a:lnTo>
                    <a:lnTo>
                      <a:pt x="305" y="91"/>
                    </a:lnTo>
                    <a:lnTo>
                      <a:pt x="306" y="97"/>
                    </a:lnTo>
                    <a:lnTo>
                      <a:pt x="303" y="98"/>
                    </a:lnTo>
                    <a:lnTo>
                      <a:pt x="301" y="98"/>
                    </a:lnTo>
                    <a:lnTo>
                      <a:pt x="299" y="97"/>
                    </a:lnTo>
                    <a:lnTo>
                      <a:pt x="297" y="97"/>
                    </a:lnTo>
                    <a:lnTo>
                      <a:pt x="296" y="98"/>
                    </a:lnTo>
                    <a:lnTo>
                      <a:pt x="295" y="98"/>
                    </a:lnTo>
                    <a:lnTo>
                      <a:pt x="292" y="93"/>
                    </a:lnTo>
                    <a:lnTo>
                      <a:pt x="291" y="93"/>
                    </a:lnTo>
                    <a:lnTo>
                      <a:pt x="291" y="92"/>
                    </a:lnTo>
                    <a:lnTo>
                      <a:pt x="289" y="91"/>
                    </a:lnTo>
                    <a:lnTo>
                      <a:pt x="286" y="88"/>
                    </a:lnTo>
                    <a:lnTo>
                      <a:pt x="283" y="88"/>
                    </a:lnTo>
                    <a:lnTo>
                      <a:pt x="279" y="84"/>
                    </a:lnTo>
                    <a:lnTo>
                      <a:pt x="280" y="83"/>
                    </a:lnTo>
                    <a:lnTo>
                      <a:pt x="278" y="80"/>
                    </a:lnTo>
                    <a:lnTo>
                      <a:pt x="281" y="75"/>
                    </a:lnTo>
                    <a:lnTo>
                      <a:pt x="283" y="74"/>
                    </a:lnTo>
                    <a:lnTo>
                      <a:pt x="283" y="69"/>
                    </a:lnTo>
                    <a:lnTo>
                      <a:pt x="281" y="70"/>
                    </a:lnTo>
                    <a:lnTo>
                      <a:pt x="279" y="71"/>
                    </a:lnTo>
                    <a:lnTo>
                      <a:pt x="278" y="70"/>
                    </a:lnTo>
                    <a:lnTo>
                      <a:pt x="274" y="68"/>
                    </a:lnTo>
                    <a:lnTo>
                      <a:pt x="272" y="63"/>
                    </a:lnTo>
                    <a:lnTo>
                      <a:pt x="271" y="63"/>
                    </a:lnTo>
                    <a:lnTo>
                      <a:pt x="269" y="61"/>
                    </a:lnTo>
                    <a:lnTo>
                      <a:pt x="268" y="60"/>
                    </a:lnTo>
                    <a:lnTo>
                      <a:pt x="266" y="61"/>
                    </a:lnTo>
                    <a:lnTo>
                      <a:pt x="265" y="58"/>
                    </a:lnTo>
                    <a:lnTo>
                      <a:pt x="264" y="59"/>
                    </a:lnTo>
                    <a:lnTo>
                      <a:pt x="264" y="60"/>
                    </a:lnTo>
                    <a:lnTo>
                      <a:pt x="263" y="59"/>
                    </a:lnTo>
                    <a:lnTo>
                      <a:pt x="261" y="61"/>
                    </a:lnTo>
                    <a:lnTo>
                      <a:pt x="260" y="61"/>
                    </a:lnTo>
                    <a:lnTo>
                      <a:pt x="260" y="59"/>
                    </a:lnTo>
                    <a:lnTo>
                      <a:pt x="260" y="56"/>
                    </a:lnTo>
                    <a:lnTo>
                      <a:pt x="261" y="51"/>
                    </a:lnTo>
                    <a:lnTo>
                      <a:pt x="263" y="49"/>
                    </a:lnTo>
                    <a:lnTo>
                      <a:pt x="261" y="49"/>
                    </a:lnTo>
                    <a:lnTo>
                      <a:pt x="261" y="50"/>
                    </a:lnTo>
                    <a:lnTo>
                      <a:pt x="259" y="49"/>
                    </a:lnTo>
                    <a:lnTo>
                      <a:pt x="257" y="49"/>
                    </a:lnTo>
                    <a:lnTo>
                      <a:pt x="255" y="47"/>
                    </a:lnTo>
                    <a:lnTo>
                      <a:pt x="252" y="47"/>
                    </a:lnTo>
                    <a:lnTo>
                      <a:pt x="248" y="45"/>
                    </a:lnTo>
                    <a:lnTo>
                      <a:pt x="249" y="45"/>
                    </a:lnTo>
                    <a:lnTo>
                      <a:pt x="248" y="43"/>
                    </a:lnTo>
                    <a:lnTo>
                      <a:pt x="248" y="42"/>
                    </a:lnTo>
                    <a:lnTo>
                      <a:pt x="247" y="43"/>
                    </a:lnTo>
                    <a:lnTo>
                      <a:pt x="247" y="42"/>
                    </a:lnTo>
                    <a:lnTo>
                      <a:pt x="246" y="42"/>
                    </a:lnTo>
                    <a:lnTo>
                      <a:pt x="245" y="41"/>
                    </a:lnTo>
                    <a:lnTo>
                      <a:pt x="246" y="41"/>
                    </a:lnTo>
                    <a:lnTo>
                      <a:pt x="247" y="40"/>
                    </a:lnTo>
                    <a:lnTo>
                      <a:pt x="246" y="40"/>
                    </a:lnTo>
                    <a:lnTo>
                      <a:pt x="245" y="40"/>
                    </a:lnTo>
                    <a:lnTo>
                      <a:pt x="245" y="37"/>
                    </a:lnTo>
                    <a:lnTo>
                      <a:pt x="244" y="36"/>
                    </a:lnTo>
                    <a:lnTo>
                      <a:pt x="244" y="35"/>
                    </a:lnTo>
                    <a:lnTo>
                      <a:pt x="242" y="37"/>
                    </a:lnTo>
                    <a:lnTo>
                      <a:pt x="240" y="36"/>
                    </a:lnTo>
                    <a:lnTo>
                      <a:pt x="240" y="34"/>
                    </a:lnTo>
                    <a:lnTo>
                      <a:pt x="239" y="36"/>
                    </a:lnTo>
                    <a:lnTo>
                      <a:pt x="237" y="34"/>
                    </a:lnTo>
                    <a:lnTo>
                      <a:pt x="237" y="33"/>
                    </a:lnTo>
                    <a:lnTo>
                      <a:pt x="239" y="33"/>
                    </a:lnTo>
                    <a:lnTo>
                      <a:pt x="238" y="31"/>
                    </a:lnTo>
                    <a:lnTo>
                      <a:pt x="235" y="31"/>
                    </a:lnTo>
                    <a:lnTo>
                      <a:pt x="235" y="30"/>
                    </a:lnTo>
                    <a:lnTo>
                      <a:pt x="234" y="30"/>
                    </a:lnTo>
                    <a:lnTo>
                      <a:pt x="233" y="30"/>
                    </a:lnTo>
                    <a:lnTo>
                      <a:pt x="232" y="27"/>
                    </a:lnTo>
                    <a:lnTo>
                      <a:pt x="231" y="28"/>
                    </a:lnTo>
                    <a:lnTo>
                      <a:pt x="230" y="32"/>
                    </a:lnTo>
                    <a:lnTo>
                      <a:pt x="228" y="32"/>
                    </a:lnTo>
                    <a:lnTo>
                      <a:pt x="227" y="31"/>
                    </a:lnTo>
                    <a:lnTo>
                      <a:pt x="226" y="32"/>
                    </a:lnTo>
                    <a:lnTo>
                      <a:pt x="225" y="28"/>
                    </a:lnTo>
                    <a:lnTo>
                      <a:pt x="226" y="27"/>
                    </a:lnTo>
                    <a:lnTo>
                      <a:pt x="223" y="27"/>
                    </a:lnTo>
                    <a:lnTo>
                      <a:pt x="223" y="28"/>
                    </a:lnTo>
                    <a:lnTo>
                      <a:pt x="221" y="28"/>
                    </a:lnTo>
                    <a:lnTo>
                      <a:pt x="221" y="29"/>
                    </a:lnTo>
                    <a:lnTo>
                      <a:pt x="220" y="29"/>
                    </a:lnTo>
                    <a:lnTo>
                      <a:pt x="220" y="28"/>
                    </a:lnTo>
                    <a:lnTo>
                      <a:pt x="218" y="28"/>
                    </a:lnTo>
                    <a:lnTo>
                      <a:pt x="216" y="28"/>
                    </a:lnTo>
                    <a:lnTo>
                      <a:pt x="215" y="28"/>
                    </a:lnTo>
                    <a:lnTo>
                      <a:pt x="215" y="27"/>
                    </a:lnTo>
                    <a:lnTo>
                      <a:pt x="213" y="28"/>
                    </a:lnTo>
                    <a:lnTo>
                      <a:pt x="213" y="27"/>
                    </a:lnTo>
                    <a:lnTo>
                      <a:pt x="213" y="29"/>
                    </a:lnTo>
                    <a:lnTo>
                      <a:pt x="212" y="28"/>
                    </a:lnTo>
                    <a:lnTo>
                      <a:pt x="213" y="27"/>
                    </a:lnTo>
                    <a:lnTo>
                      <a:pt x="213" y="24"/>
                    </a:lnTo>
                    <a:lnTo>
                      <a:pt x="212" y="24"/>
                    </a:lnTo>
                    <a:lnTo>
                      <a:pt x="212" y="23"/>
                    </a:lnTo>
                    <a:lnTo>
                      <a:pt x="210" y="23"/>
                    </a:lnTo>
                    <a:lnTo>
                      <a:pt x="209" y="21"/>
                    </a:lnTo>
                    <a:lnTo>
                      <a:pt x="209" y="19"/>
                    </a:lnTo>
                    <a:lnTo>
                      <a:pt x="207" y="19"/>
                    </a:lnTo>
                    <a:lnTo>
                      <a:pt x="206" y="17"/>
                    </a:lnTo>
                    <a:lnTo>
                      <a:pt x="206" y="16"/>
                    </a:lnTo>
                    <a:lnTo>
                      <a:pt x="204" y="16"/>
                    </a:lnTo>
                    <a:lnTo>
                      <a:pt x="201" y="11"/>
                    </a:lnTo>
                    <a:lnTo>
                      <a:pt x="199" y="11"/>
                    </a:lnTo>
                    <a:lnTo>
                      <a:pt x="198" y="10"/>
                    </a:lnTo>
                    <a:lnTo>
                      <a:pt x="196" y="7"/>
                    </a:lnTo>
                    <a:lnTo>
                      <a:pt x="195" y="6"/>
                    </a:lnTo>
                    <a:lnTo>
                      <a:pt x="193" y="4"/>
                    </a:lnTo>
                    <a:lnTo>
                      <a:pt x="190" y="0"/>
                    </a:lnTo>
                    <a:lnTo>
                      <a:pt x="189" y="1"/>
                    </a:lnTo>
                    <a:lnTo>
                      <a:pt x="189" y="4"/>
                    </a:lnTo>
                    <a:lnTo>
                      <a:pt x="187" y="6"/>
                    </a:lnTo>
                    <a:lnTo>
                      <a:pt x="186" y="4"/>
                    </a:lnTo>
                    <a:lnTo>
                      <a:pt x="183" y="4"/>
                    </a:lnTo>
                    <a:lnTo>
                      <a:pt x="183" y="5"/>
                    </a:lnTo>
                    <a:lnTo>
                      <a:pt x="183" y="6"/>
                    </a:lnTo>
                    <a:lnTo>
                      <a:pt x="183" y="7"/>
                    </a:lnTo>
                    <a:lnTo>
                      <a:pt x="181" y="8"/>
                    </a:lnTo>
                    <a:lnTo>
                      <a:pt x="180" y="8"/>
                    </a:lnTo>
                    <a:lnTo>
                      <a:pt x="180" y="10"/>
                    </a:lnTo>
                    <a:lnTo>
                      <a:pt x="179" y="10"/>
                    </a:lnTo>
                    <a:lnTo>
                      <a:pt x="178" y="7"/>
                    </a:lnTo>
                    <a:lnTo>
                      <a:pt x="176" y="6"/>
                    </a:lnTo>
                    <a:lnTo>
                      <a:pt x="175" y="6"/>
                    </a:lnTo>
                    <a:lnTo>
                      <a:pt x="171" y="10"/>
                    </a:lnTo>
                    <a:lnTo>
                      <a:pt x="171" y="11"/>
                    </a:lnTo>
                    <a:lnTo>
                      <a:pt x="169" y="11"/>
                    </a:lnTo>
                    <a:lnTo>
                      <a:pt x="167" y="13"/>
                    </a:lnTo>
                    <a:lnTo>
                      <a:pt x="166" y="16"/>
                    </a:lnTo>
                    <a:lnTo>
                      <a:pt x="166" y="17"/>
                    </a:lnTo>
                    <a:lnTo>
                      <a:pt x="166" y="19"/>
                    </a:lnTo>
                    <a:lnTo>
                      <a:pt x="168" y="19"/>
                    </a:lnTo>
                    <a:lnTo>
                      <a:pt x="169" y="19"/>
                    </a:lnTo>
                    <a:lnTo>
                      <a:pt x="169" y="21"/>
                    </a:lnTo>
                    <a:lnTo>
                      <a:pt x="170" y="22"/>
                    </a:lnTo>
                    <a:lnTo>
                      <a:pt x="169" y="24"/>
                    </a:lnTo>
                    <a:lnTo>
                      <a:pt x="171" y="25"/>
                    </a:lnTo>
                    <a:lnTo>
                      <a:pt x="170" y="26"/>
                    </a:lnTo>
                    <a:lnTo>
                      <a:pt x="170" y="27"/>
                    </a:lnTo>
                    <a:lnTo>
                      <a:pt x="169" y="28"/>
                    </a:lnTo>
                    <a:lnTo>
                      <a:pt x="167" y="28"/>
                    </a:lnTo>
                    <a:lnTo>
                      <a:pt x="166" y="30"/>
                    </a:lnTo>
                    <a:lnTo>
                      <a:pt x="165" y="29"/>
                    </a:lnTo>
                    <a:lnTo>
                      <a:pt x="164" y="29"/>
                    </a:lnTo>
                    <a:lnTo>
                      <a:pt x="164" y="28"/>
                    </a:lnTo>
                    <a:lnTo>
                      <a:pt x="162" y="29"/>
                    </a:lnTo>
                    <a:lnTo>
                      <a:pt x="159" y="27"/>
                    </a:lnTo>
                    <a:lnTo>
                      <a:pt x="159" y="28"/>
                    </a:lnTo>
                    <a:lnTo>
                      <a:pt x="158" y="28"/>
                    </a:lnTo>
                    <a:lnTo>
                      <a:pt x="157" y="27"/>
                    </a:lnTo>
                    <a:lnTo>
                      <a:pt x="157" y="24"/>
                    </a:lnTo>
                    <a:lnTo>
                      <a:pt x="156" y="25"/>
                    </a:lnTo>
                    <a:lnTo>
                      <a:pt x="156" y="24"/>
                    </a:lnTo>
                    <a:lnTo>
                      <a:pt x="155" y="27"/>
                    </a:lnTo>
                    <a:lnTo>
                      <a:pt x="152" y="29"/>
                    </a:lnTo>
                    <a:lnTo>
                      <a:pt x="151" y="32"/>
                    </a:lnTo>
                    <a:lnTo>
                      <a:pt x="152" y="33"/>
                    </a:lnTo>
                    <a:lnTo>
                      <a:pt x="151" y="34"/>
                    </a:lnTo>
                    <a:lnTo>
                      <a:pt x="151" y="36"/>
                    </a:lnTo>
                    <a:lnTo>
                      <a:pt x="150" y="36"/>
                    </a:lnTo>
                    <a:lnTo>
                      <a:pt x="150" y="34"/>
                    </a:lnTo>
                    <a:lnTo>
                      <a:pt x="148" y="34"/>
                    </a:lnTo>
                    <a:lnTo>
                      <a:pt x="145" y="37"/>
                    </a:lnTo>
                    <a:lnTo>
                      <a:pt x="142" y="34"/>
                    </a:lnTo>
                    <a:lnTo>
                      <a:pt x="139" y="36"/>
                    </a:lnTo>
                    <a:lnTo>
                      <a:pt x="136" y="38"/>
                    </a:lnTo>
                    <a:lnTo>
                      <a:pt x="135" y="38"/>
                    </a:lnTo>
                    <a:lnTo>
                      <a:pt x="134" y="38"/>
                    </a:lnTo>
                    <a:lnTo>
                      <a:pt x="133" y="38"/>
                    </a:lnTo>
                    <a:lnTo>
                      <a:pt x="131" y="38"/>
                    </a:lnTo>
                    <a:lnTo>
                      <a:pt x="131" y="36"/>
                    </a:lnTo>
                    <a:lnTo>
                      <a:pt x="131" y="38"/>
                    </a:lnTo>
                    <a:lnTo>
                      <a:pt x="130" y="38"/>
                    </a:lnTo>
                    <a:lnTo>
                      <a:pt x="128" y="38"/>
                    </a:lnTo>
                    <a:lnTo>
                      <a:pt x="127" y="40"/>
                    </a:lnTo>
                    <a:lnTo>
                      <a:pt x="126" y="39"/>
                    </a:lnTo>
                    <a:lnTo>
                      <a:pt x="125" y="40"/>
                    </a:lnTo>
                    <a:lnTo>
                      <a:pt x="126" y="41"/>
                    </a:lnTo>
                    <a:lnTo>
                      <a:pt x="123" y="42"/>
                    </a:lnTo>
                    <a:lnTo>
                      <a:pt x="123" y="41"/>
                    </a:lnTo>
                    <a:lnTo>
                      <a:pt x="122" y="43"/>
                    </a:lnTo>
                    <a:lnTo>
                      <a:pt x="121" y="41"/>
                    </a:lnTo>
                    <a:lnTo>
                      <a:pt x="120" y="42"/>
                    </a:lnTo>
                    <a:lnTo>
                      <a:pt x="120" y="41"/>
                    </a:lnTo>
                    <a:lnTo>
                      <a:pt x="117" y="41"/>
                    </a:lnTo>
                    <a:lnTo>
                      <a:pt x="120" y="38"/>
                    </a:lnTo>
                    <a:lnTo>
                      <a:pt x="119" y="37"/>
                    </a:lnTo>
                    <a:lnTo>
                      <a:pt x="118" y="37"/>
                    </a:lnTo>
                    <a:lnTo>
                      <a:pt x="117" y="38"/>
                    </a:lnTo>
                    <a:lnTo>
                      <a:pt x="115" y="38"/>
                    </a:lnTo>
                    <a:lnTo>
                      <a:pt x="114" y="40"/>
                    </a:lnTo>
                    <a:lnTo>
                      <a:pt x="112" y="40"/>
                    </a:lnTo>
                    <a:lnTo>
                      <a:pt x="112" y="39"/>
                    </a:lnTo>
                    <a:lnTo>
                      <a:pt x="110" y="41"/>
                    </a:lnTo>
                    <a:lnTo>
                      <a:pt x="109" y="41"/>
                    </a:lnTo>
                    <a:lnTo>
                      <a:pt x="109" y="43"/>
                    </a:lnTo>
                    <a:lnTo>
                      <a:pt x="110" y="44"/>
                    </a:lnTo>
                    <a:lnTo>
                      <a:pt x="110" y="45"/>
                    </a:lnTo>
                    <a:lnTo>
                      <a:pt x="107" y="47"/>
                    </a:lnTo>
                    <a:lnTo>
                      <a:pt x="107" y="51"/>
                    </a:lnTo>
                    <a:lnTo>
                      <a:pt x="107" y="53"/>
                    </a:lnTo>
                    <a:lnTo>
                      <a:pt x="102" y="55"/>
                    </a:lnTo>
                    <a:lnTo>
                      <a:pt x="102" y="56"/>
                    </a:lnTo>
                    <a:lnTo>
                      <a:pt x="100" y="59"/>
                    </a:lnTo>
                    <a:lnTo>
                      <a:pt x="99" y="59"/>
                    </a:lnTo>
                    <a:lnTo>
                      <a:pt x="99" y="58"/>
                    </a:lnTo>
                    <a:lnTo>
                      <a:pt x="98" y="58"/>
                    </a:lnTo>
                    <a:lnTo>
                      <a:pt x="98" y="59"/>
                    </a:lnTo>
                    <a:lnTo>
                      <a:pt x="97" y="59"/>
                    </a:lnTo>
                    <a:lnTo>
                      <a:pt x="98" y="61"/>
                    </a:lnTo>
                    <a:lnTo>
                      <a:pt x="96" y="62"/>
                    </a:lnTo>
                    <a:lnTo>
                      <a:pt x="96" y="64"/>
                    </a:lnTo>
                    <a:lnTo>
                      <a:pt x="95" y="65"/>
                    </a:lnTo>
                    <a:lnTo>
                      <a:pt x="96" y="67"/>
                    </a:lnTo>
                    <a:lnTo>
                      <a:pt x="94" y="71"/>
                    </a:lnTo>
                    <a:lnTo>
                      <a:pt x="95" y="73"/>
                    </a:lnTo>
                    <a:lnTo>
                      <a:pt x="94" y="75"/>
                    </a:lnTo>
                    <a:lnTo>
                      <a:pt x="96" y="76"/>
                    </a:lnTo>
                    <a:lnTo>
                      <a:pt x="95" y="76"/>
                    </a:lnTo>
                    <a:lnTo>
                      <a:pt x="96" y="80"/>
                    </a:lnTo>
                    <a:lnTo>
                      <a:pt x="97" y="80"/>
                    </a:lnTo>
                    <a:lnTo>
                      <a:pt x="99" y="77"/>
                    </a:lnTo>
                    <a:lnTo>
                      <a:pt x="101" y="82"/>
                    </a:lnTo>
                    <a:lnTo>
                      <a:pt x="104" y="81"/>
                    </a:lnTo>
                    <a:lnTo>
                      <a:pt x="109" y="82"/>
                    </a:lnTo>
                    <a:lnTo>
                      <a:pt x="108" y="84"/>
                    </a:lnTo>
                    <a:lnTo>
                      <a:pt x="109" y="88"/>
                    </a:lnTo>
                    <a:lnTo>
                      <a:pt x="112" y="93"/>
                    </a:lnTo>
                    <a:lnTo>
                      <a:pt x="112" y="94"/>
                    </a:lnTo>
                    <a:lnTo>
                      <a:pt x="110" y="95"/>
                    </a:lnTo>
                    <a:lnTo>
                      <a:pt x="110" y="97"/>
                    </a:lnTo>
                    <a:lnTo>
                      <a:pt x="111" y="98"/>
                    </a:lnTo>
                    <a:lnTo>
                      <a:pt x="109" y="102"/>
                    </a:lnTo>
                    <a:lnTo>
                      <a:pt x="108" y="100"/>
                    </a:lnTo>
                    <a:lnTo>
                      <a:pt x="108" y="102"/>
                    </a:lnTo>
                    <a:lnTo>
                      <a:pt x="107" y="102"/>
                    </a:lnTo>
                    <a:lnTo>
                      <a:pt x="105" y="104"/>
                    </a:lnTo>
                    <a:lnTo>
                      <a:pt x="105" y="105"/>
                    </a:lnTo>
                    <a:lnTo>
                      <a:pt x="102" y="106"/>
                    </a:lnTo>
                    <a:lnTo>
                      <a:pt x="102" y="105"/>
                    </a:lnTo>
                    <a:lnTo>
                      <a:pt x="101" y="105"/>
                    </a:lnTo>
                    <a:lnTo>
                      <a:pt x="99" y="106"/>
                    </a:lnTo>
                    <a:lnTo>
                      <a:pt x="99" y="105"/>
                    </a:lnTo>
                    <a:lnTo>
                      <a:pt x="98" y="106"/>
                    </a:lnTo>
                    <a:lnTo>
                      <a:pt x="97" y="104"/>
                    </a:lnTo>
                    <a:lnTo>
                      <a:pt x="94" y="102"/>
                    </a:lnTo>
                    <a:lnTo>
                      <a:pt x="94" y="103"/>
                    </a:lnTo>
                    <a:lnTo>
                      <a:pt x="92" y="102"/>
                    </a:lnTo>
                    <a:lnTo>
                      <a:pt x="92" y="105"/>
                    </a:lnTo>
                    <a:lnTo>
                      <a:pt x="90" y="106"/>
                    </a:lnTo>
                    <a:lnTo>
                      <a:pt x="89" y="105"/>
                    </a:lnTo>
                    <a:lnTo>
                      <a:pt x="90" y="104"/>
                    </a:lnTo>
                    <a:lnTo>
                      <a:pt x="88" y="104"/>
                    </a:lnTo>
                    <a:lnTo>
                      <a:pt x="88" y="105"/>
                    </a:lnTo>
                    <a:lnTo>
                      <a:pt x="89" y="106"/>
                    </a:lnTo>
                    <a:lnTo>
                      <a:pt x="89" y="108"/>
                    </a:lnTo>
                    <a:lnTo>
                      <a:pt x="87" y="108"/>
                    </a:lnTo>
                    <a:lnTo>
                      <a:pt x="87" y="110"/>
                    </a:lnTo>
                    <a:lnTo>
                      <a:pt x="86" y="110"/>
                    </a:lnTo>
                    <a:lnTo>
                      <a:pt x="86" y="111"/>
                    </a:lnTo>
                    <a:lnTo>
                      <a:pt x="86" y="113"/>
                    </a:lnTo>
                    <a:lnTo>
                      <a:pt x="86" y="114"/>
                    </a:lnTo>
                    <a:lnTo>
                      <a:pt x="82" y="114"/>
                    </a:lnTo>
                    <a:lnTo>
                      <a:pt x="82" y="111"/>
                    </a:lnTo>
                    <a:lnTo>
                      <a:pt x="82" y="109"/>
                    </a:lnTo>
                    <a:lnTo>
                      <a:pt x="79" y="107"/>
                    </a:lnTo>
                    <a:lnTo>
                      <a:pt x="79" y="108"/>
                    </a:lnTo>
                    <a:lnTo>
                      <a:pt x="77" y="108"/>
                    </a:lnTo>
                    <a:lnTo>
                      <a:pt x="76" y="108"/>
                    </a:lnTo>
                    <a:lnTo>
                      <a:pt x="75" y="108"/>
                    </a:lnTo>
                    <a:lnTo>
                      <a:pt x="74" y="106"/>
                    </a:lnTo>
                    <a:lnTo>
                      <a:pt x="74" y="105"/>
                    </a:lnTo>
                    <a:lnTo>
                      <a:pt x="73" y="105"/>
                    </a:lnTo>
                    <a:lnTo>
                      <a:pt x="73" y="104"/>
                    </a:lnTo>
                    <a:lnTo>
                      <a:pt x="74" y="104"/>
                    </a:lnTo>
                    <a:lnTo>
                      <a:pt x="74" y="103"/>
                    </a:lnTo>
                    <a:lnTo>
                      <a:pt x="73" y="103"/>
                    </a:lnTo>
                    <a:lnTo>
                      <a:pt x="72" y="104"/>
                    </a:lnTo>
                    <a:lnTo>
                      <a:pt x="71" y="104"/>
                    </a:lnTo>
                    <a:lnTo>
                      <a:pt x="70" y="104"/>
                    </a:lnTo>
                    <a:lnTo>
                      <a:pt x="70" y="107"/>
                    </a:lnTo>
                    <a:lnTo>
                      <a:pt x="68" y="105"/>
                    </a:lnTo>
                    <a:lnTo>
                      <a:pt x="65" y="106"/>
                    </a:lnTo>
                    <a:lnTo>
                      <a:pt x="65" y="108"/>
                    </a:lnTo>
                    <a:lnTo>
                      <a:pt x="63" y="108"/>
                    </a:lnTo>
                    <a:lnTo>
                      <a:pt x="62" y="106"/>
                    </a:lnTo>
                    <a:lnTo>
                      <a:pt x="61" y="108"/>
                    </a:lnTo>
                    <a:lnTo>
                      <a:pt x="60" y="108"/>
                    </a:lnTo>
                    <a:lnTo>
                      <a:pt x="59" y="107"/>
                    </a:lnTo>
                    <a:lnTo>
                      <a:pt x="57" y="108"/>
                    </a:lnTo>
                    <a:lnTo>
                      <a:pt x="54" y="105"/>
                    </a:lnTo>
                    <a:lnTo>
                      <a:pt x="52" y="105"/>
                    </a:lnTo>
                    <a:lnTo>
                      <a:pt x="52" y="104"/>
                    </a:lnTo>
                    <a:lnTo>
                      <a:pt x="49" y="104"/>
                    </a:lnTo>
                    <a:lnTo>
                      <a:pt x="49" y="105"/>
                    </a:lnTo>
                    <a:lnTo>
                      <a:pt x="48" y="105"/>
                    </a:lnTo>
                    <a:lnTo>
                      <a:pt x="47" y="105"/>
                    </a:lnTo>
                    <a:lnTo>
                      <a:pt x="47" y="104"/>
                    </a:lnTo>
                    <a:lnTo>
                      <a:pt x="46" y="104"/>
                    </a:lnTo>
                    <a:lnTo>
                      <a:pt x="44" y="103"/>
                    </a:lnTo>
                    <a:lnTo>
                      <a:pt x="45" y="102"/>
                    </a:lnTo>
                    <a:lnTo>
                      <a:pt x="43" y="100"/>
                    </a:lnTo>
                    <a:lnTo>
                      <a:pt x="38" y="100"/>
                    </a:lnTo>
                    <a:lnTo>
                      <a:pt x="36" y="100"/>
                    </a:lnTo>
                    <a:lnTo>
                      <a:pt x="33" y="104"/>
                    </a:lnTo>
                    <a:lnTo>
                      <a:pt x="34" y="105"/>
                    </a:lnTo>
                    <a:lnTo>
                      <a:pt x="36" y="106"/>
                    </a:lnTo>
                    <a:lnTo>
                      <a:pt x="37" y="109"/>
                    </a:lnTo>
                    <a:lnTo>
                      <a:pt x="37" y="110"/>
                    </a:lnTo>
                    <a:lnTo>
                      <a:pt x="37" y="111"/>
                    </a:lnTo>
                    <a:lnTo>
                      <a:pt x="37" y="112"/>
                    </a:lnTo>
                    <a:lnTo>
                      <a:pt x="34" y="113"/>
                    </a:lnTo>
                    <a:lnTo>
                      <a:pt x="30" y="111"/>
                    </a:lnTo>
                    <a:lnTo>
                      <a:pt x="29" y="114"/>
                    </a:lnTo>
                    <a:lnTo>
                      <a:pt x="26" y="111"/>
                    </a:lnTo>
                    <a:lnTo>
                      <a:pt x="24" y="111"/>
                    </a:lnTo>
                    <a:lnTo>
                      <a:pt x="23" y="112"/>
                    </a:lnTo>
                    <a:lnTo>
                      <a:pt x="23" y="115"/>
                    </a:lnTo>
                    <a:lnTo>
                      <a:pt x="22" y="115"/>
                    </a:lnTo>
                    <a:lnTo>
                      <a:pt x="22" y="116"/>
                    </a:lnTo>
                    <a:lnTo>
                      <a:pt x="23" y="117"/>
                    </a:lnTo>
                    <a:lnTo>
                      <a:pt x="24" y="121"/>
                    </a:lnTo>
                    <a:lnTo>
                      <a:pt x="23" y="121"/>
                    </a:lnTo>
                    <a:lnTo>
                      <a:pt x="21" y="121"/>
                    </a:lnTo>
                    <a:lnTo>
                      <a:pt x="21" y="124"/>
                    </a:lnTo>
                    <a:lnTo>
                      <a:pt x="19" y="127"/>
                    </a:lnTo>
                    <a:lnTo>
                      <a:pt x="21" y="130"/>
                    </a:lnTo>
                    <a:lnTo>
                      <a:pt x="21" y="134"/>
                    </a:lnTo>
                    <a:lnTo>
                      <a:pt x="22" y="135"/>
                    </a:lnTo>
                    <a:lnTo>
                      <a:pt x="22" y="136"/>
                    </a:lnTo>
                    <a:lnTo>
                      <a:pt x="20" y="138"/>
                    </a:lnTo>
                    <a:lnTo>
                      <a:pt x="17" y="136"/>
                    </a:lnTo>
                    <a:lnTo>
                      <a:pt x="16" y="136"/>
                    </a:lnTo>
                    <a:lnTo>
                      <a:pt x="14" y="135"/>
                    </a:lnTo>
                    <a:lnTo>
                      <a:pt x="14" y="136"/>
                    </a:lnTo>
                    <a:lnTo>
                      <a:pt x="13" y="135"/>
                    </a:lnTo>
                    <a:lnTo>
                      <a:pt x="11" y="138"/>
                    </a:lnTo>
                    <a:lnTo>
                      <a:pt x="11" y="140"/>
                    </a:lnTo>
                    <a:lnTo>
                      <a:pt x="13" y="141"/>
                    </a:lnTo>
                    <a:lnTo>
                      <a:pt x="14" y="142"/>
                    </a:lnTo>
                    <a:lnTo>
                      <a:pt x="14" y="143"/>
                    </a:lnTo>
                    <a:lnTo>
                      <a:pt x="14" y="144"/>
                    </a:lnTo>
                    <a:lnTo>
                      <a:pt x="17" y="148"/>
                    </a:lnTo>
                    <a:lnTo>
                      <a:pt x="16" y="148"/>
                    </a:lnTo>
                    <a:lnTo>
                      <a:pt x="16" y="149"/>
                    </a:lnTo>
                    <a:lnTo>
                      <a:pt x="17" y="149"/>
                    </a:lnTo>
                    <a:lnTo>
                      <a:pt x="16" y="152"/>
                    </a:lnTo>
                    <a:lnTo>
                      <a:pt x="17" y="155"/>
                    </a:lnTo>
                    <a:lnTo>
                      <a:pt x="16" y="155"/>
                    </a:lnTo>
                    <a:lnTo>
                      <a:pt x="14" y="158"/>
                    </a:lnTo>
                    <a:lnTo>
                      <a:pt x="13" y="158"/>
                    </a:lnTo>
                    <a:lnTo>
                      <a:pt x="13" y="161"/>
                    </a:lnTo>
                    <a:lnTo>
                      <a:pt x="14" y="161"/>
                    </a:lnTo>
                    <a:lnTo>
                      <a:pt x="14" y="162"/>
                    </a:lnTo>
                    <a:lnTo>
                      <a:pt x="13" y="171"/>
                    </a:lnTo>
                    <a:lnTo>
                      <a:pt x="11" y="171"/>
                    </a:lnTo>
                    <a:lnTo>
                      <a:pt x="9" y="173"/>
                    </a:lnTo>
                    <a:lnTo>
                      <a:pt x="9" y="178"/>
                    </a:lnTo>
                    <a:lnTo>
                      <a:pt x="7" y="180"/>
                    </a:lnTo>
                    <a:lnTo>
                      <a:pt x="6" y="180"/>
                    </a:lnTo>
                    <a:lnTo>
                      <a:pt x="5" y="181"/>
                    </a:lnTo>
                    <a:lnTo>
                      <a:pt x="5" y="183"/>
                    </a:lnTo>
                    <a:lnTo>
                      <a:pt x="7" y="182"/>
                    </a:lnTo>
                    <a:lnTo>
                      <a:pt x="8" y="181"/>
                    </a:lnTo>
                    <a:lnTo>
                      <a:pt x="9" y="181"/>
                    </a:lnTo>
                    <a:lnTo>
                      <a:pt x="8" y="184"/>
                    </a:lnTo>
                    <a:lnTo>
                      <a:pt x="6" y="185"/>
                    </a:lnTo>
                    <a:lnTo>
                      <a:pt x="6" y="187"/>
                    </a:lnTo>
                    <a:lnTo>
                      <a:pt x="5" y="187"/>
                    </a:lnTo>
                    <a:lnTo>
                      <a:pt x="5" y="191"/>
                    </a:lnTo>
                    <a:lnTo>
                      <a:pt x="4" y="192"/>
                    </a:lnTo>
                    <a:lnTo>
                      <a:pt x="4" y="193"/>
                    </a:lnTo>
                    <a:lnTo>
                      <a:pt x="4" y="195"/>
                    </a:lnTo>
                    <a:lnTo>
                      <a:pt x="3" y="196"/>
                    </a:lnTo>
                    <a:lnTo>
                      <a:pt x="1" y="195"/>
                    </a:lnTo>
                    <a:lnTo>
                      <a:pt x="1" y="197"/>
                    </a:lnTo>
                    <a:lnTo>
                      <a:pt x="2" y="198"/>
                    </a:lnTo>
                    <a:lnTo>
                      <a:pt x="1" y="198"/>
                    </a:lnTo>
                    <a:lnTo>
                      <a:pt x="0" y="200"/>
                    </a:lnTo>
                    <a:lnTo>
                      <a:pt x="1" y="201"/>
                    </a:lnTo>
                    <a:lnTo>
                      <a:pt x="1" y="202"/>
                    </a:lnTo>
                    <a:lnTo>
                      <a:pt x="0" y="204"/>
                    </a:lnTo>
                    <a:lnTo>
                      <a:pt x="0" y="205"/>
                    </a:lnTo>
                    <a:lnTo>
                      <a:pt x="1" y="205"/>
                    </a:lnTo>
                    <a:lnTo>
                      <a:pt x="4" y="208"/>
                    </a:lnTo>
                    <a:lnTo>
                      <a:pt x="7" y="208"/>
                    </a:lnTo>
                    <a:lnTo>
                      <a:pt x="8" y="211"/>
                    </a:lnTo>
                    <a:lnTo>
                      <a:pt x="8" y="215"/>
                    </a:lnTo>
                    <a:lnTo>
                      <a:pt x="10" y="215"/>
                    </a:lnTo>
                    <a:lnTo>
                      <a:pt x="9" y="217"/>
                    </a:lnTo>
                    <a:lnTo>
                      <a:pt x="8" y="216"/>
                    </a:lnTo>
                    <a:lnTo>
                      <a:pt x="7" y="217"/>
                    </a:lnTo>
                    <a:lnTo>
                      <a:pt x="5" y="219"/>
                    </a:lnTo>
                    <a:lnTo>
                      <a:pt x="4" y="219"/>
                    </a:lnTo>
                    <a:lnTo>
                      <a:pt x="4" y="221"/>
                    </a:lnTo>
                    <a:lnTo>
                      <a:pt x="3" y="221"/>
                    </a:lnTo>
                    <a:lnTo>
                      <a:pt x="3" y="223"/>
                    </a:lnTo>
                    <a:lnTo>
                      <a:pt x="1" y="223"/>
                    </a:lnTo>
                    <a:lnTo>
                      <a:pt x="1" y="225"/>
                    </a:lnTo>
                    <a:lnTo>
                      <a:pt x="2" y="226"/>
                    </a:lnTo>
                    <a:lnTo>
                      <a:pt x="4" y="230"/>
                    </a:lnTo>
                    <a:lnTo>
                      <a:pt x="7" y="231"/>
                    </a:lnTo>
                    <a:lnTo>
                      <a:pt x="7" y="232"/>
                    </a:lnTo>
                    <a:lnTo>
                      <a:pt x="5" y="236"/>
                    </a:lnTo>
                    <a:lnTo>
                      <a:pt x="8" y="237"/>
                    </a:lnTo>
                    <a:lnTo>
                      <a:pt x="11" y="238"/>
                    </a:lnTo>
                    <a:lnTo>
                      <a:pt x="11" y="239"/>
                    </a:lnTo>
                    <a:lnTo>
                      <a:pt x="12" y="240"/>
                    </a:lnTo>
                    <a:lnTo>
                      <a:pt x="11" y="242"/>
                    </a:lnTo>
                    <a:lnTo>
                      <a:pt x="13" y="245"/>
                    </a:lnTo>
                    <a:lnTo>
                      <a:pt x="13" y="246"/>
                    </a:lnTo>
                    <a:lnTo>
                      <a:pt x="14" y="245"/>
                    </a:lnTo>
                    <a:lnTo>
                      <a:pt x="17" y="248"/>
                    </a:lnTo>
                    <a:lnTo>
                      <a:pt x="18" y="251"/>
                    </a:lnTo>
                    <a:lnTo>
                      <a:pt x="18" y="253"/>
                    </a:lnTo>
                    <a:lnTo>
                      <a:pt x="19" y="253"/>
                    </a:lnTo>
                    <a:lnTo>
                      <a:pt x="22" y="255"/>
                    </a:lnTo>
                    <a:lnTo>
                      <a:pt x="25" y="250"/>
                    </a:lnTo>
                    <a:lnTo>
                      <a:pt x="27" y="249"/>
                    </a:lnTo>
                    <a:lnTo>
                      <a:pt x="29" y="248"/>
                    </a:lnTo>
                    <a:lnTo>
                      <a:pt x="30" y="248"/>
                    </a:lnTo>
                    <a:lnTo>
                      <a:pt x="31" y="247"/>
                    </a:lnTo>
                    <a:lnTo>
                      <a:pt x="33" y="246"/>
                    </a:lnTo>
                    <a:lnTo>
                      <a:pt x="34" y="247"/>
                    </a:lnTo>
                    <a:lnTo>
                      <a:pt x="35" y="247"/>
                    </a:lnTo>
                    <a:lnTo>
                      <a:pt x="34" y="249"/>
                    </a:lnTo>
                    <a:lnTo>
                      <a:pt x="36" y="249"/>
                    </a:lnTo>
                    <a:lnTo>
                      <a:pt x="37" y="253"/>
                    </a:lnTo>
                    <a:lnTo>
                      <a:pt x="38" y="255"/>
                    </a:lnTo>
                    <a:lnTo>
                      <a:pt x="41" y="258"/>
                    </a:lnTo>
                    <a:lnTo>
                      <a:pt x="41" y="259"/>
                    </a:lnTo>
                    <a:lnTo>
                      <a:pt x="42" y="259"/>
                    </a:lnTo>
                    <a:lnTo>
                      <a:pt x="43" y="258"/>
                    </a:lnTo>
                    <a:lnTo>
                      <a:pt x="44" y="259"/>
                    </a:lnTo>
                    <a:lnTo>
                      <a:pt x="47" y="260"/>
                    </a:lnTo>
                    <a:lnTo>
                      <a:pt x="52" y="262"/>
                    </a:lnTo>
                    <a:lnTo>
                      <a:pt x="52" y="265"/>
                    </a:lnTo>
                    <a:lnTo>
                      <a:pt x="50" y="266"/>
                    </a:lnTo>
                    <a:lnTo>
                      <a:pt x="51" y="269"/>
                    </a:lnTo>
                    <a:lnTo>
                      <a:pt x="50" y="271"/>
                    </a:lnTo>
                    <a:lnTo>
                      <a:pt x="45" y="270"/>
                    </a:lnTo>
                    <a:lnTo>
                      <a:pt x="44" y="269"/>
                    </a:lnTo>
                    <a:lnTo>
                      <a:pt x="45" y="272"/>
                    </a:lnTo>
                    <a:lnTo>
                      <a:pt x="47" y="272"/>
                    </a:lnTo>
                    <a:lnTo>
                      <a:pt x="49" y="275"/>
                    </a:lnTo>
                    <a:lnTo>
                      <a:pt x="52" y="272"/>
                    </a:lnTo>
                    <a:lnTo>
                      <a:pt x="55" y="272"/>
                    </a:lnTo>
                    <a:lnTo>
                      <a:pt x="57" y="273"/>
                    </a:lnTo>
                    <a:lnTo>
                      <a:pt x="57" y="275"/>
                    </a:lnTo>
                    <a:lnTo>
                      <a:pt x="58" y="275"/>
                    </a:lnTo>
                    <a:lnTo>
                      <a:pt x="59" y="278"/>
                    </a:lnTo>
                    <a:lnTo>
                      <a:pt x="60" y="279"/>
                    </a:lnTo>
                    <a:lnTo>
                      <a:pt x="59" y="280"/>
                    </a:lnTo>
                    <a:lnTo>
                      <a:pt x="60" y="284"/>
                    </a:lnTo>
                    <a:lnTo>
                      <a:pt x="59" y="285"/>
                    </a:lnTo>
                    <a:lnTo>
                      <a:pt x="62" y="287"/>
                    </a:lnTo>
                    <a:lnTo>
                      <a:pt x="65" y="288"/>
                    </a:lnTo>
                    <a:lnTo>
                      <a:pt x="66" y="289"/>
                    </a:lnTo>
                    <a:lnTo>
                      <a:pt x="69" y="287"/>
                    </a:lnTo>
                    <a:lnTo>
                      <a:pt x="74" y="283"/>
                    </a:lnTo>
                    <a:lnTo>
                      <a:pt x="74" y="281"/>
                    </a:lnTo>
                    <a:lnTo>
                      <a:pt x="76" y="281"/>
                    </a:lnTo>
                    <a:lnTo>
                      <a:pt x="77" y="287"/>
                    </a:lnTo>
                    <a:lnTo>
                      <a:pt x="78" y="285"/>
                    </a:lnTo>
                    <a:lnTo>
                      <a:pt x="81" y="285"/>
                    </a:lnTo>
                    <a:lnTo>
                      <a:pt x="84" y="288"/>
                    </a:lnTo>
                    <a:lnTo>
                      <a:pt x="85" y="288"/>
                    </a:lnTo>
                    <a:lnTo>
                      <a:pt x="87" y="289"/>
                    </a:lnTo>
                    <a:lnTo>
                      <a:pt x="91" y="293"/>
                    </a:lnTo>
                    <a:lnTo>
                      <a:pt x="90" y="294"/>
                    </a:lnTo>
                    <a:lnTo>
                      <a:pt x="89" y="297"/>
                    </a:lnTo>
                    <a:lnTo>
                      <a:pt x="91" y="296"/>
                    </a:lnTo>
                    <a:lnTo>
                      <a:pt x="91" y="295"/>
                    </a:lnTo>
                    <a:lnTo>
                      <a:pt x="93" y="294"/>
                    </a:lnTo>
                    <a:lnTo>
                      <a:pt x="94" y="294"/>
                    </a:lnTo>
                    <a:lnTo>
                      <a:pt x="95" y="296"/>
                    </a:lnTo>
                    <a:lnTo>
                      <a:pt x="97" y="295"/>
                    </a:lnTo>
                    <a:lnTo>
                      <a:pt x="99" y="293"/>
                    </a:lnTo>
                    <a:lnTo>
                      <a:pt x="101" y="293"/>
                    </a:lnTo>
                    <a:lnTo>
                      <a:pt x="104" y="296"/>
                    </a:lnTo>
                    <a:lnTo>
                      <a:pt x="107" y="295"/>
                    </a:lnTo>
                    <a:lnTo>
                      <a:pt x="107" y="293"/>
                    </a:lnTo>
                    <a:lnTo>
                      <a:pt x="109" y="293"/>
                    </a:lnTo>
                    <a:lnTo>
                      <a:pt x="109" y="294"/>
                    </a:lnTo>
                    <a:lnTo>
                      <a:pt x="110" y="294"/>
                    </a:lnTo>
                    <a:lnTo>
                      <a:pt x="112" y="294"/>
                    </a:lnTo>
                    <a:lnTo>
                      <a:pt x="114" y="295"/>
                    </a:lnTo>
                    <a:lnTo>
                      <a:pt x="115" y="296"/>
                    </a:lnTo>
                    <a:lnTo>
                      <a:pt x="115" y="300"/>
                    </a:lnTo>
                    <a:lnTo>
                      <a:pt x="115" y="303"/>
                    </a:lnTo>
                    <a:lnTo>
                      <a:pt x="115" y="306"/>
                    </a:lnTo>
                    <a:lnTo>
                      <a:pt x="116" y="307"/>
                    </a:lnTo>
                    <a:lnTo>
                      <a:pt x="114" y="310"/>
                    </a:lnTo>
                    <a:lnTo>
                      <a:pt x="114" y="311"/>
                    </a:lnTo>
                    <a:lnTo>
                      <a:pt x="112" y="313"/>
                    </a:lnTo>
                    <a:lnTo>
                      <a:pt x="112" y="316"/>
                    </a:lnTo>
                    <a:lnTo>
                      <a:pt x="110" y="319"/>
                    </a:lnTo>
                    <a:lnTo>
                      <a:pt x="112" y="319"/>
                    </a:lnTo>
                    <a:lnTo>
                      <a:pt x="113" y="319"/>
                    </a:lnTo>
                    <a:lnTo>
                      <a:pt x="113" y="321"/>
                    </a:lnTo>
                    <a:lnTo>
                      <a:pt x="114" y="324"/>
                    </a:lnTo>
                    <a:lnTo>
                      <a:pt x="114" y="326"/>
                    </a:lnTo>
                    <a:lnTo>
                      <a:pt x="115" y="326"/>
                    </a:lnTo>
                    <a:lnTo>
                      <a:pt x="115" y="324"/>
                    </a:lnTo>
                    <a:lnTo>
                      <a:pt x="116" y="324"/>
                    </a:lnTo>
                    <a:lnTo>
                      <a:pt x="117" y="324"/>
                    </a:lnTo>
                    <a:lnTo>
                      <a:pt x="116" y="326"/>
                    </a:lnTo>
                    <a:lnTo>
                      <a:pt x="118" y="328"/>
                    </a:lnTo>
                    <a:lnTo>
                      <a:pt x="119" y="327"/>
                    </a:lnTo>
                    <a:lnTo>
                      <a:pt x="120" y="329"/>
                    </a:lnTo>
                    <a:lnTo>
                      <a:pt x="121" y="332"/>
                    </a:lnTo>
                    <a:lnTo>
                      <a:pt x="120" y="334"/>
                    </a:lnTo>
                    <a:lnTo>
                      <a:pt x="123" y="336"/>
                    </a:lnTo>
                    <a:lnTo>
                      <a:pt x="124" y="336"/>
                    </a:lnTo>
                    <a:lnTo>
                      <a:pt x="125" y="336"/>
                    </a:lnTo>
                    <a:lnTo>
                      <a:pt x="127" y="337"/>
                    </a:lnTo>
                    <a:lnTo>
                      <a:pt x="128" y="340"/>
                    </a:lnTo>
                    <a:lnTo>
                      <a:pt x="131" y="341"/>
                    </a:lnTo>
                    <a:lnTo>
                      <a:pt x="131" y="344"/>
                    </a:lnTo>
                    <a:lnTo>
                      <a:pt x="131" y="345"/>
                    </a:lnTo>
                    <a:lnTo>
                      <a:pt x="133" y="343"/>
                    </a:lnTo>
                    <a:lnTo>
                      <a:pt x="134" y="340"/>
                    </a:lnTo>
                    <a:lnTo>
                      <a:pt x="135" y="339"/>
                    </a:lnTo>
                    <a:lnTo>
                      <a:pt x="136" y="338"/>
                    </a:lnTo>
                    <a:lnTo>
                      <a:pt x="138" y="338"/>
                    </a:lnTo>
                    <a:lnTo>
                      <a:pt x="139" y="340"/>
                    </a:lnTo>
                    <a:lnTo>
                      <a:pt x="141" y="344"/>
                    </a:lnTo>
                    <a:lnTo>
                      <a:pt x="142" y="344"/>
                    </a:lnTo>
                    <a:lnTo>
                      <a:pt x="142" y="346"/>
                    </a:lnTo>
                    <a:lnTo>
                      <a:pt x="143" y="345"/>
                    </a:lnTo>
                    <a:lnTo>
                      <a:pt x="144" y="346"/>
                    </a:lnTo>
                    <a:lnTo>
                      <a:pt x="144" y="344"/>
                    </a:lnTo>
                    <a:lnTo>
                      <a:pt x="149" y="346"/>
                    </a:lnTo>
                    <a:lnTo>
                      <a:pt x="151" y="346"/>
                    </a:lnTo>
                    <a:lnTo>
                      <a:pt x="153" y="347"/>
                    </a:lnTo>
                    <a:lnTo>
                      <a:pt x="156" y="343"/>
                    </a:lnTo>
                    <a:lnTo>
                      <a:pt x="157" y="342"/>
                    </a:lnTo>
                    <a:lnTo>
                      <a:pt x="160" y="343"/>
                    </a:lnTo>
                    <a:lnTo>
                      <a:pt x="161" y="345"/>
                    </a:lnTo>
                    <a:lnTo>
                      <a:pt x="161" y="346"/>
                    </a:lnTo>
                    <a:lnTo>
                      <a:pt x="163" y="346"/>
                    </a:lnTo>
                    <a:lnTo>
                      <a:pt x="164" y="345"/>
                    </a:lnTo>
                    <a:lnTo>
                      <a:pt x="163" y="343"/>
                    </a:lnTo>
                    <a:lnTo>
                      <a:pt x="164" y="341"/>
                    </a:lnTo>
                    <a:lnTo>
                      <a:pt x="165" y="341"/>
                    </a:lnTo>
                    <a:lnTo>
                      <a:pt x="166" y="341"/>
                    </a:lnTo>
                    <a:lnTo>
                      <a:pt x="169" y="343"/>
                    </a:lnTo>
                    <a:lnTo>
                      <a:pt x="168" y="346"/>
                    </a:lnTo>
                    <a:lnTo>
                      <a:pt x="169" y="343"/>
                    </a:lnTo>
                    <a:lnTo>
                      <a:pt x="172" y="345"/>
                    </a:lnTo>
                    <a:lnTo>
                      <a:pt x="172" y="349"/>
                    </a:lnTo>
                    <a:lnTo>
                      <a:pt x="172" y="351"/>
                    </a:lnTo>
                    <a:lnTo>
                      <a:pt x="169" y="351"/>
                    </a:lnTo>
                    <a:lnTo>
                      <a:pt x="168" y="351"/>
                    </a:lnTo>
                    <a:lnTo>
                      <a:pt x="169" y="353"/>
                    </a:lnTo>
                    <a:lnTo>
                      <a:pt x="172" y="357"/>
                    </a:lnTo>
                    <a:lnTo>
                      <a:pt x="173" y="357"/>
                    </a:lnTo>
                    <a:lnTo>
                      <a:pt x="172" y="356"/>
                    </a:lnTo>
                    <a:lnTo>
                      <a:pt x="174" y="355"/>
                    </a:lnTo>
                    <a:lnTo>
                      <a:pt x="177" y="357"/>
                    </a:lnTo>
                    <a:lnTo>
                      <a:pt x="177" y="358"/>
                    </a:lnTo>
                    <a:lnTo>
                      <a:pt x="175" y="358"/>
                    </a:lnTo>
                    <a:lnTo>
                      <a:pt x="174" y="359"/>
                    </a:lnTo>
                    <a:lnTo>
                      <a:pt x="179" y="366"/>
                    </a:lnTo>
                    <a:lnTo>
                      <a:pt x="176" y="366"/>
                    </a:lnTo>
                    <a:lnTo>
                      <a:pt x="177" y="369"/>
                    </a:lnTo>
                    <a:lnTo>
                      <a:pt x="177" y="371"/>
                    </a:lnTo>
                    <a:lnTo>
                      <a:pt x="176" y="372"/>
                    </a:lnTo>
                    <a:lnTo>
                      <a:pt x="174" y="372"/>
                    </a:lnTo>
                    <a:lnTo>
                      <a:pt x="173" y="371"/>
                    </a:lnTo>
                    <a:lnTo>
                      <a:pt x="172" y="372"/>
                    </a:lnTo>
                    <a:lnTo>
                      <a:pt x="172" y="371"/>
                    </a:lnTo>
                    <a:lnTo>
                      <a:pt x="169" y="371"/>
                    </a:lnTo>
                    <a:lnTo>
                      <a:pt x="165" y="369"/>
                    </a:lnTo>
                    <a:lnTo>
                      <a:pt x="164" y="371"/>
                    </a:lnTo>
                    <a:lnTo>
                      <a:pt x="166" y="374"/>
                    </a:lnTo>
                    <a:lnTo>
                      <a:pt x="165" y="377"/>
                    </a:lnTo>
                    <a:lnTo>
                      <a:pt x="164" y="376"/>
                    </a:lnTo>
                    <a:lnTo>
                      <a:pt x="161" y="376"/>
                    </a:lnTo>
                    <a:lnTo>
                      <a:pt x="161" y="377"/>
                    </a:lnTo>
                    <a:lnTo>
                      <a:pt x="162" y="377"/>
                    </a:lnTo>
                    <a:lnTo>
                      <a:pt x="161" y="380"/>
                    </a:lnTo>
                    <a:lnTo>
                      <a:pt x="163" y="381"/>
                    </a:lnTo>
                    <a:lnTo>
                      <a:pt x="162" y="384"/>
                    </a:lnTo>
                    <a:lnTo>
                      <a:pt x="159" y="385"/>
                    </a:lnTo>
                    <a:lnTo>
                      <a:pt x="156" y="385"/>
                    </a:lnTo>
                    <a:lnTo>
                      <a:pt x="156" y="387"/>
                    </a:lnTo>
                    <a:lnTo>
                      <a:pt x="156" y="388"/>
                    </a:lnTo>
                    <a:lnTo>
                      <a:pt x="157" y="389"/>
                    </a:lnTo>
                    <a:lnTo>
                      <a:pt x="156" y="391"/>
                    </a:lnTo>
                    <a:lnTo>
                      <a:pt x="156" y="392"/>
                    </a:lnTo>
                    <a:lnTo>
                      <a:pt x="155" y="393"/>
                    </a:lnTo>
                    <a:lnTo>
                      <a:pt x="155" y="394"/>
                    </a:lnTo>
                    <a:lnTo>
                      <a:pt x="152" y="393"/>
                    </a:lnTo>
                    <a:lnTo>
                      <a:pt x="152" y="397"/>
                    </a:lnTo>
                    <a:lnTo>
                      <a:pt x="152" y="396"/>
                    </a:lnTo>
                    <a:lnTo>
                      <a:pt x="151" y="395"/>
                    </a:lnTo>
                    <a:lnTo>
                      <a:pt x="150" y="395"/>
                    </a:lnTo>
                    <a:lnTo>
                      <a:pt x="150" y="397"/>
                    </a:lnTo>
                    <a:lnTo>
                      <a:pt x="148" y="399"/>
                    </a:lnTo>
                    <a:lnTo>
                      <a:pt x="146" y="399"/>
                    </a:lnTo>
                    <a:lnTo>
                      <a:pt x="144" y="400"/>
                    </a:lnTo>
                    <a:lnTo>
                      <a:pt x="144" y="402"/>
                    </a:lnTo>
                    <a:lnTo>
                      <a:pt x="142" y="404"/>
                    </a:lnTo>
                    <a:lnTo>
                      <a:pt x="144" y="407"/>
                    </a:lnTo>
                    <a:lnTo>
                      <a:pt x="145" y="406"/>
                    </a:lnTo>
                    <a:lnTo>
                      <a:pt x="147" y="406"/>
                    </a:lnTo>
                    <a:lnTo>
                      <a:pt x="149" y="404"/>
                    </a:lnTo>
                    <a:lnTo>
                      <a:pt x="151" y="405"/>
                    </a:lnTo>
                    <a:lnTo>
                      <a:pt x="152" y="406"/>
                    </a:lnTo>
                    <a:lnTo>
                      <a:pt x="153" y="408"/>
                    </a:lnTo>
                    <a:lnTo>
                      <a:pt x="152" y="409"/>
                    </a:lnTo>
                    <a:lnTo>
                      <a:pt x="152" y="411"/>
                    </a:lnTo>
                    <a:lnTo>
                      <a:pt x="151" y="413"/>
                    </a:lnTo>
                    <a:lnTo>
                      <a:pt x="152" y="415"/>
                    </a:lnTo>
                    <a:lnTo>
                      <a:pt x="153" y="416"/>
                    </a:lnTo>
                    <a:lnTo>
                      <a:pt x="158" y="417"/>
                    </a:lnTo>
                    <a:lnTo>
                      <a:pt x="159" y="417"/>
                    </a:lnTo>
                    <a:lnTo>
                      <a:pt x="163" y="419"/>
                    </a:lnTo>
                    <a:lnTo>
                      <a:pt x="167" y="422"/>
                    </a:lnTo>
                    <a:lnTo>
                      <a:pt x="166" y="423"/>
                    </a:lnTo>
                    <a:lnTo>
                      <a:pt x="166" y="424"/>
                    </a:lnTo>
                    <a:lnTo>
                      <a:pt x="165" y="425"/>
                    </a:lnTo>
                    <a:lnTo>
                      <a:pt x="164" y="427"/>
                    </a:lnTo>
                    <a:lnTo>
                      <a:pt x="167" y="430"/>
                    </a:lnTo>
                    <a:lnTo>
                      <a:pt x="170" y="428"/>
                    </a:lnTo>
                    <a:lnTo>
                      <a:pt x="169" y="428"/>
                    </a:lnTo>
                    <a:lnTo>
                      <a:pt x="169" y="427"/>
                    </a:lnTo>
                    <a:lnTo>
                      <a:pt x="167" y="427"/>
                    </a:lnTo>
                    <a:lnTo>
                      <a:pt x="166" y="427"/>
                    </a:lnTo>
                    <a:lnTo>
                      <a:pt x="169" y="427"/>
                    </a:lnTo>
                    <a:lnTo>
                      <a:pt x="173" y="430"/>
                    </a:lnTo>
                    <a:lnTo>
                      <a:pt x="172" y="427"/>
                    </a:lnTo>
                    <a:lnTo>
                      <a:pt x="175" y="426"/>
                    </a:lnTo>
                    <a:lnTo>
                      <a:pt x="176" y="427"/>
                    </a:lnTo>
                    <a:lnTo>
                      <a:pt x="177" y="429"/>
                    </a:lnTo>
                    <a:lnTo>
                      <a:pt x="178" y="430"/>
                    </a:lnTo>
                    <a:lnTo>
                      <a:pt x="177" y="432"/>
                    </a:lnTo>
                    <a:lnTo>
                      <a:pt x="177" y="434"/>
                    </a:lnTo>
                    <a:lnTo>
                      <a:pt x="179" y="435"/>
                    </a:lnTo>
                    <a:lnTo>
                      <a:pt x="180" y="435"/>
                    </a:lnTo>
                    <a:lnTo>
                      <a:pt x="182" y="434"/>
                    </a:lnTo>
                    <a:lnTo>
                      <a:pt x="182" y="437"/>
                    </a:lnTo>
                    <a:lnTo>
                      <a:pt x="183" y="438"/>
                    </a:lnTo>
                    <a:lnTo>
                      <a:pt x="185" y="435"/>
                    </a:lnTo>
                    <a:lnTo>
                      <a:pt x="185" y="434"/>
                    </a:lnTo>
                    <a:lnTo>
                      <a:pt x="185" y="433"/>
                    </a:lnTo>
                    <a:lnTo>
                      <a:pt x="187" y="433"/>
                    </a:lnTo>
                    <a:lnTo>
                      <a:pt x="187" y="431"/>
                    </a:lnTo>
                    <a:lnTo>
                      <a:pt x="189" y="430"/>
                    </a:lnTo>
                    <a:lnTo>
                      <a:pt x="190" y="430"/>
                    </a:lnTo>
                    <a:lnTo>
                      <a:pt x="188" y="426"/>
                    </a:lnTo>
                    <a:lnTo>
                      <a:pt x="190" y="425"/>
                    </a:lnTo>
                    <a:lnTo>
                      <a:pt x="191" y="425"/>
                    </a:lnTo>
                    <a:lnTo>
                      <a:pt x="192" y="427"/>
                    </a:lnTo>
                    <a:lnTo>
                      <a:pt x="194" y="427"/>
                    </a:lnTo>
                    <a:lnTo>
                      <a:pt x="194" y="428"/>
                    </a:lnTo>
                    <a:lnTo>
                      <a:pt x="195" y="427"/>
                    </a:lnTo>
                    <a:lnTo>
                      <a:pt x="198" y="425"/>
                    </a:lnTo>
                    <a:lnTo>
                      <a:pt x="201" y="425"/>
                    </a:lnTo>
                    <a:lnTo>
                      <a:pt x="201" y="427"/>
                    </a:lnTo>
                    <a:lnTo>
                      <a:pt x="204" y="429"/>
                    </a:lnTo>
                    <a:lnTo>
                      <a:pt x="204" y="432"/>
                    </a:lnTo>
                    <a:lnTo>
                      <a:pt x="206" y="434"/>
                    </a:lnTo>
                    <a:lnTo>
                      <a:pt x="207" y="435"/>
                    </a:lnTo>
                    <a:lnTo>
                      <a:pt x="208" y="434"/>
                    </a:lnTo>
                    <a:lnTo>
                      <a:pt x="209" y="434"/>
                    </a:lnTo>
                    <a:lnTo>
                      <a:pt x="209" y="432"/>
                    </a:lnTo>
                    <a:lnTo>
                      <a:pt x="211" y="430"/>
                    </a:lnTo>
                    <a:lnTo>
                      <a:pt x="210" y="430"/>
                    </a:lnTo>
                    <a:lnTo>
                      <a:pt x="210" y="429"/>
                    </a:lnTo>
                    <a:lnTo>
                      <a:pt x="209" y="428"/>
                    </a:lnTo>
                    <a:lnTo>
                      <a:pt x="211" y="429"/>
                    </a:lnTo>
                    <a:lnTo>
                      <a:pt x="213" y="426"/>
                    </a:lnTo>
                    <a:lnTo>
                      <a:pt x="215" y="428"/>
                    </a:lnTo>
                    <a:lnTo>
                      <a:pt x="216" y="427"/>
                    </a:lnTo>
                    <a:lnTo>
                      <a:pt x="216" y="426"/>
                    </a:lnTo>
                    <a:lnTo>
                      <a:pt x="216" y="422"/>
                    </a:lnTo>
                    <a:lnTo>
                      <a:pt x="216" y="421"/>
                    </a:lnTo>
                    <a:lnTo>
                      <a:pt x="218" y="422"/>
                    </a:lnTo>
                    <a:lnTo>
                      <a:pt x="223" y="423"/>
                    </a:lnTo>
                    <a:lnTo>
                      <a:pt x="226" y="421"/>
                    </a:lnTo>
                    <a:lnTo>
                      <a:pt x="227" y="418"/>
                    </a:lnTo>
                    <a:lnTo>
                      <a:pt x="229" y="418"/>
                    </a:lnTo>
                    <a:lnTo>
                      <a:pt x="229" y="417"/>
                    </a:lnTo>
                    <a:lnTo>
                      <a:pt x="230" y="417"/>
                    </a:lnTo>
                    <a:lnTo>
                      <a:pt x="230" y="416"/>
                    </a:lnTo>
                    <a:lnTo>
                      <a:pt x="228" y="415"/>
                    </a:lnTo>
                    <a:lnTo>
                      <a:pt x="229" y="413"/>
                    </a:lnTo>
                    <a:lnTo>
                      <a:pt x="230" y="413"/>
                    </a:lnTo>
                    <a:lnTo>
                      <a:pt x="233" y="411"/>
                    </a:lnTo>
                    <a:lnTo>
                      <a:pt x="234" y="410"/>
                    </a:lnTo>
                    <a:lnTo>
                      <a:pt x="237" y="411"/>
                    </a:lnTo>
                    <a:lnTo>
                      <a:pt x="239" y="409"/>
                    </a:lnTo>
                    <a:lnTo>
                      <a:pt x="242" y="411"/>
                    </a:lnTo>
                    <a:lnTo>
                      <a:pt x="243" y="409"/>
                    </a:lnTo>
                    <a:lnTo>
                      <a:pt x="246" y="411"/>
                    </a:lnTo>
                    <a:lnTo>
                      <a:pt x="247" y="411"/>
                    </a:lnTo>
                    <a:lnTo>
                      <a:pt x="247" y="413"/>
                    </a:lnTo>
                    <a:lnTo>
                      <a:pt x="250" y="413"/>
                    </a:lnTo>
                    <a:lnTo>
                      <a:pt x="248" y="411"/>
                    </a:lnTo>
                    <a:lnTo>
                      <a:pt x="250" y="410"/>
                    </a:lnTo>
                    <a:lnTo>
                      <a:pt x="251" y="410"/>
                    </a:lnTo>
                    <a:lnTo>
                      <a:pt x="252" y="410"/>
                    </a:lnTo>
                    <a:lnTo>
                      <a:pt x="251" y="408"/>
                    </a:lnTo>
                    <a:lnTo>
                      <a:pt x="252" y="408"/>
                    </a:lnTo>
                    <a:lnTo>
                      <a:pt x="252" y="407"/>
                    </a:lnTo>
                    <a:lnTo>
                      <a:pt x="251" y="407"/>
                    </a:lnTo>
                    <a:lnTo>
                      <a:pt x="253" y="404"/>
                    </a:lnTo>
                    <a:lnTo>
                      <a:pt x="253" y="402"/>
                    </a:lnTo>
                    <a:lnTo>
                      <a:pt x="254" y="401"/>
                    </a:lnTo>
                    <a:lnTo>
                      <a:pt x="253" y="398"/>
                    </a:lnTo>
                    <a:lnTo>
                      <a:pt x="255" y="399"/>
                    </a:lnTo>
                    <a:lnTo>
                      <a:pt x="256" y="399"/>
                    </a:lnTo>
                    <a:lnTo>
                      <a:pt x="260" y="402"/>
                    </a:lnTo>
                    <a:lnTo>
                      <a:pt x="260" y="403"/>
                    </a:lnTo>
                    <a:lnTo>
                      <a:pt x="258" y="403"/>
                    </a:lnTo>
                    <a:lnTo>
                      <a:pt x="258" y="404"/>
                    </a:lnTo>
                    <a:lnTo>
                      <a:pt x="260" y="404"/>
                    </a:lnTo>
                    <a:lnTo>
                      <a:pt x="261" y="404"/>
                    </a:lnTo>
                    <a:lnTo>
                      <a:pt x="261" y="405"/>
                    </a:lnTo>
                    <a:lnTo>
                      <a:pt x="264" y="402"/>
                    </a:lnTo>
                    <a:lnTo>
                      <a:pt x="268" y="400"/>
                    </a:lnTo>
                    <a:lnTo>
                      <a:pt x="266" y="400"/>
                    </a:lnTo>
                    <a:lnTo>
                      <a:pt x="267" y="394"/>
                    </a:lnTo>
                    <a:lnTo>
                      <a:pt x="271" y="398"/>
                    </a:lnTo>
                    <a:lnTo>
                      <a:pt x="273" y="395"/>
                    </a:lnTo>
                    <a:lnTo>
                      <a:pt x="276" y="393"/>
                    </a:lnTo>
                    <a:lnTo>
                      <a:pt x="277" y="394"/>
                    </a:lnTo>
                    <a:lnTo>
                      <a:pt x="277" y="396"/>
                    </a:lnTo>
                    <a:lnTo>
                      <a:pt x="277" y="398"/>
                    </a:lnTo>
                    <a:lnTo>
                      <a:pt x="278" y="398"/>
                    </a:lnTo>
                    <a:lnTo>
                      <a:pt x="278" y="400"/>
                    </a:lnTo>
                    <a:lnTo>
                      <a:pt x="277" y="400"/>
                    </a:lnTo>
                    <a:lnTo>
                      <a:pt x="278" y="401"/>
                    </a:lnTo>
                    <a:lnTo>
                      <a:pt x="277" y="401"/>
                    </a:lnTo>
                    <a:lnTo>
                      <a:pt x="277" y="402"/>
                    </a:lnTo>
                    <a:lnTo>
                      <a:pt x="278" y="402"/>
                    </a:lnTo>
                    <a:lnTo>
                      <a:pt x="279" y="404"/>
                    </a:lnTo>
                    <a:lnTo>
                      <a:pt x="280" y="403"/>
                    </a:lnTo>
                    <a:lnTo>
                      <a:pt x="280" y="401"/>
                    </a:lnTo>
                    <a:lnTo>
                      <a:pt x="280" y="402"/>
                    </a:lnTo>
                    <a:lnTo>
                      <a:pt x="281" y="404"/>
                    </a:lnTo>
                    <a:lnTo>
                      <a:pt x="280" y="404"/>
                    </a:lnTo>
                    <a:lnTo>
                      <a:pt x="280" y="405"/>
                    </a:lnTo>
                    <a:lnTo>
                      <a:pt x="283" y="407"/>
                    </a:lnTo>
                    <a:lnTo>
                      <a:pt x="285" y="408"/>
                    </a:lnTo>
                    <a:lnTo>
                      <a:pt x="288" y="409"/>
                    </a:lnTo>
                    <a:lnTo>
                      <a:pt x="289" y="408"/>
                    </a:lnTo>
                    <a:lnTo>
                      <a:pt x="291" y="408"/>
                    </a:lnTo>
                    <a:lnTo>
                      <a:pt x="293" y="406"/>
                    </a:lnTo>
                    <a:lnTo>
                      <a:pt x="294" y="406"/>
                    </a:lnTo>
                    <a:lnTo>
                      <a:pt x="295" y="403"/>
                    </a:lnTo>
                    <a:lnTo>
                      <a:pt x="294" y="401"/>
                    </a:lnTo>
                    <a:lnTo>
                      <a:pt x="294" y="400"/>
                    </a:lnTo>
                    <a:lnTo>
                      <a:pt x="296" y="400"/>
                    </a:lnTo>
                    <a:lnTo>
                      <a:pt x="296" y="401"/>
                    </a:lnTo>
                    <a:lnTo>
                      <a:pt x="296" y="403"/>
                    </a:lnTo>
                    <a:lnTo>
                      <a:pt x="298" y="403"/>
                    </a:lnTo>
                    <a:lnTo>
                      <a:pt x="298" y="404"/>
                    </a:lnTo>
                    <a:lnTo>
                      <a:pt x="300" y="404"/>
                    </a:lnTo>
                    <a:lnTo>
                      <a:pt x="301" y="404"/>
                    </a:lnTo>
                    <a:lnTo>
                      <a:pt x="303" y="406"/>
                    </a:lnTo>
                    <a:lnTo>
                      <a:pt x="304" y="407"/>
                    </a:lnTo>
                    <a:lnTo>
                      <a:pt x="305" y="406"/>
                    </a:lnTo>
                    <a:lnTo>
                      <a:pt x="307" y="406"/>
                    </a:lnTo>
                    <a:lnTo>
                      <a:pt x="308" y="409"/>
                    </a:lnTo>
                    <a:lnTo>
                      <a:pt x="309" y="410"/>
                    </a:lnTo>
                    <a:lnTo>
                      <a:pt x="309" y="407"/>
                    </a:lnTo>
                    <a:lnTo>
                      <a:pt x="309" y="406"/>
                    </a:lnTo>
                    <a:lnTo>
                      <a:pt x="311" y="406"/>
                    </a:lnTo>
                    <a:lnTo>
                      <a:pt x="313" y="407"/>
                    </a:lnTo>
                    <a:lnTo>
                      <a:pt x="313" y="406"/>
                    </a:lnTo>
                    <a:lnTo>
                      <a:pt x="314" y="406"/>
                    </a:lnTo>
                    <a:lnTo>
                      <a:pt x="318" y="408"/>
                    </a:lnTo>
                    <a:lnTo>
                      <a:pt x="318" y="407"/>
                    </a:lnTo>
                    <a:lnTo>
                      <a:pt x="320" y="407"/>
                    </a:lnTo>
                    <a:lnTo>
                      <a:pt x="318" y="406"/>
                    </a:lnTo>
                    <a:lnTo>
                      <a:pt x="320" y="406"/>
                    </a:lnTo>
                    <a:lnTo>
                      <a:pt x="320" y="404"/>
                    </a:lnTo>
                    <a:lnTo>
                      <a:pt x="321" y="404"/>
                    </a:lnTo>
                    <a:lnTo>
                      <a:pt x="322" y="406"/>
                    </a:lnTo>
                    <a:lnTo>
                      <a:pt x="326" y="404"/>
                    </a:lnTo>
                    <a:lnTo>
                      <a:pt x="326" y="403"/>
                    </a:lnTo>
                    <a:lnTo>
                      <a:pt x="325" y="402"/>
                    </a:lnTo>
                    <a:lnTo>
                      <a:pt x="325" y="400"/>
                    </a:lnTo>
                    <a:lnTo>
                      <a:pt x="321" y="398"/>
                    </a:lnTo>
                    <a:lnTo>
                      <a:pt x="324" y="396"/>
                    </a:lnTo>
                    <a:lnTo>
                      <a:pt x="323" y="395"/>
                    </a:lnTo>
                    <a:lnTo>
                      <a:pt x="324" y="396"/>
                    </a:lnTo>
                    <a:lnTo>
                      <a:pt x="329" y="394"/>
                    </a:lnTo>
                    <a:lnTo>
                      <a:pt x="330" y="394"/>
                    </a:lnTo>
                    <a:lnTo>
                      <a:pt x="332" y="393"/>
                    </a:lnTo>
                    <a:lnTo>
                      <a:pt x="333" y="393"/>
                    </a:lnTo>
                    <a:lnTo>
                      <a:pt x="336" y="394"/>
                    </a:lnTo>
                    <a:lnTo>
                      <a:pt x="337" y="393"/>
                    </a:lnTo>
                    <a:lnTo>
                      <a:pt x="339" y="394"/>
                    </a:lnTo>
                    <a:lnTo>
                      <a:pt x="342" y="393"/>
                    </a:lnTo>
                    <a:lnTo>
                      <a:pt x="345" y="395"/>
                    </a:lnTo>
                    <a:lnTo>
                      <a:pt x="346" y="393"/>
                    </a:lnTo>
                    <a:lnTo>
                      <a:pt x="346" y="392"/>
                    </a:lnTo>
                    <a:lnTo>
                      <a:pt x="348" y="390"/>
                    </a:lnTo>
                    <a:lnTo>
                      <a:pt x="350" y="390"/>
                    </a:lnTo>
                    <a:lnTo>
                      <a:pt x="350" y="388"/>
                    </a:lnTo>
                    <a:lnTo>
                      <a:pt x="348" y="384"/>
                    </a:lnTo>
                    <a:lnTo>
                      <a:pt x="349" y="383"/>
                    </a:lnTo>
                    <a:lnTo>
                      <a:pt x="351" y="383"/>
                    </a:lnTo>
                    <a:lnTo>
                      <a:pt x="353" y="383"/>
                    </a:lnTo>
                    <a:lnTo>
                      <a:pt x="355" y="383"/>
                    </a:lnTo>
                    <a:lnTo>
                      <a:pt x="356" y="383"/>
                    </a:lnTo>
                    <a:lnTo>
                      <a:pt x="357" y="381"/>
                    </a:lnTo>
                    <a:lnTo>
                      <a:pt x="359" y="381"/>
                    </a:lnTo>
                    <a:lnTo>
                      <a:pt x="359" y="380"/>
                    </a:lnTo>
                    <a:lnTo>
                      <a:pt x="361" y="378"/>
                    </a:lnTo>
                    <a:lnTo>
                      <a:pt x="362" y="376"/>
                    </a:lnTo>
                    <a:lnTo>
                      <a:pt x="362" y="377"/>
                    </a:lnTo>
                    <a:lnTo>
                      <a:pt x="362" y="376"/>
                    </a:lnTo>
                    <a:lnTo>
                      <a:pt x="364" y="370"/>
                    </a:lnTo>
                    <a:lnTo>
                      <a:pt x="363" y="370"/>
                    </a:lnTo>
                    <a:lnTo>
                      <a:pt x="363" y="367"/>
                    </a:lnTo>
                    <a:lnTo>
                      <a:pt x="360" y="367"/>
                    </a:lnTo>
                    <a:lnTo>
                      <a:pt x="362" y="364"/>
                    </a:lnTo>
                    <a:lnTo>
                      <a:pt x="362" y="362"/>
                    </a:lnTo>
                    <a:lnTo>
                      <a:pt x="361" y="361"/>
                    </a:lnTo>
                    <a:lnTo>
                      <a:pt x="361" y="363"/>
                    </a:lnTo>
                    <a:lnTo>
                      <a:pt x="358" y="365"/>
                    </a:lnTo>
                    <a:lnTo>
                      <a:pt x="356" y="364"/>
                    </a:lnTo>
                    <a:lnTo>
                      <a:pt x="355" y="366"/>
                    </a:lnTo>
                    <a:lnTo>
                      <a:pt x="354" y="366"/>
                    </a:lnTo>
                    <a:lnTo>
                      <a:pt x="356" y="364"/>
                    </a:lnTo>
                    <a:lnTo>
                      <a:pt x="356" y="362"/>
                    </a:lnTo>
                    <a:lnTo>
                      <a:pt x="357" y="363"/>
                    </a:lnTo>
                    <a:lnTo>
                      <a:pt x="358" y="361"/>
                    </a:lnTo>
                    <a:lnTo>
                      <a:pt x="356" y="358"/>
                    </a:lnTo>
                    <a:lnTo>
                      <a:pt x="356" y="357"/>
                    </a:lnTo>
                    <a:lnTo>
                      <a:pt x="356" y="354"/>
                    </a:lnTo>
                    <a:lnTo>
                      <a:pt x="354" y="355"/>
                    </a:lnTo>
                    <a:lnTo>
                      <a:pt x="355" y="353"/>
                    </a:lnTo>
                    <a:lnTo>
                      <a:pt x="353" y="353"/>
                    </a:lnTo>
                    <a:lnTo>
                      <a:pt x="354" y="351"/>
                    </a:lnTo>
                    <a:lnTo>
                      <a:pt x="356" y="347"/>
                    </a:lnTo>
                    <a:lnTo>
                      <a:pt x="359" y="347"/>
                    </a:lnTo>
                    <a:lnTo>
                      <a:pt x="362" y="349"/>
                    </a:lnTo>
                    <a:lnTo>
                      <a:pt x="364" y="347"/>
                    </a:lnTo>
                    <a:lnTo>
                      <a:pt x="364" y="346"/>
                    </a:lnTo>
                    <a:lnTo>
                      <a:pt x="366" y="348"/>
                    </a:lnTo>
                    <a:lnTo>
                      <a:pt x="368" y="345"/>
                    </a:lnTo>
                    <a:lnTo>
                      <a:pt x="366" y="344"/>
                    </a:lnTo>
                    <a:lnTo>
                      <a:pt x="366" y="340"/>
                    </a:lnTo>
                    <a:lnTo>
                      <a:pt x="367" y="338"/>
                    </a:lnTo>
                    <a:lnTo>
                      <a:pt x="367" y="339"/>
                    </a:lnTo>
                    <a:lnTo>
                      <a:pt x="368" y="337"/>
                    </a:lnTo>
                    <a:lnTo>
                      <a:pt x="366" y="334"/>
                    </a:lnTo>
                    <a:lnTo>
                      <a:pt x="365" y="332"/>
                    </a:lnTo>
                    <a:lnTo>
                      <a:pt x="363" y="332"/>
                    </a:lnTo>
                    <a:lnTo>
                      <a:pt x="361" y="331"/>
                    </a:lnTo>
                    <a:lnTo>
                      <a:pt x="359" y="331"/>
                    </a:lnTo>
                    <a:lnTo>
                      <a:pt x="358" y="330"/>
                    </a:lnTo>
                    <a:lnTo>
                      <a:pt x="359" y="326"/>
                    </a:lnTo>
                    <a:lnTo>
                      <a:pt x="359" y="324"/>
                    </a:lnTo>
                    <a:lnTo>
                      <a:pt x="360" y="322"/>
                    </a:lnTo>
                    <a:lnTo>
                      <a:pt x="362" y="317"/>
                    </a:lnTo>
                    <a:lnTo>
                      <a:pt x="364" y="315"/>
                    </a:lnTo>
                    <a:lnTo>
                      <a:pt x="364" y="313"/>
                    </a:lnTo>
                    <a:lnTo>
                      <a:pt x="366" y="311"/>
                    </a:lnTo>
                    <a:lnTo>
                      <a:pt x="369" y="311"/>
                    </a:lnTo>
                    <a:lnTo>
                      <a:pt x="369" y="313"/>
                    </a:lnTo>
                    <a:lnTo>
                      <a:pt x="370" y="313"/>
                    </a:lnTo>
                    <a:lnTo>
                      <a:pt x="371" y="312"/>
                    </a:lnTo>
                    <a:lnTo>
                      <a:pt x="373" y="311"/>
                    </a:lnTo>
                    <a:lnTo>
                      <a:pt x="374" y="311"/>
                    </a:lnTo>
                    <a:lnTo>
                      <a:pt x="375" y="311"/>
                    </a:lnTo>
                    <a:lnTo>
                      <a:pt x="375" y="307"/>
                    </a:lnTo>
                    <a:lnTo>
                      <a:pt x="372" y="306"/>
                    </a:lnTo>
                    <a:lnTo>
                      <a:pt x="373" y="303"/>
                    </a:lnTo>
                    <a:lnTo>
                      <a:pt x="372" y="303"/>
                    </a:lnTo>
                    <a:lnTo>
                      <a:pt x="372" y="302"/>
                    </a:lnTo>
                    <a:lnTo>
                      <a:pt x="368" y="302"/>
                    </a:lnTo>
                    <a:lnTo>
                      <a:pt x="367" y="300"/>
                    </a:lnTo>
                    <a:lnTo>
                      <a:pt x="367" y="297"/>
                    </a:lnTo>
                    <a:lnTo>
                      <a:pt x="369" y="294"/>
                    </a:lnTo>
                    <a:lnTo>
                      <a:pt x="369" y="293"/>
                    </a:lnTo>
                    <a:lnTo>
                      <a:pt x="370" y="294"/>
                    </a:lnTo>
                    <a:lnTo>
                      <a:pt x="373" y="293"/>
                    </a:lnTo>
                    <a:lnTo>
                      <a:pt x="373" y="292"/>
                    </a:lnTo>
                    <a:lnTo>
                      <a:pt x="375" y="293"/>
                    </a:lnTo>
                    <a:lnTo>
                      <a:pt x="375" y="292"/>
                    </a:lnTo>
                    <a:lnTo>
                      <a:pt x="374" y="290"/>
                    </a:lnTo>
                    <a:lnTo>
                      <a:pt x="375" y="289"/>
                    </a:lnTo>
                    <a:lnTo>
                      <a:pt x="377" y="289"/>
                    </a:lnTo>
                    <a:lnTo>
                      <a:pt x="378" y="288"/>
                    </a:lnTo>
                    <a:lnTo>
                      <a:pt x="378" y="286"/>
                    </a:lnTo>
                    <a:lnTo>
                      <a:pt x="379" y="285"/>
                    </a:lnTo>
                    <a:lnTo>
                      <a:pt x="378" y="283"/>
                    </a:lnTo>
                    <a:lnTo>
                      <a:pt x="378" y="282"/>
                    </a:lnTo>
                    <a:lnTo>
                      <a:pt x="378" y="281"/>
                    </a:lnTo>
                    <a:lnTo>
                      <a:pt x="378" y="279"/>
                    </a:lnTo>
                    <a:lnTo>
                      <a:pt x="379" y="279"/>
                    </a:lnTo>
                    <a:lnTo>
                      <a:pt x="382" y="279"/>
                    </a:lnTo>
                    <a:lnTo>
                      <a:pt x="384" y="278"/>
                    </a:lnTo>
                    <a:lnTo>
                      <a:pt x="386" y="279"/>
                    </a:lnTo>
                    <a:lnTo>
                      <a:pt x="390" y="276"/>
                    </a:lnTo>
                    <a:lnTo>
                      <a:pt x="392" y="274"/>
                    </a:lnTo>
                    <a:lnTo>
                      <a:pt x="392" y="272"/>
                    </a:lnTo>
                    <a:lnTo>
                      <a:pt x="395" y="272"/>
                    </a:lnTo>
                    <a:lnTo>
                      <a:pt x="395" y="274"/>
                    </a:lnTo>
                    <a:lnTo>
                      <a:pt x="396" y="275"/>
                    </a:lnTo>
                    <a:lnTo>
                      <a:pt x="396" y="274"/>
                    </a:lnTo>
                    <a:lnTo>
                      <a:pt x="398" y="272"/>
                    </a:lnTo>
                    <a:lnTo>
                      <a:pt x="400" y="272"/>
                    </a:lnTo>
                    <a:lnTo>
                      <a:pt x="403" y="270"/>
                    </a:lnTo>
                    <a:lnTo>
                      <a:pt x="403" y="268"/>
                    </a:lnTo>
                    <a:lnTo>
                      <a:pt x="406" y="268"/>
                    </a:lnTo>
                    <a:lnTo>
                      <a:pt x="406" y="266"/>
                    </a:lnTo>
                    <a:lnTo>
                      <a:pt x="405" y="266"/>
                    </a:lnTo>
                    <a:lnTo>
                      <a:pt x="406" y="266"/>
                    </a:lnTo>
                    <a:lnTo>
                      <a:pt x="405" y="264"/>
                    </a:lnTo>
                    <a:lnTo>
                      <a:pt x="403" y="260"/>
                    </a:lnTo>
                    <a:lnTo>
                      <a:pt x="406" y="258"/>
                    </a:lnTo>
                    <a:lnTo>
                      <a:pt x="405" y="258"/>
                    </a:lnTo>
                    <a:lnTo>
                      <a:pt x="404" y="253"/>
                    </a:lnTo>
                    <a:lnTo>
                      <a:pt x="405" y="253"/>
                    </a:lnTo>
                    <a:lnTo>
                      <a:pt x="405" y="251"/>
                    </a:lnTo>
                    <a:lnTo>
                      <a:pt x="406" y="248"/>
                    </a:lnTo>
                    <a:lnTo>
                      <a:pt x="406" y="246"/>
                    </a:lnTo>
                    <a:lnTo>
                      <a:pt x="407" y="244"/>
                    </a:lnTo>
                    <a:lnTo>
                      <a:pt x="408" y="243"/>
                    </a:lnTo>
                    <a:lnTo>
                      <a:pt x="408" y="240"/>
                    </a:lnTo>
                    <a:lnTo>
                      <a:pt x="406" y="242"/>
                    </a:lnTo>
                    <a:lnTo>
                      <a:pt x="405" y="241"/>
                    </a:lnTo>
                    <a:lnTo>
                      <a:pt x="404" y="239"/>
                    </a:lnTo>
                    <a:lnTo>
                      <a:pt x="406" y="238"/>
                    </a:lnTo>
                    <a:lnTo>
                      <a:pt x="405" y="236"/>
                    </a:lnTo>
                    <a:lnTo>
                      <a:pt x="405" y="235"/>
                    </a:lnTo>
                    <a:lnTo>
                      <a:pt x="406" y="234"/>
                    </a:lnTo>
                    <a:lnTo>
                      <a:pt x="404" y="229"/>
                    </a:lnTo>
                    <a:lnTo>
                      <a:pt x="405" y="226"/>
                    </a:lnTo>
                    <a:lnTo>
                      <a:pt x="406" y="225"/>
                    </a:lnTo>
                    <a:lnTo>
                      <a:pt x="408" y="223"/>
                    </a:lnTo>
                    <a:lnTo>
                      <a:pt x="410" y="221"/>
                    </a:lnTo>
                    <a:lnTo>
                      <a:pt x="408" y="217"/>
                    </a:lnTo>
                    <a:lnTo>
                      <a:pt x="412" y="215"/>
                    </a:lnTo>
                    <a:lnTo>
                      <a:pt x="413" y="213"/>
                    </a:lnTo>
                    <a:lnTo>
                      <a:pt x="410" y="212"/>
                    </a:lnTo>
                    <a:lnTo>
                      <a:pt x="410" y="211"/>
                    </a:lnTo>
                    <a:lnTo>
                      <a:pt x="410" y="209"/>
                    </a:lnTo>
                    <a:lnTo>
                      <a:pt x="411" y="208"/>
                    </a:lnTo>
                    <a:lnTo>
                      <a:pt x="410" y="208"/>
                    </a:lnTo>
                    <a:lnTo>
                      <a:pt x="409" y="209"/>
                    </a:lnTo>
                    <a:lnTo>
                      <a:pt x="408" y="208"/>
                    </a:lnTo>
                    <a:lnTo>
                      <a:pt x="406" y="206"/>
                    </a:lnTo>
                    <a:lnTo>
                      <a:pt x="405" y="204"/>
                    </a:lnTo>
                    <a:lnTo>
                      <a:pt x="406" y="203"/>
                    </a:lnTo>
                    <a:lnTo>
                      <a:pt x="406" y="202"/>
                    </a:lnTo>
                    <a:lnTo>
                      <a:pt x="404" y="200"/>
                    </a:lnTo>
                    <a:lnTo>
                      <a:pt x="405" y="200"/>
                    </a:lnTo>
                    <a:lnTo>
                      <a:pt x="407" y="200"/>
                    </a:lnTo>
                    <a:lnTo>
                      <a:pt x="408" y="201"/>
                    </a:lnTo>
                    <a:lnTo>
                      <a:pt x="409" y="205"/>
                    </a:lnTo>
                    <a:lnTo>
                      <a:pt x="412" y="204"/>
                    </a:lnTo>
                    <a:lnTo>
                      <a:pt x="413" y="203"/>
                    </a:lnTo>
                    <a:lnTo>
                      <a:pt x="413" y="202"/>
                    </a:lnTo>
                    <a:lnTo>
                      <a:pt x="416" y="200"/>
                    </a:lnTo>
                    <a:lnTo>
                      <a:pt x="418" y="197"/>
                    </a:lnTo>
                    <a:lnTo>
                      <a:pt x="419" y="197"/>
                    </a:lnTo>
                    <a:lnTo>
                      <a:pt x="422" y="191"/>
                    </a:lnTo>
                    <a:lnTo>
                      <a:pt x="422" y="187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40" name="Group 116">
              <a:extLst>
                <a:ext uri="{FF2B5EF4-FFF2-40B4-BE49-F238E27FC236}">
                  <a16:creationId xmlns:a16="http://schemas.microsoft.com/office/drawing/2014/main" id="{FA7C7C4A-E106-328F-3F97-34791347CCF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49" y="3515"/>
              <a:ext cx="370" cy="313"/>
              <a:chOff x="1749" y="3515"/>
              <a:chExt cx="370" cy="313"/>
            </a:xfrm>
          </p:grpSpPr>
          <p:sp>
            <p:nvSpPr>
              <p:cNvPr id="150" name="Freeform 114">
                <a:extLst>
                  <a:ext uri="{FF2B5EF4-FFF2-40B4-BE49-F238E27FC236}">
                    <a16:creationId xmlns:a16="http://schemas.microsoft.com/office/drawing/2014/main" id="{0E5CCB87-8893-5E2A-52BC-1C2AA976FB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9" y="3515"/>
                <a:ext cx="370" cy="313"/>
              </a:xfrm>
              <a:custGeom>
                <a:avLst/>
                <a:gdLst>
                  <a:gd name="T0" fmla="*/ 360 w 370"/>
                  <a:gd name="T1" fmla="*/ 67 h 313"/>
                  <a:gd name="T2" fmla="*/ 345 w 370"/>
                  <a:gd name="T3" fmla="*/ 47 h 313"/>
                  <a:gd name="T4" fmla="*/ 321 w 370"/>
                  <a:gd name="T5" fmla="*/ 29 h 313"/>
                  <a:gd name="T6" fmla="*/ 291 w 370"/>
                  <a:gd name="T7" fmla="*/ 15 h 313"/>
                  <a:gd name="T8" fmla="*/ 261 w 370"/>
                  <a:gd name="T9" fmla="*/ 18 h 313"/>
                  <a:gd name="T10" fmla="*/ 248 w 370"/>
                  <a:gd name="T11" fmla="*/ 0 h 313"/>
                  <a:gd name="T12" fmla="*/ 224 w 370"/>
                  <a:gd name="T13" fmla="*/ 10 h 313"/>
                  <a:gd name="T14" fmla="*/ 217 w 370"/>
                  <a:gd name="T15" fmla="*/ 11 h 313"/>
                  <a:gd name="T16" fmla="*/ 202 w 370"/>
                  <a:gd name="T17" fmla="*/ 21 h 313"/>
                  <a:gd name="T18" fmla="*/ 198 w 370"/>
                  <a:gd name="T19" fmla="*/ 39 h 313"/>
                  <a:gd name="T20" fmla="*/ 187 w 370"/>
                  <a:gd name="T21" fmla="*/ 43 h 313"/>
                  <a:gd name="T22" fmla="*/ 178 w 370"/>
                  <a:gd name="T23" fmla="*/ 34 h 313"/>
                  <a:gd name="T24" fmla="*/ 168 w 370"/>
                  <a:gd name="T25" fmla="*/ 38 h 313"/>
                  <a:gd name="T26" fmla="*/ 156 w 370"/>
                  <a:gd name="T27" fmla="*/ 36 h 313"/>
                  <a:gd name="T28" fmla="*/ 157 w 370"/>
                  <a:gd name="T29" fmla="*/ 53 h 313"/>
                  <a:gd name="T30" fmla="*/ 147 w 370"/>
                  <a:gd name="T31" fmla="*/ 56 h 313"/>
                  <a:gd name="T32" fmla="*/ 132 w 370"/>
                  <a:gd name="T33" fmla="*/ 51 h 313"/>
                  <a:gd name="T34" fmla="*/ 124 w 370"/>
                  <a:gd name="T35" fmla="*/ 54 h 313"/>
                  <a:gd name="T36" fmla="*/ 110 w 370"/>
                  <a:gd name="T37" fmla="*/ 73 h 313"/>
                  <a:gd name="T38" fmla="*/ 100 w 370"/>
                  <a:gd name="T39" fmla="*/ 62 h 313"/>
                  <a:gd name="T40" fmla="*/ 85 w 370"/>
                  <a:gd name="T41" fmla="*/ 58 h 313"/>
                  <a:gd name="T42" fmla="*/ 83 w 370"/>
                  <a:gd name="T43" fmla="*/ 45 h 313"/>
                  <a:gd name="T44" fmla="*/ 74 w 370"/>
                  <a:gd name="T45" fmla="*/ 53 h 313"/>
                  <a:gd name="T46" fmla="*/ 77 w 370"/>
                  <a:gd name="T47" fmla="*/ 73 h 313"/>
                  <a:gd name="T48" fmla="*/ 66 w 370"/>
                  <a:gd name="T49" fmla="*/ 79 h 313"/>
                  <a:gd name="T50" fmla="*/ 59 w 370"/>
                  <a:gd name="T51" fmla="*/ 93 h 313"/>
                  <a:gd name="T52" fmla="*/ 45 w 370"/>
                  <a:gd name="T53" fmla="*/ 95 h 313"/>
                  <a:gd name="T54" fmla="*/ 30 w 370"/>
                  <a:gd name="T55" fmla="*/ 93 h 313"/>
                  <a:gd name="T56" fmla="*/ 25 w 370"/>
                  <a:gd name="T57" fmla="*/ 104 h 313"/>
                  <a:gd name="T58" fmla="*/ 15 w 370"/>
                  <a:gd name="T59" fmla="*/ 111 h 313"/>
                  <a:gd name="T60" fmla="*/ 16 w 370"/>
                  <a:gd name="T61" fmla="*/ 138 h 313"/>
                  <a:gd name="T62" fmla="*/ 16 w 370"/>
                  <a:gd name="T63" fmla="*/ 148 h 313"/>
                  <a:gd name="T64" fmla="*/ 27 w 370"/>
                  <a:gd name="T65" fmla="*/ 154 h 313"/>
                  <a:gd name="T66" fmla="*/ 18 w 370"/>
                  <a:gd name="T67" fmla="*/ 168 h 313"/>
                  <a:gd name="T68" fmla="*/ 6 w 370"/>
                  <a:gd name="T69" fmla="*/ 181 h 313"/>
                  <a:gd name="T70" fmla="*/ 11 w 370"/>
                  <a:gd name="T71" fmla="*/ 192 h 313"/>
                  <a:gd name="T72" fmla="*/ 31 w 370"/>
                  <a:gd name="T73" fmla="*/ 197 h 313"/>
                  <a:gd name="T74" fmla="*/ 28 w 370"/>
                  <a:gd name="T75" fmla="*/ 216 h 313"/>
                  <a:gd name="T76" fmla="*/ 42 w 370"/>
                  <a:gd name="T77" fmla="*/ 227 h 313"/>
                  <a:gd name="T78" fmla="*/ 55 w 370"/>
                  <a:gd name="T79" fmla="*/ 229 h 313"/>
                  <a:gd name="T80" fmla="*/ 64 w 370"/>
                  <a:gd name="T81" fmla="*/ 240 h 313"/>
                  <a:gd name="T82" fmla="*/ 68 w 370"/>
                  <a:gd name="T83" fmla="*/ 247 h 313"/>
                  <a:gd name="T84" fmla="*/ 89 w 370"/>
                  <a:gd name="T85" fmla="*/ 259 h 313"/>
                  <a:gd name="T86" fmla="*/ 104 w 370"/>
                  <a:gd name="T87" fmla="*/ 262 h 313"/>
                  <a:gd name="T88" fmla="*/ 124 w 370"/>
                  <a:gd name="T89" fmla="*/ 285 h 313"/>
                  <a:gd name="T90" fmla="*/ 136 w 370"/>
                  <a:gd name="T91" fmla="*/ 305 h 313"/>
                  <a:gd name="T92" fmla="*/ 159 w 370"/>
                  <a:gd name="T93" fmla="*/ 306 h 313"/>
                  <a:gd name="T94" fmla="*/ 178 w 370"/>
                  <a:gd name="T95" fmla="*/ 283 h 313"/>
                  <a:gd name="T96" fmla="*/ 212 w 370"/>
                  <a:gd name="T97" fmla="*/ 271 h 313"/>
                  <a:gd name="T98" fmla="*/ 221 w 370"/>
                  <a:gd name="T99" fmla="*/ 244 h 313"/>
                  <a:gd name="T100" fmla="*/ 250 w 370"/>
                  <a:gd name="T101" fmla="*/ 245 h 313"/>
                  <a:gd name="T102" fmla="*/ 274 w 370"/>
                  <a:gd name="T103" fmla="*/ 219 h 313"/>
                  <a:gd name="T104" fmla="*/ 278 w 370"/>
                  <a:gd name="T105" fmla="*/ 191 h 313"/>
                  <a:gd name="T106" fmla="*/ 290 w 370"/>
                  <a:gd name="T107" fmla="*/ 157 h 313"/>
                  <a:gd name="T108" fmla="*/ 303 w 370"/>
                  <a:gd name="T109" fmla="*/ 128 h 313"/>
                  <a:gd name="T110" fmla="*/ 320 w 370"/>
                  <a:gd name="T111" fmla="*/ 123 h 313"/>
                  <a:gd name="T112" fmla="*/ 345 w 370"/>
                  <a:gd name="T113" fmla="*/ 114 h 313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70"/>
                  <a:gd name="T172" fmla="*/ 0 h 313"/>
                  <a:gd name="T173" fmla="*/ 370 w 370"/>
                  <a:gd name="T174" fmla="*/ 313 h 313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70" h="313">
                    <a:moveTo>
                      <a:pt x="370" y="93"/>
                    </a:moveTo>
                    <a:lnTo>
                      <a:pt x="368" y="84"/>
                    </a:lnTo>
                    <a:lnTo>
                      <a:pt x="368" y="82"/>
                    </a:lnTo>
                    <a:lnTo>
                      <a:pt x="368" y="80"/>
                    </a:lnTo>
                    <a:lnTo>
                      <a:pt x="366" y="78"/>
                    </a:lnTo>
                    <a:lnTo>
                      <a:pt x="364" y="78"/>
                    </a:lnTo>
                    <a:lnTo>
                      <a:pt x="362" y="76"/>
                    </a:lnTo>
                    <a:lnTo>
                      <a:pt x="360" y="75"/>
                    </a:lnTo>
                    <a:lnTo>
                      <a:pt x="357" y="75"/>
                    </a:lnTo>
                    <a:lnTo>
                      <a:pt x="360" y="67"/>
                    </a:lnTo>
                    <a:lnTo>
                      <a:pt x="358" y="61"/>
                    </a:lnTo>
                    <a:lnTo>
                      <a:pt x="357" y="61"/>
                    </a:lnTo>
                    <a:lnTo>
                      <a:pt x="356" y="60"/>
                    </a:lnTo>
                    <a:lnTo>
                      <a:pt x="357" y="60"/>
                    </a:lnTo>
                    <a:lnTo>
                      <a:pt x="356" y="59"/>
                    </a:lnTo>
                    <a:lnTo>
                      <a:pt x="354" y="55"/>
                    </a:lnTo>
                    <a:lnTo>
                      <a:pt x="352" y="55"/>
                    </a:lnTo>
                    <a:lnTo>
                      <a:pt x="349" y="52"/>
                    </a:lnTo>
                    <a:lnTo>
                      <a:pt x="347" y="51"/>
                    </a:lnTo>
                    <a:lnTo>
                      <a:pt x="345" y="47"/>
                    </a:lnTo>
                    <a:lnTo>
                      <a:pt x="343" y="44"/>
                    </a:lnTo>
                    <a:lnTo>
                      <a:pt x="343" y="35"/>
                    </a:lnTo>
                    <a:lnTo>
                      <a:pt x="342" y="33"/>
                    </a:lnTo>
                    <a:lnTo>
                      <a:pt x="340" y="32"/>
                    </a:lnTo>
                    <a:lnTo>
                      <a:pt x="335" y="31"/>
                    </a:lnTo>
                    <a:lnTo>
                      <a:pt x="334" y="31"/>
                    </a:lnTo>
                    <a:lnTo>
                      <a:pt x="331" y="34"/>
                    </a:lnTo>
                    <a:lnTo>
                      <a:pt x="329" y="35"/>
                    </a:lnTo>
                    <a:lnTo>
                      <a:pt x="322" y="32"/>
                    </a:lnTo>
                    <a:lnTo>
                      <a:pt x="321" y="29"/>
                    </a:lnTo>
                    <a:lnTo>
                      <a:pt x="319" y="29"/>
                    </a:lnTo>
                    <a:lnTo>
                      <a:pt x="315" y="31"/>
                    </a:lnTo>
                    <a:lnTo>
                      <a:pt x="312" y="29"/>
                    </a:lnTo>
                    <a:lnTo>
                      <a:pt x="309" y="23"/>
                    </a:lnTo>
                    <a:lnTo>
                      <a:pt x="307" y="18"/>
                    </a:lnTo>
                    <a:lnTo>
                      <a:pt x="306" y="17"/>
                    </a:lnTo>
                    <a:lnTo>
                      <a:pt x="304" y="18"/>
                    </a:lnTo>
                    <a:lnTo>
                      <a:pt x="298" y="19"/>
                    </a:lnTo>
                    <a:lnTo>
                      <a:pt x="296" y="14"/>
                    </a:lnTo>
                    <a:lnTo>
                      <a:pt x="291" y="15"/>
                    </a:lnTo>
                    <a:lnTo>
                      <a:pt x="289" y="14"/>
                    </a:lnTo>
                    <a:lnTo>
                      <a:pt x="288" y="15"/>
                    </a:lnTo>
                    <a:lnTo>
                      <a:pt x="285" y="14"/>
                    </a:lnTo>
                    <a:lnTo>
                      <a:pt x="283" y="15"/>
                    </a:lnTo>
                    <a:lnTo>
                      <a:pt x="282" y="15"/>
                    </a:lnTo>
                    <a:lnTo>
                      <a:pt x="279" y="14"/>
                    </a:lnTo>
                    <a:lnTo>
                      <a:pt x="276" y="15"/>
                    </a:lnTo>
                    <a:lnTo>
                      <a:pt x="270" y="16"/>
                    </a:lnTo>
                    <a:lnTo>
                      <a:pt x="264" y="18"/>
                    </a:lnTo>
                    <a:lnTo>
                      <a:pt x="261" y="18"/>
                    </a:lnTo>
                    <a:lnTo>
                      <a:pt x="261" y="19"/>
                    </a:lnTo>
                    <a:lnTo>
                      <a:pt x="258" y="17"/>
                    </a:lnTo>
                    <a:lnTo>
                      <a:pt x="259" y="14"/>
                    </a:lnTo>
                    <a:lnTo>
                      <a:pt x="259" y="9"/>
                    </a:lnTo>
                    <a:lnTo>
                      <a:pt x="257" y="6"/>
                    </a:lnTo>
                    <a:lnTo>
                      <a:pt x="255" y="2"/>
                    </a:lnTo>
                    <a:lnTo>
                      <a:pt x="253" y="2"/>
                    </a:lnTo>
                    <a:lnTo>
                      <a:pt x="253" y="3"/>
                    </a:lnTo>
                    <a:lnTo>
                      <a:pt x="250" y="0"/>
                    </a:lnTo>
                    <a:lnTo>
                      <a:pt x="248" y="0"/>
                    </a:lnTo>
                    <a:lnTo>
                      <a:pt x="239" y="0"/>
                    </a:lnTo>
                    <a:lnTo>
                      <a:pt x="237" y="6"/>
                    </a:lnTo>
                    <a:lnTo>
                      <a:pt x="233" y="10"/>
                    </a:lnTo>
                    <a:lnTo>
                      <a:pt x="233" y="11"/>
                    </a:lnTo>
                    <a:lnTo>
                      <a:pt x="233" y="13"/>
                    </a:lnTo>
                    <a:lnTo>
                      <a:pt x="230" y="13"/>
                    </a:lnTo>
                    <a:lnTo>
                      <a:pt x="228" y="10"/>
                    </a:lnTo>
                    <a:lnTo>
                      <a:pt x="226" y="11"/>
                    </a:lnTo>
                    <a:lnTo>
                      <a:pt x="225" y="10"/>
                    </a:lnTo>
                    <a:lnTo>
                      <a:pt x="224" y="10"/>
                    </a:lnTo>
                    <a:lnTo>
                      <a:pt x="224" y="8"/>
                    </a:lnTo>
                    <a:lnTo>
                      <a:pt x="220" y="8"/>
                    </a:lnTo>
                    <a:lnTo>
                      <a:pt x="220" y="6"/>
                    </a:lnTo>
                    <a:lnTo>
                      <a:pt x="219" y="5"/>
                    </a:lnTo>
                    <a:lnTo>
                      <a:pt x="217" y="5"/>
                    </a:lnTo>
                    <a:lnTo>
                      <a:pt x="218" y="6"/>
                    </a:lnTo>
                    <a:lnTo>
                      <a:pt x="218" y="8"/>
                    </a:lnTo>
                    <a:lnTo>
                      <a:pt x="217" y="10"/>
                    </a:lnTo>
                    <a:lnTo>
                      <a:pt x="217" y="11"/>
                    </a:lnTo>
                    <a:lnTo>
                      <a:pt x="217" y="14"/>
                    </a:lnTo>
                    <a:lnTo>
                      <a:pt x="211" y="15"/>
                    </a:lnTo>
                    <a:lnTo>
                      <a:pt x="210" y="14"/>
                    </a:lnTo>
                    <a:lnTo>
                      <a:pt x="209" y="16"/>
                    </a:lnTo>
                    <a:lnTo>
                      <a:pt x="209" y="17"/>
                    </a:lnTo>
                    <a:lnTo>
                      <a:pt x="208" y="19"/>
                    </a:lnTo>
                    <a:lnTo>
                      <a:pt x="204" y="20"/>
                    </a:lnTo>
                    <a:lnTo>
                      <a:pt x="203" y="21"/>
                    </a:lnTo>
                    <a:lnTo>
                      <a:pt x="202" y="20"/>
                    </a:lnTo>
                    <a:lnTo>
                      <a:pt x="202" y="21"/>
                    </a:lnTo>
                    <a:lnTo>
                      <a:pt x="204" y="25"/>
                    </a:lnTo>
                    <a:lnTo>
                      <a:pt x="204" y="28"/>
                    </a:lnTo>
                    <a:lnTo>
                      <a:pt x="203" y="29"/>
                    </a:lnTo>
                    <a:lnTo>
                      <a:pt x="203" y="30"/>
                    </a:lnTo>
                    <a:lnTo>
                      <a:pt x="202" y="31"/>
                    </a:lnTo>
                    <a:lnTo>
                      <a:pt x="201" y="32"/>
                    </a:lnTo>
                    <a:lnTo>
                      <a:pt x="198" y="33"/>
                    </a:lnTo>
                    <a:lnTo>
                      <a:pt x="198" y="34"/>
                    </a:lnTo>
                    <a:lnTo>
                      <a:pt x="199" y="36"/>
                    </a:lnTo>
                    <a:lnTo>
                      <a:pt x="198" y="39"/>
                    </a:lnTo>
                    <a:lnTo>
                      <a:pt x="198" y="40"/>
                    </a:lnTo>
                    <a:lnTo>
                      <a:pt x="198" y="42"/>
                    </a:lnTo>
                    <a:lnTo>
                      <a:pt x="197" y="42"/>
                    </a:lnTo>
                    <a:lnTo>
                      <a:pt x="197" y="43"/>
                    </a:lnTo>
                    <a:lnTo>
                      <a:pt x="196" y="43"/>
                    </a:lnTo>
                    <a:lnTo>
                      <a:pt x="195" y="43"/>
                    </a:lnTo>
                    <a:lnTo>
                      <a:pt x="194" y="43"/>
                    </a:lnTo>
                    <a:lnTo>
                      <a:pt x="194" y="42"/>
                    </a:lnTo>
                    <a:lnTo>
                      <a:pt x="192" y="42"/>
                    </a:lnTo>
                    <a:lnTo>
                      <a:pt x="187" y="43"/>
                    </a:lnTo>
                    <a:lnTo>
                      <a:pt x="186" y="44"/>
                    </a:lnTo>
                    <a:lnTo>
                      <a:pt x="185" y="44"/>
                    </a:lnTo>
                    <a:lnTo>
                      <a:pt x="183" y="41"/>
                    </a:lnTo>
                    <a:lnTo>
                      <a:pt x="181" y="41"/>
                    </a:lnTo>
                    <a:lnTo>
                      <a:pt x="181" y="40"/>
                    </a:lnTo>
                    <a:lnTo>
                      <a:pt x="179" y="39"/>
                    </a:lnTo>
                    <a:lnTo>
                      <a:pt x="179" y="38"/>
                    </a:lnTo>
                    <a:lnTo>
                      <a:pt x="180" y="36"/>
                    </a:lnTo>
                    <a:lnTo>
                      <a:pt x="179" y="36"/>
                    </a:lnTo>
                    <a:lnTo>
                      <a:pt x="178" y="34"/>
                    </a:lnTo>
                    <a:lnTo>
                      <a:pt x="176" y="32"/>
                    </a:lnTo>
                    <a:lnTo>
                      <a:pt x="175" y="29"/>
                    </a:lnTo>
                    <a:lnTo>
                      <a:pt x="173" y="31"/>
                    </a:lnTo>
                    <a:lnTo>
                      <a:pt x="171" y="29"/>
                    </a:lnTo>
                    <a:lnTo>
                      <a:pt x="170" y="29"/>
                    </a:lnTo>
                    <a:lnTo>
                      <a:pt x="170" y="31"/>
                    </a:lnTo>
                    <a:lnTo>
                      <a:pt x="168" y="32"/>
                    </a:lnTo>
                    <a:lnTo>
                      <a:pt x="168" y="34"/>
                    </a:lnTo>
                    <a:lnTo>
                      <a:pt x="168" y="38"/>
                    </a:lnTo>
                    <a:lnTo>
                      <a:pt x="167" y="39"/>
                    </a:lnTo>
                    <a:lnTo>
                      <a:pt x="165" y="39"/>
                    </a:lnTo>
                    <a:lnTo>
                      <a:pt x="163" y="33"/>
                    </a:lnTo>
                    <a:lnTo>
                      <a:pt x="159" y="34"/>
                    </a:lnTo>
                    <a:lnTo>
                      <a:pt x="158" y="34"/>
                    </a:lnTo>
                    <a:lnTo>
                      <a:pt x="157" y="35"/>
                    </a:lnTo>
                    <a:lnTo>
                      <a:pt x="156" y="33"/>
                    </a:lnTo>
                    <a:lnTo>
                      <a:pt x="155" y="34"/>
                    </a:lnTo>
                    <a:lnTo>
                      <a:pt x="156" y="36"/>
                    </a:lnTo>
                    <a:lnTo>
                      <a:pt x="155" y="37"/>
                    </a:lnTo>
                    <a:lnTo>
                      <a:pt x="158" y="40"/>
                    </a:lnTo>
                    <a:lnTo>
                      <a:pt x="158" y="43"/>
                    </a:lnTo>
                    <a:lnTo>
                      <a:pt x="159" y="45"/>
                    </a:lnTo>
                    <a:lnTo>
                      <a:pt x="162" y="47"/>
                    </a:lnTo>
                    <a:lnTo>
                      <a:pt x="160" y="47"/>
                    </a:lnTo>
                    <a:lnTo>
                      <a:pt x="162" y="50"/>
                    </a:lnTo>
                    <a:lnTo>
                      <a:pt x="158" y="53"/>
                    </a:lnTo>
                    <a:lnTo>
                      <a:pt x="157" y="53"/>
                    </a:lnTo>
                    <a:lnTo>
                      <a:pt x="156" y="56"/>
                    </a:lnTo>
                    <a:lnTo>
                      <a:pt x="153" y="57"/>
                    </a:lnTo>
                    <a:lnTo>
                      <a:pt x="151" y="57"/>
                    </a:lnTo>
                    <a:lnTo>
                      <a:pt x="150" y="57"/>
                    </a:lnTo>
                    <a:lnTo>
                      <a:pt x="150" y="56"/>
                    </a:lnTo>
                    <a:lnTo>
                      <a:pt x="150" y="57"/>
                    </a:lnTo>
                    <a:lnTo>
                      <a:pt x="148" y="57"/>
                    </a:lnTo>
                    <a:lnTo>
                      <a:pt x="147" y="57"/>
                    </a:lnTo>
                    <a:lnTo>
                      <a:pt x="147" y="56"/>
                    </a:lnTo>
                    <a:lnTo>
                      <a:pt x="145" y="57"/>
                    </a:lnTo>
                    <a:lnTo>
                      <a:pt x="145" y="56"/>
                    </a:lnTo>
                    <a:lnTo>
                      <a:pt x="145" y="54"/>
                    </a:lnTo>
                    <a:lnTo>
                      <a:pt x="143" y="52"/>
                    </a:lnTo>
                    <a:lnTo>
                      <a:pt x="142" y="51"/>
                    </a:lnTo>
                    <a:lnTo>
                      <a:pt x="141" y="52"/>
                    </a:lnTo>
                    <a:lnTo>
                      <a:pt x="139" y="52"/>
                    </a:lnTo>
                    <a:lnTo>
                      <a:pt x="139" y="51"/>
                    </a:lnTo>
                    <a:lnTo>
                      <a:pt x="133" y="53"/>
                    </a:lnTo>
                    <a:lnTo>
                      <a:pt x="132" y="51"/>
                    </a:lnTo>
                    <a:lnTo>
                      <a:pt x="130" y="53"/>
                    </a:lnTo>
                    <a:lnTo>
                      <a:pt x="129" y="53"/>
                    </a:lnTo>
                    <a:lnTo>
                      <a:pt x="127" y="56"/>
                    </a:lnTo>
                    <a:lnTo>
                      <a:pt x="126" y="55"/>
                    </a:lnTo>
                    <a:lnTo>
                      <a:pt x="126" y="54"/>
                    </a:lnTo>
                    <a:lnTo>
                      <a:pt x="126" y="52"/>
                    </a:lnTo>
                    <a:lnTo>
                      <a:pt x="124" y="53"/>
                    </a:lnTo>
                    <a:lnTo>
                      <a:pt x="121" y="52"/>
                    </a:lnTo>
                    <a:lnTo>
                      <a:pt x="124" y="54"/>
                    </a:lnTo>
                    <a:lnTo>
                      <a:pt x="122" y="56"/>
                    </a:lnTo>
                    <a:lnTo>
                      <a:pt x="123" y="56"/>
                    </a:lnTo>
                    <a:lnTo>
                      <a:pt x="124" y="57"/>
                    </a:lnTo>
                    <a:lnTo>
                      <a:pt x="123" y="62"/>
                    </a:lnTo>
                    <a:lnTo>
                      <a:pt x="122" y="63"/>
                    </a:lnTo>
                    <a:lnTo>
                      <a:pt x="121" y="63"/>
                    </a:lnTo>
                    <a:lnTo>
                      <a:pt x="120" y="63"/>
                    </a:lnTo>
                    <a:lnTo>
                      <a:pt x="117" y="67"/>
                    </a:lnTo>
                    <a:lnTo>
                      <a:pt x="110" y="73"/>
                    </a:lnTo>
                    <a:lnTo>
                      <a:pt x="110" y="68"/>
                    </a:lnTo>
                    <a:lnTo>
                      <a:pt x="109" y="66"/>
                    </a:lnTo>
                    <a:lnTo>
                      <a:pt x="107" y="63"/>
                    </a:lnTo>
                    <a:lnTo>
                      <a:pt x="104" y="62"/>
                    </a:lnTo>
                    <a:lnTo>
                      <a:pt x="105" y="61"/>
                    </a:lnTo>
                    <a:lnTo>
                      <a:pt x="102" y="61"/>
                    </a:lnTo>
                    <a:lnTo>
                      <a:pt x="101" y="60"/>
                    </a:lnTo>
                    <a:lnTo>
                      <a:pt x="101" y="61"/>
                    </a:lnTo>
                    <a:lnTo>
                      <a:pt x="99" y="60"/>
                    </a:lnTo>
                    <a:lnTo>
                      <a:pt x="100" y="62"/>
                    </a:lnTo>
                    <a:lnTo>
                      <a:pt x="99" y="63"/>
                    </a:lnTo>
                    <a:lnTo>
                      <a:pt x="99" y="61"/>
                    </a:lnTo>
                    <a:lnTo>
                      <a:pt x="95" y="61"/>
                    </a:lnTo>
                    <a:lnTo>
                      <a:pt x="96" y="59"/>
                    </a:lnTo>
                    <a:lnTo>
                      <a:pt x="94" y="57"/>
                    </a:lnTo>
                    <a:lnTo>
                      <a:pt x="93" y="57"/>
                    </a:lnTo>
                    <a:lnTo>
                      <a:pt x="89" y="55"/>
                    </a:lnTo>
                    <a:lnTo>
                      <a:pt x="89" y="59"/>
                    </a:lnTo>
                    <a:lnTo>
                      <a:pt x="88" y="58"/>
                    </a:lnTo>
                    <a:lnTo>
                      <a:pt x="85" y="58"/>
                    </a:lnTo>
                    <a:lnTo>
                      <a:pt x="85" y="57"/>
                    </a:lnTo>
                    <a:lnTo>
                      <a:pt x="85" y="54"/>
                    </a:lnTo>
                    <a:lnTo>
                      <a:pt x="86" y="50"/>
                    </a:lnTo>
                    <a:lnTo>
                      <a:pt x="88" y="47"/>
                    </a:lnTo>
                    <a:lnTo>
                      <a:pt x="87" y="47"/>
                    </a:lnTo>
                    <a:lnTo>
                      <a:pt x="85" y="43"/>
                    </a:lnTo>
                    <a:lnTo>
                      <a:pt x="85" y="44"/>
                    </a:lnTo>
                    <a:lnTo>
                      <a:pt x="83" y="44"/>
                    </a:lnTo>
                    <a:lnTo>
                      <a:pt x="83" y="45"/>
                    </a:lnTo>
                    <a:lnTo>
                      <a:pt x="80" y="45"/>
                    </a:lnTo>
                    <a:lnTo>
                      <a:pt x="80" y="48"/>
                    </a:lnTo>
                    <a:lnTo>
                      <a:pt x="78" y="49"/>
                    </a:lnTo>
                    <a:lnTo>
                      <a:pt x="79" y="49"/>
                    </a:lnTo>
                    <a:lnTo>
                      <a:pt x="78" y="50"/>
                    </a:lnTo>
                    <a:lnTo>
                      <a:pt x="77" y="50"/>
                    </a:lnTo>
                    <a:lnTo>
                      <a:pt x="76" y="51"/>
                    </a:lnTo>
                    <a:lnTo>
                      <a:pt x="76" y="53"/>
                    </a:lnTo>
                    <a:lnTo>
                      <a:pt x="74" y="53"/>
                    </a:lnTo>
                    <a:lnTo>
                      <a:pt x="74" y="56"/>
                    </a:lnTo>
                    <a:lnTo>
                      <a:pt x="73" y="56"/>
                    </a:lnTo>
                    <a:lnTo>
                      <a:pt x="73" y="57"/>
                    </a:lnTo>
                    <a:lnTo>
                      <a:pt x="73" y="60"/>
                    </a:lnTo>
                    <a:lnTo>
                      <a:pt x="74" y="63"/>
                    </a:lnTo>
                    <a:lnTo>
                      <a:pt x="75" y="65"/>
                    </a:lnTo>
                    <a:lnTo>
                      <a:pt x="74" y="67"/>
                    </a:lnTo>
                    <a:lnTo>
                      <a:pt x="77" y="68"/>
                    </a:lnTo>
                    <a:lnTo>
                      <a:pt x="77" y="69"/>
                    </a:lnTo>
                    <a:lnTo>
                      <a:pt x="77" y="73"/>
                    </a:lnTo>
                    <a:lnTo>
                      <a:pt x="77" y="76"/>
                    </a:lnTo>
                    <a:lnTo>
                      <a:pt x="75" y="76"/>
                    </a:lnTo>
                    <a:lnTo>
                      <a:pt x="74" y="76"/>
                    </a:lnTo>
                    <a:lnTo>
                      <a:pt x="73" y="76"/>
                    </a:lnTo>
                    <a:lnTo>
                      <a:pt x="71" y="79"/>
                    </a:lnTo>
                    <a:lnTo>
                      <a:pt x="69" y="78"/>
                    </a:lnTo>
                    <a:lnTo>
                      <a:pt x="69" y="80"/>
                    </a:lnTo>
                    <a:lnTo>
                      <a:pt x="67" y="80"/>
                    </a:lnTo>
                    <a:lnTo>
                      <a:pt x="66" y="79"/>
                    </a:lnTo>
                    <a:lnTo>
                      <a:pt x="65" y="86"/>
                    </a:lnTo>
                    <a:lnTo>
                      <a:pt x="64" y="86"/>
                    </a:lnTo>
                    <a:lnTo>
                      <a:pt x="63" y="87"/>
                    </a:lnTo>
                    <a:lnTo>
                      <a:pt x="62" y="87"/>
                    </a:lnTo>
                    <a:lnTo>
                      <a:pt x="63" y="88"/>
                    </a:lnTo>
                    <a:lnTo>
                      <a:pt x="61" y="88"/>
                    </a:lnTo>
                    <a:lnTo>
                      <a:pt x="61" y="90"/>
                    </a:lnTo>
                    <a:lnTo>
                      <a:pt x="59" y="91"/>
                    </a:lnTo>
                    <a:lnTo>
                      <a:pt x="58" y="92"/>
                    </a:lnTo>
                    <a:lnTo>
                      <a:pt x="59" y="93"/>
                    </a:lnTo>
                    <a:lnTo>
                      <a:pt x="58" y="93"/>
                    </a:lnTo>
                    <a:lnTo>
                      <a:pt x="55" y="95"/>
                    </a:lnTo>
                    <a:lnTo>
                      <a:pt x="53" y="95"/>
                    </a:lnTo>
                    <a:lnTo>
                      <a:pt x="53" y="96"/>
                    </a:lnTo>
                    <a:lnTo>
                      <a:pt x="50" y="93"/>
                    </a:lnTo>
                    <a:lnTo>
                      <a:pt x="49" y="93"/>
                    </a:lnTo>
                    <a:lnTo>
                      <a:pt x="49" y="91"/>
                    </a:lnTo>
                    <a:lnTo>
                      <a:pt x="48" y="93"/>
                    </a:lnTo>
                    <a:lnTo>
                      <a:pt x="46" y="94"/>
                    </a:lnTo>
                    <a:lnTo>
                      <a:pt x="45" y="95"/>
                    </a:lnTo>
                    <a:lnTo>
                      <a:pt x="42" y="93"/>
                    </a:lnTo>
                    <a:lnTo>
                      <a:pt x="41" y="93"/>
                    </a:lnTo>
                    <a:lnTo>
                      <a:pt x="39" y="94"/>
                    </a:lnTo>
                    <a:lnTo>
                      <a:pt x="37" y="94"/>
                    </a:lnTo>
                    <a:lnTo>
                      <a:pt x="37" y="96"/>
                    </a:lnTo>
                    <a:lnTo>
                      <a:pt x="36" y="97"/>
                    </a:lnTo>
                    <a:lnTo>
                      <a:pt x="33" y="95"/>
                    </a:lnTo>
                    <a:lnTo>
                      <a:pt x="33" y="92"/>
                    </a:lnTo>
                    <a:lnTo>
                      <a:pt x="32" y="92"/>
                    </a:lnTo>
                    <a:lnTo>
                      <a:pt x="30" y="93"/>
                    </a:lnTo>
                    <a:lnTo>
                      <a:pt x="32" y="95"/>
                    </a:lnTo>
                    <a:lnTo>
                      <a:pt x="30" y="96"/>
                    </a:lnTo>
                    <a:lnTo>
                      <a:pt x="29" y="96"/>
                    </a:lnTo>
                    <a:lnTo>
                      <a:pt x="27" y="97"/>
                    </a:lnTo>
                    <a:lnTo>
                      <a:pt x="27" y="100"/>
                    </a:lnTo>
                    <a:lnTo>
                      <a:pt x="27" y="103"/>
                    </a:lnTo>
                    <a:lnTo>
                      <a:pt x="25" y="105"/>
                    </a:lnTo>
                    <a:lnTo>
                      <a:pt x="25" y="104"/>
                    </a:lnTo>
                    <a:lnTo>
                      <a:pt x="25" y="105"/>
                    </a:lnTo>
                    <a:lnTo>
                      <a:pt x="24" y="104"/>
                    </a:lnTo>
                    <a:lnTo>
                      <a:pt x="23" y="103"/>
                    </a:lnTo>
                    <a:lnTo>
                      <a:pt x="22" y="102"/>
                    </a:lnTo>
                    <a:lnTo>
                      <a:pt x="21" y="101"/>
                    </a:lnTo>
                    <a:lnTo>
                      <a:pt x="19" y="104"/>
                    </a:lnTo>
                    <a:lnTo>
                      <a:pt x="18" y="108"/>
                    </a:lnTo>
                    <a:lnTo>
                      <a:pt x="16" y="109"/>
                    </a:lnTo>
                    <a:lnTo>
                      <a:pt x="15" y="111"/>
                    </a:lnTo>
                    <a:lnTo>
                      <a:pt x="12" y="112"/>
                    </a:lnTo>
                    <a:lnTo>
                      <a:pt x="12" y="115"/>
                    </a:lnTo>
                    <a:lnTo>
                      <a:pt x="14" y="116"/>
                    </a:lnTo>
                    <a:lnTo>
                      <a:pt x="14" y="118"/>
                    </a:lnTo>
                    <a:lnTo>
                      <a:pt x="16" y="120"/>
                    </a:lnTo>
                    <a:lnTo>
                      <a:pt x="16" y="124"/>
                    </a:lnTo>
                    <a:lnTo>
                      <a:pt x="12" y="128"/>
                    </a:lnTo>
                    <a:lnTo>
                      <a:pt x="14" y="131"/>
                    </a:lnTo>
                    <a:lnTo>
                      <a:pt x="16" y="134"/>
                    </a:lnTo>
                    <a:lnTo>
                      <a:pt x="16" y="138"/>
                    </a:lnTo>
                    <a:lnTo>
                      <a:pt x="17" y="139"/>
                    </a:lnTo>
                    <a:lnTo>
                      <a:pt x="18" y="140"/>
                    </a:lnTo>
                    <a:lnTo>
                      <a:pt x="19" y="140"/>
                    </a:lnTo>
                    <a:lnTo>
                      <a:pt x="19" y="142"/>
                    </a:lnTo>
                    <a:lnTo>
                      <a:pt x="17" y="144"/>
                    </a:lnTo>
                    <a:lnTo>
                      <a:pt x="16" y="143"/>
                    </a:lnTo>
                    <a:lnTo>
                      <a:pt x="16" y="146"/>
                    </a:lnTo>
                    <a:lnTo>
                      <a:pt x="14" y="148"/>
                    </a:lnTo>
                    <a:lnTo>
                      <a:pt x="16" y="150"/>
                    </a:lnTo>
                    <a:lnTo>
                      <a:pt x="16" y="148"/>
                    </a:lnTo>
                    <a:lnTo>
                      <a:pt x="20" y="148"/>
                    </a:lnTo>
                    <a:lnTo>
                      <a:pt x="22" y="148"/>
                    </a:lnTo>
                    <a:lnTo>
                      <a:pt x="23" y="150"/>
                    </a:lnTo>
                    <a:lnTo>
                      <a:pt x="25" y="149"/>
                    </a:lnTo>
                    <a:lnTo>
                      <a:pt x="27" y="145"/>
                    </a:lnTo>
                    <a:lnTo>
                      <a:pt x="28" y="145"/>
                    </a:lnTo>
                    <a:lnTo>
                      <a:pt x="29" y="148"/>
                    </a:lnTo>
                    <a:lnTo>
                      <a:pt x="27" y="152"/>
                    </a:lnTo>
                    <a:lnTo>
                      <a:pt x="27" y="154"/>
                    </a:lnTo>
                    <a:lnTo>
                      <a:pt x="27" y="155"/>
                    </a:lnTo>
                    <a:lnTo>
                      <a:pt x="27" y="156"/>
                    </a:lnTo>
                    <a:lnTo>
                      <a:pt x="25" y="157"/>
                    </a:lnTo>
                    <a:lnTo>
                      <a:pt x="23" y="166"/>
                    </a:lnTo>
                    <a:lnTo>
                      <a:pt x="21" y="165"/>
                    </a:lnTo>
                    <a:lnTo>
                      <a:pt x="20" y="166"/>
                    </a:lnTo>
                    <a:lnTo>
                      <a:pt x="19" y="165"/>
                    </a:lnTo>
                    <a:lnTo>
                      <a:pt x="19" y="167"/>
                    </a:lnTo>
                    <a:lnTo>
                      <a:pt x="18" y="168"/>
                    </a:lnTo>
                    <a:lnTo>
                      <a:pt x="17" y="168"/>
                    </a:lnTo>
                    <a:lnTo>
                      <a:pt x="16" y="167"/>
                    </a:lnTo>
                    <a:lnTo>
                      <a:pt x="14" y="167"/>
                    </a:lnTo>
                    <a:lnTo>
                      <a:pt x="12" y="167"/>
                    </a:lnTo>
                    <a:lnTo>
                      <a:pt x="11" y="171"/>
                    </a:lnTo>
                    <a:lnTo>
                      <a:pt x="9" y="177"/>
                    </a:lnTo>
                    <a:lnTo>
                      <a:pt x="9" y="180"/>
                    </a:lnTo>
                    <a:lnTo>
                      <a:pt x="7" y="181"/>
                    </a:lnTo>
                    <a:lnTo>
                      <a:pt x="6" y="181"/>
                    </a:lnTo>
                    <a:lnTo>
                      <a:pt x="1" y="180"/>
                    </a:lnTo>
                    <a:lnTo>
                      <a:pt x="1" y="187"/>
                    </a:lnTo>
                    <a:lnTo>
                      <a:pt x="2" y="186"/>
                    </a:lnTo>
                    <a:lnTo>
                      <a:pt x="3" y="188"/>
                    </a:lnTo>
                    <a:lnTo>
                      <a:pt x="2" y="191"/>
                    </a:lnTo>
                    <a:lnTo>
                      <a:pt x="0" y="192"/>
                    </a:lnTo>
                    <a:lnTo>
                      <a:pt x="6" y="194"/>
                    </a:lnTo>
                    <a:lnTo>
                      <a:pt x="8" y="193"/>
                    </a:lnTo>
                    <a:lnTo>
                      <a:pt x="9" y="195"/>
                    </a:lnTo>
                    <a:lnTo>
                      <a:pt x="11" y="192"/>
                    </a:lnTo>
                    <a:lnTo>
                      <a:pt x="12" y="192"/>
                    </a:lnTo>
                    <a:lnTo>
                      <a:pt x="13" y="191"/>
                    </a:lnTo>
                    <a:lnTo>
                      <a:pt x="14" y="192"/>
                    </a:lnTo>
                    <a:lnTo>
                      <a:pt x="16" y="191"/>
                    </a:lnTo>
                    <a:lnTo>
                      <a:pt x="20" y="191"/>
                    </a:lnTo>
                    <a:lnTo>
                      <a:pt x="25" y="188"/>
                    </a:lnTo>
                    <a:lnTo>
                      <a:pt x="28" y="189"/>
                    </a:lnTo>
                    <a:lnTo>
                      <a:pt x="29" y="189"/>
                    </a:lnTo>
                    <a:lnTo>
                      <a:pt x="29" y="196"/>
                    </a:lnTo>
                    <a:lnTo>
                      <a:pt x="31" y="197"/>
                    </a:lnTo>
                    <a:lnTo>
                      <a:pt x="32" y="198"/>
                    </a:lnTo>
                    <a:lnTo>
                      <a:pt x="32" y="200"/>
                    </a:lnTo>
                    <a:lnTo>
                      <a:pt x="32" y="202"/>
                    </a:lnTo>
                    <a:lnTo>
                      <a:pt x="32" y="206"/>
                    </a:lnTo>
                    <a:lnTo>
                      <a:pt x="31" y="208"/>
                    </a:lnTo>
                    <a:lnTo>
                      <a:pt x="29" y="210"/>
                    </a:lnTo>
                    <a:lnTo>
                      <a:pt x="29" y="211"/>
                    </a:lnTo>
                    <a:lnTo>
                      <a:pt x="28" y="214"/>
                    </a:lnTo>
                    <a:lnTo>
                      <a:pt x="27" y="215"/>
                    </a:lnTo>
                    <a:lnTo>
                      <a:pt x="28" y="216"/>
                    </a:lnTo>
                    <a:lnTo>
                      <a:pt x="29" y="215"/>
                    </a:lnTo>
                    <a:lnTo>
                      <a:pt x="30" y="213"/>
                    </a:lnTo>
                    <a:lnTo>
                      <a:pt x="37" y="214"/>
                    </a:lnTo>
                    <a:lnTo>
                      <a:pt x="37" y="218"/>
                    </a:lnTo>
                    <a:lnTo>
                      <a:pt x="39" y="217"/>
                    </a:lnTo>
                    <a:lnTo>
                      <a:pt x="41" y="218"/>
                    </a:lnTo>
                    <a:lnTo>
                      <a:pt x="42" y="220"/>
                    </a:lnTo>
                    <a:lnTo>
                      <a:pt x="43" y="221"/>
                    </a:lnTo>
                    <a:lnTo>
                      <a:pt x="42" y="227"/>
                    </a:lnTo>
                    <a:lnTo>
                      <a:pt x="44" y="227"/>
                    </a:lnTo>
                    <a:lnTo>
                      <a:pt x="45" y="225"/>
                    </a:lnTo>
                    <a:lnTo>
                      <a:pt x="47" y="227"/>
                    </a:lnTo>
                    <a:lnTo>
                      <a:pt x="47" y="226"/>
                    </a:lnTo>
                    <a:lnTo>
                      <a:pt x="49" y="227"/>
                    </a:lnTo>
                    <a:lnTo>
                      <a:pt x="50" y="226"/>
                    </a:lnTo>
                    <a:lnTo>
                      <a:pt x="52" y="227"/>
                    </a:lnTo>
                    <a:lnTo>
                      <a:pt x="52" y="229"/>
                    </a:lnTo>
                    <a:lnTo>
                      <a:pt x="55" y="229"/>
                    </a:lnTo>
                    <a:lnTo>
                      <a:pt x="56" y="229"/>
                    </a:lnTo>
                    <a:lnTo>
                      <a:pt x="59" y="228"/>
                    </a:lnTo>
                    <a:lnTo>
                      <a:pt x="61" y="230"/>
                    </a:lnTo>
                    <a:lnTo>
                      <a:pt x="60" y="231"/>
                    </a:lnTo>
                    <a:lnTo>
                      <a:pt x="63" y="233"/>
                    </a:lnTo>
                    <a:lnTo>
                      <a:pt x="63" y="232"/>
                    </a:lnTo>
                    <a:lnTo>
                      <a:pt x="65" y="234"/>
                    </a:lnTo>
                    <a:lnTo>
                      <a:pt x="64" y="237"/>
                    </a:lnTo>
                    <a:lnTo>
                      <a:pt x="65" y="238"/>
                    </a:lnTo>
                    <a:lnTo>
                      <a:pt x="64" y="240"/>
                    </a:lnTo>
                    <a:lnTo>
                      <a:pt x="64" y="241"/>
                    </a:lnTo>
                    <a:lnTo>
                      <a:pt x="62" y="243"/>
                    </a:lnTo>
                    <a:lnTo>
                      <a:pt x="63" y="244"/>
                    </a:lnTo>
                    <a:lnTo>
                      <a:pt x="62" y="245"/>
                    </a:lnTo>
                    <a:lnTo>
                      <a:pt x="62" y="246"/>
                    </a:lnTo>
                    <a:lnTo>
                      <a:pt x="63" y="246"/>
                    </a:lnTo>
                    <a:lnTo>
                      <a:pt x="65" y="248"/>
                    </a:lnTo>
                    <a:lnTo>
                      <a:pt x="66" y="247"/>
                    </a:lnTo>
                    <a:lnTo>
                      <a:pt x="67" y="248"/>
                    </a:lnTo>
                    <a:lnTo>
                      <a:pt x="68" y="247"/>
                    </a:lnTo>
                    <a:lnTo>
                      <a:pt x="68" y="249"/>
                    </a:lnTo>
                    <a:lnTo>
                      <a:pt x="69" y="246"/>
                    </a:lnTo>
                    <a:lnTo>
                      <a:pt x="74" y="246"/>
                    </a:lnTo>
                    <a:lnTo>
                      <a:pt x="74" y="250"/>
                    </a:lnTo>
                    <a:lnTo>
                      <a:pt x="76" y="252"/>
                    </a:lnTo>
                    <a:lnTo>
                      <a:pt x="80" y="257"/>
                    </a:lnTo>
                    <a:lnTo>
                      <a:pt x="83" y="261"/>
                    </a:lnTo>
                    <a:lnTo>
                      <a:pt x="88" y="258"/>
                    </a:lnTo>
                    <a:lnTo>
                      <a:pt x="89" y="259"/>
                    </a:lnTo>
                    <a:lnTo>
                      <a:pt x="90" y="257"/>
                    </a:lnTo>
                    <a:lnTo>
                      <a:pt x="91" y="258"/>
                    </a:lnTo>
                    <a:lnTo>
                      <a:pt x="93" y="257"/>
                    </a:lnTo>
                    <a:lnTo>
                      <a:pt x="94" y="257"/>
                    </a:lnTo>
                    <a:lnTo>
                      <a:pt x="96" y="260"/>
                    </a:lnTo>
                    <a:lnTo>
                      <a:pt x="102" y="259"/>
                    </a:lnTo>
                    <a:lnTo>
                      <a:pt x="102" y="255"/>
                    </a:lnTo>
                    <a:lnTo>
                      <a:pt x="104" y="261"/>
                    </a:lnTo>
                    <a:lnTo>
                      <a:pt x="104" y="262"/>
                    </a:lnTo>
                    <a:lnTo>
                      <a:pt x="108" y="261"/>
                    </a:lnTo>
                    <a:lnTo>
                      <a:pt x="113" y="265"/>
                    </a:lnTo>
                    <a:lnTo>
                      <a:pt x="116" y="268"/>
                    </a:lnTo>
                    <a:lnTo>
                      <a:pt x="115" y="269"/>
                    </a:lnTo>
                    <a:lnTo>
                      <a:pt x="115" y="271"/>
                    </a:lnTo>
                    <a:lnTo>
                      <a:pt x="111" y="278"/>
                    </a:lnTo>
                    <a:lnTo>
                      <a:pt x="114" y="280"/>
                    </a:lnTo>
                    <a:lnTo>
                      <a:pt x="116" y="278"/>
                    </a:lnTo>
                    <a:lnTo>
                      <a:pt x="118" y="278"/>
                    </a:lnTo>
                    <a:lnTo>
                      <a:pt x="124" y="285"/>
                    </a:lnTo>
                    <a:lnTo>
                      <a:pt x="128" y="285"/>
                    </a:lnTo>
                    <a:lnTo>
                      <a:pt x="132" y="294"/>
                    </a:lnTo>
                    <a:lnTo>
                      <a:pt x="134" y="299"/>
                    </a:lnTo>
                    <a:lnTo>
                      <a:pt x="133" y="300"/>
                    </a:lnTo>
                    <a:lnTo>
                      <a:pt x="134" y="302"/>
                    </a:lnTo>
                    <a:lnTo>
                      <a:pt x="137" y="301"/>
                    </a:lnTo>
                    <a:lnTo>
                      <a:pt x="136" y="302"/>
                    </a:lnTo>
                    <a:lnTo>
                      <a:pt x="137" y="303"/>
                    </a:lnTo>
                    <a:lnTo>
                      <a:pt x="136" y="303"/>
                    </a:lnTo>
                    <a:lnTo>
                      <a:pt x="136" y="305"/>
                    </a:lnTo>
                    <a:lnTo>
                      <a:pt x="138" y="313"/>
                    </a:lnTo>
                    <a:lnTo>
                      <a:pt x="141" y="312"/>
                    </a:lnTo>
                    <a:lnTo>
                      <a:pt x="143" y="313"/>
                    </a:lnTo>
                    <a:lnTo>
                      <a:pt x="146" y="312"/>
                    </a:lnTo>
                    <a:lnTo>
                      <a:pt x="147" y="312"/>
                    </a:lnTo>
                    <a:lnTo>
                      <a:pt x="149" y="310"/>
                    </a:lnTo>
                    <a:lnTo>
                      <a:pt x="150" y="310"/>
                    </a:lnTo>
                    <a:lnTo>
                      <a:pt x="155" y="312"/>
                    </a:lnTo>
                    <a:lnTo>
                      <a:pt x="158" y="309"/>
                    </a:lnTo>
                    <a:lnTo>
                      <a:pt x="159" y="306"/>
                    </a:lnTo>
                    <a:lnTo>
                      <a:pt x="163" y="303"/>
                    </a:lnTo>
                    <a:lnTo>
                      <a:pt x="165" y="301"/>
                    </a:lnTo>
                    <a:lnTo>
                      <a:pt x="166" y="300"/>
                    </a:lnTo>
                    <a:lnTo>
                      <a:pt x="168" y="299"/>
                    </a:lnTo>
                    <a:lnTo>
                      <a:pt x="168" y="297"/>
                    </a:lnTo>
                    <a:lnTo>
                      <a:pt x="170" y="293"/>
                    </a:lnTo>
                    <a:lnTo>
                      <a:pt x="175" y="289"/>
                    </a:lnTo>
                    <a:lnTo>
                      <a:pt x="176" y="289"/>
                    </a:lnTo>
                    <a:lnTo>
                      <a:pt x="178" y="288"/>
                    </a:lnTo>
                    <a:lnTo>
                      <a:pt x="178" y="283"/>
                    </a:lnTo>
                    <a:lnTo>
                      <a:pt x="187" y="284"/>
                    </a:lnTo>
                    <a:lnTo>
                      <a:pt x="188" y="284"/>
                    </a:lnTo>
                    <a:lnTo>
                      <a:pt x="189" y="283"/>
                    </a:lnTo>
                    <a:lnTo>
                      <a:pt x="195" y="284"/>
                    </a:lnTo>
                    <a:lnTo>
                      <a:pt x="198" y="284"/>
                    </a:lnTo>
                    <a:lnTo>
                      <a:pt x="203" y="287"/>
                    </a:lnTo>
                    <a:lnTo>
                      <a:pt x="208" y="285"/>
                    </a:lnTo>
                    <a:lnTo>
                      <a:pt x="208" y="281"/>
                    </a:lnTo>
                    <a:lnTo>
                      <a:pt x="211" y="274"/>
                    </a:lnTo>
                    <a:lnTo>
                      <a:pt x="212" y="271"/>
                    </a:lnTo>
                    <a:lnTo>
                      <a:pt x="213" y="270"/>
                    </a:lnTo>
                    <a:lnTo>
                      <a:pt x="212" y="266"/>
                    </a:lnTo>
                    <a:lnTo>
                      <a:pt x="213" y="263"/>
                    </a:lnTo>
                    <a:lnTo>
                      <a:pt x="215" y="259"/>
                    </a:lnTo>
                    <a:lnTo>
                      <a:pt x="217" y="257"/>
                    </a:lnTo>
                    <a:lnTo>
                      <a:pt x="218" y="253"/>
                    </a:lnTo>
                    <a:lnTo>
                      <a:pt x="217" y="249"/>
                    </a:lnTo>
                    <a:lnTo>
                      <a:pt x="218" y="247"/>
                    </a:lnTo>
                    <a:lnTo>
                      <a:pt x="220" y="246"/>
                    </a:lnTo>
                    <a:lnTo>
                      <a:pt x="221" y="244"/>
                    </a:lnTo>
                    <a:lnTo>
                      <a:pt x="224" y="242"/>
                    </a:lnTo>
                    <a:lnTo>
                      <a:pt x="228" y="242"/>
                    </a:lnTo>
                    <a:lnTo>
                      <a:pt x="229" y="242"/>
                    </a:lnTo>
                    <a:lnTo>
                      <a:pt x="236" y="244"/>
                    </a:lnTo>
                    <a:lnTo>
                      <a:pt x="237" y="242"/>
                    </a:lnTo>
                    <a:lnTo>
                      <a:pt x="239" y="241"/>
                    </a:lnTo>
                    <a:lnTo>
                      <a:pt x="241" y="241"/>
                    </a:lnTo>
                    <a:lnTo>
                      <a:pt x="244" y="244"/>
                    </a:lnTo>
                    <a:lnTo>
                      <a:pt x="248" y="245"/>
                    </a:lnTo>
                    <a:lnTo>
                      <a:pt x="250" y="245"/>
                    </a:lnTo>
                    <a:lnTo>
                      <a:pt x="251" y="242"/>
                    </a:lnTo>
                    <a:lnTo>
                      <a:pt x="254" y="242"/>
                    </a:lnTo>
                    <a:lnTo>
                      <a:pt x="261" y="239"/>
                    </a:lnTo>
                    <a:lnTo>
                      <a:pt x="263" y="237"/>
                    </a:lnTo>
                    <a:lnTo>
                      <a:pt x="266" y="234"/>
                    </a:lnTo>
                    <a:lnTo>
                      <a:pt x="266" y="232"/>
                    </a:lnTo>
                    <a:lnTo>
                      <a:pt x="270" y="229"/>
                    </a:lnTo>
                    <a:lnTo>
                      <a:pt x="269" y="228"/>
                    </a:lnTo>
                    <a:lnTo>
                      <a:pt x="270" y="226"/>
                    </a:lnTo>
                    <a:lnTo>
                      <a:pt x="274" y="219"/>
                    </a:lnTo>
                    <a:lnTo>
                      <a:pt x="277" y="215"/>
                    </a:lnTo>
                    <a:lnTo>
                      <a:pt x="277" y="204"/>
                    </a:lnTo>
                    <a:lnTo>
                      <a:pt x="278" y="202"/>
                    </a:lnTo>
                    <a:lnTo>
                      <a:pt x="279" y="202"/>
                    </a:lnTo>
                    <a:lnTo>
                      <a:pt x="280" y="202"/>
                    </a:lnTo>
                    <a:lnTo>
                      <a:pt x="279" y="199"/>
                    </a:lnTo>
                    <a:lnTo>
                      <a:pt x="277" y="197"/>
                    </a:lnTo>
                    <a:lnTo>
                      <a:pt x="277" y="194"/>
                    </a:lnTo>
                    <a:lnTo>
                      <a:pt x="278" y="191"/>
                    </a:lnTo>
                    <a:lnTo>
                      <a:pt x="280" y="190"/>
                    </a:lnTo>
                    <a:lnTo>
                      <a:pt x="280" y="187"/>
                    </a:lnTo>
                    <a:lnTo>
                      <a:pt x="280" y="186"/>
                    </a:lnTo>
                    <a:lnTo>
                      <a:pt x="286" y="183"/>
                    </a:lnTo>
                    <a:lnTo>
                      <a:pt x="284" y="179"/>
                    </a:lnTo>
                    <a:lnTo>
                      <a:pt x="285" y="169"/>
                    </a:lnTo>
                    <a:lnTo>
                      <a:pt x="288" y="167"/>
                    </a:lnTo>
                    <a:lnTo>
                      <a:pt x="289" y="163"/>
                    </a:lnTo>
                    <a:lnTo>
                      <a:pt x="290" y="163"/>
                    </a:lnTo>
                    <a:lnTo>
                      <a:pt x="290" y="157"/>
                    </a:lnTo>
                    <a:lnTo>
                      <a:pt x="292" y="157"/>
                    </a:lnTo>
                    <a:lnTo>
                      <a:pt x="292" y="155"/>
                    </a:lnTo>
                    <a:lnTo>
                      <a:pt x="293" y="151"/>
                    </a:lnTo>
                    <a:lnTo>
                      <a:pt x="290" y="151"/>
                    </a:lnTo>
                    <a:lnTo>
                      <a:pt x="291" y="147"/>
                    </a:lnTo>
                    <a:lnTo>
                      <a:pt x="291" y="142"/>
                    </a:lnTo>
                    <a:lnTo>
                      <a:pt x="296" y="140"/>
                    </a:lnTo>
                    <a:lnTo>
                      <a:pt x="296" y="137"/>
                    </a:lnTo>
                    <a:lnTo>
                      <a:pt x="302" y="133"/>
                    </a:lnTo>
                    <a:lnTo>
                      <a:pt x="303" y="128"/>
                    </a:lnTo>
                    <a:lnTo>
                      <a:pt x="303" y="125"/>
                    </a:lnTo>
                    <a:lnTo>
                      <a:pt x="305" y="124"/>
                    </a:lnTo>
                    <a:lnTo>
                      <a:pt x="306" y="124"/>
                    </a:lnTo>
                    <a:lnTo>
                      <a:pt x="308" y="123"/>
                    </a:lnTo>
                    <a:lnTo>
                      <a:pt x="310" y="124"/>
                    </a:lnTo>
                    <a:lnTo>
                      <a:pt x="311" y="122"/>
                    </a:lnTo>
                    <a:lnTo>
                      <a:pt x="312" y="123"/>
                    </a:lnTo>
                    <a:lnTo>
                      <a:pt x="313" y="121"/>
                    </a:lnTo>
                    <a:lnTo>
                      <a:pt x="320" y="123"/>
                    </a:lnTo>
                    <a:lnTo>
                      <a:pt x="322" y="122"/>
                    </a:lnTo>
                    <a:lnTo>
                      <a:pt x="326" y="121"/>
                    </a:lnTo>
                    <a:lnTo>
                      <a:pt x="327" y="120"/>
                    </a:lnTo>
                    <a:lnTo>
                      <a:pt x="330" y="120"/>
                    </a:lnTo>
                    <a:lnTo>
                      <a:pt x="335" y="120"/>
                    </a:lnTo>
                    <a:lnTo>
                      <a:pt x="336" y="119"/>
                    </a:lnTo>
                    <a:lnTo>
                      <a:pt x="336" y="118"/>
                    </a:lnTo>
                    <a:lnTo>
                      <a:pt x="341" y="116"/>
                    </a:lnTo>
                    <a:lnTo>
                      <a:pt x="344" y="114"/>
                    </a:lnTo>
                    <a:lnTo>
                      <a:pt x="345" y="114"/>
                    </a:lnTo>
                    <a:lnTo>
                      <a:pt x="353" y="113"/>
                    </a:lnTo>
                    <a:lnTo>
                      <a:pt x="358" y="110"/>
                    </a:lnTo>
                    <a:lnTo>
                      <a:pt x="362" y="103"/>
                    </a:lnTo>
                    <a:lnTo>
                      <a:pt x="363" y="102"/>
                    </a:lnTo>
                    <a:lnTo>
                      <a:pt x="366" y="102"/>
                    </a:lnTo>
                    <a:lnTo>
                      <a:pt x="365" y="98"/>
                    </a:lnTo>
                    <a:lnTo>
                      <a:pt x="368" y="97"/>
                    </a:lnTo>
                    <a:lnTo>
                      <a:pt x="370" y="9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1" name="Freeform 115">
                <a:extLst>
                  <a:ext uri="{FF2B5EF4-FFF2-40B4-BE49-F238E27FC236}">
                    <a16:creationId xmlns:a16="http://schemas.microsoft.com/office/drawing/2014/main" id="{508EE8FE-BE8F-E6D9-B1B9-EEFE090317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9" y="3515"/>
                <a:ext cx="370" cy="313"/>
              </a:xfrm>
              <a:custGeom>
                <a:avLst/>
                <a:gdLst>
                  <a:gd name="T0" fmla="*/ 360 w 370"/>
                  <a:gd name="T1" fmla="*/ 67 h 313"/>
                  <a:gd name="T2" fmla="*/ 345 w 370"/>
                  <a:gd name="T3" fmla="*/ 47 h 313"/>
                  <a:gd name="T4" fmla="*/ 321 w 370"/>
                  <a:gd name="T5" fmla="*/ 29 h 313"/>
                  <a:gd name="T6" fmla="*/ 291 w 370"/>
                  <a:gd name="T7" fmla="*/ 15 h 313"/>
                  <a:gd name="T8" fmla="*/ 261 w 370"/>
                  <a:gd name="T9" fmla="*/ 18 h 313"/>
                  <a:gd name="T10" fmla="*/ 248 w 370"/>
                  <a:gd name="T11" fmla="*/ 0 h 313"/>
                  <a:gd name="T12" fmla="*/ 224 w 370"/>
                  <a:gd name="T13" fmla="*/ 10 h 313"/>
                  <a:gd name="T14" fmla="*/ 217 w 370"/>
                  <a:gd name="T15" fmla="*/ 11 h 313"/>
                  <a:gd name="T16" fmla="*/ 202 w 370"/>
                  <a:gd name="T17" fmla="*/ 21 h 313"/>
                  <a:gd name="T18" fmla="*/ 198 w 370"/>
                  <a:gd name="T19" fmla="*/ 39 h 313"/>
                  <a:gd name="T20" fmla="*/ 187 w 370"/>
                  <a:gd name="T21" fmla="*/ 43 h 313"/>
                  <a:gd name="T22" fmla="*/ 178 w 370"/>
                  <a:gd name="T23" fmla="*/ 34 h 313"/>
                  <a:gd name="T24" fmla="*/ 168 w 370"/>
                  <a:gd name="T25" fmla="*/ 38 h 313"/>
                  <a:gd name="T26" fmla="*/ 156 w 370"/>
                  <a:gd name="T27" fmla="*/ 36 h 313"/>
                  <a:gd name="T28" fmla="*/ 157 w 370"/>
                  <a:gd name="T29" fmla="*/ 53 h 313"/>
                  <a:gd name="T30" fmla="*/ 147 w 370"/>
                  <a:gd name="T31" fmla="*/ 56 h 313"/>
                  <a:gd name="T32" fmla="*/ 132 w 370"/>
                  <a:gd name="T33" fmla="*/ 51 h 313"/>
                  <a:gd name="T34" fmla="*/ 124 w 370"/>
                  <a:gd name="T35" fmla="*/ 54 h 313"/>
                  <a:gd name="T36" fmla="*/ 110 w 370"/>
                  <a:gd name="T37" fmla="*/ 73 h 313"/>
                  <a:gd name="T38" fmla="*/ 100 w 370"/>
                  <a:gd name="T39" fmla="*/ 62 h 313"/>
                  <a:gd name="T40" fmla="*/ 85 w 370"/>
                  <a:gd name="T41" fmla="*/ 58 h 313"/>
                  <a:gd name="T42" fmla="*/ 83 w 370"/>
                  <a:gd name="T43" fmla="*/ 45 h 313"/>
                  <a:gd name="T44" fmla="*/ 74 w 370"/>
                  <a:gd name="T45" fmla="*/ 53 h 313"/>
                  <a:gd name="T46" fmla="*/ 77 w 370"/>
                  <a:gd name="T47" fmla="*/ 73 h 313"/>
                  <a:gd name="T48" fmla="*/ 66 w 370"/>
                  <a:gd name="T49" fmla="*/ 79 h 313"/>
                  <a:gd name="T50" fmla="*/ 59 w 370"/>
                  <a:gd name="T51" fmla="*/ 93 h 313"/>
                  <a:gd name="T52" fmla="*/ 45 w 370"/>
                  <a:gd name="T53" fmla="*/ 95 h 313"/>
                  <a:gd name="T54" fmla="*/ 30 w 370"/>
                  <a:gd name="T55" fmla="*/ 93 h 313"/>
                  <a:gd name="T56" fmla="*/ 25 w 370"/>
                  <a:gd name="T57" fmla="*/ 104 h 313"/>
                  <a:gd name="T58" fmla="*/ 15 w 370"/>
                  <a:gd name="T59" fmla="*/ 111 h 313"/>
                  <a:gd name="T60" fmla="*/ 16 w 370"/>
                  <a:gd name="T61" fmla="*/ 138 h 313"/>
                  <a:gd name="T62" fmla="*/ 16 w 370"/>
                  <a:gd name="T63" fmla="*/ 148 h 313"/>
                  <a:gd name="T64" fmla="*/ 27 w 370"/>
                  <a:gd name="T65" fmla="*/ 154 h 313"/>
                  <a:gd name="T66" fmla="*/ 18 w 370"/>
                  <a:gd name="T67" fmla="*/ 168 h 313"/>
                  <a:gd name="T68" fmla="*/ 6 w 370"/>
                  <a:gd name="T69" fmla="*/ 181 h 313"/>
                  <a:gd name="T70" fmla="*/ 11 w 370"/>
                  <a:gd name="T71" fmla="*/ 192 h 313"/>
                  <a:gd name="T72" fmla="*/ 31 w 370"/>
                  <a:gd name="T73" fmla="*/ 197 h 313"/>
                  <a:gd name="T74" fmla="*/ 28 w 370"/>
                  <a:gd name="T75" fmla="*/ 216 h 313"/>
                  <a:gd name="T76" fmla="*/ 42 w 370"/>
                  <a:gd name="T77" fmla="*/ 227 h 313"/>
                  <a:gd name="T78" fmla="*/ 55 w 370"/>
                  <a:gd name="T79" fmla="*/ 229 h 313"/>
                  <a:gd name="T80" fmla="*/ 64 w 370"/>
                  <a:gd name="T81" fmla="*/ 240 h 313"/>
                  <a:gd name="T82" fmla="*/ 68 w 370"/>
                  <a:gd name="T83" fmla="*/ 247 h 313"/>
                  <a:gd name="T84" fmla="*/ 89 w 370"/>
                  <a:gd name="T85" fmla="*/ 259 h 313"/>
                  <a:gd name="T86" fmla="*/ 104 w 370"/>
                  <a:gd name="T87" fmla="*/ 262 h 313"/>
                  <a:gd name="T88" fmla="*/ 124 w 370"/>
                  <a:gd name="T89" fmla="*/ 285 h 313"/>
                  <a:gd name="T90" fmla="*/ 136 w 370"/>
                  <a:gd name="T91" fmla="*/ 305 h 313"/>
                  <a:gd name="T92" fmla="*/ 159 w 370"/>
                  <a:gd name="T93" fmla="*/ 306 h 313"/>
                  <a:gd name="T94" fmla="*/ 178 w 370"/>
                  <a:gd name="T95" fmla="*/ 283 h 313"/>
                  <a:gd name="T96" fmla="*/ 212 w 370"/>
                  <a:gd name="T97" fmla="*/ 271 h 313"/>
                  <a:gd name="T98" fmla="*/ 221 w 370"/>
                  <a:gd name="T99" fmla="*/ 244 h 313"/>
                  <a:gd name="T100" fmla="*/ 250 w 370"/>
                  <a:gd name="T101" fmla="*/ 245 h 313"/>
                  <a:gd name="T102" fmla="*/ 274 w 370"/>
                  <a:gd name="T103" fmla="*/ 219 h 313"/>
                  <a:gd name="T104" fmla="*/ 278 w 370"/>
                  <a:gd name="T105" fmla="*/ 191 h 313"/>
                  <a:gd name="T106" fmla="*/ 290 w 370"/>
                  <a:gd name="T107" fmla="*/ 157 h 313"/>
                  <a:gd name="T108" fmla="*/ 303 w 370"/>
                  <a:gd name="T109" fmla="*/ 128 h 313"/>
                  <a:gd name="T110" fmla="*/ 320 w 370"/>
                  <a:gd name="T111" fmla="*/ 123 h 313"/>
                  <a:gd name="T112" fmla="*/ 345 w 370"/>
                  <a:gd name="T113" fmla="*/ 114 h 313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70"/>
                  <a:gd name="T172" fmla="*/ 0 h 313"/>
                  <a:gd name="T173" fmla="*/ 370 w 370"/>
                  <a:gd name="T174" fmla="*/ 313 h 313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70" h="313">
                    <a:moveTo>
                      <a:pt x="370" y="93"/>
                    </a:moveTo>
                    <a:lnTo>
                      <a:pt x="368" y="84"/>
                    </a:lnTo>
                    <a:lnTo>
                      <a:pt x="368" y="82"/>
                    </a:lnTo>
                    <a:lnTo>
                      <a:pt x="368" y="80"/>
                    </a:lnTo>
                    <a:lnTo>
                      <a:pt x="366" y="78"/>
                    </a:lnTo>
                    <a:lnTo>
                      <a:pt x="364" y="78"/>
                    </a:lnTo>
                    <a:lnTo>
                      <a:pt x="362" y="76"/>
                    </a:lnTo>
                    <a:lnTo>
                      <a:pt x="360" y="75"/>
                    </a:lnTo>
                    <a:lnTo>
                      <a:pt x="357" y="75"/>
                    </a:lnTo>
                    <a:lnTo>
                      <a:pt x="360" y="67"/>
                    </a:lnTo>
                    <a:lnTo>
                      <a:pt x="358" y="61"/>
                    </a:lnTo>
                    <a:lnTo>
                      <a:pt x="357" y="61"/>
                    </a:lnTo>
                    <a:lnTo>
                      <a:pt x="356" y="60"/>
                    </a:lnTo>
                    <a:lnTo>
                      <a:pt x="357" y="60"/>
                    </a:lnTo>
                    <a:lnTo>
                      <a:pt x="356" y="59"/>
                    </a:lnTo>
                    <a:lnTo>
                      <a:pt x="354" y="55"/>
                    </a:lnTo>
                    <a:lnTo>
                      <a:pt x="352" y="55"/>
                    </a:lnTo>
                    <a:lnTo>
                      <a:pt x="349" y="52"/>
                    </a:lnTo>
                    <a:lnTo>
                      <a:pt x="347" y="51"/>
                    </a:lnTo>
                    <a:lnTo>
                      <a:pt x="345" y="47"/>
                    </a:lnTo>
                    <a:lnTo>
                      <a:pt x="343" y="44"/>
                    </a:lnTo>
                    <a:lnTo>
                      <a:pt x="343" y="35"/>
                    </a:lnTo>
                    <a:lnTo>
                      <a:pt x="342" y="33"/>
                    </a:lnTo>
                    <a:lnTo>
                      <a:pt x="340" y="32"/>
                    </a:lnTo>
                    <a:lnTo>
                      <a:pt x="335" y="31"/>
                    </a:lnTo>
                    <a:lnTo>
                      <a:pt x="334" y="31"/>
                    </a:lnTo>
                    <a:lnTo>
                      <a:pt x="331" y="34"/>
                    </a:lnTo>
                    <a:lnTo>
                      <a:pt x="329" y="35"/>
                    </a:lnTo>
                    <a:lnTo>
                      <a:pt x="322" y="32"/>
                    </a:lnTo>
                    <a:lnTo>
                      <a:pt x="321" y="29"/>
                    </a:lnTo>
                    <a:lnTo>
                      <a:pt x="319" y="29"/>
                    </a:lnTo>
                    <a:lnTo>
                      <a:pt x="315" y="31"/>
                    </a:lnTo>
                    <a:lnTo>
                      <a:pt x="312" y="29"/>
                    </a:lnTo>
                    <a:lnTo>
                      <a:pt x="309" y="23"/>
                    </a:lnTo>
                    <a:lnTo>
                      <a:pt x="307" y="18"/>
                    </a:lnTo>
                    <a:lnTo>
                      <a:pt x="306" y="17"/>
                    </a:lnTo>
                    <a:lnTo>
                      <a:pt x="304" y="18"/>
                    </a:lnTo>
                    <a:lnTo>
                      <a:pt x="298" y="19"/>
                    </a:lnTo>
                    <a:lnTo>
                      <a:pt x="296" y="14"/>
                    </a:lnTo>
                    <a:lnTo>
                      <a:pt x="291" y="15"/>
                    </a:lnTo>
                    <a:lnTo>
                      <a:pt x="289" y="14"/>
                    </a:lnTo>
                    <a:lnTo>
                      <a:pt x="288" y="15"/>
                    </a:lnTo>
                    <a:lnTo>
                      <a:pt x="285" y="14"/>
                    </a:lnTo>
                    <a:lnTo>
                      <a:pt x="283" y="15"/>
                    </a:lnTo>
                    <a:lnTo>
                      <a:pt x="282" y="15"/>
                    </a:lnTo>
                    <a:lnTo>
                      <a:pt x="279" y="14"/>
                    </a:lnTo>
                    <a:lnTo>
                      <a:pt x="276" y="15"/>
                    </a:lnTo>
                    <a:lnTo>
                      <a:pt x="270" y="16"/>
                    </a:lnTo>
                    <a:lnTo>
                      <a:pt x="264" y="18"/>
                    </a:lnTo>
                    <a:lnTo>
                      <a:pt x="261" y="18"/>
                    </a:lnTo>
                    <a:lnTo>
                      <a:pt x="261" y="19"/>
                    </a:lnTo>
                    <a:lnTo>
                      <a:pt x="258" y="17"/>
                    </a:lnTo>
                    <a:lnTo>
                      <a:pt x="259" y="14"/>
                    </a:lnTo>
                    <a:lnTo>
                      <a:pt x="259" y="9"/>
                    </a:lnTo>
                    <a:lnTo>
                      <a:pt x="257" y="6"/>
                    </a:lnTo>
                    <a:lnTo>
                      <a:pt x="255" y="2"/>
                    </a:lnTo>
                    <a:lnTo>
                      <a:pt x="253" y="2"/>
                    </a:lnTo>
                    <a:lnTo>
                      <a:pt x="253" y="3"/>
                    </a:lnTo>
                    <a:lnTo>
                      <a:pt x="250" y="0"/>
                    </a:lnTo>
                    <a:lnTo>
                      <a:pt x="248" y="0"/>
                    </a:lnTo>
                    <a:lnTo>
                      <a:pt x="239" y="0"/>
                    </a:lnTo>
                    <a:lnTo>
                      <a:pt x="237" y="6"/>
                    </a:lnTo>
                    <a:lnTo>
                      <a:pt x="233" y="10"/>
                    </a:lnTo>
                    <a:lnTo>
                      <a:pt x="233" y="11"/>
                    </a:lnTo>
                    <a:lnTo>
                      <a:pt x="233" y="13"/>
                    </a:lnTo>
                    <a:lnTo>
                      <a:pt x="230" y="13"/>
                    </a:lnTo>
                    <a:lnTo>
                      <a:pt x="228" y="10"/>
                    </a:lnTo>
                    <a:lnTo>
                      <a:pt x="226" y="11"/>
                    </a:lnTo>
                    <a:lnTo>
                      <a:pt x="225" y="10"/>
                    </a:lnTo>
                    <a:lnTo>
                      <a:pt x="224" y="10"/>
                    </a:lnTo>
                    <a:lnTo>
                      <a:pt x="224" y="8"/>
                    </a:lnTo>
                    <a:lnTo>
                      <a:pt x="220" y="8"/>
                    </a:lnTo>
                    <a:lnTo>
                      <a:pt x="220" y="6"/>
                    </a:lnTo>
                    <a:lnTo>
                      <a:pt x="219" y="5"/>
                    </a:lnTo>
                    <a:lnTo>
                      <a:pt x="217" y="5"/>
                    </a:lnTo>
                    <a:lnTo>
                      <a:pt x="218" y="6"/>
                    </a:lnTo>
                    <a:lnTo>
                      <a:pt x="218" y="8"/>
                    </a:lnTo>
                    <a:lnTo>
                      <a:pt x="217" y="10"/>
                    </a:lnTo>
                    <a:lnTo>
                      <a:pt x="217" y="11"/>
                    </a:lnTo>
                    <a:lnTo>
                      <a:pt x="217" y="14"/>
                    </a:lnTo>
                    <a:lnTo>
                      <a:pt x="211" y="15"/>
                    </a:lnTo>
                    <a:lnTo>
                      <a:pt x="210" y="14"/>
                    </a:lnTo>
                    <a:lnTo>
                      <a:pt x="209" y="16"/>
                    </a:lnTo>
                    <a:lnTo>
                      <a:pt x="209" y="17"/>
                    </a:lnTo>
                    <a:lnTo>
                      <a:pt x="208" y="19"/>
                    </a:lnTo>
                    <a:lnTo>
                      <a:pt x="204" y="20"/>
                    </a:lnTo>
                    <a:lnTo>
                      <a:pt x="203" y="21"/>
                    </a:lnTo>
                    <a:lnTo>
                      <a:pt x="202" y="20"/>
                    </a:lnTo>
                    <a:lnTo>
                      <a:pt x="202" y="21"/>
                    </a:lnTo>
                    <a:lnTo>
                      <a:pt x="204" y="25"/>
                    </a:lnTo>
                    <a:lnTo>
                      <a:pt x="204" y="28"/>
                    </a:lnTo>
                    <a:lnTo>
                      <a:pt x="203" y="29"/>
                    </a:lnTo>
                    <a:lnTo>
                      <a:pt x="203" y="30"/>
                    </a:lnTo>
                    <a:lnTo>
                      <a:pt x="202" y="31"/>
                    </a:lnTo>
                    <a:lnTo>
                      <a:pt x="201" y="32"/>
                    </a:lnTo>
                    <a:lnTo>
                      <a:pt x="198" y="33"/>
                    </a:lnTo>
                    <a:lnTo>
                      <a:pt x="198" y="34"/>
                    </a:lnTo>
                    <a:lnTo>
                      <a:pt x="199" y="36"/>
                    </a:lnTo>
                    <a:lnTo>
                      <a:pt x="198" y="39"/>
                    </a:lnTo>
                    <a:lnTo>
                      <a:pt x="198" y="40"/>
                    </a:lnTo>
                    <a:lnTo>
                      <a:pt x="198" y="42"/>
                    </a:lnTo>
                    <a:lnTo>
                      <a:pt x="197" y="42"/>
                    </a:lnTo>
                    <a:lnTo>
                      <a:pt x="197" y="43"/>
                    </a:lnTo>
                    <a:lnTo>
                      <a:pt x="196" y="43"/>
                    </a:lnTo>
                    <a:lnTo>
                      <a:pt x="195" y="43"/>
                    </a:lnTo>
                    <a:lnTo>
                      <a:pt x="194" y="43"/>
                    </a:lnTo>
                    <a:lnTo>
                      <a:pt x="194" y="42"/>
                    </a:lnTo>
                    <a:lnTo>
                      <a:pt x="192" y="42"/>
                    </a:lnTo>
                    <a:lnTo>
                      <a:pt x="187" y="43"/>
                    </a:lnTo>
                    <a:lnTo>
                      <a:pt x="186" y="44"/>
                    </a:lnTo>
                    <a:lnTo>
                      <a:pt x="185" y="44"/>
                    </a:lnTo>
                    <a:lnTo>
                      <a:pt x="183" y="41"/>
                    </a:lnTo>
                    <a:lnTo>
                      <a:pt x="181" y="41"/>
                    </a:lnTo>
                    <a:lnTo>
                      <a:pt x="181" y="40"/>
                    </a:lnTo>
                    <a:lnTo>
                      <a:pt x="179" y="39"/>
                    </a:lnTo>
                    <a:lnTo>
                      <a:pt x="179" y="38"/>
                    </a:lnTo>
                    <a:lnTo>
                      <a:pt x="180" y="36"/>
                    </a:lnTo>
                    <a:lnTo>
                      <a:pt x="179" y="36"/>
                    </a:lnTo>
                    <a:lnTo>
                      <a:pt x="178" y="34"/>
                    </a:lnTo>
                    <a:lnTo>
                      <a:pt x="176" y="32"/>
                    </a:lnTo>
                    <a:lnTo>
                      <a:pt x="175" y="29"/>
                    </a:lnTo>
                    <a:lnTo>
                      <a:pt x="173" y="31"/>
                    </a:lnTo>
                    <a:lnTo>
                      <a:pt x="171" y="29"/>
                    </a:lnTo>
                    <a:lnTo>
                      <a:pt x="170" y="29"/>
                    </a:lnTo>
                    <a:lnTo>
                      <a:pt x="170" y="31"/>
                    </a:lnTo>
                    <a:lnTo>
                      <a:pt x="168" y="32"/>
                    </a:lnTo>
                    <a:lnTo>
                      <a:pt x="168" y="34"/>
                    </a:lnTo>
                    <a:lnTo>
                      <a:pt x="168" y="38"/>
                    </a:lnTo>
                    <a:lnTo>
                      <a:pt x="167" y="39"/>
                    </a:lnTo>
                    <a:lnTo>
                      <a:pt x="165" y="39"/>
                    </a:lnTo>
                    <a:lnTo>
                      <a:pt x="163" y="33"/>
                    </a:lnTo>
                    <a:lnTo>
                      <a:pt x="159" y="34"/>
                    </a:lnTo>
                    <a:lnTo>
                      <a:pt x="158" y="34"/>
                    </a:lnTo>
                    <a:lnTo>
                      <a:pt x="157" y="35"/>
                    </a:lnTo>
                    <a:lnTo>
                      <a:pt x="156" y="33"/>
                    </a:lnTo>
                    <a:lnTo>
                      <a:pt x="155" y="34"/>
                    </a:lnTo>
                    <a:lnTo>
                      <a:pt x="156" y="36"/>
                    </a:lnTo>
                    <a:lnTo>
                      <a:pt x="155" y="37"/>
                    </a:lnTo>
                    <a:lnTo>
                      <a:pt x="158" y="40"/>
                    </a:lnTo>
                    <a:lnTo>
                      <a:pt x="158" y="43"/>
                    </a:lnTo>
                    <a:lnTo>
                      <a:pt x="159" y="45"/>
                    </a:lnTo>
                    <a:lnTo>
                      <a:pt x="162" y="47"/>
                    </a:lnTo>
                    <a:lnTo>
                      <a:pt x="160" y="47"/>
                    </a:lnTo>
                    <a:lnTo>
                      <a:pt x="162" y="50"/>
                    </a:lnTo>
                    <a:lnTo>
                      <a:pt x="158" y="53"/>
                    </a:lnTo>
                    <a:lnTo>
                      <a:pt x="157" y="53"/>
                    </a:lnTo>
                    <a:lnTo>
                      <a:pt x="156" y="56"/>
                    </a:lnTo>
                    <a:lnTo>
                      <a:pt x="153" y="57"/>
                    </a:lnTo>
                    <a:lnTo>
                      <a:pt x="151" y="57"/>
                    </a:lnTo>
                    <a:lnTo>
                      <a:pt x="150" y="57"/>
                    </a:lnTo>
                    <a:lnTo>
                      <a:pt x="150" y="56"/>
                    </a:lnTo>
                    <a:lnTo>
                      <a:pt x="150" y="57"/>
                    </a:lnTo>
                    <a:lnTo>
                      <a:pt x="148" y="57"/>
                    </a:lnTo>
                    <a:lnTo>
                      <a:pt x="147" y="57"/>
                    </a:lnTo>
                    <a:lnTo>
                      <a:pt x="147" y="56"/>
                    </a:lnTo>
                    <a:lnTo>
                      <a:pt x="145" y="57"/>
                    </a:lnTo>
                    <a:lnTo>
                      <a:pt x="145" y="56"/>
                    </a:lnTo>
                    <a:lnTo>
                      <a:pt x="145" y="54"/>
                    </a:lnTo>
                    <a:lnTo>
                      <a:pt x="143" y="52"/>
                    </a:lnTo>
                    <a:lnTo>
                      <a:pt x="142" y="51"/>
                    </a:lnTo>
                    <a:lnTo>
                      <a:pt x="141" y="52"/>
                    </a:lnTo>
                    <a:lnTo>
                      <a:pt x="139" y="52"/>
                    </a:lnTo>
                    <a:lnTo>
                      <a:pt x="139" y="51"/>
                    </a:lnTo>
                    <a:lnTo>
                      <a:pt x="133" y="53"/>
                    </a:lnTo>
                    <a:lnTo>
                      <a:pt x="132" y="51"/>
                    </a:lnTo>
                    <a:lnTo>
                      <a:pt x="130" y="53"/>
                    </a:lnTo>
                    <a:lnTo>
                      <a:pt x="129" y="53"/>
                    </a:lnTo>
                    <a:lnTo>
                      <a:pt x="127" y="56"/>
                    </a:lnTo>
                    <a:lnTo>
                      <a:pt x="126" y="55"/>
                    </a:lnTo>
                    <a:lnTo>
                      <a:pt x="126" y="54"/>
                    </a:lnTo>
                    <a:lnTo>
                      <a:pt x="126" y="52"/>
                    </a:lnTo>
                    <a:lnTo>
                      <a:pt x="124" y="53"/>
                    </a:lnTo>
                    <a:lnTo>
                      <a:pt x="121" y="52"/>
                    </a:lnTo>
                    <a:lnTo>
                      <a:pt x="124" y="54"/>
                    </a:lnTo>
                    <a:lnTo>
                      <a:pt x="122" y="56"/>
                    </a:lnTo>
                    <a:lnTo>
                      <a:pt x="123" y="56"/>
                    </a:lnTo>
                    <a:lnTo>
                      <a:pt x="124" y="57"/>
                    </a:lnTo>
                    <a:lnTo>
                      <a:pt x="123" y="62"/>
                    </a:lnTo>
                    <a:lnTo>
                      <a:pt x="122" y="63"/>
                    </a:lnTo>
                    <a:lnTo>
                      <a:pt x="121" y="63"/>
                    </a:lnTo>
                    <a:lnTo>
                      <a:pt x="120" y="63"/>
                    </a:lnTo>
                    <a:lnTo>
                      <a:pt x="117" y="67"/>
                    </a:lnTo>
                    <a:lnTo>
                      <a:pt x="110" y="73"/>
                    </a:lnTo>
                    <a:lnTo>
                      <a:pt x="110" y="68"/>
                    </a:lnTo>
                    <a:lnTo>
                      <a:pt x="109" y="66"/>
                    </a:lnTo>
                    <a:lnTo>
                      <a:pt x="107" y="63"/>
                    </a:lnTo>
                    <a:lnTo>
                      <a:pt x="104" y="62"/>
                    </a:lnTo>
                    <a:lnTo>
                      <a:pt x="105" y="61"/>
                    </a:lnTo>
                    <a:lnTo>
                      <a:pt x="102" y="61"/>
                    </a:lnTo>
                    <a:lnTo>
                      <a:pt x="101" y="60"/>
                    </a:lnTo>
                    <a:lnTo>
                      <a:pt x="101" y="61"/>
                    </a:lnTo>
                    <a:lnTo>
                      <a:pt x="99" y="60"/>
                    </a:lnTo>
                    <a:lnTo>
                      <a:pt x="100" y="62"/>
                    </a:lnTo>
                    <a:lnTo>
                      <a:pt x="99" y="63"/>
                    </a:lnTo>
                    <a:lnTo>
                      <a:pt x="99" y="61"/>
                    </a:lnTo>
                    <a:lnTo>
                      <a:pt x="95" y="61"/>
                    </a:lnTo>
                    <a:lnTo>
                      <a:pt x="96" y="59"/>
                    </a:lnTo>
                    <a:lnTo>
                      <a:pt x="94" y="57"/>
                    </a:lnTo>
                    <a:lnTo>
                      <a:pt x="93" y="57"/>
                    </a:lnTo>
                    <a:lnTo>
                      <a:pt x="89" y="55"/>
                    </a:lnTo>
                    <a:lnTo>
                      <a:pt x="89" y="59"/>
                    </a:lnTo>
                    <a:lnTo>
                      <a:pt x="88" y="58"/>
                    </a:lnTo>
                    <a:lnTo>
                      <a:pt x="85" y="58"/>
                    </a:lnTo>
                    <a:lnTo>
                      <a:pt x="85" y="57"/>
                    </a:lnTo>
                    <a:lnTo>
                      <a:pt x="85" y="54"/>
                    </a:lnTo>
                    <a:lnTo>
                      <a:pt x="86" y="50"/>
                    </a:lnTo>
                    <a:lnTo>
                      <a:pt x="88" y="47"/>
                    </a:lnTo>
                    <a:lnTo>
                      <a:pt x="87" y="47"/>
                    </a:lnTo>
                    <a:lnTo>
                      <a:pt x="85" y="43"/>
                    </a:lnTo>
                    <a:lnTo>
                      <a:pt x="85" y="44"/>
                    </a:lnTo>
                    <a:lnTo>
                      <a:pt x="83" y="44"/>
                    </a:lnTo>
                    <a:lnTo>
                      <a:pt x="83" y="45"/>
                    </a:lnTo>
                    <a:lnTo>
                      <a:pt x="80" y="45"/>
                    </a:lnTo>
                    <a:lnTo>
                      <a:pt x="80" y="48"/>
                    </a:lnTo>
                    <a:lnTo>
                      <a:pt x="78" y="49"/>
                    </a:lnTo>
                    <a:lnTo>
                      <a:pt x="79" y="49"/>
                    </a:lnTo>
                    <a:lnTo>
                      <a:pt x="78" y="50"/>
                    </a:lnTo>
                    <a:lnTo>
                      <a:pt x="77" y="50"/>
                    </a:lnTo>
                    <a:lnTo>
                      <a:pt x="76" y="51"/>
                    </a:lnTo>
                    <a:lnTo>
                      <a:pt x="76" y="53"/>
                    </a:lnTo>
                    <a:lnTo>
                      <a:pt x="74" y="53"/>
                    </a:lnTo>
                    <a:lnTo>
                      <a:pt x="74" y="56"/>
                    </a:lnTo>
                    <a:lnTo>
                      <a:pt x="73" y="56"/>
                    </a:lnTo>
                    <a:lnTo>
                      <a:pt x="73" y="57"/>
                    </a:lnTo>
                    <a:lnTo>
                      <a:pt x="73" y="60"/>
                    </a:lnTo>
                    <a:lnTo>
                      <a:pt x="74" y="63"/>
                    </a:lnTo>
                    <a:lnTo>
                      <a:pt x="75" y="65"/>
                    </a:lnTo>
                    <a:lnTo>
                      <a:pt x="74" y="67"/>
                    </a:lnTo>
                    <a:lnTo>
                      <a:pt x="77" y="68"/>
                    </a:lnTo>
                    <a:lnTo>
                      <a:pt x="77" y="69"/>
                    </a:lnTo>
                    <a:lnTo>
                      <a:pt x="77" y="73"/>
                    </a:lnTo>
                    <a:lnTo>
                      <a:pt x="77" y="76"/>
                    </a:lnTo>
                    <a:lnTo>
                      <a:pt x="75" y="76"/>
                    </a:lnTo>
                    <a:lnTo>
                      <a:pt x="74" y="76"/>
                    </a:lnTo>
                    <a:lnTo>
                      <a:pt x="73" y="76"/>
                    </a:lnTo>
                    <a:lnTo>
                      <a:pt x="71" y="79"/>
                    </a:lnTo>
                    <a:lnTo>
                      <a:pt x="69" y="78"/>
                    </a:lnTo>
                    <a:lnTo>
                      <a:pt x="69" y="80"/>
                    </a:lnTo>
                    <a:lnTo>
                      <a:pt x="67" y="80"/>
                    </a:lnTo>
                    <a:lnTo>
                      <a:pt x="66" y="79"/>
                    </a:lnTo>
                    <a:lnTo>
                      <a:pt x="65" y="86"/>
                    </a:lnTo>
                    <a:lnTo>
                      <a:pt x="64" y="86"/>
                    </a:lnTo>
                    <a:lnTo>
                      <a:pt x="63" y="87"/>
                    </a:lnTo>
                    <a:lnTo>
                      <a:pt x="62" y="87"/>
                    </a:lnTo>
                    <a:lnTo>
                      <a:pt x="63" y="88"/>
                    </a:lnTo>
                    <a:lnTo>
                      <a:pt x="61" y="88"/>
                    </a:lnTo>
                    <a:lnTo>
                      <a:pt x="61" y="90"/>
                    </a:lnTo>
                    <a:lnTo>
                      <a:pt x="59" y="91"/>
                    </a:lnTo>
                    <a:lnTo>
                      <a:pt x="58" y="92"/>
                    </a:lnTo>
                    <a:lnTo>
                      <a:pt x="59" y="93"/>
                    </a:lnTo>
                    <a:lnTo>
                      <a:pt x="58" y="93"/>
                    </a:lnTo>
                    <a:lnTo>
                      <a:pt x="55" y="95"/>
                    </a:lnTo>
                    <a:lnTo>
                      <a:pt x="53" y="95"/>
                    </a:lnTo>
                    <a:lnTo>
                      <a:pt x="53" y="96"/>
                    </a:lnTo>
                    <a:lnTo>
                      <a:pt x="50" y="93"/>
                    </a:lnTo>
                    <a:lnTo>
                      <a:pt x="49" y="93"/>
                    </a:lnTo>
                    <a:lnTo>
                      <a:pt x="49" y="91"/>
                    </a:lnTo>
                    <a:lnTo>
                      <a:pt x="48" y="93"/>
                    </a:lnTo>
                    <a:lnTo>
                      <a:pt x="46" y="94"/>
                    </a:lnTo>
                    <a:lnTo>
                      <a:pt x="45" y="95"/>
                    </a:lnTo>
                    <a:lnTo>
                      <a:pt x="42" y="93"/>
                    </a:lnTo>
                    <a:lnTo>
                      <a:pt x="41" y="93"/>
                    </a:lnTo>
                    <a:lnTo>
                      <a:pt x="39" y="94"/>
                    </a:lnTo>
                    <a:lnTo>
                      <a:pt x="37" y="94"/>
                    </a:lnTo>
                    <a:lnTo>
                      <a:pt x="37" y="96"/>
                    </a:lnTo>
                    <a:lnTo>
                      <a:pt x="36" y="97"/>
                    </a:lnTo>
                    <a:lnTo>
                      <a:pt x="33" y="95"/>
                    </a:lnTo>
                    <a:lnTo>
                      <a:pt x="33" y="92"/>
                    </a:lnTo>
                    <a:lnTo>
                      <a:pt x="32" y="92"/>
                    </a:lnTo>
                    <a:lnTo>
                      <a:pt x="30" y="93"/>
                    </a:lnTo>
                    <a:lnTo>
                      <a:pt x="32" y="95"/>
                    </a:lnTo>
                    <a:lnTo>
                      <a:pt x="30" y="96"/>
                    </a:lnTo>
                    <a:lnTo>
                      <a:pt x="29" y="96"/>
                    </a:lnTo>
                    <a:lnTo>
                      <a:pt x="27" y="97"/>
                    </a:lnTo>
                    <a:lnTo>
                      <a:pt x="27" y="100"/>
                    </a:lnTo>
                    <a:lnTo>
                      <a:pt x="27" y="103"/>
                    </a:lnTo>
                    <a:lnTo>
                      <a:pt x="25" y="105"/>
                    </a:lnTo>
                    <a:lnTo>
                      <a:pt x="25" y="104"/>
                    </a:lnTo>
                    <a:lnTo>
                      <a:pt x="25" y="105"/>
                    </a:lnTo>
                    <a:lnTo>
                      <a:pt x="24" y="104"/>
                    </a:lnTo>
                    <a:lnTo>
                      <a:pt x="23" y="103"/>
                    </a:lnTo>
                    <a:lnTo>
                      <a:pt x="22" y="102"/>
                    </a:lnTo>
                    <a:lnTo>
                      <a:pt x="21" y="101"/>
                    </a:lnTo>
                    <a:lnTo>
                      <a:pt x="19" y="104"/>
                    </a:lnTo>
                    <a:lnTo>
                      <a:pt x="18" y="108"/>
                    </a:lnTo>
                    <a:lnTo>
                      <a:pt x="16" y="109"/>
                    </a:lnTo>
                    <a:lnTo>
                      <a:pt x="15" y="111"/>
                    </a:lnTo>
                    <a:lnTo>
                      <a:pt x="12" y="112"/>
                    </a:lnTo>
                    <a:lnTo>
                      <a:pt x="12" y="115"/>
                    </a:lnTo>
                    <a:lnTo>
                      <a:pt x="14" y="116"/>
                    </a:lnTo>
                    <a:lnTo>
                      <a:pt x="14" y="118"/>
                    </a:lnTo>
                    <a:lnTo>
                      <a:pt x="16" y="120"/>
                    </a:lnTo>
                    <a:lnTo>
                      <a:pt x="16" y="124"/>
                    </a:lnTo>
                    <a:lnTo>
                      <a:pt x="12" y="128"/>
                    </a:lnTo>
                    <a:lnTo>
                      <a:pt x="14" y="131"/>
                    </a:lnTo>
                    <a:lnTo>
                      <a:pt x="16" y="134"/>
                    </a:lnTo>
                    <a:lnTo>
                      <a:pt x="16" y="138"/>
                    </a:lnTo>
                    <a:lnTo>
                      <a:pt x="17" y="139"/>
                    </a:lnTo>
                    <a:lnTo>
                      <a:pt x="18" y="140"/>
                    </a:lnTo>
                    <a:lnTo>
                      <a:pt x="19" y="140"/>
                    </a:lnTo>
                    <a:lnTo>
                      <a:pt x="19" y="142"/>
                    </a:lnTo>
                    <a:lnTo>
                      <a:pt x="17" y="144"/>
                    </a:lnTo>
                    <a:lnTo>
                      <a:pt x="16" y="143"/>
                    </a:lnTo>
                    <a:lnTo>
                      <a:pt x="16" y="146"/>
                    </a:lnTo>
                    <a:lnTo>
                      <a:pt x="14" y="148"/>
                    </a:lnTo>
                    <a:lnTo>
                      <a:pt x="16" y="150"/>
                    </a:lnTo>
                    <a:lnTo>
                      <a:pt x="16" y="148"/>
                    </a:lnTo>
                    <a:lnTo>
                      <a:pt x="20" y="148"/>
                    </a:lnTo>
                    <a:lnTo>
                      <a:pt x="22" y="148"/>
                    </a:lnTo>
                    <a:lnTo>
                      <a:pt x="23" y="150"/>
                    </a:lnTo>
                    <a:lnTo>
                      <a:pt x="25" y="149"/>
                    </a:lnTo>
                    <a:lnTo>
                      <a:pt x="27" y="145"/>
                    </a:lnTo>
                    <a:lnTo>
                      <a:pt x="28" y="145"/>
                    </a:lnTo>
                    <a:lnTo>
                      <a:pt x="29" y="148"/>
                    </a:lnTo>
                    <a:lnTo>
                      <a:pt x="27" y="152"/>
                    </a:lnTo>
                    <a:lnTo>
                      <a:pt x="27" y="154"/>
                    </a:lnTo>
                    <a:lnTo>
                      <a:pt x="27" y="155"/>
                    </a:lnTo>
                    <a:lnTo>
                      <a:pt x="27" y="156"/>
                    </a:lnTo>
                    <a:lnTo>
                      <a:pt x="25" y="157"/>
                    </a:lnTo>
                    <a:lnTo>
                      <a:pt x="23" y="166"/>
                    </a:lnTo>
                    <a:lnTo>
                      <a:pt x="21" y="165"/>
                    </a:lnTo>
                    <a:lnTo>
                      <a:pt x="20" y="166"/>
                    </a:lnTo>
                    <a:lnTo>
                      <a:pt x="19" y="165"/>
                    </a:lnTo>
                    <a:lnTo>
                      <a:pt x="19" y="167"/>
                    </a:lnTo>
                    <a:lnTo>
                      <a:pt x="18" y="168"/>
                    </a:lnTo>
                    <a:lnTo>
                      <a:pt x="17" y="168"/>
                    </a:lnTo>
                    <a:lnTo>
                      <a:pt x="16" y="167"/>
                    </a:lnTo>
                    <a:lnTo>
                      <a:pt x="14" y="167"/>
                    </a:lnTo>
                    <a:lnTo>
                      <a:pt x="12" y="167"/>
                    </a:lnTo>
                    <a:lnTo>
                      <a:pt x="11" y="171"/>
                    </a:lnTo>
                    <a:lnTo>
                      <a:pt x="9" y="177"/>
                    </a:lnTo>
                    <a:lnTo>
                      <a:pt x="9" y="180"/>
                    </a:lnTo>
                    <a:lnTo>
                      <a:pt x="7" y="181"/>
                    </a:lnTo>
                    <a:lnTo>
                      <a:pt x="6" y="181"/>
                    </a:lnTo>
                    <a:lnTo>
                      <a:pt x="1" y="180"/>
                    </a:lnTo>
                    <a:lnTo>
                      <a:pt x="1" y="187"/>
                    </a:lnTo>
                    <a:lnTo>
                      <a:pt x="2" y="186"/>
                    </a:lnTo>
                    <a:lnTo>
                      <a:pt x="3" y="188"/>
                    </a:lnTo>
                    <a:lnTo>
                      <a:pt x="2" y="191"/>
                    </a:lnTo>
                    <a:lnTo>
                      <a:pt x="0" y="192"/>
                    </a:lnTo>
                    <a:lnTo>
                      <a:pt x="6" y="194"/>
                    </a:lnTo>
                    <a:lnTo>
                      <a:pt x="8" y="193"/>
                    </a:lnTo>
                    <a:lnTo>
                      <a:pt x="9" y="195"/>
                    </a:lnTo>
                    <a:lnTo>
                      <a:pt x="11" y="192"/>
                    </a:lnTo>
                    <a:lnTo>
                      <a:pt x="12" y="192"/>
                    </a:lnTo>
                    <a:lnTo>
                      <a:pt x="13" y="191"/>
                    </a:lnTo>
                    <a:lnTo>
                      <a:pt x="14" y="192"/>
                    </a:lnTo>
                    <a:lnTo>
                      <a:pt x="16" y="191"/>
                    </a:lnTo>
                    <a:lnTo>
                      <a:pt x="20" y="191"/>
                    </a:lnTo>
                    <a:lnTo>
                      <a:pt x="25" y="188"/>
                    </a:lnTo>
                    <a:lnTo>
                      <a:pt x="28" y="189"/>
                    </a:lnTo>
                    <a:lnTo>
                      <a:pt x="29" y="189"/>
                    </a:lnTo>
                    <a:lnTo>
                      <a:pt x="29" y="196"/>
                    </a:lnTo>
                    <a:lnTo>
                      <a:pt x="31" y="197"/>
                    </a:lnTo>
                    <a:lnTo>
                      <a:pt x="32" y="198"/>
                    </a:lnTo>
                    <a:lnTo>
                      <a:pt x="32" y="200"/>
                    </a:lnTo>
                    <a:lnTo>
                      <a:pt x="32" y="202"/>
                    </a:lnTo>
                    <a:lnTo>
                      <a:pt x="32" y="206"/>
                    </a:lnTo>
                    <a:lnTo>
                      <a:pt x="31" y="208"/>
                    </a:lnTo>
                    <a:lnTo>
                      <a:pt x="29" y="210"/>
                    </a:lnTo>
                    <a:lnTo>
                      <a:pt x="29" y="211"/>
                    </a:lnTo>
                    <a:lnTo>
                      <a:pt x="28" y="214"/>
                    </a:lnTo>
                    <a:lnTo>
                      <a:pt x="27" y="215"/>
                    </a:lnTo>
                    <a:lnTo>
                      <a:pt x="28" y="216"/>
                    </a:lnTo>
                    <a:lnTo>
                      <a:pt x="29" y="215"/>
                    </a:lnTo>
                    <a:lnTo>
                      <a:pt x="30" y="213"/>
                    </a:lnTo>
                    <a:lnTo>
                      <a:pt x="37" y="214"/>
                    </a:lnTo>
                    <a:lnTo>
                      <a:pt x="37" y="218"/>
                    </a:lnTo>
                    <a:lnTo>
                      <a:pt x="39" y="217"/>
                    </a:lnTo>
                    <a:lnTo>
                      <a:pt x="41" y="218"/>
                    </a:lnTo>
                    <a:lnTo>
                      <a:pt x="42" y="220"/>
                    </a:lnTo>
                    <a:lnTo>
                      <a:pt x="43" y="221"/>
                    </a:lnTo>
                    <a:lnTo>
                      <a:pt x="42" y="227"/>
                    </a:lnTo>
                    <a:lnTo>
                      <a:pt x="44" y="227"/>
                    </a:lnTo>
                    <a:lnTo>
                      <a:pt x="45" y="225"/>
                    </a:lnTo>
                    <a:lnTo>
                      <a:pt x="47" y="227"/>
                    </a:lnTo>
                    <a:lnTo>
                      <a:pt x="47" y="226"/>
                    </a:lnTo>
                    <a:lnTo>
                      <a:pt x="49" y="227"/>
                    </a:lnTo>
                    <a:lnTo>
                      <a:pt x="50" y="226"/>
                    </a:lnTo>
                    <a:lnTo>
                      <a:pt x="52" y="227"/>
                    </a:lnTo>
                    <a:lnTo>
                      <a:pt x="52" y="229"/>
                    </a:lnTo>
                    <a:lnTo>
                      <a:pt x="55" y="229"/>
                    </a:lnTo>
                    <a:lnTo>
                      <a:pt x="56" y="229"/>
                    </a:lnTo>
                    <a:lnTo>
                      <a:pt x="59" y="228"/>
                    </a:lnTo>
                    <a:lnTo>
                      <a:pt x="61" y="230"/>
                    </a:lnTo>
                    <a:lnTo>
                      <a:pt x="60" y="231"/>
                    </a:lnTo>
                    <a:lnTo>
                      <a:pt x="63" y="233"/>
                    </a:lnTo>
                    <a:lnTo>
                      <a:pt x="63" y="232"/>
                    </a:lnTo>
                    <a:lnTo>
                      <a:pt x="65" y="234"/>
                    </a:lnTo>
                    <a:lnTo>
                      <a:pt x="64" y="237"/>
                    </a:lnTo>
                    <a:lnTo>
                      <a:pt x="65" y="238"/>
                    </a:lnTo>
                    <a:lnTo>
                      <a:pt x="64" y="240"/>
                    </a:lnTo>
                    <a:lnTo>
                      <a:pt x="64" y="241"/>
                    </a:lnTo>
                    <a:lnTo>
                      <a:pt x="62" y="243"/>
                    </a:lnTo>
                    <a:lnTo>
                      <a:pt x="63" y="244"/>
                    </a:lnTo>
                    <a:lnTo>
                      <a:pt x="62" y="245"/>
                    </a:lnTo>
                    <a:lnTo>
                      <a:pt x="62" y="246"/>
                    </a:lnTo>
                    <a:lnTo>
                      <a:pt x="63" y="246"/>
                    </a:lnTo>
                    <a:lnTo>
                      <a:pt x="65" y="248"/>
                    </a:lnTo>
                    <a:lnTo>
                      <a:pt x="66" y="247"/>
                    </a:lnTo>
                    <a:lnTo>
                      <a:pt x="67" y="248"/>
                    </a:lnTo>
                    <a:lnTo>
                      <a:pt x="68" y="247"/>
                    </a:lnTo>
                    <a:lnTo>
                      <a:pt x="68" y="249"/>
                    </a:lnTo>
                    <a:lnTo>
                      <a:pt x="69" y="246"/>
                    </a:lnTo>
                    <a:lnTo>
                      <a:pt x="74" y="246"/>
                    </a:lnTo>
                    <a:lnTo>
                      <a:pt x="74" y="250"/>
                    </a:lnTo>
                    <a:lnTo>
                      <a:pt x="76" y="252"/>
                    </a:lnTo>
                    <a:lnTo>
                      <a:pt x="80" y="257"/>
                    </a:lnTo>
                    <a:lnTo>
                      <a:pt x="83" y="261"/>
                    </a:lnTo>
                    <a:lnTo>
                      <a:pt x="88" y="258"/>
                    </a:lnTo>
                    <a:lnTo>
                      <a:pt x="89" y="259"/>
                    </a:lnTo>
                    <a:lnTo>
                      <a:pt x="90" y="257"/>
                    </a:lnTo>
                    <a:lnTo>
                      <a:pt x="91" y="258"/>
                    </a:lnTo>
                    <a:lnTo>
                      <a:pt x="93" y="257"/>
                    </a:lnTo>
                    <a:lnTo>
                      <a:pt x="94" y="257"/>
                    </a:lnTo>
                    <a:lnTo>
                      <a:pt x="96" y="260"/>
                    </a:lnTo>
                    <a:lnTo>
                      <a:pt x="102" y="259"/>
                    </a:lnTo>
                    <a:lnTo>
                      <a:pt x="102" y="255"/>
                    </a:lnTo>
                    <a:lnTo>
                      <a:pt x="104" y="261"/>
                    </a:lnTo>
                    <a:lnTo>
                      <a:pt x="104" y="262"/>
                    </a:lnTo>
                    <a:lnTo>
                      <a:pt x="108" y="261"/>
                    </a:lnTo>
                    <a:lnTo>
                      <a:pt x="113" y="265"/>
                    </a:lnTo>
                    <a:lnTo>
                      <a:pt x="116" y="268"/>
                    </a:lnTo>
                    <a:lnTo>
                      <a:pt x="115" y="269"/>
                    </a:lnTo>
                    <a:lnTo>
                      <a:pt x="115" y="271"/>
                    </a:lnTo>
                    <a:lnTo>
                      <a:pt x="111" y="278"/>
                    </a:lnTo>
                    <a:lnTo>
                      <a:pt x="114" y="280"/>
                    </a:lnTo>
                    <a:lnTo>
                      <a:pt x="116" y="278"/>
                    </a:lnTo>
                    <a:lnTo>
                      <a:pt x="118" y="278"/>
                    </a:lnTo>
                    <a:lnTo>
                      <a:pt x="124" y="285"/>
                    </a:lnTo>
                    <a:lnTo>
                      <a:pt x="128" y="285"/>
                    </a:lnTo>
                    <a:lnTo>
                      <a:pt x="132" y="294"/>
                    </a:lnTo>
                    <a:lnTo>
                      <a:pt x="134" y="299"/>
                    </a:lnTo>
                    <a:lnTo>
                      <a:pt x="133" y="300"/>
                    </a:lnTo>
                    <a:lnTo>
                      <a:pt x="134" y="302"/>
                    </a:lnTo>
                    <a:lnTo>
                      <a:pt x="137" y="301"/>
                    </a:lnTo>
                    <a:lnTo>
                      <a:pt x="136" y="302"/>
                    </a:lnTo>
                    <a:lnTo>
                      <a:pt x="137" y="303"/>
                    </a:lnTo>
                    <a:lnTo>
                      <a:pt x="136" y="303"/>
                    </a:lnTo>
                    <a:lnTo>
                      <a:pt x="136" y="305"/>
                    </a:lnTo>
                    <a:lnTo>
                      <a:pt x="138" y="313"/>
                    </a:lnTo>
                    <a:lnTo>
                      <a:pt x="141" y="312"/>
                    </a:lnTo>
                    <a:lnTo>
                      <a:pt x="143" y="313"/>
                    </a:lnTo>
                    <a:lnTo>
                      <a:pt x="146" y="312"/>
                    </a:lnTo>
                    <a:lnTo>
                      <a:pt x="147" y="312"/>
                    </a:lnTo>
                    <a:lnTo>
                      <a:pt x="149" y="310"/>
                    </a:lnTo>
                    <a:lnTo>
                      <a:pt x="150" y="310"/>
                    </a:lnTo>
                    <a:lnTo>
                      <a:pt x="155" y="312"/>
                    </a:lnTo>
                    <a:lnTo>
                      <a:pt x="158" y="309"/>
                    </a:lnTo>
                    <a:lnTo>
                      <a:pt x="159" y="306"/>
                    </a:lnTo>
                    <a:lnTo>
                      <a:pt x="163" y="303"/>
                    </a:lnTo>
                    <a:lnTo>
                      <a:pt x="165" y="301"/>
                    </a:lnTo>
                    <a:lnTo>
                      <a:pt x="166" y="300"/>
                    </a:lnTo>
                    <a:lnTo>
                      <a:pt x="168" y="299"/>
                    </a:lnTo>
                    <a:lnTo>
                      <a:pt x="168" y="297"/>
                    </a:lnTo>
                    <a:lnTo>
                      <a:pt x="170" y="293"/>
                    </a:lnTo>
                    <a:lnTo>
                      <a:pt x="175" y="289"/>
                    </a:lnTo>
                    <a:lnTo>
                      <a:pt x="176" y="289"/>
                    </a:lnTo>
                    <a:lnTo>
                      <a:pt x="178" y="288"/>
                    </a:lnTo>
                    <a:lnTo>
                      <a:pt x="178" y="283"/>
                    </a:lnTo>
                    <a:lnTo>
                      <a:pt x="187" y="284"/>
                    </a:lnTo>
                    <a:lnTo>
                      <a:pt x="188" y="284"/>
                    </a:lnTo>
                    <a:lnTo>
                      <a:pt x="189" y="283"/>
                    </a:lnTo>
                    <a:lnTo>
                      <a:pt x="195" y="284"/>
                    </a:lnTo>
                    <a:lnTo>
                      <a:pt x="198" y="284"/>
                    </a:lnTo>
                    <a:lnTo>
                      <a:pt x="203" y="287"/>
                    </a:lnTo>
                    <a:lnTo>
                      <a:pt x="208" y="285"/>
                    </a:lnTo>
                    <a:lnTo>
                      <a:pt x="208" y="281"/>
                    </a:lnTo>
                    <a:lnTo>
                      <a:pt x="211" y="274"/>
                    </a:lnTo>
                    <a:lnTo>
                      <a:pt x="212" y="271"/>
                    </a:lnTo>
                    <a:lnTo>
                      <a:pt x="213" y="270"/>
                    </a:lnTo>
                    <a:lnTo>
                      <a:pt x="212" y="266"/>
                    </a:lnTo>
                    <a:lnTo>
                      <a:pt x="213" y="263"/>
                    </a:lnTo>
                    <a:lnTo>
                      <a:pt x="215" y="259"/>
                    </a:lnTo>
                    <a:lnTo>
                      <a:pt x="217" y="257"/>
                    </a:lnTo>
                    <a:lnTo>
                      <a:pt x="218" y="253"/>
                    </a:lnTo>
                    <a:lnTo>
                      <a:pt x="217" y="249"/>
                    </a:lnTo>
                    <a:lnTo>
                      <a:pt x="218" y="247"/>
                    </a:lnTo>
                    <a:lnTo>
                      <a:pt x="220" y="246"/>
                    </a:lnTo>
                    <a:lnTo>
                      <a:pt x="221" y="244"/>
                    </a:lnTo>
                    <a:lnTo>
                      <a:pt x="224" y="242"/>
                    </a:lnTo>
                    <a:lnTo>
                      <a:pt x="228" y="242"/>
                    </a:lnTo>
                    <a:lnTo>
                      <a:pt x="229" y="242"/>
                    </a:lnTo>
                    <a:lnTo>
                      <a:pt x="236" y="244"/>
                    </a:lnTo>
                    <a:lnTo>
                      <a:pt x="237" y="242"/>
                    </a:lnTo>
                    <a:lnTo>
                      <a:pt x="239" y="241"/>
                    </a:lnTo>
                    <a:lnTo>
                      <a:pt x="241" y="241"/>
                    </a:lnTo>
                    <a:lnTo>
                      <a:pt x="244" y="244"/>
                    </a:lnTo>
                    <a:lnTo>
                      <a:pt x="248" y="245"/>
                    </a:lnTo>
                    <a:lnTo>
                      <a:pt x="250" y="245"/>
                    </a:lnTo>
                    <a:lnTo>
                      <a:pt x="251" y="242"/>
                    </a:lnTo>
                    <a:lnTo>
                      <a:pt x="254" y="242"/>
                    </a:lnTo>
                    <a:lnTo>
                      <a:pt x="261" y="239"/>
                    </a:lnTo>
                    <a:lnTo>
                      <a:pt x="263" y="237"/>
                    </a:lnTo>
                    <a:lnTo>
                      <a:pt x="266" y="234"/>
                    </a:lnTo>
                    <a:lnTo>
                      <a:pt x="266" y="232"/>
                    </a:lnTo>
                    <a:lnTo>
                      <a:pt x="270" y="229"/>
                    </a:lnTo>
                    <a:lnTo>
                      <a:pt x="269" y="228"/>
                    </a:lnTo>
                    <a:lnTo>
                      <a:pt x="270" y="226"/>
                    </a:lnTo>
                    <a:lnTo>
                      <a:pt x="274" y="219"/>
                    </a:lnTo>
                    <a:lnTo>
                      <a:pt x="277" y="215"/>
                    </a:lnTo>
                    <a:lnTo>
                      <a:pt x="277" y="204"/>
                    </a:lnTo>
                    <a:lnTo>
                      <a:pt x="278" y="202"/>
                    </a:lnTo>
                    <a:lnTo>
                      <a:pt x="279" y="202"/>
                    </a:lnTo>
                    <a:lnTo>
                      <a:pt x="280" y="202"/>
                    </a:lnTo>
                    <a:lnTo>
                      <a:pt x="279" y="199"/>
                    </a:lnTo>
                    <a:lnTo>
                      <a:pt x="277" y="197"/>
                    </a:lnTo>
                    <a:lnTo>
                      <a:pt x="277" y="194"/>
                    </a:lnTo>
                    <a:lnTo>
                      <a:pt x="278" y="191"/>
                    </a:lnTo>
                    <a:lnTo>
                      <a:pt x="280" y="190"/>
                    </a:lnTo>
                    <a:lnTo>
                      <a:pt x="280" y="187"/>
                    </a:lnTo>
                    <a:lnTo>
                      <a:pt x="280" y="186"/>
                    </a:lnTo>
                    <a:lnTo>
                      <a:pt x="286" y="183"/>
                    </a:lnTo>
                    <a:lnTo>
                      <a:pt x="284" y="179"/>
                    </a:lnTo>
                    <a:lnTo>
                      <a:pt x="285" y="169"/>
                    </a:lnTo>
                    <a:lnTo>
                      <a:pt x="288" y="167"/>
                    </a:lnTo>
                    <a:lnTo>
                      <a:pt x="289" y="163"/>
                    </a:lnTo>
                    <a:lnTo>
                      <a:pt x="290" y="163"/>
                    </a:lnTo>
                    <a:lnTo>
                      <a:pt x="290" y="157"/>
                    </a:lnTo>
                    <a:lnTo>
                      <a:pt x="292" y="157"/>
                    </a:lnTo>
                    <a:lnTo>
                      <a:pt x="292" y="155"/>
                    </a:lnTo>
                    <a:lnTo>
                      <a:pt x="293" y="151"/>
                    </a:lnTo>
                    <a:lnTo>
                      <a:pt x="290" y="151"/>
                    </a:lnTo>
                    <a:lnTo>
                      <a:pt x="291" y="147"/>
                    </a:lnTo>
                    <a:lnTo>
                      <a:pt x="291" y="142"/>
                    </a:lnTo>
                    <a:lnTo>
                      <a:pt x="296" y="140"/>
                    </a:lnTo>
                    <a:lnTo>
                      <a:pt x="296" y="137"/>
                    </a:lnTo>
                    <a:lnTo>
                      <a:pt x="302" y="133"/>
                    </a:lnTo>
                    <a:lnTo>
                      <a:pt x="303" y="128"/>
                    </a:lnTo>
                    <a:lnTo>
                      <a:pt x="303" y="125"/>
                    </a:lnTo>
                    <a:lnTo>
                      <a:pt x="305" y="124"/>
                    </a:lnTo>
                    <a:lnTo>
                      <a:pt x="306" y="124"/>
                    </a:lnTo>
                    <a:lnTo>
                      <a:pt x="308" y="123"/>
                    </a:lnTo>
                    <a:lnTo>
                      <a:pt x="310" y="124"/>
                    </a:lnTo>
                    <a:lnTo>
                      <a:pt x="311" y="122"/>
                    </a:lnTo>
                    <a:lnTo>
                      <a:pt x="312" y="123"/>
                    </a:lnTo>
                    <a:lnTo>
                      <a:pt x="313" y="121"/>
                    </a:lnTo>
                    <a:lnTo>
                      <a:pt x="320" y="123"/>
                    </a:lnTo>
                    <a:lnTo>
                      <a:pt x="322" y="122"/>
                    </a:lnTo>
                    <a:lnTo>
                      <a:pt x="326" y="121"/>
                    </a:lnTo>
                    <a:lnTo>
                      <a:pt x="327" y="120"/>
                    </a:lnTo>
                    <a:lnTo>
                      <a:pt x="330" y="120"/>
                    </a:lnTo>
                    <a:lnTo>
                      <a:pt x="335" y="120"/>
                    </a:lnTo>
                    <a:lnTo>
                      <a:pt x="336" y="119"/>
                    </a:lnTo>
                    <a:lnTo>
                      <a:pt x="336" y="118"/>
                    </a:lnTo>
                    <a:lnTo>
                      <a:pt x="341" y="116"/>
                    </a:lnTo>
                    <a:lnTo>
                      <a:pt x="344" y="114"/>
                    </a:lnTo>
                    <a:lnTo>
                      <a:pt x="345" y="114"/>
                    </a:lnTo>
                    <a:lnTo>
                      <a:pt x="353" y="113"/>
                    </a:lnTo>
                    <a:lnTo>
                      <a:pt x="358" y="110"/>
                    </a:lnTo>
                    <a:lnTo>
                      <a:pt x="362" y="103"/>
                    </a:lnTo>
                    <a:lnTo>
                      <a:pt x="363" y="102"/>
                    </a:lnTo>
                    <a:lnTo>
                      <a:pt x="366" y="102"/>
                    </a:lnTo>
                    <a:lnTo>
                      <a:pt x="365" y="98"/>
                    </a:lnTo>
                    <a:lnTo>
                      <a:pt x="368" y="97"/>
                    </a:lnTo>
                    <a:lnTo>
                      <a:pt x="370" y="93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41" name="Group 119">
              <a:extLst>
                <a:ext uri="{FF2B5EF4-FFF2-40B4-BE49-F238E27FC236}">
                  <a16:creationId xmlns:a16="http://schemas.microsoft.com/office/drawing/2014/main" id="{FE13E242-F373-E5C8-C84A-6D509A519EB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63" y="3367"/>
              <a:ext cx="572" cy="484"/>
              <a:chOff x="763" y="3367"/>
              <a:chExt cx="572" cy="484"/>
            </a:xfrm>
          </p:grpSpPr>
          <p:sp>
            <p:nvSpPr>
              <p:cNvPr id="148" name="Freeform 117">
                <a:extLst>
                  <a:ext uri="{FF2B5EF4-FFF2-40B4-BE49-F238E27FC236}">
                    <a16:creationId xmlns:a16="http://schemas.microsoft.com/office/drawing/2014/main" id="{30F31A59-03A4-98E7-3499-C6CE734A4F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3" y="3367"/>
                <a:ext cx="572" cy="484"/>
              </a:xfrm>
              <a:custGeom>
                <a:avLst/>
                <a:gdLst>
                  <a:gd name="T0" fmla="*/ 557 w 572"/>
                  <a:gd name="T1" fmla="*/ 259 h 484"/>
                  <a:gd name="T2" fmla="*/ 527 w 572"/>
                  <a:gd name="T3" fmla="*/ 257 h 484"/>
                  <a:gd name="T4" fmla="*/ 507 w 572"/>
                  <a:gd name="T5" fmla="*/ 242 h 484"/>
                  <a:gd name="T6" fmla="*/ 497 w 572"/>
                  <a:gd name="T7" fmla="*/ 214 h 484"/>
                  <a:gd name="T8" fmla="*/ 467 w 572"/>
                  <a:gd name="T9" fmla="*/ 200 h 484"/>
                  <a:gd name="T10" fmla="*/ 443 w 572"/>
                  <a:gd name="T11" fmla="*/ 189 h 484"/>
                  <a:gd name="T12" fmla="*/ 418 w 572"/>
                  <a:gd name="T13" fmla="*/ 168 h 484"/>
                  <a:gd name="T14" fmla="*/ 395 w 572"/>
                  <a:gd name="T15" fmla="*/ 140 h 484"/>
                  <a:gd name="T16" fmla="*/ 394 w 572"/>
                  <a:gd name="T17" fmla="*/ 113 h 484"/>
                  <a:gd name="T18" fmla="*/ 407 w 572"/>
                  <a:gd name="T19" fmla="*/ 79 h 484"/>
                  <a:gd name="T20" fmla="*/ 410 w 572"/>
                  <a:gd name="T21" fmla="*/ 54 h 484"/>
                  <a:gd name="T22" fmla="*/ 401 w 572"/>
                  <a:gd name="T23" fmla="*/ 32 h 484"/>
                  <a:gd name="T24" fmla="*/ 391 w 572"/>
                  <a:gd name="T25" fmla="*/ 24 h 484"/>
                  <a:gd name="T26" fmla="*/ 365 w 572"/>
                  <a:gd name="T27" fmla="*/ 14 h 484"/>
                  <a:gd name="T28" fmla="*/ 360 w 572"/>
                  <a:gd name="T29" fmla="*/ 29 h 484"/>
                  <a:gd name="T30" fmla="*/ 344 w 572"/>
                  <a:gd name="T31" fmla="*/ 39 h 484"/>
                  <a:gd name="T32" fmla="*/ 315 w 572"/>
                  <a:gd name="T33" fmla="*/ 39 h 484"/>
                  <a:gd name="T34" fmla="*/ 308 w 572"/>
                  <a:gd name="T35" fmla="*/ 34 h 484"/>
                  <a:gd name="T36" fmla="*/ 288 w 572"/>
                  <a:gd name="T37" fmla="*/ 31 h 484"/>
                  <a:gd name="T38" fmla="*/ 271 w 572"/>
                  <a:gd name="T39" fmla="*/ 22 h 484"/>
                  <a:gd name="T40" fmla="*/ 262 w 572"/>
                  <a:gd name="T41" fmla="*/ 26 h 484"/>
                  <a:gd name="T42" fmla="*/ 250 w 572"/>
                  <a:gd name="T43" fmla="*/ 21 h 484"/>
                  <a:gd name="T44" fmla="*/ 225 w 572"/>
                  <a:gd name="T45" fmla="*/ 6 h 484"/>
                  <a:gd name="T46" fmla="*/ 205 w 572"/>
                  <a:gd name="T47" fmla="*/ 17 h 484"/>
                  <a:gd name="T48" fmla="*/ 179 w 572"/>
                  <a:gd name="T49" fmla="*/ 16 h 484"/>
                  <a:gd name="T50" fmla="*/ 163 w 572"/>
                  <a:gd name="T51" fmla="*/ 6 h 484"/>
                  <a:gd name="T52" fmla="*/ 154 w 572"/>
                  <a:gd name="T53" fmla="*/ 16 h 484"/>
                  <a:gd name="T54" fmla="*/ 131 w 572"/>
                  <a:gd name="T55" fmla="*/ 15 h 484"/>
                  <a:gd name="T56" fmla="*/ 113 w 572"/>
                  <a:gd name="T57" fmla="*/ 10 h 484"/>
                  <a:gd name="T58" fmla="*/ 90 w 572"/>
                  <a:gd name="T59" fmla="*/ 17 h 484"/>
                  <a:gd name="T60" fmla="*/ 91 w 572"/>
                  <a:gd name="T61" fmla="*/ 32 h 484"/>
                  <a:gd name="T62" fmla="*/ 92 w 572"/>
                  <a:gd name="T63" fmla="*/ 49 h 484"/>
                  <a:gd name="T64" fmla="*/ 89 w 572"/>
                  <a:gd name="T65" fmla="*/ 74 h 484"/>
                  <a:gd name="T66" fmla="*/ 84 w 572"/>
                  <a:gd name="T67" fmla="*/ 98 h 484"/>
                  <a:gd name="T68" fmla="*/ 62 w 572"/>
                  <a:gd name="T69" fmla="*/ 116 h 484"/>
                  <a:gd name="T70" fmla="*/ 58 w 572"/>
                  <a:gd name="T71" fmla="*/ 138 h 484"/>
                  <a:gd name="T72" fmla="*/ 52 w 572"/>
                  <a:gd name="T73" fmla="*/ 168 h 484"/>
                  <a:gd name="T74" fmla="*/ 34 w 572"/>
                  <a:gd name="T75" fmla="*/ 177 h 484"/>
                  <a:gd name="T76" fmla="*/ 20 w 572"/>
                  <a:gd name="T77" fmla="*/ 196 h 484"/>
                  <a:gd name="T78" fmla="*/ 0 w 572"/>
                  <a:gd name="T79" fmla="*/ 245 h 484"/>
                  <a:gd name="T80" fmla="*/ 24 w 572"/>
                  <a:gd name="T81" fmla="*/ 282 h 484"/>
                  <a:gd name="T82" fmla="*/ 57 w 572"/>
                  <a:gd name="T83" fmla="*/ 328 h 484"/>
                  <a:gd name="T84" fmla="*/ 97 w 572"/>
                  <a:gd name="T85" fmla="*/ 386 h 484"/>
                  <a:gd name="T86" fmla="*/ 125 w 572"/>
                  <a:gd name="T87" fmla="*/ 414 h 484"/>
                  <a:gd name="T88" fmla="*/ 119 w 572"/>
                  <a:gd name="T89" fmla="*/ 447 h 484"/>
                  <a:gd name="T90" fmla="*/ 155 w 572"/>
                  <a:gd name="T91" fmla="*/ 457 h 484"/>
                  <a:gd name="T92" fmla="*/ 208 w 572"/>
                  <a:gd name="T93" fmla="*/ 477 h 484"/>
                  <a:gd name="T94" fmla="*/ 229 w 572"/>
                  <a:gd name="T95" fmla="*/ 444 h 484"/>
                  <a:gd name="T96" fmla="*/ 260 w 572"/>
                  <a:gd name="T97" fmla="*/ 468 h 484"/>
                  <a:gd name="T98" fmla="*/ 299 w 572"/>
                  <a:gd name="T99" fmla="*/ 482 h 484"/>
                  <a:gd name="T100" fmla="*/ 332 w 572"/>
                  <a:gd name="T101" fmla="*/ 418 h 484"/>
                  <a:gd name="T102" fmla="*/ 356 w 572"/>
                  <a:gd name="T103" fmla="*/ 399 h 484"/>
                  <a:gd name="T104" fmla="*/ 379 w 572"/>
                  <a:gd name="T105" fmla="*/ 397 h 484"/>
                  <a:gd name="T106" fmla="*/ 395 w 572"/>
                  <a:gd name="T107" fmla="*/ 340 h 484"/>
                  <a:gd name="T108" fmla="*/ 403 w 572"/>
                  <a:gd name="T109" fmla="*/ 295 h 484"/>
                  <a:gd name="T110" fmla="*/ 444 w 572"/>
                  <a:gd name="T111" fmla="*/ 311 h 484"/>
                  <a:gd name="T112" fmla="*/ 462 w 572"/>
                  <a:gd name="T113" fmla="*/ 329 h 484"/>
                  <a:gd name="T114" fmla="*/ 497 w 572"/>
                  <a:gd name="T115" fmla="*/ 322 h 484"/>
                  <a:gd name="T116" fmla="*/ 550 w 572"/>
                  <a:gd name="T117" fmla="*/ 358 h 484"/>
                  <a:gd name="T118" fmla="*/ 560 w 572"/>
                  <a:gd name="T119" fmla="*/ 348 h 484"/>
                  <a:gd name="T120" fmla="*/ 535 w 572"/>
                  <a:gd name="T121" fmla="*/ 322 h 484"/>
                  <a:gd name="T122" fmla="*/ 556 w 572"/>
                  <a:gd name="T123" fmla="*/ 299 h 484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72"/>
                  <a:gd name="T187" fmla="*/ 0 h 484"/>
                  <a:gd name="T188" fmla="*/ 572 w 572"/>
                  <a:gd name="T189" fmla="*/ 484 h 484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72" h="484">
                    <a:moveTo>
                      <a:pt x="572" y="284"/>
                    </a:moveTo>
                    <a:lnTo>
                      <a:pt x="567" y="277"/>
                    </a:lnTo>
                    <a:lnTo>
                      <a:pt x="568" y="276"/>
                    </a:lnTo>
                    <a:lnTo>
                      <a:pt x="570" y="276"/>
                    </a:lnTo>
                    <a:lnTo>
                      <a:pt x="570" y="274"/>
                    </a:lnTo>
                    <a:lnTo>
                      <a:pt x="567" y="273"/>
                    </a:lnTo>
                    <a:lnTo>
                      <a:pt x="565" y="274"/>
                    </a:lnTo>
                    <a:lnTo>
                      <a:pt x="566" y="274"/>
                    </a:lnTo>
                    <a:lnTo>
                      <a:pt x="565" y="275"/>
                    </a:lnTo>
                    <a:lnTo>
                      <a:pt x="562" y="271"/>
                    </a:lnTo>
                    <a:lnTo>
                      <a:pt x="561" y="269"/>
                    </a:lnTo>
                    <a:lnTo>
                      <a:pt x="562" y="268"/>
                    </a:lnTo>
                    <a:lnTo>
                      <a:pt x="565" y="268"/>
                    </a:lnTo>
                    <a:lnTo>
                      <a:pt x="565" y="269"/>
                    </a:lnTo>
                    <a:lnTo>
                      <a:pt x="565" y="267"/>
                    </a:lnTo>
                    <a:lnTo>
                      <a:pt x="565" y="263"/>
                    </a:lnTo>
                    <a:lnTo>
                      <a:pt x="562" y="261"/>
                    </a:lnTo>
                    <a:lnTo>
                      <a:pt x="561" y="264"/>
                    </a:lnTo>
                    <a:lnTo>
                      <a:pt x="562" y="261"/>
                    </a:lnTo>
                    <a:lnTo>
                      <a:pt x="559" y="259"/>
                    </a:lnTo>
                    <a:lnTo>
                      <a:pt x="558" y="259"/>
                    </a:lnTo>
                    <a:lnTo>
                      <a:pt x="557" y="259"/>
                    </a:lnTo>
                    <a:lnTo>
                      <a:pt x="556" y="261"/>
                    </a:lnTo>
                    <a:lnTo>
                      <a:pt x="557" y="263"/>
                    </a:lnTo>
                    <a:lnTo>
                      <a:pt x="556" y="264"/>
                    </a:lnTo>
                    <a:lnTo>
                      <a:pt x="554" y="264"/>
                    </a:lnTo>
                    <a:lnTo>
                      <a:pt x="554" y="263"/>
                    </a:lnTo>
                    <a:lnTo>
                      <a:pt x="553" y="261"/>
                    </a:lnTo>
                    <a:lnTo>
                      <a:pt x="550" y="260"/>
                    </a:lnTo>
                    <a:lnTo>
                      <a:pt x="549" y="261"/>
                    </a:lnTo>
                    <a:lnTo>
                      <a:pt x="546" y="265"/>
                    </a:lnTo>
                    <a:lnTo>
                      <a:pt x="544" y="264"/>
                    </a:lnTo>
                    <a:lnTo>
                      <a:pt x="542" y="264"/>
                    </a:lnTo>
                    <a:lnTo>
                      <a:pt x="537" y="262"/>
                    </a:lnTo>
                    <a:lnTo>
                      <a:pt x="537" y="264"/>
                    </a:lnTo>
                    <a:lnTo>
                      <a:pt x="536" y="263"/>
                    </a:lnTo>
                    <a:lnTo>
                      <a:pt x="535" y="264"/>
                    </a:lnTo>
                    <a:lnTo>
                      <a:pt x="535" y="262"/>
                    </a:lnTo>
                    <a:lnTo>
                      <a:pt x="534" y="262"/>
                    </a:lnTo>
                    <a:lnTo>
                      <a:pt x="532" y="257"/>
                    </a:lnTo>
                    <a:lnTo>
                      <a:pt x="531" y="256"/>
                    </a:lnTo>
                    <a:lnTo>
                      <a:pt x="529" y="256"/>
                    </a:lnTo>
                    <a:lnTo>
                      <a:pt x="528" y="257"/>
                    </a:lnTo>
                    <a:lnTo>
                      <a:pt x="527" y="257"/>
                    </a:lnTo>
                    <a:lnTo>
                      <a:pt x="526" y="261"/>
                    </a:lnTo>
                    <a:lnTo>
                      <a:pt x="524" y="263"/>
                    </a:lnTo>
                    <a:lnTo>
                      <a:pt x="524" y="262"/>
                    </a:lnTo>
                    <a:lnTo>
                      <a:pt x="524" y="259"/>
                    </a:lnTo>
                    <a:lnTo>
                      <a:pt x="521" y="257"/>
                    </a:lnTo>
                    <a:lnTo>
                      <a:pt x="520" y="255"/>
                    </a:lnTo>
                    <a:lnTo>
                      <a:pt x="518" y="254"/>
                    </a:lnTo>
                    <a:lnTo>
                      <a:pt x="517" y="254"/>
                    </a:lnTo>
                    <a:lnTo>
                      <a:pt x="516" y="254"/>
                    </a:lnTo>
                    <a:lnTo>
                      <a:pt x="513" y="251"/>
                    </a:lnTo>
                    <a:lnTo>
                      <a:pt x="514" y="250"/>
                    </a:lnTo>
                    <a:lnTo>
                      <a:pt x="513" y="247"/>
                    </a:lnTo>
                    <a:lnTo>
                      <a:pt x="512" y="245"/>
                    </a:lnTo>
                    <a:lnTo>
                      <a:pt x="511" y="246"/>
                    </a:lnTo>
                    <a:lnTo>
                      <a:pt x="509" y="244"/>
                    </a:lnTo>
                    <a:lnTo>
                      <a:pt x="510" y="242"/>
                    </a:lnTo>
                    <a:lnTo>
                      <a:pt x="509" y="242"/>
                    </a:lnTo>
                    <a:lnTo>
                      <a:pt x="508" y="242"/>
                    </a:lnTo>
                    <a:lnTo>
                      <a:pt x="508" y="244"/>
                    </a:lnTo>
                    <a:lnTo>
                      <a:pt x="507" y="244"/>
                    </a:lnTo>
                    <a:lnTo>
                      <a:pt x="507" y="242"/>
                    </a:lnTo>
                    <a:lnTo>
                      <a:pt x="506" y="239"/>
                    </a:lnTo>
                    <a:lnTo>
                      <a:pt x="506" y="237"/>
                    </a:lnTo>
                    <a:lnTo>
                      <a:pt x="504" y="237"/>
                    </a:lnTo>
                    <a:lnTo>
                      <a:pt x="503" y="237"/>
                    </a:lnTo>
                    <a:lnTo>
                      <a:pt x="505" y="234"/>
                    </a:lnTo>
                    <a:lnTo>
                      <a:pt x="505" y="231"/>
                    </a:lnTo>
                    <a:lnTo>
                      <a:pt x="507" y="229"/>
                    </a:lnTo>
                    <a:lnTo>
                      <a:pt x="507" y="227"/>
                    </a:lnTo>
                    <a:lnTo>
                      <a:pt x="509" y="225"/>
                    </a:lnTo>
                    <a:lnTo>
                      <a:pt x="508" y="224"/>
                    </a:lnTo>
                    <a:lnTo>
                      <a:pt x="508" y="223"/>
                    </a:lnTo>
                    <a:lnTo>
                      <a:pt x="508" y="221"/>
                    </a:lnTo>
                    <a:lnTo>
                      <a:pt x="508" y="217"/>
                    </a:lnTo>
                    <a:lnTo>
                      <a:pt x="508" y="214"/>
                    </a:lnTo>
                    <a:lnTo>
                      <a:pt x="507" y="213"/>
                    </a:lnTo>
                    <a:lnTo>
                      <a:pt x="504" y="212"/>
                    </a:lnTo>
                    <a:lnTo>
                      <a:pt x="503" y="212"/>
                    </a:lnTo>
                    <a:lnTo>
                      <a:pt x="502" y="212"/>
                    </a:lnTo>
                    <a:lnTo>
                      <a:pt x="501" y="211"/>
                    </a:lnTo>
                    <a:lnTo>
                      <a:pt x="499" y="211"/>
                    </a:lnTo>
                    <a:lnTo>
                      <a:pt x="499" y="213"/>
                    </a:lnTo>
                    <a:lnTo>
                      <a:pt x="497" y="214"/>
                    </a:lnTo>
                    <a:lnTo>
                      <a:pt x="494" y="211"/>
                    </a:lnTo>
                    <a:lnTo>
                      <a:pt x="491" y="211"/>
                    </a:lnTo>
                    <a:lnTo>
                      <a:pt x="490" y="213"/>
                    </a:lnTo>
                    <a:lnTo>
                      <a:pt x="488" y="214"/>
                    </a:lnTo>
                    <a:lnTo>
                      <a:pt x="487" y="212"/>
                    </a:lnTo>
                    <a:lnTo>
                      <a:pt x="486" y="212"/>
                    </a:lnTo>
                    <a:lnTo>
                      <a:pt x="484" y="213"/>
                    </a:lnTo>
                    <a:lnTo>
                      <a:pt x="484" y="214"/>
                    </a:lnTo>
                    <a:lnTo>
                      <a:pt x="482" y="215"/>
                    </a:lnTo>
                    <a:lnTo>
                      <a:pt x="483" y="212"/>
                    </a:lnTo>
                    <a:lnTo>
                      <a:pt x="484" y="210"/>
                    </a:lnTo>
                    <a:lnTo>
                      <a:pt x="480" y="206"/>
                    </a:lnTo>
                    <a:lnTo>
                      <a:pt x="480" y="207"/>
                    </a:lnTo>
                    <a:lnTo>
                      <a:pt x="478" y="206"/>
                    </a:lnTo>
                    <a:lnTo>
                      <a:pt x="477" y="206"/>
                    </a:lnTo>
                    <a:lnTo>
                      <a:pt x="474" y="203"/>
                    </a:lnTo>
                    <a:lnTo>
                      <a:pt x="471" y="203"/>
                    </a:lnTo>
                    <a:lnTo>
                      <a:pt x="470" y="204"/>
                    </a:lnTo>
                    <a:lnTo>
                      <a:pt x="469" y="199"/>
                    </a:lnTo>
                    <a:lnTo>
                      <a:pt x="467" y="199"/>
                    </a:lnTo>
                    <a:lnTo>
                      <a:pt x="467" y="200"/>
                    </a:lnTo>
                    <a:lnTo>
                      <a:pt x="462" y="205"/>
                    </a:lnTo>
                    <a:lnTo>
                      <a:pt x="459" y="206"/>
                    </a:lnTo>
                    <a:lnTo>
                      <a:pt x="458" y="206"/>
                    </a:lnTo>
                    <a:lnTo>
                      <a:pt x="455" y="204"/>
                    </a:lnTo>
                    <a:lnTo>
                      <a:pt x="452" y="203"/>
                    </a:lnTo>
                    <a:lnTo>
                      <a:pt x="453" y="202"/>
                    </a:lnTo>
                    <a:lnTo>
                      <a:pt x="452" y="198"/>
                    </a:lnTo>
                    <a:lnTo>
                      <a:pt x="453" y="197"/>
                    </a:lnTo>
                    <a:lnTo>
                      <a:pt x="452" y="196"/>
                    </a:lnTo>
                    <a:lnTo>
                      <a:pt x="451" y="193"/>
                    </a:lnTo>
                    <a:lnTo>
                      <a:pt x="450" y="193"/>
                    </a:lnTo>
                    <a:lnTo>
                      <a:pt x="449" y="191"/>
                    </a:lnTo>
                    <a:lnTo>
                      <a:pt x="448" y="190"/>
                    </a:lnTo>
                    <a:lnTo>
                      <a:pt x="444" y="190"/>
                    </a:lnTo>
                    <a:lnTo>
                      <a:pt x="442" y="193"/>
                    </a:lnTo>
                    <a:lnTo>
                      <a:pt x="440" y="190"/>
                    </a:lnTo>
                    <a:lnTo>
                      <a:pt x="438" y="190"/>
                    </a:lnTo>
                    <a:lnTo>
                      <a:pt x="436" y="187"/>
                    </a:lnTo>
                    <a:lnTo>
                      <a:pt x="437" y="187"/>
                    </a:lnTo>
                    <a:lnTo>
                      <a:pt x="438" y="187"/>
                    </a:lnTo>
                    <a:lnTo>
                      <a:pt x="443" y="189"/>
                    </a:lnTo>
                    <a:lnTo>
                      <a:pt x="444" y="187"/>
                    </a:lnTo>
                    <a:lnTo>
                      <a:pt x="442" y="184"/>
                    </a:lnTo>
                    <a:lnTo>
                      <a:pt x="444" y="183"/>
                    </a:lnTo>
                    <a:lnTo>
                      <a:pt x="445" y="180"/>
                    </a:lnTo>
                    <a:lnTo>
                      <a:pt x="439" y="177"/>
                    </a:lnTo>
                    <a:lnTo>
                      <a:pt x="436" y="176"/>
                    </a:lnTo>
                    <a:lnTo>
                      <a:pt x="435" y="177"/>
                    </a:lnTo>
                    <a:lnTo>
                      <a:pt x="433" y="176"/>
                    </a:lnTo>
                    <a:lnTo>
                      <a:pt x="434" y="176"/>
                    </a:lnTo>
                    <a:lnTo>
                      <a:pt x="431" y="173"/>
                    </a:lnTo>
                    <a:lnTo>
                      <a:pt x="430" y="171"/>
                    </a:lnTo>
                    <a:lnTo>
                      <a:pt x="429" y="167"/>
                    </a:lnTo>
                    <a:lnTo>
                      <a:pt x="427" y="167"/>
                    </a:lnTo>
                    <a:lnTo>
                      <a:pt x="428" y="165"/>
                    </a:lnTo>
                    <a:lnTo>
                      <a:pt x="427" y="165"/>
                    </a:lnTo>
                    <a:lnTo>
                      <a:pt x="426" y="164"/>
                    </a:lnTo>
                    <a:lnTo>
                      <a:pt x="424" y="165"/>
                    </a:lnTo>
                    <a:lnTo>
                      <a:pt x="423" y="166"/>
                    </a:lnTo>
                    <a:lnTo>
                      <a:pt x="422" y="166"/>
                    </a:lnTo>
                    <a:lnTo>
                      <a:pt x="420" y="167"/>
                    </a:lnTo>
                    <a:lnTo>
                      <a:pt x="418" y="168"/>
                    </a:lnTo>
                    <a:lnTo>
                      <a:pt x="415" y="172"/>
                    </a:lnTo>
                    <a:lnTo>
                      <a:pt x="412" y="171"/>
                    </a:lnTo>
                    <a:lnTo>
                      <a:pt x="412" y="170"/>
                    </a:lnTo>
                    <a:lnTo>
                      <a:pt x="411" y="170"/>
                    </a:lnTo>
                    <a:lnTo>
                      <a:pt x="411" y="169"/>
                    </a:lnTo>
                    <a:lnTo>
                      <a:pt x="410" y="166"/>
                    </a:lnTo>
                    <a:lnTo>
                      <a:pt x="407" y="163"/>
                    </a:lnTo>
                    <a:lnTo>
                      <a:pt x="406" y="163"/>
                    </a:lnTo>
                    <a:lnTo>
                      <a:pt x="404" y="160"/>
                    </a:lnTo>
                    <a:lnTo>
                      <a:pt x="405" y="158"/>
                    </a:lnTo>
                    <a:lnTo>
                      <a:pt x="403" y="157"/>
                    </a:lnTo>
                    <a:lnTo>
                      <a:pt x="403" y="156"/>
                    </a:lnTo>
                    <a:lnTo>
                      <a:pt x="401" y="155"/>
                    </a:lnTo>
                    <a:lnTo>
                      <a:pt x="398" y="153"/>
                    </a:lnTo>
                    <a:lnTo>
                      <a:pt x="400" y="150"/>
                    </a:lnTo>
                    <a:lnTo>
                      <a:pt x="400" y="149"/>
                    </a:lnTo>
                    <a:lnTo>
                      <a:pt x="397" y="148"/>
                    </a:lnTo>
                    <a:lnTo>
                      <a:pt x="395" y="144"/>
                    </a:lnTo>
                    <a:lnTo>
                      <a:pt x="394" y="142"/>
                    </a:lnTo>
                    <a:lnTo>
                      <a:pt x="394" y="141"/>
                    </a:lnTo>
                    <a:lnTo>
                      <a:pt x="395" y="140"/>
                    </a:lnTo>
                    <a:lnTo>
                      <a:pt x="395" y="139"/>
                    </a:lnTo>
                    <a:lnTo>
                      <a:pt x="397" y="139"/>
                    </a:lnTo>
                    <a:lnTo>
                      <a:pt x="397" y="136"/>
                    </a:lnTo>
                    <a:lnTo>
                      <a:pt x="398" y="137"/>
                    </a:lnTo>
                    <a:lnTo>
                      <a:pt x="400" y="135"/>
                    </a:lnTo>
                    <a:lnTo>
                      <a:pt x="401" y="134"/>
                    </a:lnTo>
                    <a:lnTo>
                      <a:pt x="402" y="135"/>
                    </a:lnTo>
                    <a:lnTo>
                      <a:pt x="403" y="132"/>
                    </a:lnTo>
                    <a:lnTo>
                      <a:pt x="401" y="133"/>
                    </a:lnTo>
                    <a:lnTo>
                      <a:pt x="401" y="129"/>
                    </a:lnTo>
                    <a:lnTo>
                      <a:pt x="400" y="126"/>
                    </a:lnTo>
                    <a:lnTo>
                      <a:pt x="397" y="125"/>
                    </a:lnTo>
                    <a:lnTo>
                      <a:pt x="393" y="123"/>
                    </a:lnTo>
                    <a:lnTo>
                      <a:pt x="392" y="122"/>
                    </a:lnTo>
                    <a:lnTo>
                      <a:pt x="393" y="120"/>
                    </a:lnTo>
                    <a:lnTo>
                      <a:pt x="393" y="119"/>
                    </a:lnTo>
                    <a:lnTo>
                      <a:pt x="393" y="118"/>
                    </a:lnTo>
                    <a:lnTo>
                      <a:pt x="393" y="116"/>
                    </a:lnTo>
                    <a:lnTo>
                      <a:pt x="395" y="116"/>
                    </a:lnTo>
                    <a:lnTo>
                      <a:pt x="393" y="115"/>
                    </a:lnTo>
                    <a:lnTo>
                      <a:pt x="394" y="113"/>
                    </a:lnTo>
                    <a:lnTo>
                      <a:pt x="395" y="113"/>
                    </a:lnTo>
                    <a:lnTo>
                      <a:pt x="397" y="113"/>
                    </a:lnTo>
                    <a:lnTo>
                      <a:pt x="397" y="111"/>
                    </a:lnTo>
                    <a:lnTo>
                      <a:pt x="397" y="109"/>
                    </a:lnTo>
                    <a:lnTo>
                      <a:pt x="398" y="108"/>
                    </a:lnTo>
                    <a:lnTo>
                      <a:pt x="398" y="105"/>
                    </a:lnTo>
                    <a:lnTo>
                      <a:pt x="399" y="105"/>
                    </a:lnTo>
                    <a:lnTo>
                      <a:pt x="399" y="102"/>
                    </a:lnTo>
                    <a:lnTo>
                      <a:pt x="401" y="102"/>
                    </a:lnTo>
                    <a:lnTo>
                      <a:pt x="402" y="99"/>
                    </a:lnTo>
                    <a:lnTo>
                      <a:pt x="401" y="99"/>
                    </a:lnTo>
                    <a:lnTo>
                      <a:pt x="400" y="100"/>
                    </a:lnTo>
                    <a:lnTo>
                      <a:pt x="398" y="100"/>
                    </a:lnTo>
                    <a:lnTo>
                      <a:pt x="398" y="99"/>
                    </a:lnTo>
                    <a:lnTo>
                      <a:pt x="398" y="98"/>
                    </a:lnTo>
                    <a:lnTo>
                      <a:pt x="400" y="98"/>
                    </a:lnTo>
                    <a:lnTo>
                      <a:pt x="402" y="95"/>
                    </a:lnTo>
                    <a:lnTo>
                      <a:pt x="402" y="91"/>
                    </a:lnTo>
                    <a:lnTo>
                      <a:pt x="403" y="89"/>
                    </a:lnTo>
                    <a:lnTo>
                      <a:pt x="406" y="89"/>
                    </a:lnTo>
                    <a:lnTo>
                      <a:pt x="407" y="80"/>
                    </a:lnTo>
                    <a:lnTo>
                      <a:pt x="407" y="79"/>
                    </a:lnTo>
                    <a:lnTo>
                      <a:pt x="406" y="78"/>
                    </a:lnTo>
                    <a:lnTo>
                      <a:pt x="406" y="76"/>
                    </a:lnTo>
                    <a:lnTo>
                      <a:pt x="407" y="75"/>
                    </a:lnTo>
                    <a:lnTo>
                      <a:pt x="409" y="73"/>
                    </a:lnTo>
                    <a:lnTo>
                      <a:pt x="410" y="72"/>
                    </a:lnTo>
                    <a:lnTo>
                      <a:pt x="409" y="70"/>
                    </a:lnTo>
                    <a:lnTo>
                      <a:pt x="410" y="67"/>
                    </a:lnTo>
                    <a:lnTo>
                      <a:pt x="409" y="66"/>
                    </a:lnTo>
                    <a:lnTo>
                      <a:pt x="409" y="65"/>
                    </a:lnTo>
                    <a:lnTo>
                      <a:pt x="410" y="65"/>
                    </a:lnTo>
                    <a:lnTo>
                      <a:pt x="407" y="62"/>
                    </a:lnTo>
                    <a:lnTo>
                      <a:pt x="407" y="61"/>
                    </a:lnTo>
                    <a:lnTo>
                      <a:pt x="407" y="59"/>
                    </a:lnTo>
                    <a:lnTo>
                      <a:pt x="406" y="59"/>
                    </a:lnTo>
                    <a:lnTo>
                      <a:pt x="403" y="57"/>
                    </a:lnTo>
                    <a:lnTo>
                      <a:pt x="404" y="55"/>
                    </a:lnTo>
                    <a:lnTo>
                      <a:pt x="406" y="53"/>
                    </a:lnTo>
                    <a:lnTo>
                      <a:pt x="407" y="54"/>
                    </a:lnTo>
                    <a:lnTo>
                      <a:pt x="407" y="53"/>
                    </a:lnTo>
                    <a:lnTo>
                      <a:pt x="409" y="54"/>
                    </a:lnTo>
                    <a:lnTo>
                      <a:pt x="410" y="54"/>
                    </a:lnTo>
                    <a:lnTo>
                      <a:pt x="413" y="55"/>
                    </a:lnTo>
                    <a:lnTo>
                      <a:pt x="415" y="54"/>
                    </a:lnTo>
                    <a:lnTo>
                      <a:pt x="415" y="53"/>
                    </a:lnTo>
                    <a:lnTo>
                      <a:pt x="414" y="51"/>
                    </a:lnTo>
                    <a:lnTo>
                      <a:pt x="414" y="48"/>
                    </a:lnTo>
                    <a:lnTo>
                      <a:pt x="412" y="45"/>
                    </a:lnTo>
                    <a:lnTo>
                      <a:pt x="412" y="44"/>
                    </a:lnTo>
                    <a:lnTo>
                      <a:pt x="414" y="42"/>
                    </a:lnTo>
                    <a:lnTo>
                      <a:pt x="412" y="42"/>
                    </a:lnTo>
                    <a:lnTo>
                      <a:pt x="411" y="44"/>
                    </a:lnTo>
                    <a:lnTo>
                      <a:pt x="410" y="44"/>
                    </a:lnTo>
                    <a:lnTo>
                      <a:pt x="409" y="42"/>
                    </a:lnTo>
                    <a:lnTo>
                      <a:pt x="407" y="44"/>
                    </a:lnTo>
                    <a:lnTo>
                      <a:pt x="406" y="44"/>
                    </a:lnTo>
                    <a:lnTo>
                      <a:pt x="405" y="41"/>
                    </a:lnTo>
                    <a:lnTo>
                      <a:pt x="402" y="38"/>
                    </a:lnTo>
                    <a:lnTo>
                      <a:pt x="404" y="37"/>
                    </a:lnTo>
                    <a:lnTo>
                      <a:pt x="402" y="36"/>
                    </a:lnTo>
                    <a:lnTo>
                      <a:pt x="402" y="34"/>
                    </a:lnTo>
                    <a:lnTo>
                      <a:pt x="402" y="33"/>
                    </a:lnTo>
                    <a:lnTo>
                      <a:pt x="401" y="32"/>
                    </a:lnTo>
                    <a:lnTo>
                      <a:pt x="401" y="28"/>
                    </a:lnTo>
                    <a:lnTo>
                      <a:pt x="399" y="29"/>
                    </a:lnTo>
                    <a:lnTo>
                      <a:pt x="400" y="28"/>
                    </a:lnTo>
                    <a:lnTo>
                      <a:pt x="400" y="27"/>
                    </a:lnTo>
                    <a:lnTo>
                      <a:pt x="399" y="27"/>
                    </a:lnTo>
                    <a:lnTo>
                      <a:pt x="400" y="26"/>
                    </a:lnTo>
                    <a:lnTo>
                      <a:pt x="400" y="24"/>
                    </a:lnTo>
                    <a:lnTo>
                      <a:pt x="398" y="23"/>
                    </a:lnTo>
                    <a:lnTo>
                      <a:pt x="399" y="23"/>
                    </a:lnTo>
                    <a:lnTo>
                      <a:pt x="401" y="23"/>
                    </a:lnTo>
                    <a:lnTo>
                      <a:pt x="398" y="21"/>
                    </a:lnTo>
                    <a:lnTo>
                      <a:pt x="398" y="20"/>
                    </a:lnTo>
                    <a:lnTo>
                      <a:pt x="397" y="22"/>
                    </a:lnTo>
                    <a:lnTo>
                      <a:pt x="396" y="22"/>
                    </a:lnTo>
                    <a:lnTo>
                      <a:pt x="395" y="21"/>
                    </a:lnTo>
                    <a:lnTo>
                      <a:pt x="394" y="21"/>
                    </a:lnTo>
                    <a:lnTo>
                      <a:pt x="392" y="25"/>
                    </a:lnTo>
                    <a:lnTo>
                      <a:pt x="393" y="26"/>
                    </a:lnTo>
                    <a:lnTo>
                      <a:pt x="392" y="27"/>
                    </a:lnTo>
                    <a:lnTo>
                      <a:pt x="391" y="26"/>
                    </a:lnTo>
                    <a:lnTo>
                      <a:pt x="391" y="24"/>
                    </a:lnTo>
                    <a:lnTo>
                      <a:pt x="390" y="22"/>
                    </a:lnTo>
                    <a:lnTo>
                      <a:pt x="389" y="22"/>
                    </a:lnTo>
                    <a:lnTo>
                      <a:pt x="387" y="21"/>
                    </a:lnTo>
                    <a:lnTo>
                      <a:pt x="385" y="17"/>
                    </a:lnTo>
                    <a:lnTo>
                      <a:pt x="384" y="13"/>
                    </a:lnTo>
                    <a:lnTo>
                      <a:pt x="382" y="13"/>
                    </a:lnTo>
                    <a:lnTo>
                      <a:pt x="376" y="10"/>
                    </a:lnTo>
                    <a:lnTo>
                      <a:pt x="375" y="8"/>
                    </a:lnTo>
                    <a:lnTo>
                      <a:pt x="372" y="3"/>
                    </a:lnTo>
                    <a:lnTo>
                      <a:pt x="373" y="2"/>
                    </a:lnTo>
                    <a:lnTo>
                      <a:pt x="372" y="2"/>
                    </a:lnTo>
                    <a:lnTo>
                      <a:pt x="371" y="4"/>
                    </a:lnTo>
                    <a:lnTo>
                      <a:pt x="371" y="7"/>
                    </a:lnTo>
                    <a:lnTo>
                      <a:pt x="368" y="7"/>
                    </a:lnTo>
                    <a:lnTo>
                      <a:pt x="368" y="8"/>
                    </a:lnTo>
                    <a:lnTo>
                      <a:pt x="366" y="8"/>
                    </a:lnTo>
                    <a:lnTo>
                      <a:pt x="366" y="9"/>
                    </a:lnTo>
                    <a:lnTo>
                      <a:pt x="366" y="8"/>
                    </a:lnTo>
                    <a:lnTo>
                      <a:pt x="365" y="10"/>
                    </a:lnTo>
                    <a:lnTo>
                      <a:pt x="366" y="10"/>
                    </a:lnTo>
                    <a:lnTo>
                      <a:pt x="365" y="14"/>
                    </a:lnTo>
                    <a:lnTo>
                      <a:pt x="361" y="11"/>
                    </a:lnTo>
                    <a:lnTo>
                      <a:pt x="361" y="13"/>
                    </a:lnTo>
                    <a:lnTo>
                      <a:pt x="361" y="14"/>
                    </a:lnTo>
                    <a:lnTo>
                      <a:pt x="360" y="14"/>
                    </a:lnTo>
                    <a:lnTo>
                      <a:pt x="361" y="15"/>
                    </a:lnTo>
                    <a:lnTo>
                      <a:pt x="360" y="15"/>
                    </a:lnTo>
                    <a:lnTo>
                      <a:pt x="361" y="16"/>
                    </a:lnTo>
                    <a:lnTo>
                      <a:pt x="360" y="18"/>
                    </a:lnTo>
                    <a:lnTo>
                      <a:pt x="361" y="19"/>
                    </a:lnTo>
                    <a:lnTo>
                      <a:pt x="360" y="19"/>
                    </a:lnTo>
                    <a:lnTo>
                      <a:pt x="359" y="20"/>
                    </a:lnTo>
                    <a:lnTo>
                      <a:pt x="358" y="20"/>
                    </a:lnTo>
                    <a:lnTo>
                      <a:pt x="358" y="23"/>
                    </a:lnTo>
                    <a:lnTo>
                      <a:pt x="357" y="23"/>
                    </a:lnTo>
                    <a:lnTo>
                      <a:pt x="357" y="24"/>
                    </a:lnTo>
                    <a:lnTo>
                      <a:pt x="357" y="25"/>
                    </a:lnTo>
                    <a:lnTo>
                      <a:pt x="359" y="26"/>
                    </a:lnTo>
                    <a:lnTo>
                      <a:pt x="358" y="28"/>
                    </a:lnTo>
                    <a:lnTo>
                      <a:pt x="358" y="30"/>
                    </a:lnTo>
                    <a:lnTo>
                      <a:pt x="360" y="29"/>
                    </a:lnTo>
                    <a:lnTo>
                      <a:pt x="360" y="31"/>
                    </a:lnTo>
                    <a:lnTo>
                      <a:pt x="359" y="31"/>
                    </a:lnTo>
                    <a:lnTo>
                      <a:pt x="361" y="32"/>
                    </a:lnTo>
                    <a:lnTo>
                      <a:pt x="361" y="33"/>
                    </a:lnTo>
                    <a:lnTo>
                      <a:pt x="359" y="34"/>
                    </a:lnTo>
                    <a:lnTo>
                      <a:pt x="361" y="34"/>
                    </a:lnTo>
                    <a:lnTo>
                      <a:pt x="360" y="34"/>
                    </a:lnTo>
                    <a:lnTo>
                      <a:pt x="358" y="35"/>
                    </a:lnTo>
                    <a:lnTo>
                      <a:pt x="357" y="34"/>
                    </a:lnTo>
                    <a:lnTo>
                      <a:pt x="357" y="35"/>
                    </a:lnTo>
                    <a:lnTo>
                      <a:pt x="357" y="36"/>
                    </a:lnTo>
                    <a:lnTo>
                      <a:pt x="353" y="36"/>
                    </a:lnTo>
                    <a:lnTo>
                      <a:pt x="353" y="37"/>
                    </a:lnTo>
                    <a:lnTo>
                      <a:pt x="352" y="37"/>
                    </a:lnTo>
                    <a:lnTo>
                      <a:pt x="352" y="36"/>
                    </a:lnTo>
                    <a:lnTo>
                      <a:pt x="349" y="36"/>
                    </a:lnTo>
                    <a:lnTo>
                      <a:pt x="348" y="35"/>
                    </a:lnTo>
                    <a:lnTo>
                      <a:pt x="348" y="36"/>
                    </a:lnTo>
                    <a:lnTo>
                      <a:pt x="348" y="37"/>
                    </a:lnTo>
                    <a:lnTo>
                      <a:pt x="346" y="37"/>
                    </a:lnTo>
                    <a:lnTo>
                      <a:pt x="345" y="37"/>
                    </a:lnTo>
                    <a:lnTo>
                      <a:pt x="344" y="39"/>
                    </a:lnTo>
                    <a:lnTo>
                      <a:pt x="341" y="42"/>
                    </a:lnTo>
                    <a:lnTo>
                      <a:pt x="340" y="41"/>
                    </a:lnTo>
                    <a:lnTo>
                      <a:pt x="340" y="42"/>
                    </a:lnTo>
                    <a:lnTo>
                      <a:pt x="338" y="42"/>
                    </a:lnTo>
                    <a:lnTo>
                      <a:pt x="336" y="43"/>
                    </a:lnTo>
                    <a:lnTo>
                      <a:pt x="336" y="44"/>
                    </a:lnTo>
                    <a:lnTo>
                      <a:pt x="335" y="44"/>
                    </a:lnTo>
                    <a:lnTo>
                      <a:pt x="336" y="48"/>
                    </a:lnTo>
                    <a:lnTo>
                      <a:pt x="335" y="49"/>
                    </a:lnTo>
                    <a:lnTo>
                      <a:pt x="335" y="51"/>
                    </a:lnTo>
                    <a:lnTo>
                      <a:pt x="334" y="52"/>
                    </a:lnTo>
                    <a:lnTo>
                      <a:pt x="332" y="51"/>
                    </a:lnTo>
                    <a:lnTo>
                      <a:pt x="331" y="50"/>
                    </a:lnTo>
                    <a:lnTo>
                      <a:pt x="332" y="49"/>
                    </a:lnTo>
                    <a:lnTo>
                      <a:pt x="331" y="45"/>
                    </a:lnTo>
                    <a:lnTo>
                      <a:pt x="329" y="44"/>
                    </a:lnTo>
                    <a:lnTo>
                      <a:pt x="324" y="41"/>
                    </a:lnTo>
                    <a:lnTo>
                      <a:pt x="319" y="42"/>
                    </a:lnTo>
                    <a:lnTo>
                      <a:pt x="317" y="42"/>
                    </a:lnTo>
                    <a:lnTo>
                      <a:pt x="317" y="40"/>
                    </a:lnTo>
                    <a:lnTo>
                      <a:pt x="315" y="40"/>
                    </a:lnTo>
                    <a:lnTo>
                      <a:pt x="315" y="39"/>
                    </a:lnTo>
                    <a:lnTo>
                      <a:pt x="316" y="38"/>
                    </a:lnTo>
                    <a:lnTo>
                      <a:pt x="317" y="38"/>
                    </a:lnTo>
                    <a:lnTo>
                      <a:pt x="318" y="36"/>
                    </a:lnTo>
                    <a:lnTo>
                      <a:pt x="319" y="35"/>
                    </a:lnTo>
                    <a:lnTo>
                      <a:pt x="320" y="32"/>
                    </a:lnTo>
                    <a:lnTo>
                      <a:pt x="320" y="31"/>
                    </a:lnTo>
                    <a:lnTo>
                      <a:pt x="319" y="31"/>
                    </a:lnTo>
                    <a:lnTo>
                      <a:pt x="318" y="33"/>
                    </a:lnTo>
                    <a:lnTo>
                      <a:pt x="317" y="34"/>
                    </a:lnTo>
                    <a:lnTo>
                      <a:pt x="315" y="33"/>
                    </a:lnTo>
                    <a:lnTo>
                      <a:pt x="315" y="34"/>
                    </a:lnTo>
                    <a:lnTo>
                      <a:pt x="314" y="34"/>
                    </a:lnTo>
                    <a:lnTo>
                      <a:pt x="314" y="32"/>
                    </a:lnTo>
                    <a:lnTo>
                      <a:pt x="312" y="36"/>
                    </a:lnTo>
                    <a:lnTo>
                      <a:pt x="310" y="35"/>
                    </a:lnTo>
                    <a:lnTo>
                      <a:pt x="311" y="34"/>
                    </a:lnTo>
                    <a:lnTo>
                      <a:pt x="310" y="34"/>
                    </a:lnTo>
                    <a:lnTo>
                      <a:pt x="309" y="35"/>
                    </a:lnTo>
                    <a:lnTo>
                      <a:pt x="309" y="34"/>
                    </a:lnTo>
                    <a:lnTo>
                      <a:pt x="308" y="34"/>
                    </a:lnTo>
                    <a:lnTo>
                      <a:pt x="306" y="33"/>
                    </a:lnTo>
                    <a:lnTo>
                      <a:pt x="305" y="32"/>
                    </a:lnTo>
                    <a:lnTo>
                      <a:pt x="304" y="32"/>
                    </a:lnTo>
                    <a:lnTo>
                      <a:pt x="303" y="34"/>
                    </a:lnTo>
                    <a:lnTo>
                      <a:pt x="302" y="32"/>
                    </a:lnTo>
                    <a:lnTo>
                      <a:pt x="301" y="32"/>
                    </a:lnTo>
                    <a:lnTo>
                      <a:pt x="301" y="31"/>
                    </a:lnTo>
                    <a:lnTo>
                      <a:pt x="300" y="32"/>
                    </a:lnTo>
                    <a:lnTo>
                      <a:pt x="300" y="31"/>
                    </a:lnTo>
                    <a:lnTo>
                      <a:pt x="298" y="31"/>
                    </a:lnTo>
                    <a:lnTo>
                      <a:pt x="300" y="28"/>
                    </a:lnTo>
                    <a:lnTo>
                      <a:pt x="299" y="27"/>
                    </a:lnTo>
                    <a:lnTo>
                      <a:pt x="297" y="27"/>
                    </a:lnTo>
                    <a:lnTo>
                      <a:pt x="296" y="28"/>
                    </a:lnTo>
                    <a:lnTo>
                      <a:pt x="294" y="28"/>
                    </a:lnTo>
                    <a:lnTo>
                      <a:pt x="291" y="25"/>
                    </a:lnTo>
                    <a:lnTo>
                      <a:pt x="289" y="25"/>
                    </a:lnTo>
                    <a:lnTo>
                      <a:pt x="289" y="26"/>
                    </a:lnTo>
                    <a:lnTo>
                      <a:pt x="288" y="28"/>
                    </a:lnTo>
                    <a:lnTo>
                      <a:pt x="286" y="29"/>
                    </a:lnTo>
                    <a:lnTo>
                      <a:pt x="286" y="31"/>
                    </a:lnTo>
                    <a:lnTo>
                      <a:pt x="288" y="31"/>
                    </a:lnTo>
                    <a:lnTo>
                      <a:pt x="287" y="31"/>
                    </a:lnTo>
                    <a:lnTo>
                      <a:pt x="286" y="31"/>
                    </a:lnTo>
                    <a:lnTo>
                      <a:pt x="285" y="29"/>
                    </a:lnTo>
                    <a:lnTo>
                      <a:pt x="284" y="31"/>
                    </a:lnTo>
                    <a:lnTo>
                      <a:pt x="283" y="29"/>
                    </a:lnTo>
                    <a:lnTo>
                      <a:pt x="283" y="28"/>
                    </a:lnTo>
                    <a:lnTo>
                      <a:pt x="282" y="26"/>
                    </a:lnTo>
                    <a:lnTo>
                      <a:pt x="280" y="26"/>
                    </a:lnTo>
                    <a:lnTo>
                      <a:pt x="280" y="23"/>
                    </a:lnTo>
                    <a:lnTo>
                      <a:pt x="278" y="23"/>
                    </a:lnTo>
                    <a:lnTo>
                      <a:pt x="277" y="24"/>
                    </a:lnTo>
                    <a:lnTo>
                      <a:pt x="276" y="24"/>
                    </a:lnTo>
                    <a:lnTo>
                      <a:pt x="273" y="18"/>
                    </a:lnTo>
                    <a:lnTo>
                      <a:pt x="272" y="18"/>
                    </a:lnTo>
                    <a:lnTo>
                      <a:pt x="271" y="16"/>
                    </a:lnTo>
                    <a:lnTo>
                      <a:pt x="271" y="19"/>
                    </a:lnTo>
                    <a:lnTo>
                      <a:pt x="270" y="17"/>
                    </a:lnTo>
                    <a:lnTo>
                      <a:pt x="269" y="18"/>
                    </a:lnTo>
                    <a:lnTo>
                      <a:pt x="270" y="18"/>
                    </a:lnTo>
                    <a:lnTo>
                      <a:pt x="271" y="22"/>
                    </a:lnTo>
                    <a:lnTo>
                      <a:pt x="270" y="23"/>
                    </a:lnTo>
                    <a:lnTo>
                      <a:pt x="271" y="23"/>
                    </a:lnTo>
                    <a:lnTo>
                      <a:pt x="270" y="25"/>
                    </a:lnTo>
                    <a:lnTo>
                      <a:pt x="270" y="26"/>
                    </a:lnTo>
                    <a:lnTo>
                      <a:pt x="272" y="26"/>
                    </a:lnTo>
                    <a:lnTo>
                      <a:pt x="271" y="27"/>
                    </a:lnTo>
                    <a:lnTo>
                      <a:pt x="270" y="26"/>
                    </a:lnTo>
                    <a:lnTo>
                      <a:pt x="270" y="27"/>
                    </a:lnTo>
                    <a:lnTo>
                      <a:pt x="269" y="24"/>
                    </a:lnTo>
                    <a:lnTo>
                      <a:pt x="268" y="24"/>
                    </a:lnTo>
                    <a:lnTo>
                      <a:pt x="267" y="23"/>
                    </a:lnTo>
                    <a:lnTo>
                      <a:pt x="265" y="23"/>
                    </a:lnTo>
                    <a:lnTo>
                      <a:pt x="264" y="24"/>
                    </a:lnTo>
                    <a:lnTo>
                      <a:pt x="263" y="23"/>
                    </a:lnTo>
                    <a:lnTo>
                      <a:pt x="263" y="24"/>
                    </a:lnTo>
                    <a:lnTo>
                      <a:pt x="262" y="24"/>
                    </a:lnTo>
                    <a:lnTo>
                      <a:pt x="263" y="25"/>
                    </a:lnTo>
                    <a:lnTo>
                      <a:pt x="262" y="25"/>
                    </a:lnTo>
                    <a:lnTo>
                      <a:pt x="262" y="26"/>
                    </a:lnTo>
                    <a:lnTo>
                      <a:pt x="262" y="25"/>
                    </a:lnTo>
                    <a:lnTo>
                      <a:pt x="262" y="26"/>
                    </a:lnTo>
                    <a:lnTo>
                      <a:pt x="261" y="27"/>
                    </a:lnTo>
                    <a:lnTo>
                      <a:pt x="260" y="25"/>
                    </a:lnTo>
                    <a:lnTo>
                      <a:pt x="260" y="26"/>
                    </a:lnTo>
                    <a:lnTo>
                      <a:pt x="259" y="28"/>
                    </a:lnTo>
                    <a:lnTo>
                      <a:pt x="258" y="28"/>
                    </a:lnTo>
                    <a:lnTo>
                      <a:pt x="259" y="27"/>
                    </a:lnTo>
                    <a:lnTo>
                      <a:pt x="257" y="27"/>
                    </a:lnTo>
                    <a:lnTo>
                      <a:pt x="256" y="28"/>
                    </a:lnTo>
                    <a:lnTo>
                      <a:pt x="255" y="30"/>
                    </a:lnTo>
                    <a:lnTo>
                      <a:pt x="255" y="28"/>
                    </a:lnTo>
                    <a:lnTo>
                      <a:pt x="254" y="28"/>
                    </a:lnTo>
                    <a:lnTo>
                      <a:pt x="254" y="27"/>
                    </a:lnTo>
                    <a:lnTo>
                      <a:pt x="252" y="26"/>
                    </a:lnTo>
                    <a:lnTo>
                      <a:pt x="249" y="28"/>
                    </a:lnTo>
                    <a:lnTo>
                      <a:pt x="248" y="27"/>
                    </a:lnTo>
                    <a:lnTo>
                      <a:pt x="247" y="27"/>
                    </a:lnTo>
                    <a:lnTo>
                      <a:pt x="249" y="27"/>
                    </a:lnTo>
                    <a:lnTo>
                      <a:pt x="249" y="26"/>
                    </a:lnTo>
                    <a:lnTo>
                      <a:pt x="249" y="24"/>
                    </a:lnTo>
                    <a:lnTo>
                      <a:pt x="250" y="23"/>
                    </a:lnTo>
                    <a:lnTo>
                      <a:pt x="250" y="21"/>
                    </a:lnTo>
                    <a:lnTo>
                      <a:pt x="249" y="21"/>
                    </a:lnTo>
                    <a:lnTo>
                      <a:pt x="248" y="21"/>
                    </a:lnTo>
                    <a:lnTo>
                      <a:pt x="247" y="20"/>
                    </a:lnTo>
                    <a:lnTo>
                      <a:pt x="247" y="18"/>
                    </a:lnTo>
                    <a:lnTo>
                      <a:pt x="246" y="19"/>
                    </a:lnTo>
                    <a:lnTo>
                      <a:pt x="243" y="16"/>
                    </a:lnTo>
                    <a:lnTo>
                      <a:pt x="241" y="18"/>
                    </a:lnTo>
                    <a:lnTo>
                      <a:pt x="240" y="16"/>
                    </a:lnTo>
                    <a:lnTo>
                      <a:pt x="240" y="17"/>
                    </a:lnTo>
                    <a:lnTo>
                      <a:pt x="240" y="16"/>
                    </a:lnTo>
                    <a:lnTo>
                      <a:pt x="239" y="15"/>
                    </a:lnTo>
                    <a:lnTo>
                      <a:pt x="240" y="12"/>
                    </a:lnTo>
                    <a:lnTo>
                      <a:pt x="240" y="11"/>
                    </a:lnTo>
                    <a:lnTo>
                      <a:pt x="239" y="10"/>
                    </a:lnTo>
                    <a:lnTo>
                      <a:pt x="236" y="9"/>
                    </a:lnTo>
                    <a:lnTo>
                      <a:pt x="236" y="8"/>
                    </a:lnTo>
                    <a:lnTo>
                      <a:pt x="234" y="8"/>
                    </a:lnTo>
                    <a:lnTo>
                      <a:pt x="234" y="6"/>
                    </a:lnTo>
                    <a:lnTo>
                      <a:pt x="231" y="8"/>
                    </a:lnTo>
                    <a:lnTo>
                      <a:pt x="230" y="8"/>
                    </a:lnTo>
                    <a:lnTo>
                      <a:pt x="226" y="8"/>
                    </a:lnTo>
                    <a:lnTo>
                      <a:pt x="225" y="6"/>
                    </a:lnTo>
                    <a:lnTo>
                      <a:pt x="224" y="8"/>
                    </a:lnTo>
                    <a:lnTo>
                      <a:pt x="223" y="8"/>
                    </a:lnTo>
                    <a:lnTo>
                      <a:pt x="222" y="8"/>
                    </a:lnTo>
                    <a:lnTo>
                      <a:pt x="222" y="10"/>
                    </a:lnTo>
                    <a:lnTo>
                      <a:pt x="222" y="13"/>
                    </a:lnTo>
                    <a:lnTo>
                      <a:pt x="220" y="14"/>
                    </a:lnTo>
                    <a:lnTo>
                      <a:pt x="220" y="15"/>
                    </a:lnTo>
                    <a:lnTo>
                      <a:pt x="218" y="16"/>
                    </a:lnTo>
                    <a:lnTo>
                      <a:pt x="217" y="16"/>
                    </a:lnTo>
                    <a:lnTo>
                      <a:pt x="217" y="17"/>
                    </a:lnTo>
                    <a:lnTo>
                      <a:pt x="218" y="17"/>
                    </a:lnTo>
                    <a:lnTo>
                      <a:pt x="216" y="19"/>
                    </a:lnTo>
                    <a:lnTo>
                      <a:pt x="216" y="21"/>
                    </a:lnTo>
                    <a:lnTo>
                      <a:pt x="214" y="20"/>
                    </a:lnTo>
                    <a:lnTo>
                      <a:pt x="214" y="19"/>
                    </a:lnTo>
                    <a:lnTo>
                      <a:pt x="215" y="18"/>
                    </a:lnTo>
                    <a:lnTo>
                      <a:pt x="215" y="17"/>
                    </a:lnTo>
                    <a:lnTo>
                      <a:pt x="212" y="18"/>
                    </a:lnTo>
                    <a:lnTo>
                      <a:pt x="209" y="18"/>
                    </a:lnTo>
                    <a:lnTo>
                      <a:pt x="208" y="19"/>
                    </a:lnTo>
                    <a:lnTo>
                      <a:pt x="206" y="18"/>
                    </a:lnTo>
                    <a:lnTo>
                      <a:pt x="205" y="17"/>
                    </a:lnTo>
                    <a:lnTo>
                      <a:pt x="202" y="17"/>
                    </a:lnTo>
                    <a:lnTo>
                      <a:pt x="201" y="17"/>
                    </a:lnTo>
                    <a:lnTo>
                      <a:pt x="200" y="19"/>
                    </a:lnTo>
                    <a:lnTo>
                      <a:pt x="198" y="16"/>
                    </a:lnTo>
                    <a:lnTo>
                      <a:pt x="196" y="16"/>
                    </a:lnTo>
                    <a:lnTo>
                      <a:pt x="193" y="15"/>
                    </a:lnTo>
                    <a:lnTo>
                      <a:pt x="193" y="19"/>
                    </a:lnTo>
                    <a:lnTo>
                      <a:pt x="191" y="17"/>
                    </a:lnTo>
                    <a:lnTo>
                      <a:pt x="189" y="18"/>
                    </a:lnTo>
                    <a:lnTo>
                      <a:pt x="188" y="17"/>
                    </a:lnTo>
                    <a:lnTo>
                      <a:pt x="188" y="16"/>
                    </a:lnTo>
                    <a:lnTo>
                      <a:pt x="189" y="15"/>
                    </a:lnTo>
                    <a:lnTo>
                      <a:pt x="188" y="14"/>
                    </a:lnTo>
                    <a:lnTo>
                      <a:pt x="187" y="14"/>
                    </a:lnTo>
                    <a:lnTo>
                      <a:pt x="187" y="16"/>
                    </a:lnTo>
                    <a:lnTo>
                      <a:pt x="186" y="17"/>
                    </a:lnTo>
                    <a:lnTo>
                      <a:pt x="184" y="17"/>
                    </a:lnTo>
                    <a:lnTo>
                      <a:pt x="183" y="17"/>
                    </a:lnTo>
                    <a:lnTo>
                      <a:pt x="183" y="16"/>
                    </a:lnTo>
                    <a:lnTo>
                      <a:pt x="180" y="16"/>
                    </a:lnTo>
                    <a:lnTo>
                      <a:pt x="180" y="15"/>
                    </a:lnTo>
                    <a:lnTo>
                      <a:pt x="179" y="16"/>
                    </a:lnTo>
                    <a:lnTo>
                      <a:pt x="178" y="15"/>
                    </a:lnTo>
                    <a:lnTo>
                      <a:pt x="177" y="12"/>
                    </a:lnTo>
                    <a:lnTo>
                      <a:pt x="178" y="10"/>
                    </a:lnTo>
                    <a:lnTo>
                      <a:pt x="178" y="7"/>
                    </a:lnTo>
                    <a:lnTo>
                      <a:pt x="178" y="6"/>
                    </a:lnTo>
                    <a:lnTo>
                      <a:pt x="179" y="5"/>
                    </a:lnTo>
                    <a:lnTo>
                      <a:pt x="179" y="4"/>
                    </a:lnTo>
                    <a:lnTo>
                      <a:pt x="181" y="4"/>
                    </a:lnTo>
                    <a:lnTo>
                      <a:pt x="179" y="3"/>
                    </a:lnTo>
                    <a:lnTo>
                      <a:pt x="177" y="0"/>
                    </a:lnTo>
                    <a:lnTo>
                      <a:pt x="177" y="1"/>
                    </a:lnTo>
                    <a:lnTo>
                      <a:pt x="173" y="1"/>
                    </a:lnTo>
                    <a:lnTo>
                      <a:pt x="172" y="0"/>
                    </a:lnTo>
                    <a:lnTo>
                      <a:pt x="170" y="3"/>
                    </a:lnTo>
                    <a:lnTo>
                      <a:pt x="170" y="2"/>
                    </a:lnTo>
                    <a:lnTo>
                      <a:pt x="167" y="4"/>
                    </a:lnTo>
                    <a:lnTo>
                      <a:pt x="166" y="4"/>
                    </a:lnTo>
                    <a:lnTo>
                      <a:pt x="164" y="3"/>
                    </a:lnTo>
                    <a:lnTo>
                      <a:pt x="163" y="6"/>
                    </a:lnTo>
                    <a:lnTo>
                      <a:pt x="164" y="8"/>
                    </a:lnTo>
                    <a:lnTo>
                      <a:pt x="163" y="10"/>
                    </a:lnTo>
                    <a:lnTo>
                      <a:pt x="163" y="8"/>
                    </a:lnTo>
                    <a:lnTo>
                      <a:pt x="162" y="11"/>
                    </a:lnTo>
                    <a:lnTo>
                      <a:pt x="162" y="13"/>
                    </a:lnTo>
                    <a:lnTo>
                      <a:pt x="161" y="13"/>
                    </a:lnTo>
                    <a:lnTo>
                      <a:pt x="161" y="14"/>
                    </a:lnTo>
                    <a:lnTo>
                      <a:pt x="160" y="12"/>
                    </a:lnTo>
                    <a:lnTo>
                      <a:pt x="159" y="12"/>
                    </a:lnTo>
                    <a:lnTo>
                      <a:pt x="159" y="14"/>
                    </a:lnTo>
                    <a:lnTo>
                      <a:pt x="160" y="16"/>
                    </a:lnTo>
                    <a:lnTo>
                      <a:pt x="159" y="16"/>
                    </a:lnTo>
                    <a:lnTo>
                      <a:pt x="159" y="17"/>
                    </a:lnTo>
                    <a:lnTo>
                      <a:pt x="158" y="17"/>
                    </a:lnTo>
                    <a:lnTo>
                      <a:pt x="158" y="15"/>
                    </a:lnTo>
                    <a:lnTo>
                      <a:pt x="156" y="15"/>
                    </a:lnTo>
                    <a:lnTo>
                      <a:pt x="156" y="13"/>
                    </a:lnTo>
                    <a:lnTo>
                      <a:pt x="154" y="15"/>
                    </a:lnTo>
                    <a:lnTo>
                      <a:pt x="154" y="16"/>
                    </a:lnTo>
                    <a:lnTo>
                      <a:pt x="153" y="17"/>
                    </a:lnTo>
                    <a:lnTo>
                      <a:pt x="153" y="19"/>
                    </a:lnTo>
                    <a:lnTo>
                      <a:pt x="153" y="20"/>
                    </a:lnTo>
                    <a:lnTo>
                      <a:pt x="149" y="19"/>
                    </a:lnTo>
                    <a:lnTo>
                      <a:pt x="146" y="18"/>
                    </a:lnTo>
                    <a:lnTo>
                      <a:pt x="146" y="16"/>
                    </a:lnTo>
                    <a:lnTo>
                      <a:pt x="145" y="15"/>
                    </a:lnTo>
                    <a:lnTo>
                      <a:pt x="141" y="18"/>
                    </a:lnTo>
                    <a:lnTo>
                      <a:pt x="141" y="21"/>
                    </a:lnTo>
                    <a:lnTo>
                      <a:pt x="139" y="23"/>
                    </a:lnTo>
                    <a:lnTo>
                      <a:pt x="139" y="21"/>
                    </a:lnTo>
                    <a:lnTo>
                      <a:pt x="135" y="22"/>
                    </a:lnTo>
                    <a:lnTo>
                      <a:pt x="134" y="21"/>
                    </a:lnTo>
                    <a:lnTo>
                      <a:pt x="133" y="21"/>
                    </a:lnTo>
                    <a:lnTo>
                      <a:pt x="133" y="19"/>
                    </a:lnTo>
                    <a:lnTo>
                      <a:pt x="131" y="17"/>
                    </a:lnTo>
                    <a:lnTo>
                      <a:pt x="131" y="19"/>
                    </a:lnTo>
                    <a:lnTo>
                      <a:pt x="128" y="19"/>
                    </a:lnTo>
                    <a:lnTo>
                      <a:pt x="130" y="17"/>
                    </a:lnTo>
                    <a:lnTo>
                      <a:pt x="130" y="16"/>
                    </a:lnTo>
                    <a:lnTo>
                      <a:pt x="131" y="15"/>
                    </a:lnTo>
                    <a:lnTo>
                      <a:pt x="128" y="15"/>
                    </a:lnTo>
                    <a:lnTo>
                      <a:pt x="128" y="16"/>
                    </a:lnTo>
                    <a:lnTo>
                      <a:pt x="126" y="15"/>
                    </a:lnTo>
                    <a:lnTo>
                      <a:pt x="126" y="13"/>
                    </a:lnTo>
                    <a:lnTo>
                      <a:pt x="126" y="10"/>
                    </a:lnTo>
                    <a:lnTo>
                      <a:pt x="123" y="8"/>
                    </a:lnTo>
                    <a:lnTo>
                      <a:pt x="121" y="9"/>
                    </a:lnTo>
                    <a:lnTo>
                      <a:pt x="121" y="10"/>
                    </a:lnTo>
                    <a:lnTo>
                      <a:pt x="122" y="10"/>
                    </a:lnTo>
                    <a:lnTo>
                      <a:pt x="120" y="11"/>
                    </a:lnTo>
                    <a:lnTo>
                      <a:pt x="118" y="14"/>
                    </a:lnTo>
                    <a:lnTo>
                      <a:pt x="117" y="14"/>
                    </a:lnTo>
                    <a:lnTo>
                      <a:pt x="115" y="15"/>
                    </a:lnTo>
                    <a:lnTo>
                      <a:pt x="115" y="14"/>
                    </a:lnTo>
                    <a:lnTo>
                      <a:pt x="115" y="13"/>
                    </a:lnTo>
                    <a:lnTo>
                      <a:pt x="114" y="14"/>
                    </a:lnTo>
                    <a:lnTo>
                      <a:pt x="113" y="14"/>
                    </a:lnTo>
                    <a:lnTo>
                      <a:pt x="113" y="10"/>
                    </a:lnTo>
                    <a:lnTo>
                      <a:pt x="112" y="10"/>
                    </a:lnTo>
                    <a:lnTo>
                      <a:pt x="112" y="6"/>
                    </a:lnTo>
                    <a:lnTo>
                      <a:pt x="110" y="6"/>
                    </a:lnTo>
                    <a:lnTo>
                      <a:pt x="111" y="7"/>
                    </a:lnTo>
                    <a:lnTo>
                      <a:pt x="109" y="7"/>
                    </a:lnTo>
                    <a:lnTo>
                      <a:pt x="109" y="10"/>
                    </a:lnTo>
                    <a:lnTo>
                      <a:pt x="107" y="10"/>
                    </a:lnTo>
                    <a:lnTo>
                      <a:pt x="107" y="11"/>
                    </a:lnTo>
                    <a:lnTo>
                      <a:pt x="104" y="9"/>
                    </a:lnTo>
                    <a:lnTo>
                      <a:pt x="102" y="8"/>
                    </a:lnTo>
                    <a:lnTo>
                      <a:pt x="100" y="12"/>
                    </a:lnTo>
                    <a:lnTo>
                      <a:pt x="99" y="12"/>
                    </a:lnTo>
                    <a:lnTo>
                      <a:pt x="95" y="11"/>
                    </a:lnTo>
                    <a:lnTo>
                      <a:pt x="95" y="10"/>
                    </a:lnTo>
                    <a:lnTo>
                      <a:pt x="93" y="10"/>
                    </a:lnTo>
                    <a:lnTo>
                      <a:pt x="93" y="11"/>
                    </a:lnTo>
                    <a:lnTo>
                      <a:pt x="91" y="12"/>
                    </a:lnTo>
                    <a:lnTo>
                      <a:pt x="90" y="14"/>
                    </a:lnTo>
                    <a:lnTo>
                      <a:pt x="92" y="15"/>
                    </a:lnTo>
                    <a:lnTo>
                      <a:pt x="92" y="16"/>
                    </a:lnTo>
                    <a:lnTo>
                      <a:pt x="92" y="17"/>
                    </a:lnTo>
                    <a:lnTo>
                      <a:pt x="90" y="17"/>
                    </a:lnTo>
                    <a:lnTo>
                      <a:pt x="90" y="18"/>
                    </a:lnTo>
                    <a:lnTo>
                      <a:pt x="88" y="18"/>
                    </a:lnTo>
                    <a:lnTo>
                      <a:pt x="89" y="19"/>
                    </a:lnTo>
                    <a:lnTo>
                      <a:pt x="88" y="20"/>
                    </a:lnTo>
                    <a:lnTo>
                      <a:pt x="88" y="23"/>
                    </a:lnTo>
                    <a:lnTo>
                      <a:pt x="90" y="23"/>
                    </a:lnTo>
                    <a:lnTo>
                      <a:pt x="91" y="23"/>
                    </a:lnTo>
                    <a:lnTo>
                      <a:pt x="91" y="24"/>
                    </a:lnTo>
                    <a:lnTo>
                      <a:pt x="91" y="23"/>
                    </a:lnTo>
                    <a:lnTo>
                      <a:pt x="93" y="24"/>
                    </a:lnTo>
                    <a:lnTo>
                      <a:pt x="93" y="25"/>
                    </a:lnTo>
                    <a:lnTo>
                      <a:pt x="91" y="24"/>
                    </a:lnTo>
                    <a:lnTo>
                      <a:pt x="92" y="25"/>
                    </a:lnTo>
                    <a:lnTo>
                      <a:pt x="91" y="27"/>
                    </a:lnTo>
                    <a:lnTo>
                      <a:pt x="92" y="25"/>
                    </a:lnTo>
                    <a:lnTo>
                      <a:pt x="92" y="27"/>
                    </a:lnTo>
                    <a:lnTo>
                      <a:pt x="91" y="28"/>
                    </a:lnTo>
                    <a:lnTo>
                      <a:pt x="92" y="28"/>
                    </a:lnTo>
                    <a:lnTo>
                      <a:pt x="92" y="29"/>
                    </a:lnTo>
                    <a:lnTo>
                      <a:pt x="92" y="32"/>
                    </a:lnTo>
                    <a:lnTo>
                      <a:pt x="91" y="32"/>
                    </a:lnTo>
                    <a:lnTo>
                      <a:pt x="90" y="34"/>
                    </a:lnTo>
                    <a:lnTo>
                      <a:pt x="92" y="35"/>
                    </a:lnTo>
                    <a:lnTo>
                      <a:pt x="91" y="36"/>
                    </a:lnTo>
                    <a:lnTo>
                      <a:pt x="91" y="37"/>
                    </a:lnTo>
                    <a:lnTo>
                      <a:pt x="90" y="38"/>
                    </a:lnTo>
                    <a:lnTo>
                      <a:pt x="91" y="39"/>
                    </a:lnTo>
                    <a:lnTo>
                      <a:pt x="92" y="41"/>
                    </a:lnTo>
                    <a:lnTo>
                      <a:pt x="92" y="42"/>
                    </a:lnTo>
                    <a:lnTo>
                      <a:pt x="93" y="43"/>
                    </a:lnTo>
                    <a:lnTo>
                      <a:pt x="93" y="44"/>
                    </a:lnTo>
                    <a:lnTo>
                      <a:pt x="94" y="44"/>
                    </a:lnTo>
                    <a:lnTo>
                      <a:pt x="94" y="45"/>
                    </a:lnTo>
                    <a:lnTo>
                      <a:pt x="93" y="45"/>
                    </a:lnTo>
                    <a:lnTo>
                      <a:pt x="93" y="46"/>
                    </a:lnTo>
                    <a:lnTo>
                      <a:pt x="97" y="47"/>
                    </a:lnTo>
                    <a:lnTo>
                      <a:pt x="97" y="48"/>
                    </a:lnTo>
                    <a:lnTo>
                      <a:pt x="95" y="48"/>
                    </a:lnTo>
                    <a:lnTo>
                      <a:pt x="93" y="47"/>
                    </a:lnTo>
                    <a:lnTo>
                      <a:pt x="92" y="49"/>
                    </a:lnTo>
                    <a:lnTo>
                      <a:pt x="90" y="52"/>
                    </a:lnTo>
                    <a:lnTo>
                      <a:pt x="88" y="52"/>
                    </a:lnTo>
                    <a:lnTo>
                      <a:pt x="89" y="53"/>
                    </a:lnTo>
                    <a:lnTo>
                      <a:pt x="88" y="55"/>
                    </a:lnTo>
                    <a:lnTo>
                      <a:pt x="88" y="57"/>
                    </a:lnTo>
                    <a:lnTo>
                      <a:pt x="88" y="58"/>
                    </a:lnTo>
                    <a:lnTo>
                      <a:pt x="87" y="61"/>
                    </a:lnTo>
                    <a:lnTo>
                      <a:pt x="86" y="61"/>
                    </a:lnTo>
                    <a:lnTo>
                      <a:pt x="86" y="62"/>
                    </a:lnTo>
                    <a:lnTo>
                      <a:pt x="87" y="62"/>
                    </a:lnTo>
                    <a:lnTo>
                      <a:pt x="86" y="62"/>
                    </a:lnTo>
                    <a:lnTo>
                      <a:pt x="87" y="62"/>
                    </a:lnTo>
                    <a:lnTo>
                      <a:pt x="86" y="63"/>
                    </a:lnTo>
                    <a:lnTo>
                      <a:pt x="87" y="66"/>
                    </a:lnTo>
                    <a:lnTo>
                      <a:pt x="87" y="68"/>
                    </a:lnTo>
                    <a:lnTo>
                      <a:pt x="88" y="70"/>
                    </a:lnTo>
                    <a:lnTo>
                      <a:pt x="89" y="72"/>
                    </a:lnTo>
                    <a:lnTo>
                      <a:pt x="88" y="72"/>
                    </a:lnTo>
                    <a:lnTo>
                      <a:pt x="89" y="73"/>
                    </a:lnTo>
                    <a:lnTo>
                      <a:pt x="88" y="73"/>
                    </a:lnTo>
                    <a:lnTo>
                      <a:pt x="88" y="74"/>
                    </a:lnTo>
                    <a:lnTo>
                      <a:pt x="89" y="74"/>
                    </a:lnTo>
                    <a:lnTo>
                      <a:pt x="90" y="75"/>
                    </a:lnTo>
                    <a:lnTo>
                      <a:pt x="92" y="75"/>
                    </a:lnTo>
                    <a:lnTo>
                      <a:pt x="91" y="76"/>
                    </a:lnTo>
                    <a:lnTo>
                      <a:pt x="92" y="77"/>
                    </a:lnTo>
                    <a:lnTo>
                      <a:pt x="92" y="79"/>
                    </a:lnTo>
                    <a:lnTo>
                      <a:pt x="92" y="81"/>
                    </a:lnTo>
                    <a:lnTo>
                      <a:pt x="91" y="80"/>
                    </a:lnTo>
                    <a:lnTo>
                      <a:pt x="91" y="82"/>
                    </a:lnTo>
                    <a:lnTo>
                      <a:pt x="90" y="82"/>
                    </a:lnTo>
                    <a:lnTo>
                      <a:pt x="88" y="83"/>
                    </a:lnTo>
                    <a:lnTo>
                      <a:pt x="89" y="84"/>
                    </a:lnTo>
                    <a:lnTo>
                      <a:pt x="90" y="82"/>
                    </a:lnTo>
                    <a:lnTo>
                      <a:pt x="90" y="85"/>
                    </a:lnTo>
                    <a:lnTo>
                      <a:pt x="91" y="86"/>
                    </a:lnTo>
                    <a:lnTo>
                      <a:pt x="88" y="86"/>
                    </a:lnTo>
                    <a:lnTo>
                      <a:pt x="86" y="89"/>
                    </a:lnTo>
                    <a:lnTo>
                      <a:pt x="85" y="92"/>
                    </a:lnTo>
                    <a:lnTo>
                      <a:pt x="85" y="93"/>
                    </a:lnTo>
                    <a:lnTo>
                      <a:pt x="84" y="93"/>
                    </a:lnTo>
                    <a:lnTo>
                      <a:pt x="85" y="96"/>
                    </a:lnTo>
                    <a:lnTo>
                      <a:pt x="84" y="98"/>
                    </a:lnTo>
                    <a:lnTo>
                      <a:pt x="80" y="97"/>
                    </a:lnTo>
                    <a:lnTo>
                      <a:pt x="79" y="98"/>
                    </a:lnTo>
                    <a:lnTo>
                      <a:pt x="78" y="100"/>
                    </a:lnTo>
                    <a:lnTo>
                      <a:pt x="77" y="100"/>
                    </a:lnTo>
                    <a:lnTo>
                      <a:pt x="75" y="100"/>
                    </a:lnTo>
                    <a:lnTo>
                      <a:pt x="74" y="105"/>
                    </a:lnTo>
                    <a:lnTo>
                      <a:pt x="71" y="102"/>
                    </a:lnTo>
                    <a:lnTo>
                      <a:pt x="71" y="107"/>
                    </a:lnTo>
                    <a:lnTo>
                      <a:pt x="70" y="108"/>
                    </a:lnTo>
                    <a:lnTo>
                      <a:pt x="69" y="108"/>
                    </a:lnTo>
                    <a:lnTo>
                      <a:pt x="71" y="111"/>
                    </a:lnTo>
                    <a:lnTo>
                      <a:pt x="72" y="111"/>
                    </a:lnTo>
                    <a:lnTo>
                      <a:pt x="73" y="112"/>
                    </a:lnTo>
                    <a:lnTo>
                      <a:pt x="72" y="114"/>
                    </a:lnTo>
                    <a:lnTo>
                      <a:pt x="71" y="115"/>
                    </a:lnTo>
                    <a:lnTo>
                      <a:pt x="71" y="118"/>
                    </a:lnTo>
                    <a:lnTo>
                      <a:pt x="69" y="118"/>
                    </a:lnTo>
                    <a:lnTo>
                      <a:pt x="68" y="118"/>
                    </a:lnTo>
                    <a:lnTo>
                      <a:pt x="67" y="116"/>
                    </a:lnTo>
                    <a:lnTo>
                      <a:pt x="65" y="116"/>
                    </a:lnTo>
                    <a:lnTo>
                      <a:pt x="63" y="116"/>
                    </a:lnTo>
                    <a:lnTo>
                      <a:pt x="62" y="116"/>
                    </a:lnTo>
                    <a:lnTo>
                      <a:pt x="63" y="118"/>
                    </a:lnTo>
                    <a:lnTo>
                      <a:pt x="63" y="122"/>
                    </a:lnTo>
                    <a:lnTo>
                      <a:pt x="63" y="126"/>
                    </a:lnTo>
                    <a:lnTo>
                      <a:pt x="64" y="126"/>
                    </a:lnTo>
                    <a:lnTo>
                      <a:pt x="65" y="126"/>
                    </a:lnTo>
                    <a:lnTo>
                      <a:pt x="69" y="127"/>
                    </a:lnTo>
                    <a:lnTo>
                      <a:pt x="70" y="126"/>
                    </a:lnTo>
                    <a:lnTo>
                      <a:pt x="71" y="128"/>
                    </a:lnTo>
                    <a:lnTo>
                      <a:pt x="69" y="128"/>
                    </a:lnTo>
                    <a:lnTo>
                      <a:pt x="66" y="130"/>
                    </a:lnTo>
                    <a:lnTo>
                      <a:pt x="66" y="131"/>
                    </a:lnTo>
                    <a:lnTo>
                      <a:pt x="68" y="134"/>
                    </a:lnTo>
                    <a:lnTo>
                      <a:pt x="67" y="134"/>
                    </a:lnTo>
                    <a:lnTo>
                      <a:pt x="64" y="133"/>
                    </a:lnTo>
                    <a:lnTo>
                      <a:pt x="64" y="132"/>
                    </a:lnTo>
                    <a:lnTo>
                      <a:pt x="63" y="131"/>
                    </a:lnTo>
                    <a:lnTo>
                      <a:pt x="62" y="133"/>
                    </a:lnTo>
                    <a:lnTo>
                      <a:pt x="63" y="134"/>
                    </a:lnTo>
                    <a:lnTo>
                      <a:pt x="63" y="136"/>
                    </a:lnTo>
                    <a:lnTo>
                      <a:pt x="60" y="135"/>
                    </a:lnTo>
                    <a:lnTo>
                      <a:pt x="58" y="137"/>
                    </a:lnTo>
                    <a:lnTo>
                      <a:pt x="58" y="138"/>
                    </a:lnTo>
                    <a:lnTo>
                      <a:pt x="58" y="139"/>
                    </a:lnTo>
                    <a:lnTo>
                      <a:pt x="57" y="139"/>
                    </a:lnTo>
                    <a:lnTo>
                      <a:pt x="56" y="139"/>
                    </a:lnTo>
                    <a:lnTo>
                      <a:pt x="56" y="141"/>
                    </a:lnTo>
                    <a:lnTo>
                      <a:pt x="58" y="141"/>
                    </a:lnTo>
                    <a:lnTo>
                      <a:pt x="57" y="141"/>
                    </a:lnTo>
                    <a:lnTo>
                      <a:pt x="57" y="143"/>
                    </a:lnTo>
                    <a:lnTo>
                      <a:pt x="58" y="142"/>
                    </a:lnTo>
                    <a:lnTo>
                      <a:pt x="58" y="146"/>
                    </a:lnTo>
                    <a:lnTo>
                      <a:pt x="61" y="148"/>
                    </a:lnTo>
                    <a:lnTo>
                      <a:pt x="61" y="149"/>
                    </a:lnTo>
                    <a:lnTo>
                      <a:pt x="62" y="149"/>
                    </a:lnTo>
                    <a:lnTo>
                      <a:pt x="62" y="153"/>
                    </a:lnTo>
                    <a:lnTo>
                      <a:pt x="63" y="156"/>
                    </a:lnTo>
                    <a:lnTo>
                      <a:pt x="61" y="157"/>
                    </a:lnTo>
                    <a:lnTo>
                      <a:pt x="59" y="156"/>
                    </a:lnTo>
                    <a:lnTo>
                      <a:pt x="58" y="156"/>
                    </a:lnTo>
                    <a:lnTo>
                      <a:pt x="55" y="159"/>
                    </a:lnTo>
                    <a:lnTo>
                      <a:pt x="54" y="167"/>
                    </a:lnTo>
                    <a:lnTo>
                      <a:pt x="52" y="168"/>
                    </a:lnTo>
                    <a:lnTo>
                      <a:pt x="53" y="169"/>
                    </a:lnTo>
                    <a:lnTo>
                      <a:pt x="55" y="169"/>
                    </a:lnTo>
                    <a:lnTo>
                      <a:pt x="53" y="170"/>
                    </a:lnTo>
                    <a:lnTo>
                      <a:pt x="53" y="172"/>
                    </a:lnTo>
                    <a:lnTo>
                      <a:pt x="53" y="170"/>
                    </a:lnTo>
                    <a:lnTo>
                      <a:pt x="52" y="170"/>
                    </a:lnTo>
                    <a:lnTo>
                      <a:pt x="51" y="169"/>
                    </a:lnTo>
                    <a:lnTo>
                      <a:pt x="50" y="170"/>
                    </a:lnTo>
                    <a:lnTo>
                      <a:pt x="49" y="169"/>
                    </a:lnTo>
                    <a:lnTo>
                      <a:pt x="47" y="170"/>
                    </a:lnTo>
                    <a:lnTo>
                      <a:pt x="44" y="170"/>
                    </a:lnTo>
                    <a:lnTo>
                      <a:pt x="44" y="172"/>
                    </a:lnTo>
                    <a:lnTo>
                      <a:pt x="43" y="172"/>
                    </a:lnTo>
                    <a:lnTo>
                      <a:pt x="43" y="174"/>
                    </a:lnTo>
                    <a:lnTo>
                      <a:pt x="41" y="174"/>
                    </a:lnTo>
                    <a:lnTo>
                      <a:pt x="40" y="174"/>
                    </a:lnTo>
                    <a:lnTo>
                      <a:pt x="39" y="176"/>
                    </a:lnTo>
                    <a:lnTo>
                      <a:pt x="35" y="179"/>
                    </a:lnTo>
                    <a:lnTo>
                      <a:pt x="34" y="177"/>
                    </a:lnTo>
                    <a:lnTo>
                      <a:pt x="33" y="176"/>
                    </a:lnTo>
                    <a:lnTo>
                      <a:pt x="32" y="176"/>
                    </a:lnTo>
                    <a:lnTo>
                      <a:pt x="28" y="174"/>
                    </a:lnTo>
                    <a:lnTo>
                      <a:pt x="30" y="174"/>
                    </a:lnTo>
                    <a:lnTo>
                      <a:pt x="30" y="173"/>
                    </a:lnTo>
                    <a:lnTo>
                      <a:pt x="25" y="172"/>
                    </a:lnTo>
                    <a:lnTo>
                      <a:pt x="24" y="172"/>
                    </a:lnTo>
                    <a:lnTo>
                      <a:pt x="24" y="173"/>
                    </a:lnTo>
                    <a:lnTo>
                      <a:pt x="27" y="174"/>
                    </a:lnTo>
                    <a:lnTo>
                      <a:pt x="27" y="176"/>
                    </a:lnTo>
                    <a:lnTo>
                      <a:pt x="25" y="177"/>
                    </a:lnTo>
                    <a:lnTo>
                      <a:pt x="24" y="180"/>
                    </a:lnTo>
                    <a:lnTo>
                      <a:pt x="24" y="182"/>
                    </a:lnTo>
                    <a:lnTo>
                      <a:pt x="23" y="183"/>
                    </a:lnTo>
                    <a:lnTo>
                      <a:pt x="24" y="184"/>
                    </a:lnTo>
                    <a:lnTo>
                      <a:pt x="24" y="190"/>
                    </a:lnTo>
                    <a:lnTo>
                      <a:pt x="24" y="191"/>
                    </a:lnTo>
                    <a:lnTo>
                      <a:pt x="19" y="191"/>
                    </a:lnTo>
                    <a:lnTo>
                      <a:pt x="19" y="192"/>
                    </a:lnTo>
                    <a:lnTo>
                      <a:pt x="20" y="196"/>
                    </a:lnTo>
                    <a:lnTo>
                      <a:pt x="22" y="199"/>
                    </a:lnTo>
                    <a:lnTo>
                      <a:pt x="23" y="200"/>
                    </a:lnTo>
                    <a:lnTo>
                      <a:pt x="22" y="203"/>
                    </a:lnTo>
                    <a:lnTo>
                      <a:pt x="24" y="208"/>
                    </a:lnTo>
                    <a:lnTo>
                      <a:pt x="24" y="211"/>
                    </a:lnTo>
                    <a:lnTo>
                      <a:pt x="24" y="212"/>
                    </a:lnTo>
                    <a:lnTo>
                      <a:pt x="22" y="216"/>
                    </a:lnTo>
                    <a:lnTo>
                      <a:pt x="17" y="220"/>
                    </a:lnTo>
                    <a:lnTo>
                      <a:pt x="15" y="218"/>
                    </a:lnTo>
                    <a:lnTo>
                      <a:pt x="14" y="217"/>
                    </a:lnTo>
                    <a:lnTo>
                      <a:pt x="14" y="216"/>
                    </a:lnTo>
                    <a:lnTo>
                      <a:pt x="13" y="216"/>
                    </a:lnTo>
                    <a:lnTo>
                      <a:pt x="13" y="217"/>
                    </a:lnTo>
                    <a:lnTo>
                      <a:pt x="9" y="222"/>
                    </a:lnTo>
                    <a:lnTo>
                      <a:pt x="7" y="227"/>
                    </a:lnTo>
                    <a:lnTo>
                      <a:pt x="4" y="231"/>
                    </a:lnTo>
                    <a:lnTo>
                      <a:pt x="4" y="232"/>
                    </a:lnTo>
                    <a:lnTo>
                      <a:pt x="4" y="234"/>
                    </a:lnTo>
                    <a:lnTo>
                      <a:pt x="4" y="237"/>
                    </a:lnTo>
                    <a:lnTo>
                      <a:pt x="1" y="240"/>
                    </a:lnTo>
                    <a:lnTo>
                      <a:pt x="1" y="242"/>
                    </a:lnTo>
                    <a:lnTo>
                      <a:pt x="0" y="245"/>
                    </a:lnTo>
                    <a:lnTo>
                      <a:pt x="1" y="248"/>
                    </a:lnTo>
                    <a:lnTo>
                      <a:pt x="4" y="249"/>
                    </a:lnTo>
                    <a:lnTo>
                      <a:pt x="3" y="251"/>
                    </a:lnTo>
                    <a:lnTo>
                      <a:pt x="3" y="254"/>
                    </a:lnTo>
                    <a:lnTo>
                      <a:pt x="5" y="255"/>
                    </a:lnTo>
                    <a:lnTo>
                      <a:pt x="6" y="254"/>
                    </a:lnTo>
                    <a:lnTo>
                      <a:pt x="9" y="256"/>
                    </a:lnTo>
                    <a:lnTo>
                      <a:pt x="10" y="255"/>
                    </a:lnTo>
                    <a:lnTo>
                      <a:pt x="11" y="254"/>
                    </a:lnTo>
                    <a:lnTo>
                      <a:pt x="14" y="259"/>
                    </a:lnTo>
                    <a:lnTo>
                      <a:pt x="12" y="262"/>
                    </a:lnTo>
                    <a:lnTo>
                      <a:pt x="14" y="265"/>
                    </a:lnTo>
                    <a:lnTo>
                      <a:pt x="17" y="271"/>
                    </a:lnTo>
                    <a:lnTo>
                      <a:pt x="17" y="268"/>
                    </a:lnTo>
                    <a:lnTo>
                      <a:pt x="19" y="268"/>
                    </a:lnTo>
                    <a:lnTo>
                      <a:pt x="20" y="266"/>
                    </a:lnTo>
                    <a:lnTo>
                      <a:pt x="23" y="267"/>
                    </a:lnTo>
                    <a:lnTo>
                      <a:pt x="24" y="267"/>
                    </a:lnTo>
                    <a:lnTo>
                      <a:pt x="21" y="269"/>
                    </a:lnTo>
                    <a:lnTo>
                      <a:pt x="20" y="271"/>
                    </a:lnTo>
                    <a:lnTo>
                      <a:pt x="24" y="277"/>
                    </a:lnTo>
                    <a:lnTo>
                      <a:pt x="24" y="282"/>
                    </a:lnTo>
                    <a:lnTo>
                      <a:pt x="25" y="283"/>
                    </a:lnTo>
                    <a:lnTo>
                      <a:pt x="27" y="293"/>
                    </a:lnTo>
                    <a:lnTo>
                      <a:pt x="28" y="294"/>
                    </a:lnTo>
                    <a:lnTo>
                      <a:pt x="30" y="295"/>
                    </a:lnTo>
                    <a:lnTo>
                      <a:pt x="30" y="297"/>
                    </a:lnTo>
                    <a:lnTo>
                      <a:pt x="30" y="300"/>
                    </a:lnTo>
                    <a:lnTo>
                      <a:pt x="32" y="301"/>
                    </a:lnTo>
                    <a:lnTo>
                      <a:pt x="34" y="301"/>
                    </a:lnTo>
                    <a:lnTo>
                      <a:pt x="35" y="302"/>
                    </a:lnTo>
                    <a:lnTo>
                      <a:pt x="38" y="301"/>
                    </a:lnTo>
                    <a:lnTo>
                      <a:pt x="43" y="303"/>
                    </a:lnTo>
                    <a:lnTo>
                      <a:pt x="45" y="302"/>
                    </a:lnTo>
                    <a:lnTo>
                      <a:pt x="47" y="300"/>
                    </a:lnTo>
                    <a:lnTo>
                      <a:pt x="49" y="301"/>
                    </a:lnTo>
                    <a:lnTo>
                      <a:pt x="49" y="305"/>
                    </a:lnTo>
                    <a:lnTo>
                      <a:pt x="52" y="311"/>
                    </a:lnTo>
                    <a:lnTo>
                      <a:pt x="50" y="313"/>
                    </a:lnTo>
                    <a:lnTo>
                      <a:pt x="53" y="324"/>
                    </a:lnTo>
                    <a:lnTo>
                      <a:pt x="53" y="325"/>
                    </a:lnTo>
                    <a:lnTo>
                      <a:pt x="55" y="328"/>
                    </a:lnTo>
                    <a:lnTo>
                      <a:pt x="57" y="328"/>
                    </a:lnTo>
                    <a:lnTo>
                      <a:pt x="61" y="329"/>
                    </a:lnTo>
                    <a:lnTo>
                      <a:pt x="59" y="332"/>
                    </a:lnTo>
                    <a:lnTo>
                      <a:pt x="61" y="335"/>
                    </a:lnTo>
                    <a:lnTo>
                      <a:pt x="61" y="337"/>
                    </a:lnTo>
                    <a:lnTo>
                      <a:pt x="64" y="345"/>
                    </a:lnTo>
                    <a:lnTo>
                      <a:pt x="62" y="351"/>
                    </a:lnTo>
                    <a:lnTo>
                      <a:pt x="61" y="353"/>
                    </a:lnTo>
                    <a:lnTo>
                      <a:pt x="63" y="356"/>
                    </a:lnTo>
                    <a:lnTo>
                      <a:pt x="68" y="359"/>
                    </a:lnTo>
                    <a:lnTo>
                      <a:pt x="71" y="358"/>
                    </a:lnTo>
                    <a:lnTo>
                      <a:pt x="72" y="360"/>
                    </a:lnTo>
                    <a:lnTo>
                      <a:pt x="74" y="359"/>
                    </a:lnTo>
                    <a:lnTo>
                      <a:pt x="79" y="362"/>
                    </a:lnTo>
                    <a:lnTo>
                      <a:pt x="82" y="366"/>
                    </a:lnTo>
                    <a:lnTo>
                      <a:pt x="85" y="368"/>
                    </a:lnTo>
                    <a:lnTo>
                      <a:pt x="88" y="375"/>
                    </a:lnTo>
                    <a:lnTo>
                      <a:pt x="90" y="377"/>
                    </a:lnTo>
                    <a:lnTo>
                      <a:pt x="90" y="379"/>
                    </a:lnTo>
                    <a:lnTo>
                      <a:pt x="92" y="379"/>
                    </a:lnTo>
                    <a:lnTo>
                      <a:pt x="92" y="381"/>
                    </a:lnTo>
                    <a:lnTo>
                      <a:pt x="95" y="386"/>
                    </a:lnTo>
                    <a:lnTo>
                      <a:pt x="97" y="386"/>
                    </a:lnTo>
                    <a:lnTo>
                      <a:pt x="98" y="388"/>
                    </a:lnTo>
                    <a:lnTo>
                      <a:pt x="99" y="391"/>
                    </a:lnTo>
                    <a:lnTo>
                      <a:pt x="103" y="392"/>
                    </a:lnTo>
                    <a:lnTo>
                      <a:pt x="105" y="394"/>
                    </a:lnTo>
                    <a:lnTo>
                      <a:pt x="107" y="394"/>
                    </a:lnTo>
                    <a:lnTo>
                      <a:pt x="112" y="396"/>
                    </a:lnTo>
                    <a:lnTo>
                      <a:pt x="113" y="397"/>
                    </a:lnTo>
                    <a:lnTo>
                      <a:pt x="113" y="400"/>
                    </a:lnTo>
                    <a:lnTo>
                      <a:pt x="112" y="402"/>
                    </a:lnTo>
                    <a:lnTo>
                      <a:pt x="115" y="402"/>
                    </a:lnTo>
                    <a:lnTo>
                      <a:pt x="114" y="403"/>
                    </a:lnTo>
                    <a:lnTo>
                      <a:pt x="116" y="405"/>
                    </a:lnTo>
                    <a:lnTo>
                      <a:pt x="117" y="407"/>
                    </a:lnTo>
                    <a:lnTo>
                      <a:pt x="116" y="407"/>
                    </a:lnTo>
                    <a:lnTo>
                      <a:pt x="115" y="408"/>
                    </a:lnTo>
                    <a:lnTo>
                      <a:pt x="118" y="410"/>
                    </a:lnTo>
                    <a:lnTo>
                      <a:pt x="118" y="412"/>
                    </a:lnTo>
                    <a:lnTo>
                      <a:pt x="119" y="412"/>
                    </a:lnTo>
                    <a:lnTo>
                      <a:pt x="121" y="412"/>
                    </a:lnTo>
                    <a:lnTo>
                      <a:pt x="123" y="414"/>
                    </a:lnTo>
                    <a:lnTo>
                      <a:pt x="125" y="414"/>
                    </a:lnTo>
                    <a:lnTo>
                      <a:pt x="124" y="418"/>
                    </a:lnTo>
                    <a:lnTo>
                      <a:pt x="123" y="421"/>
                    </a:lnTo>
                    <a:lnTo>
                      <a:pt x="121" y="423"/>
                    </a:lnTo>
                    <a:lnTo>
                      <a:pt x="118" y="422"/>
                    </a:lnTo>
                    <a:lnTo>
                      <a:pt x="113" y="422"/>
                    </a:lnTo>
                    <a:lnTo>
                      <a:pt x="113" y="426"/>
                    </a:lnTo>
                    <a:lnTo>
                      <a:pt x="111" y="426"/>
                    </a:lnTo>
                    <a:lnTo>
                      <a:pt x="110" y="427"/>
                    </a:lnTo>
                    <a:lnTo>
                      <a:pt x="109" y="427"/>
                    </a:lnTo>
                    <a:lnTo>
                      <a:pt x="112" y="431"/>
                    </a:lnTo>
                    <a:lnTo>
                      <a:pt x="112" y="432"/>
                    </a:lnTo>
                    <a:lnTo>
                      <a:pt x="114" y="434"/>
                    </a:lnTo>
                    <a:lnTo>
                      <a:pt x="113" y="435"/>
                    </a:lnTo>
                    <a:lnTo>
                      <a:pt x="117" y="435"/>
                    </a:lnTo>
                    <a:lnTo>
                      <a:pt x="118" y="435"/>
                    </a:lnTo>
                    <a:lnTo>
                      <a:pt x="118" y="439"/>
                    </a:lnTo>
                    <a:lnTo>
                      <a:pt x="116" y="439"/>
                    </a:lnTo>
                    <a:lnTo>
                      <a:pt x="117" y="440"/>
                    </a:lnTo>
                    <a:lnTo>
                      <a:pt x="116" y="442"/>
                    </a:lnTo>
                    <a:lnTo>
                      <a:pt x="118" y="443"/>
                    </a:lnTo>
                    <a:lnTo>
                      <a:pt x="118" y="444"/>
                    </a:lnTo>
                    <a:lnTo>
                      <a:pt x="119" y="447"/>
                    </a:lnTo>
                    <a:lnTo>
                      <a:pt x="121" y="445"/>
                    </a:lnTo>
                    <a:lnTo>
                      <a:pt x="123" y="446"/>
                    </a:lnTo>
                    <a:lnTo>
                      <a:pt x="122" y="448"/>
                    </a:lnTo>
                    <a:lnTo>
                      <a:pt x="122" y="451"/>
                    </a:lnTo>
                    <a:lnTo>
                      <a:pt x="123" y="451"/>
                    </a:lnTo>
                    <a:lnTo>
                      <a:pt x="124" y="449"/>
                    </a:lnTo>
                    <a:lnTo>
                      <a:pt x="130" y="450"/>
                    </a:lnTo>
                    <a:lnTo>
                      <a:pt x="131" y="451"/>
                    </a:lnTo>
                    <a:lnTo>
                      <a:pt x="129" y="454"/>
                    </a:lnTo>
                    <a:lnTo>
                      <a:pt x="132" y="456"/>
                    </a:lnTo>
                    <a:lnTo>
                      <a:pt x="136" y="456"/>
                    </a:lnTo>
                    <a:lnTo>
                      <a:pt x="140" y="453"/>
                    </a:lnTo>
                    <a:lnTo>
                      <a:pt x="143" y="455"/>
                    </a:lnTo>
                    <a:lnTo>
                      <a:pt x="145" y="454"/>
                    </a:lnTo>
                    <a:lnTo>
                      <a:pt x="148" y="456"/>
                    </a:lnTo>
                    <a:lnTo>
                      <a:pt x="148" y="458"/>
                    </a:lnTo>
                    <a:lnTo>
                      <a:pt x="152" y="457"/>
                    </a:lnTo>
                    <a:lnTo>
                      <a:pt x="153" y="457"/>
                    </a:lnTo>
                    <a:lnTo>
                      <a:pt x="154" y="457"/>
                    </a:lnTo>
                    <a:lnTo>
                      <a:pt x="155" y="457"/>
                    </a:lnTo>
                    <a:lnTo>
                      <a:pt x="158" y="458"/>
                    </a:lnTo>
                    <a:lnTo>
                      <a:pt x="162" y="461"/>
                    </a:lnTo>
                    <a:lnTo>
                      <a:pt x="166" y="463"/>
                    </a:lnTo>
                    <a:lnTo>
                      <a:pt x="169" y="465"/>
                    </a:lnTo>
                    <a:lnTo>
                      <a:pt x="169" y="467"/>
                    </a:lnTo>
                    <a:lnTo>
                      <a:pt x="174" y="465"/>
                    </a:lnTo>
                    <a:lnTo>
                      <a:pt x="178" y="467"/>
                    </a:lnTo>
                    <a:lnTo>
                      <a:pt x="180" y="471"/>
                    </a:lnTo>
                    <a:lnTo>
                      <a:pt x="188" y="477"/>
                    </a:lnTo>
                    <a:lnTo>
                      <a:pt x="190" y="477"/>
                    </a:lnTo>
                    <a:lnTo>
                      <a:pt x="191" y="477"/>
                    </a:lnTo>
                    <a:lnTo>
                      <a:pt x="191" y="481"/>
                    </a:lnTo>
                    <a:lnTo>
                      <a:pt x="193" y="482"/>
                    </a:lnTo>
                    <a:lnTo>
                      <a:pt x="196" y="482"/>
                    </a:lnTo>
                    <a:lnTo>
                      <a:pt x="197" y="479"/>
                    </a:lnTo>
                    <a:lnTo>
                      <a:pt x="200" y="478"/>
                    </a:lnTo>
                    <a:lnTo>
                      <a:pt x="200" y="476"/>
                    </a:lnTo>
                    <a:lnTo>
                      <a:pt x="202" y="473"/>
                    </a:lnTo>
                    <a:lnTo>
                      <a:pt x="204" y="473"/>
                    </a:lnTo>
                    <a:lnTo>
                      <a:pt x="205" y="476"/>
                    </a:lnTo>
                    <a:lnTo>
                      <a:pt x="206" y="477"/>
                    </a:lnTo>
                    <a:lnTo>
                      <a:pt x="208" y="477"/>
                    </a:lnTo>
                    <a:lnTo>
                      <a:pt x="210" y="476"/>
                    </a:lnTo>
                    <a:lnTo>
                      <a:pt x="211" y="473"/>
                    </a:lnTo>
                    <a:lnTo>
                      <a:pt x="211" y="471"/>
                    </a:lnTo>
                    <a:lnTo>
                      <a:pt x="210" y="470"/>
                    </a:lnTo>
                    <a:lnTo>
                      <a:pt x="210" y="466"/>
                    </a:lnTo>
                    <a:lnTo>
                      <a:pt x="211" y="465"/>
                    </a:lnTo>
                    <a:lnTo>
                      <a:pt x="213" y="467"/>
                    </a:lnTo>
                    <a:lnTo>
                      <a:pt x="215" y="467"/>
                    </a:lnTo>
                    <a:lnTo>
                      <a:pt x="216" y="467"/>
                    </a:lnTo>
                    <a:lnTo>
                      <a:pt x="218" y="467"/>
                    </a:lnTo>
                    <a:lnTo>
                      <a:pt x="221" y="470"/>
                    </a:lnTo>
                    <a:lnTo>
                      <a:pt x="223" y="470"/>
                    </a:lnTo>
                    <a:lnTo>
                      <a:pt x="224" y="466"/>
                    </a:lnTo>
                    <a:lnTo>
                      <a:pt x="226" y="465"/>
                    </a:lnTo>
                    <a:lnTo>
                      <a:pt x="227" y="462"/>
                    </a:lnTo>
                    <a:lnTo>
                      <a:pt x="229" y="459"/>
                    </a:lnTo>
                    <a:lnTo>
                      <a:pt x="229" y="456"/>
                    </a:lnTo>
                    <a:lnTo>
                      <a:pt x="231" y="454"/>
                    </a:lnTo>
                    <a:lnTo>
                      <a:pt x="232" y="454"/>
                    </a:lnTo>
                    <a:lnTo>
                      <a:pt x="231" y="450"/>
                    </a:lnTo>
                    <a:lnTo>
                      <a:pt x="229" y="447"/>
                    </a:lnTo>
                    <a:lnTo>
                      <a:pt x="229" y="444"/>
                    </a:lnTo>
                    <a:lnTo>
                      <a:pt x="232" y="444"/>
                    </a:lnTo>
                    <a:lnTo>
                      <a:pt x="233" y="445"/>
                    </a:lnTo>
                    <a:lnTo>
                      <a:pt x="236" y="444"/>
                    </a:lnTo>
                    <a:lnTo>
                      <a:pt x="237" y="446"/>
                    </a:lnTo>
                    <a:lnTo>
                      <a:pt x="238" y="447"/>
                    </a:lnTo>
                    <a:lnTo>
                      <a:pt x="237" y="447"/>
                    </a:lnTo>
                    <a:lnTo>
                      <a:pt x="237" y="448"/>
                    </a:lnTo>
                    <a:lnTo>
                      <a:pt x="239" y="450"/>
                    </a:lnTo>
                    <a:lnTo>
                      <a:pt x="242" y="452"/>
                    </a:lnTo>
                    <a:lnTo>
                      <a:pt x="242" y="455"/>
                    </a:lnTo>
                    <a:lnTo>
                      <a:pt x="242" y="456"/>
                    </a:lnTo>
                    <a:lnTo>
                      <a:pt x="243" y="457"/>
                    </a:lnTo>
                    <a:lnTo>
                      <a:pt x="244" y="460"/>
                    </a:lnTo>
                    <a:lnTo>
                      <a:pt x="246" y="459"/>
                    </a:lnTo>
                    <a:lnTo>
                      <a:pt x="249" y="459"/>
                    </a:lnTo>
                    <a:lnTo>
                      <a:pt x="250" y="461"/>
                    </a:lnTo>
                    <a:lnTo>
                      <a:pt x="256" y="463"/>
                    </a:lnTo>
                    <a:lnTo>
                      <a:pt x="257" y="464"/>
                    </a:lnTo>
                    <a:lnTo>
                      <a:pt x="257" y="467"/>
                    </a:lnTo>
                    <a:lnTo>
                      <a:pt x="259" y="469"/>
                    </a:lnTo>
                    <a:lnTo>
                      <a:pt x="260" y="468"/>
                    </a:lnTo>
                    <a:lnTo>
                      <a:pt x="260" y="466"/>
                    </a:lnTo>
                    <a:lnTo>
                      <a:pt x="262" y="466"/>
                    </a:lnTo>
                    <a:lnTo>
                      <a:pt x="263" y="465"/>
                    </a:lnTo>
                    <a:lnTo>
                      <a:pt x="264" y="465"/>
                    </a:lnTo>
                    <a:lnTo>
                      <a:pt x="266" y="463"/>
                    </a:lnTo>
                    <a:lnTo>
                      <a:pt x="268" y="463"/>
                    </a:lnTo>
                    <a:lnTo>
                      <a:pt x="271" y="460"/>
                    </a:lnTo>
                    <a:lnTo>
                      <a:pt x="272" y="459"/>
                    </a:lnTo>
                    <a:lnTo>
                      <a:pt x="275" y="459"/>
                    </a:lnTo>
                    <a:lnTo>
                      <a:pt x="276" y="463"/>
                    </a:lnTo>
                    <a:lnTo>
                      <a:pt x="276" y="470"/>
                    </a:lnTo>
                    <a:lnTo>
                      <a:pt x="278" y="471"/>
                    </a:lnTo>
                    <a:lnTo>
                      <a:pt x="279" y="471"/>
                    </a:lnTo>
                    <a:lnTo>
                      <a:pt x="283" y="470"/>
                    </a:lnTo>
                    <a:lnTo>
                      <a:pt x="285" y="475"/>
                    </a:lnTo>
                    <a:lnTo>
                      <a:pt x="286" y="483"/>
                    </a:lnTo>
                    <a:lnTo>
                      <a:pt x="292" y="483"/>
                    </a:lnTo>
                    <a:lnTo>
                      <a:pt x="294" y="482"/>
                    </a:lnTo>
                    <a:lnTo>
                      <a:pt x="294" y="483"/>
                    </a:lnTo>
                    <a:lnTo>
                      <a:pt x="295" y="482"/>
                    </a:lnTo>
                    <a:lnTo>
                      <a:pt x="297" y="484"/>
                    </a:lnTo>
                    <a:lnTo>
                      <a:pt x="299" y="482"/>
                    </a:lnTo>
                    <a:lnTo>
                      <a:pt x="299" y="480"/>
                    </a:lnTo>
                    <a:lnTo>
                      <a:pt x="301" y="479"/>
                    </a:lnTo>
                    <a:lnTo>
                      <a:pt x="301" y="478"/>
                    </a:lnTo>
                    <a:lnTo>
                      <a:pt x="304" y="476"/>
                    </a:lnTo>
                    <a:lnTo>
                      <a:pt x="303" y="468"/>
                    </a:lnTo>
                    <a:lnTo>
                      <a:pt x="306" y="458"/>
                    </a:lnTo>
                    <a:lnTo>
                      <a:pt x="306" y="453"/>
                    </a:lnTo>
                    <a:lnTo>
                      <a:pt x="304" y="453"/>
                    </a:lnTo>
                    <a:lnTo>
                      <a:pt x="308" y="441"/>
                    </a:lnTo>
                    <a:lnTo>
                      <a:pt x="309" y="440"/>
                    </a:lnTo>
                    <a:lnTo>
                      <a:pt x="310" y="436"/>
                    </a:lnTo>
                    <a:lnTo>
                      <a:pt x="313" y="431"/>
                    </a:lnTo>
                    <a:lnTo>
                      <a:pt x="314" y="430"/>
                    </a:lnTo>
                    <a:lnTo>
                      <a:pt x="319" y="430"/>
                    </a:lnTo>
                    <a:lnTo>
                      <a:pt x="320" y="427"/>
                    </a:lnTo>
                    <a:lnTo>
                      <a:pt x="324" y="427"/>
                    </a:lnTo>
                    <a:lnTo>
                      <a:pt x="328" y="424"/>
                    </a:lnTo>
                    <a:lnTo>
                      <a:pt x="328" y="422"/>
                    </a:lnTo>
                    <a:lnTo>
                      <a:pt x="330" y="421"/>
                    </a:lnTo>
                    <a:lnTo>
                      <a:pt x="330" y="419"/>
                    </a:lnTo>
                    <a:lnTo>
                      <a:pt x="332" y="418"/>
                    </a:lnTo>
                    <a:lnTo>
                      <a:pt x="333" y="418"/>
                    </a:lnTo>
                    <a:lnTo>
                      <a:pt x="335" y="418"/>
                    </a:lnTo>
                    <a:lnTo>
                      <a:pt x="333" y="411"/>
                    </a:lnTo>
                    <a:lnTo>
                      <a:pt x="337" y="405"/>
                    </a:lnTo>
                    <a:lnTo>
                      <a:pt x="337" y="403"/>
                    </a:lnTo>
                    <a:lnTo>
                      <a:pt x="336" y="400"/>
                    </a:lnTo>
                    <a:lnTo>
                      <a:pt x="337" y="399"/>
                    </a:lnTo>
                    <a:lnTo>
                      <a:pt x="337" y="397"/>
                    </a:lnTo>
                    <a:lnTo>
                      <a:pt x="340" y="396"/>
                    </a:lnTo>
                    <a:lnTo>
                      <a:pt x="341" y="396"/>
                    </a:lnTo>
                    <a:lnTo>
                      <a:pt x="343" y="397"/>
                    </a:lnTo>
                    <a:lnTo>
                      <a:pt x="346" y="397"/>
                    </a:lnTo>
                    <a:lnTo>
                      <a:pt x="347" y="396"/>
                    </a:lnTo>
                    <a:lnTo>
                      <a:pt x="348" y="398"/>
                    </a:lnTo>
                    <a:lnTo>
                      <a:pt x="348" y="397"/>
                    </a:lnTo>
                    <a:lnTo>
                      <a:pt x="349" y="399"/>
                    </a:lnTo>
                    <a:lnTo>
                      <a:pt x="350" y="400"/>
                    </a:lnTo>
                    <a:lnTo>
                      <a:pt x="351" y="399"/>
                    </a:lnTo>
                    <a:lnTo>
                      <a:pt x="352" y="400"/>
                    </a:lnTo>
                    <a:lnTo>
                      <a:pt x="354" y="398"/>
                    </a:lnTo>
                    <a:lnTo>
                      <a:pt x="356" y="399"/>
                    </a:lnTo>
                    <a:lnTo>
                      <a:pt x="358" y="401"/>
                    </a:lnTo>
                    <a:lnTo>
                      <a:pt x="358" y="403"/>
                    </a:lnTo>
                    <a:lnTo>
                      <a:pt x="361" y="403"/>
                    </a:lnTo>
                    <a:lnTo>
                      <a:pt x="363" y="405"/>
                    </a:lnTo>
                    <a:lnTo>
                      <a:pt x="365" y="406"/>
                    </a:lnTo>
                    <a:lnTo>
                      <a:pt x="366" y="405"/>
                    </a:lnTo>
                    <a:lnTo>
                      <a:pt x="369" y="407"/>
                    </a:lnTo>
                    <a:lnTo>
                      <a:pt x="371" y="408"/>
                    </a:lnTo>
                    <a:lnTo>
                      <a:pt x="372" y="410"/>
                    </a:lnTo>
                    <a:lnTo>
                      <a:pt x="374" y="410"/>
                    </a:lnTo>
                    <a:lnTo>
                      <a:pt x="375" y="410"/>
                    </a:lnTo>
                    <a:lnTo>
                      <a:pt x="377" y="412"/>
                    </a:lnTo>
                    <a:lnTo>
                      <a:pt x="379" y="410"/>
                    </a:lnTo>
                    <a:lnTo>
                      <a:pt x="380" y="410"/>
                    </a:lnTo>
                    <a:lnTo>
                      <a:pt x="382" y="409"/>
                    </a:lnTo>
                    <a:lnTo>
                      <a:pt x="384" y="405"/>
                    </a:lnTo>
                    <a:lnTo>
                      <a:pt x="384" y="403"/>
                    </a:lnTo>
                    <a:lnTo>
                      <a:pt x="379" y="398"/>
                    </a:lnTo>
                    <a:lnTo>
                      <a:pt x="379" y="397"/>
                    </a:lnTo>
                    <a:lnTo>
                      <a:pt x="379" y="396"/>
                    </a:lnTo>
                    <a:lnTo>
                      <a:pt x="378" y="395"/>
                    </a:lnTo>
                    <a:lnTo>
                      <a:pt x="381" y="392"/>
                    </a:lnTo>
                    <a:lnTo>
                      <a:pt x="381" y="387"/>
                    </a:lnTo>
                    <a:lnTo>
                      <a:pt x="384" y="382"/>
                    </a:lnTo>
                    <a:lnTo>
                      <a:pt x="384" y="376"/>
                    </a:lnTo>
                    <a:lnTo>
                      <a:pt x="386" y="375"/>
                    </a:lnTo>
                    <a:lnTo>
                      <a:pt x="386" y="374"/>
                    </a:lnTo>
                    <a:lnTo>
                      <a:pt x="389" y="374"/>
                    </a:lnTo>
                    <a:lnTo>
                      <a:pt x="389" y="372"/>
                    </a:lnTo>
                    <a:lnTo>
                      <a:pt x="388" y="369"/>
                    </a:lnTo>
                    <a:lnTo>
                      <a:pt x="387" y="369"/>
                    </a:lnTo>
                    <a:lnTo>
                      <a:pt x="387" y="365"/>
                    </a:lnTo>
                    <a:lnTo>
                      <a:pt x="388" y="359"/>
                    </a:lnTo>
                    <a:lnTo>
                      <a:pt x="391" y="359"/>
                    </a:lnTo>
                    <a:lnTo>
                      <a:pt x="392" y="351"/>
                    </a:lnTo>
                    <a:lnTo>
                      <a:pt x="393" y="352"/>
                    </a:lnTo>
                    <a:lnTo>
                      <a:pt x="393" y="350"/>
                    </a:lnTo>
                    <a:lnTo>
                      <a:pt x="394" y="348"/>
                    </a:lnTo>
                    <a:lnTo>
                      <a:pt x="395" y="346"/>
                    </a:lnTo>
                    <a:lnTo>
                      <a:pt x="395" y="340"/>
                    </a:lnTo>
                    <a:lnTo>
                      <a:pt x="393" y="339"/>
                    </a:lnTo>
                    <a:lnTo>
                      <a:pt x="393" y="336"/>
                    </a:lnTo>
                    <a:lnTo>
                      <a:pt x="392" y="335"/>
                    </a:lnTo>
                    <a:lnTo>
                      <a:pt x="392" y="333"/>
                    </a:lnTo>
                    <a:lnTo>
                      <a:pt x="394" y="332"/>
                    </a:lnTo>
                    <a:lnTo>
                      <a:pt x="395" y="331"/>
                    </a:lnTo>
                    <a:lnTo>
                      <a:pt x="395" y="328"/>
                    </a:lnTo>
                    <a:lnTo>
                      <a:pt x="393" y="327"/>
                    </a:lnTo>
                    <a:lnTo>
                      <a:pt x="393" y="321"/>
                    </a:lnTo>
                    <a:lnTo>
                      <a:pt x="393" y="318"/>
                    </a:lnTo>
                    <a:lnTo>
                      <a:pt x="394" y="314"/>
                    </a:lnTo>
                    <a:lnTo>
                      <a:pt x="395" y="310"/>
                    </a:lnTo>
                    <a:lnTo>
                      <a:pt x="395" y="311"/>
                    </a:lnTo>
                    <a:lnTo>
                      <a:pt x="397" y="307"/>
                    </a:lnTo>
                    <a:lnTo>
                      <a:pt x="400" y="306"/>
                    </a:lnTo>
                    <a:lnTo>
                      <a:pt x="401" y="305"/>
                    </a:lnTo>
                    <a:lnTo>
                      <a:pt x="401" y="304"/>
                    </a:lnTo>
                    <a:lnTo>
                      <a:pt x="402" y="299"/>
                    </a:lnTo>
                    <a:lnTo>
                      <a:pt x="401" y="299"/>
                    </a:lnTo>
                    <a:lnTo>
                      <a:pt x="400" y="297"/>
                    </a:lnTo>
                    <a:lnTo>
                      <a:pt x="402" y="294"/>
                    </a:lnTo>
                    <a:lnTo>
                      <a:pt x="403" y="295"/>
                    </a:lnTo>
                    <a:lnTo>
                      <a:pt x="406" y="295"/>
                    </a:lnTo>
                    <a:lnTo>
                      <a:pt x="407" y="293"/>
                    </a:lnTo>
                    <a:lnTo>
                      <a:pt x="409" y="292"/>
                    </a:lnTo>
                    <a:lnTo>
                      <a:pt x="410" y="295"/>
                    </a:lnTo>
                    <a:lnTo>
                      <a:pt x="414" y="297"/>
                    </a:lnTo>
                    <a:lnTo>
                      <a:pt x="418" y="296"/>
                    </a:lnTo>
                    <a:lnTo>
                      <a:pt x="420" y="297"/>
                    </a:lnTo>
                    <a:lnTo>
                      <a:pt x="421" y="301"/>
                    </a:lnTo>
                    <a:lnTo>
                      <a:pt x="420" y="302"/>
                    </a:lnTo>
                    <a:lnTo>
                      <a:pt x="420" y="303"/>
                    </a:lnTo>
                    <a:lnTo>
                      <a:pt x="420" y="305"/>
                    </a:lnTo>
                    <a:lnTo>
                      <a:pt x="426" y="306"/>
                    </a:lnTo>
                    <a:lnTo>
                      <a:pt x="430" y="308"/>
                    </a:lnTo>
                    <a:lnTo>
                      <a:pt x="431" y="306"/>
                    </a:lnTo>
                    <a:lnTo>
                      <a:pt x="433" y="306"/>
                    </a:lnTo>
                    <a:lnTo>
                      <a:pt x="435" y="307"/>
                    </a:lnTo>
                    <a:lnTo>
                      <a:pt x="436" y="306"/>
                    </a:lnTo>
                    <a:lnTo>
                      <a:pt x="437" y="307"/>
                    </a:lnTo>
                    <a:lnTo>
                      <a:pt x="439" y="306"/>
                    </a:lnTo>
                    <a:lnTo>
                      <a:pt x="439" y="308"/>
                    </a:lnTo>
                    <a:lnTo>
                      <a:pt x="444" y="311"/>
                    </a:lnTo>
                    <a:lnTo>
                      <a:pt x="444" y="314"/>
                    </a:lnTo>
                    <a:lnTo>
                      <a:pt x="443" y="314"/>
                    </a:lnTo>
                    <a:lnTo>
                      <a:pt x="442" y="315"/>
                    </a:lnTo>
                    <a:lnTo>
                      <a:pt x="442" y="316"/>
                    </a:lnTo>
                    <a:lnTo>
                      <a:pt x="445" y="318"/>
                    </a:lnTo>
                    <a:lnTo>
                      <a:pt x="445" y="319"/>
                    </a:lnTo>
                    <a:lnTo>
                      <a:pt x="444" y="320"/>
                    </a:lnTo>
                    <a:lnTo>
                      <a:pt x="446" y="322"/>
                    </a:lnTo>
                    <a:lnTo>
                      <a:pt x="446" y="325"/>
                    </a:lnTo>
                    <a:lnTo>
                      <a:pt x="446" y="326"/>
                    </a:lnTo>
                    <a:lnTo>
                      <a:pt x="444" y="327"/>
                    </a:lnTo>
                    <a:lnTo>
                      <a:pt x="441" y="332"/>
                    </a:lnTo>
                    <a:lnTo>
                      <a:pt x="443" y="335"/>
                    </a:lnTo>
                    <a:lnTo>
                      <a:pt x="444" y="334"/>
                    </a:lnTo>
                    <a:lnTo>
                      <a:pt x="445" y="335"/>
                    </a:lnTo>
                    <a:lnTo>
                      <a:pt x="448" y="333"/>
                    </a:lnTo>
                    <a:lnTo>
                      <a:pt x="450" y="335"/>
                    </a:lnTo>
                    <a:lnTo>
                      <a:pt x="454" y="331"/>
                    </a:lnTo>
                    <a:lnTo>
                      <a:pt x="456" y="331"/>
                    </a:lnTo>
                    <a:lnTo>
                      <a:pt x="458" y="329"/>
                    </a:lnTo>
                    <a:lnTo>
                      <a:pt x="459" y="329"/>
                    </a:lnTo>
                    <a:lnTo>
                      <a:pt x="462" y="329"/>
                    </a:lnTo>
                    <a:lnTo>
                      <a:pt x="466" y="330"/>
                    </a:lnTo>
                    <a:lnTo>
                      <a:pt x="467" y="330"/>
                    </a:lnTo>
                    <a:lnTo>
                      <a:pt x="471" y="333"/>
                    </a:lnTo>
                    <a:lnTo>
                      <a:pt x="472" y="331"/>
                    </a:lnTo>
                    <a:lnTo>
                      <a:pt x="474" y="331"/>
                    </a:lnTo>
                    <a:lnTo>
                      <a:pt x="473" y="328"/>
                    </a:lnTo>
                    <a:lnTo>
                      <a:pt x="474" y="328"/>
                    </a:lnTo>
                    <a:lnTo>
                      <a:pt x="475" y="328"/>
                    </a:lnTo>
                    <a:lnTo>
                      <a:pt x="478" y="322"/>
                    </a:lnTo>
                    <a:lnTo>
                      <a:pt x="479" y="322"/>
                    </a:lnTo>
                    <a:lnTo>
                      <a:pt x="477" y="318"/>
                    </a:lnTo>
                    <a:lnTo>
                      <a:pt x="478" y="315"/>
                    </a:lnTo>
                    <a:lnTo>
                      <a:pt x="481" y="316"/>
                    </a:lnTo>
                    <a:lnTo>
                      <a:pt x="482" y="318"/>
                    </a:lnTo>
                    <a:lnTo>
                      <a:pt x="481" y="320"/>
                    </a:lnTo>
                    <a:lnTo>
                      <a:pt x="485" y="324"/>
                    </a:lnTo>
                    <a:lnTo>
                      <a:pt x="487" y="323"/>
                    </a:lnTo>
                    <a:lnTo>
                      <a:pt x="489" y="325"/>
                    </a:lnTo>
                    <a:lnTo>
                      <a:pt x="491" y="324"/>
                    </a:lnTo>
                    <a:lnTo>
                      <a:pt x="492" y="322"/>
                    </a:lnTo>
                    <a:lnTo>
                      <a:pt x="494" y="323"/>
                    </a:lnTo>
                    <a:lnTo>
                      <a:pt x="497" y="322"/>
                    </a:lnTo>
                    <a:lnTo>
                      <a:pt x="501" y="324"/>
                    </a:lnTo>
                    <a:lnTo>
                      <a:pt x="507" y="329"/>
                    </a:lnTo>
                    <a:lnTo>
                      <a:pt x="508" y="333"/>
                    </a:lnTo>
                    <a:lnTo>
                      <a:pt x="511" y="334"/>
                    </a:lnTo>
                    <a:lnTo>
                      <a:pt x="513" y="338"/>
                    </a:lnTo>
                    <a:lnTo>
                      <a:pt x="516" y="341"/>
                    </a:lnTo>
                    <a:lnTo>
                      <a:pt x="519" y="342"/>
                    </a:lnTo>
                    <a:lnTo>
                      <a:pt x="521" y="342"/>
                    </a:lnTo>
                    <a:lnTo>
                      <a:pt x="523" y="342"/>
                    </a:lnTo>
                    <a:lnTo>
                      <a:pt x="524" y="345"/>
                    </a:lnTo>
                    <a:lnTo>
                      <a:pt x="528" y="342"/>
                    </a:lnTo>
                    <a:lnTo>
                      <a:pt x="529" y="345"/>
                    </a:lnTo>
                    <a:lnTo>
                      <a:pt x="531" y="346"/>
                    </a:lnTo>
                    <a:lnTo>
                      <a:pt x="532" y="346"/>
                    </a:lnTo>
                    <a:lnTo>
                      <a:pt x="537" y="350"/>
                    </a:lnTo>
                    <a:lnTo>
                      <a:pt x="537" y="357"/>
                    </a:lnTo>
                    <a:lnTo>
                      <a:pt x="539" y="361"/>
                    </a:lnTo>
                    <a:lnTo>
                      <a:pt x="545" y="365"/>
                    </a:lnTo>
                    <a:lnTo>
                      <a:pt x="548" y="361"/>
                    </a:lnTo>
                    <a:lnTo>
                      <a:pt x="549" y="361"/>
                    </a:lnTo>
                    <a:lnTo>
                      <a:pt x="549" y="358"/>
                    </a:lnTo>
                    <a:lnTo>
                      <a:pt x="550" y="358"/>
                    </a:lnTo>
                    <a:lnTo>
                      <a:pt x="552" y="359"/>
                    </a:lnTo>
                    <a:lnTo>
                      <a:pt x="553" y="358"/>
                    </a:lnTo>
                    <a:lnTo>
                      <a:pt x="555" y="357"/>
                    </a:lnTo>
                    <a:lnTo>
                      <a:pt x="552" y="356"/>
                    </a:lnTo>
                    <a:lnTo>
                      <a:pt x="554" y="354"/>
                    </a:lnTo>
                    <a:lnTo>
                      <a:pt x="555" y="355"/>
                    </a:lnTo>
                    <a:lnTo>
                      <a:pt x="555" y="353"/>
                    </a:lnTo>
                    <a:lnTo>
                      <a:pt x="555" y="352"/>
                    </a:lnTo>
                    <a:lnTo>
                      <a:pt x="554" y="352"/>
                    </a:lnTo>
                    <a:lnTo>
                      <a:pt x="554" y="351"/>
                    </a:lnTo>
                    <a:lnTo>
                      <a:pt x="553" y="352"/>
                    </a:lnTo>
                    <a:lnTo>
                      <a:pt x="552" y="350"/>
                    </a:lnTo>
                    <a:lnTo>
                      <a:pt x="553" y="348"/>
                    </a:lnTo>
                    <a:lnTo>
                      <a:pt x="555" y="348"/>
                    </a:lnTo>
                    <a:lnTo>
                      <a:pt x="555" y="350"/>
                    </a:lnTo>
                    <a:lnTo>
                      <a:pt x="557" y="351"/>
                    </a:lnTo>
                    <a:lnTo>
                      <a:pt x="558" y="351"/>
                    </a:lnTo>
                    <a:lnTo>
                      <a:pt x="559" y="350"/>
                    </a:lnTo>
                    <a:lnTo>
                      <a:pt x="560" y="348"/>
                    </a:lnTo>
                    <a:lnTo>
                      <a:pt x="557" y="345"/>
                    </a:lnTo>
                    <a:lnTo>
                      <a:pt x="558" y="343"/>
                    </a:lnTo>
                    <a:lnTo>
                      <a:pt x="559" y="342"/>
                    </a:lnTo>
                    <a:lnTo>
                      <a:pt x="559" y="341"/>
                    </a:lnTo>
                    <a:lnTo>
                      <a:pt x="560" y="340"/>
                    </a:lnTo>
                    <a:lnTo>
                      <a:pt x="556" y="337"/>
                    </a:lnTo>
                    <a:lnTo>
                      <a:pt x="552" y="335"/>
                    </a:lnTo>
                    <a:lnTo>
                      <a:pt x="550" y="335"/>
                    </a:lnTo>
                    <a:lnTo>
                      <a:pt x="546" y="334"/>
                    </a:lnTo>
                    <a:lnTo>
                      <a:pt x="545" y="333"/>
                    </a:lnTo>
                    <a:lnTo>
                      <a:pt x="544" y="331"/>
                    </a:lnTo>
                    <a:lnTo>
                      <a:pt x="545" y="329"/>
                    </a:lnTo>
                    <a:lnTo>
                      <a:pt x="545" y="327"/>
                    </a:lnTo>
                    <a:lnTo>
                      <a:pt x="546" y="326"/>
                    </a:lnTo>
                    <a:lnTo>
                      <a:pt x="545" y="324"/>
                    </a:lnTo>
                    <a:lnTo>
                      <a:pt x="544" y="323"/>
                    </a:lnTo>
                    <a:lnTo>
                      <a:pt x="542" y="322"/>
                    </a:lnTo>
                    <a:lnTo>
                      <a:pt x="540" y="324"/>
                    </a:lnTo>
                    <a:lnTo>
                      <a:pt x="538" y="324"/>
                    </a:lnTo>
                    <a:lnTo>
                      <a:pt x="537" y="325"/>
                    </a:lnTo>
                    <a:lnTo>
                      <a:pt x="535" y="322"/>
                    </a:lnTo>
                    <a:lnTo>
                      <a:pt x="537" y="320"/>
                    </a:lnTo>
                    <a:lnTo>
                      <a:pt x="537" y="318"/>
                    </a:lnTo>
                    <a:lnTo>
                      <a:pt x="539" y="317"/>
                    </a:lnTo>
                    <a:lnTo>
                      <a:pt x="541" y="317"/>
                    </a:lnTo>
                    <a:lnTo>
                      <a:pt x="542" y="315"/>
                    </a:lnTo>
                    <a:lnTo>
                      <a:pt x="543" y="313"/>
                    </a:lnTo>
                    <a:lnTo>
                      <a:pt x="545" y="314"/>
                    </a:lnTo>
                    <a:lnTo>
                      <a:pt x="545" y="311"/>
                    </a:lnTo>
                    <a:lnTo>
                      <a:pt x="547" y="312"/>
                    </a:lnTo>
                    <a:lnTo>
                      <a:pt x="548" y="311"/>
                    </a:lnTo>
                    <a:lnTo>
                      <a:pt x="549" y="310"/>
                    </a:lnTo>
                    <a:lnTo>
                      <a:pt x="548" y="309"/>
                    </a:lnTo>
                    <a:lnTo>
                      <a:pt x="550" y="307"/>
                    </a:lnTo>
                    <a:lnTo>
                      <a:pt x="548" y="306"/>
                    </a:lnTo>
                    <a:lnTo>
                      <a:pt x="549" y="306"/>
                    </a:lnTo>
                    <a:lnTo>
                      <a:pt x="548" y="305"/>
                    </a:lnTo>
                    <a:lnTo>
                      <a:pt x="549" y="303"/>
                    </a:lnTo>
                    <a:lnTo>
                      <a:pt x="552" y="303"/>
                    </a:lnTo>
                    <a:lnTo>
                      <a:pt x="555" y="302"/>
                    </a:lnTo>
                    <a:lnTo>
                      <a:pt x="556" y="299"/>
                    </a:lnTo>
                    <a:lnTo>
                      <a:pt x="554" y="298"/>
                    </a:lnTo>
                    <a:lnTo>
                      <a:pt x="555" y="295"/>
                    </a:lnTo>
                    <a:lnTo>
                      <a:pt x="554" y="295"/>
                    </a:lnTo>
                    <a:lnTo>
                      <a:pt x="554" y="294"/>
                    </a:lnTo>
                    <a:lnTo>
                      <a:pt x="557" y="294"/>
                    </a:lnTo>
                    <a:lnTo>
                      <a:pt x="558" y="295"/>
                    </a:lnTo>
                    <a:lnTo>
                      <a:pt x="559" y="291"/>
                    </a:lnTo>
                    <a:lnTo>
                      <a:pt x="557" y="289"/>
                    </a:lnTo>
                    <a:lnTo>
                      <a:pt x="558" y="287"/>
                    </a:lnTo>
                    <a:lnTo>
                      <a:pt x="562" y="289"/>
                    </a:lnTo>
                    <a:lnTo>
                      <a:pt x="565" y="289"/>
                    </a:lnTo>
                    <a:lnTo>
                      <a:pt x="565" y="290"/>
                    </a:lnTo>
                    <a:lnTo>
                      <a:pt x="566" y="289"/>
                    </a:lnTo>
                    <a:lnTo>
                      <a:pt x="567" y="290"/>
                    </a:lnTo>
                    <a:lnTo>
                      <a:pt x="569" y="290"/>
                    </a:lnTo>
                    <a:lnTo>
                      <a:pt x="570" y="289"/>
                    </a:lnTo>
                    <a:lnTo>
                      <a:pt x="570" y="287"/>
                    </a:lnTo>
                    <a:lnTo>
                      <a:pt x="569" y="284"/>
                    </a:lnTo>
                    <a:lnTo>
                      <a:pt x="572" y="28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9" name="Freeform 118">
                <a:extLst>
                  <a:ext uri="{FF2B5EF4-FFF2-40B4-BE49-F238E27FC236}">
                    <a16:creationId xmlns:a16="http://schemas.microsoft.com/office/drawing/2014/main" id="{2C744F35-51EA-771F-6A33-AAD2E6E1A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3" y="3367"/>
                <a:ext cx="572" cy="484"/>
              </a:xfrm>
              <a:custGeom>
                <a:avLst/>
                <a:gdLst>
                  <a:gd name="T0" fmla="*/ 557 w 572"/>
                  <a:gd name="T1" fmla="*/ 259 h 484"/>
                  <a:gd name="T2" fmla="*/ 527 w 572"/>
                  <a:gd name="T3" fmla="*/ 257 h 484"/>
                  <a:gd name="T4" fmla="*/ 507 w 572"/>
                  <a:gd name="T5" fmla="*/ 242 h 484"/>
                  <a:gd name="T6" fmla="*/ 497 w 572"/>
                  <a:gd name="T7" fmla="*/ 214 h 484"/>
                  <a:gd name="T8" fmla="*/ 467 w 572"/>
                  <a:gd name="T9" fmla="*/ 200 h 484"/>
                  <a:gd name="T10" fmla="*/ 443 w 572"/>
                  <a:gd name="T11" fmla="*/ 189 h 484"/>
                  <a:gd name="T12" fmla="*/ 418 w 572"/>
                  <a:gd name="T13" fmla="*/ 168 h 484"/>
                  <a:gd name="T14" fmla="*/ 395 w 572"/>
                  <a:gd name="T15" fmla="*/ 140 h 484"/>
                  <a:gd name="T16" fmla="*/ 394 w 572"/>
                  <a:gd name="T17" fmla="*/ 113 h 484"/>
                  <a:gd name="T18" fmla="*/ 407 w 572"/>
                  <a:gd name="T19" fmla="*/ 79 h 484"/>
                  <a:gd name="T20" fmla="*/ 410 w 572"/>
                  <a:gd name="T21" fmla="*/ 54 h 484"/>
                  <a:gd name="T22" fmla="*/ 401 w 572"/>
                  <a:gd name="T23" fmla="*/ 32 h 484"/>
                  <a:gd name="T24" fmla="*/ 391 w 572"/>
                  <a:gd name="T25" fmla="*/ 24 h 484"/>
                  <a:gd name="T26" fmla="*/ 365 w 572"/>
                  <a:gd name="T27" fmla="*/ 14 h 484"/>
                  <a:gd name="T28" fmla="*/ 360 w 572"/>
                  <a:gd name="T29" fmla="*/ 29 h 484"/>
                  <a:gd name="T30" fmla="*/ 344 w 572"/>
                  <a:gd name="T31" fmla="*/ 39 h 484"/>
                  <a:gd name="T32" fmla="*/ 315 w 572"/>
                  <a:gd name="T33" fmla="*/ 39 h 484"/>
                  <a:gd name="T34" fmla="*/ 308 w 572"/>
                  <a:gd name="T35" fmla="*/ 34 h 484"/>
                  <a:gd name="T36" fmla="*/ 288 w 572"/>
                  <a:gd name="T37" fmla="*/ 31 h 484"/>
                  <a:gd name="T38" fmla="*/ 271 w 572"/>
                  <a:gd name="T39" fmla="*/ 22 h 484"/>
                  <a:gd name="T40" fmla="*/ 262 w 572"/>
                  <a:gd name="T41" fmla="*/ 26 h 484"/>
                  <a:gd name="T42" fmla="*/ 250 w 572"/>
                  <a:gd name="T43" fmla="*/ 21 h 484"/>
                  <a:gd name="T44" fmla="*/ 225 w 572"/>
                  <a:gd name="T45" fmla="*/ 6 h 484"/>
                  <a:gd name="T46" fmla="*/ 205 w 572"/>
                  <a:gd name="T47" fmla="*/ 17 h 484"/>
                  <a:gd name="T48" fmla="*/ 179 w 572"/>
                  <a:gd name="T49" fmla="*/ 16 h 484"/>
                  <a:gd name="T50" fmla="*/ 163 w 572"/>
                  <a:gd name="T51" fmla="*/ 6 h 484"/>
                  <a:gd name="T52" fmla="*/ 154 w 572"/>
                  <a:gd name="T53" fmla="*/ 16 h 484"/>
                  <a:gd name="T54" fmla="*/ 131 w 572"/>
                  <a:gd name="T55" fmla="*/ 15 h 484"/>
                  <a:gd name="T56" fmla="*/ 113 w 572"/>
                  <a:gd name="T57" fmla="*/ 10 h 484"/>
                  <a:gd name="T58" fmla="*/ 90 w 572"/>
                  <a:gd name="T59" fmla="*/ 17 h 484"/>
                  <a:gd name="T60" fmla="*/ 91 w 572"/>
                  <a:gd name="T61" fmla="*/ 32 h 484"/>
                  <a:gd name="T62" fmla="*/ 92 w 572"/>
                  <a:gd name="T63" fmla="*/ 49 h 484"/>
                  <a:gd name="T64" fmla="*/ 89 w 572"/>
                  <a:gd name="T65" fmla="*/ 74 h 484"/>
                  <a:gd name="T66" fmla="*/ 84 w 572"/>
                  <a:gd name="T67" fmla="*/ 98 h 484"/>
                  <a:gd name="T68" fmla="*/ 62 w 572"/>
                  <a:gd name="T69" fmla="*/ 116 h 484"/>
                  <a:gd name="T70" fmla="*/ 58 w 572"/>
                  <a:gd name="T71" fmla="*/ 138 h 484"/>
                  <a:gd name="T72" fmla="*/ 52 w 572"/>
                  <a:gd name="T73" fmla="*/ 168 h 484"/>
                  <a:gd name="T74" fmla="*/ 34 w 572"/>
                  <a:gd name="T75" fmla="*/ 177 h 484"/>
                  <a:gd name="T76" fmla="*/ 20 w 572"/>
                  <a:gd name="T77" fmla="*/ 196 h 484"/>
                  <a:gd name="T78" fmla="*/ 0 w 572"/>
                  <a:gd name="T79" fmla="*/ 245 h 484"/>
                  <a:gd name="T80" fmla="*/ 24 w 572"/>
                  <a:gd name="T81" fmla="*/ 282 h 484"/>
                  <a:gd name="T82" fmla="*/ 57 w 572"/>
                  <a:gd name="T83" fmla="*/ 328 h 484"/>
                  <a:gd name="T84" fmla="*/ 97 w 572"/>
                  <a:gd name="T85" fmla="*/ 386 h 484"/>
                  <a:gd name="T86" fmla="*/ 125 w 572"/>
                  <a:gd name="T87" fmla="*/ 414 h 484"/>
                  <a:gd name="T88" fmla="*/ 119 w 572"/>
                  <a:gd name="T89" fmla="*/ 447 h 484"/>
                  <a:gd name="T90" fmla="*/ 155 w 572"/>
                  <a:gd name="T91" fmla="*/ 457 h 484"/>
                  <a:gd name="T92" fmla="*/ 208 w 572"/>
                  <a:gd name="T93" fmla="*/ 477 h 484"/>
                  <a:gd name="T94" fmla="*/ 229 w 572"/>
                  <a:gd name="T95" fmla="*/ 444 h 484"/>
                  <a:gd name="T96" fmla="*/ 260 w 572"/>
                  <a:gd name="T97" fmla="*/ 468 h 484"/>
                  <a:gd name="T98" fmla="*/ 299 w 572"/>
                  <a:gd name="T99" fmla="*/ 482 h 484"/>
                  <a:gd name="T100" fmla="*/ 332 w 572"/>
                  <a:gd name="T101" fmla="*/ 418 h 484"/>
                  <a:gd name="T102" fmla="*/ 356 w 572"/>
                  <a:gd name="T103" fmla="*/ 399 h 484"/>
                  <a:gd name="T104" fmla="*/ 379 w 572"/>
                  <a:gd name="T105" fmla="*/ 397 h 484"/>
                  <a:gd name="T106" fmla="*/ 395 w 572"/>
                  <a:gd name="T107" fmla="*/ 340 h 484"/>
                  <a:gd name="T108" fmla="*/ 403 w 572"/>
                  <a:gd name="T109" fmla="*/ 295 h 484"/>
                  <a:gd name="T110" fmla="*/ 444 w 572"/>
                  <a:gd name="T111" fmla="*/ 311 h 484"/>
                  <a:gd name="T112" fmla="*/ 462 w 572"/>
                  <a:gd name="T113" fmla="*/ 329 h 484"/>
                  <a:gd name="T114" fmla="*/ 497 w 572"/>
                  <a:gd name="T115" fmla="*/ 322 h 484"/>
                  <a:gd name="T116" fmla="*/ 550 w 572"/>
                  <a:gd name="T117" fmla="*/ 358 h 484"/>
                  <a:gd name="T118" fmla="*/ 560 w 572"/>
                  <a:gd name="T119" fmla="*/ 348 h 484"/>
                  <a:gd name="T120" fmla="*/ 535 w 572"/>
                  <a:gd name="T121" fmla="*/ 322 h 484"/>
                  <a:gd name="T122" fmla="*/ 556 w 572"/>
                  <a:gd name="T123" fmla="*/ 299 h 484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72"/>
                  <a:gd name="T187" fmla="*/ 0 h 484"/>
                  <a:gd name="T188" fmla="*/ 572 w 572"/>
                  <a:gd name="T189" fmla="*/ 484 h 484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72" h="484">
                    <a:moveTo>
                      <a:pt x="572" y="284"/>
                    </a:moveTo>
                    <a:lnTo>
                      <a:pt x="567" y="277"/>
                    </a:lnTo>
                    <a:lnTo>
                      <a:pt x="568" y="276"/>
                    </a:lnTo>
                    <a:lnTo>
                      <a:pt x="570" y="276"/>
                    </a:lnTo>
                    <a:lnTo>
                      <a:pt x="570" y="274"/>
                    </a:lnTo>
                    <a:lnTo>
                      <a:pt x="567" y="273"/>
                    </a:lnTo>
                    <a:lnTo>
                      <a:pt x="565" y="274"/>
                    </a:lnTo>
                    <a:lnTo>
                      <a:pt x="566" y="274"/>
                    </a:lnTo>
                    <a:lnTo>
                      <a:pt x="565" y="275"/>
                    </a:lnTo>
                    <a:lnTo>
                      <a:pt x="562" y="271"/>
                    </a:lnTo>
                    <a:lnTo>
                      <a:pt x="561" y="269"/>
                    </a:lnTo>
                    <a:lnTo>
                      <a:pt x="562" y="268"/>
                    </a:lnTo>
                    <a:lnTo>
                      <a:pt x="565" y="268"/>
                    </a:lnTo>
                    <a:lnTo>
                      <a:pt x="565" y="269"/>
                    </a:lnTo>
                    <a:lnTo>
                      <a:pt x="565" y="267"/>
                    </a:lnTo>
                    <a:lnTo>
                      <a:pt x="565" y="263"/>
                    </a:lnTo>
                    <a:lnTo>
                      <a:pt x="562" y="261"/>
                    </a:lnTo>
                    <a:lnTo>
                      <a:pt x="561" y="264"/>
                    </a:lnTo>
                    <a:lnTo>
                      <a:pt x="562" y="261"/>
                    </a:lnTo>
                    <a:lnTo>
                      <a:pt x="559" y="259"/>
                    </a:lnTo>
                    <a:lnTo>
                      <a:pt x="558" y="259"/>
                    </a:lnTo>
                    <a:lnTo>
                      <a:pt x="557" y="259"/>
                    </a:lnTo>
                    <a:lnTo>
                      <a:pt x="556" y="261"/>
                    </a:lnTo>
                    <a:lnTo>
                      <a:pt x="557" y="263"/>
                    </a:lnTo>
                    <a:lnTo>
                      <a:pt x="556" y="264"/>
                    </a:lnTo>
                    <a:lnTo>
                      <a:pt x="554" y="264"/>
                    </a:lnTo>
                    <a:lnTo>
                      <a:pt x="554" y="263"/>
                    </a:lnTo>
                    <a:lnTo>
                      <a:pt x="553" y="261"/>
                    </a:lnTo>
                    <a:lnTo>
                      <a:pt x="550" y="260"/>
                    </a:lnTo>
                    <a:lnTo>
                      <a:pt x="549" y="261"/>
                    </a:lnTo>
                    <a:lnTo>
                      <a:pt x="546" y="265"/>
                    </a:lnTo>
                    <a:lnTo>
                      <a:pt x="544" y="264"/>
                    </a:lnTo>
                    <a:lnTo>
                      <a:pt x="542" y="264"/>
                    </a:lnTo>
                    <a:lnTo>
                      <a:pt x="537" y="262"/>
                    </a:lnTo>
                    <a:lnTo>
                      <a:pt x="537" y="264"/>
                    </a:lnTo>
                    <a:lnTo>
                      <a:pt x="536" y="263"/>
                    </a:lnTo>
                    <a:lnTo>
                      <a:pt x="535" y="264"/>
                    </a:lnTo>
                    <a:lnTo>
                      <a:pt x="535" y="262"/>
                    </a:lnTo>
                    <a:lnTo>
                      <a:pt x="534" y="262"/>
                    </a:lnTo>
                    <a:lnTo>
                      <a:pt x="532" y="257"/>
                    </a:lnTo>
                    <a:lnTo>
                      <a:pt x="531" y="256"/>
                    </a:lnTo>
                    <a:lnTo>
                      <a:pt x="529" y="256"/>
                    </a:lnTo>
                    <a:lnTo>
                      <a:pt x="528" y="257"/>
                    </a:lnTo>
                    <a:lnTo>
                      <a:pt x="527" y="257"/>
                    </a:lnTo>
                    <a:lnTo>
                      <a:pt x="526" y="261"/>
                    </a:lnTo>
                    <a:lnTo>
                      <a:pt x="524" y="263"/>
                    </a:lnTo>
                    <a:lnTo>
                      <a:pt x="524" y="262"/>
                    </a:lnTo>
                    <a:lnTo>
                      <a:pt x="524" y="259"/>
                    </a:lnTo>
                    <a:lnTo>
                      <a:pt x="521" y="257"/>
                    </a:lnTo>
                    <a:lnTo>
                      <a:pt x="520" y="255"/>
                    </a:lnTo>
                    <a:lnTo>
                      <a:pt x="518" y="254"/>
                    </a:lnTo>
                    <a:lnTo>
                      <a:pt x="517" y="254"/>
                    </a:lnTo>
                    <a:lnTo>
                      <a:pt x="516" y="254"/>
                    </a:lnTo>
                    <a:lnTo>
                      <a:pt x="513" y="251"/>
                    </a:lnTo>
                    <a:lnTo>
                      <a:pt x="514" y="250"/>
                    </a:lnTo>
                    <a:lnTo>
                      <a:pt x="513" y="247"/>
                    </a:lnTo>
                    <a:lnTo>
                      <a:pt x="512" y="245"/>
                    </a:lnTo>
                    <a:lnTo>
                      <a:pt x="511" y="246"/>
                    </a:lnTo>
                    <a:lnTo>
                      <a:pt x="509" y="244"/>
                    </a:lnTo>
                    <a:lnTo>
                      <a:pt x="510" y="242"/>
                    </a:lnTo>
                    <a:lnTo>
                      <a:pt x="509" y="242"/>
                    </a:lnTo>
                    <a:lnTo>
                      <a:pt x="508" y="242"/>
                    </a:lnTo>
                    <a:lnTo>
                      <a:pt x="508" y="244"/>
                    </a:lnTo>
                    <a:lnTo>
                      <a:pt x="507" y="244"/>
                    </a:lnTo>
                    <a:lnTo>
                      <a:pt x="507" y="242"/>
                    </a:lnTo>
                    <a:lnTo>
                      <a:pt x="506" y="239"/>
                    </a:lnTo>
                    <a:lnTo>
                      <a:pt x="506" y="237"/>
                    </a:lnTo>
                    <a:lnTo>
                      <a:pt x="504" y="237"/>
                    </a:lnTo>
                    <a:lnTo>
                      <a:pt x="503" y="237"/>
                    </a:lnTo>
                    <a:lnTo>
                      <a:pt x="505" y="234"/>
                    </a:lnTo>
                    <a:lnTo>
                      <a:pt x="505" y="231"/>
                    </a:lnTo>
                    <a:lnTo>
                      <a:pt x="507" y="229"/>
                    </a:lnTo>
                    <a:lnTo>
                      <a:pt x="507" y="227"/>
                    </a:lnTo>
                    <a:lnTo>
                      <a:pt x="509" y="225"/>
                    </a:lnTo>
                    <a:lnTo>
                      <a:pt x="508" y="224"/>
                    </a:lnTo>
                    <a:lnTo>
                      <a:pt x="508" y="223"/>
                    </a:lnTo>
                    <a:lnTo>
                      <a:pt x="508" y="221"/>
                    </a:lnTo>
                    <a:lnTo>
                      <a:pt x="508" y="217"/>
                    </a:lnTo>
                    <a:lnTo>
                      <a:pt x="508" y="214"/>
                    </a:lnTo>
                    <a:lnTo>
                      <a:pt x="507" y="213"/>
                    </a:lnTo>
                    <a:lnTo>
                      <a:pt x="504" y="212"/>
                    </a:lnTo>
                    <a:lnTo>
                      <a:pt x="503" y="212"/>
                    </a:lnTo>
                    <a:lnTo>
                      <a:pt x="502" y="212"/>
                    </a:lnTo>
                    <a:lnTo>
                      <a:pt x="501" y="211"/>
                    </a:lnTo>
                    <a:lnTo>
                      <a:pt x="499" y="211"/>
                    </a:lnTo>
                    <a:lnTo>
                      <a:pt x="499" y="213"/>
                    </a:lnTo>
                    <a:lnTo>
                      <a:pt x="497" y="214"/>
                    </a:lnTo>
                    <a:lnTo>
                      <a:pt x="494" y="211"/>
                    </a:lnTo>
                    <a:lnTo>
                      <a:pt x="491" y="211"/>
                    </a:lnTo>
                    <a:lnTo>
                      <a:pt x="490" y="213"/>
                    </a:lnTo>
                    <a:lnTo>
                      <a:pt x="488" y="214"/>
                    </a:lnTo>
                    <a:lnTo>
                      <a:pt x="487" y="212"/>
                    </a:lnTo>
                    <a:lnTo>
                      <a:pt x="486" y="212"/>
                    </a:lnTo>
                    <a:lnTo>
                      <a:pt x="484" y="213"/>
                    </a:lnTo>
                    <a:lnTo>
                      <a:pt x="484" y="214"/>
                    </a:lnTo>
                    <a:lnTo>
                      <a:pt x="482" y="215"/>
                    </a:lnTo>
                    <a:lnTo>
                      <a:pt x="483" y="212"/>
                    </a:lnTo>
                    <a:lnTo>
                      <a:pt x="484" y="210"/>
                    </a:lnTo>
                    <a:lnTo>
                      <a:pt x="480" y="206"/>
                    </a:lnTo>
                    <a:lnTo>
                      <a:pt x="480" y="207"/>
                    </a:lnTo>
                    <a:lnTo>
                      <a:pt x="478" y="206"/>
                    </a:lnTo>
                    <a:lnTo>
                      <a:pt x="477" y="206"/>
                    </a:lnTo>
                    <a:lnTo>
                      <a:pt x="474" y="203"/>
                    </a:lnTo>
                    <a:lnTo>
                      <a:pt x="471" y="203"/>
                    </a:lnTo>
                    <a:lnTo>
                      <a:pt x="470" y="204"/>
                    </a:lnTo>
                    <a:lnTo>
                      <a:pt x="469" y="199"/>
                    </a:lnTo>
                    <a:lnTo>
                      <a:pt x="467" y="199"/>
                    </a:lnTo>
                    <a:lnTo>
                      <a:pt x="467" y="200"/>
                    </a:lnTo>
                    <a:lnTo>
                      <a:pt x="462" y="205"/>
                    </a:lnTo>
                    <a:lnTo>
                      <a:pt x="459" y="206"/>
                    </a:lnTo>
                    <a:lnTo>
                      <a:pt x="458" y="206"/>
                    </a:lnTo>
                    <a:lnTo>
                      <a:pt x="455" y="204"/>
                    </a:lnTo>
                    <a:lnTo>
                      <a:pt x="452" y="203"/>
                    </a:lnTo>
                    <a:lnTo>
                      <a:pt x="453" y="202"/>
                    </a:lnTo>
                    <a:lnTo>
                      <a:pt x="452" y="198"/>
                    </a:lnTo>
                    <a:lnTo>
                      <a:pt x="453" y="197"/>
                    </a:lnTo>
                    <a:lnTo>
                      <a:pt x="452" y="196"/>
                    </a:lnTo>
                    <a:lnTo>
                      <a:pt x="451" y="193"/>
                    </a:lnTo>
                    <a:lnTo>
                      <a:pt x="450" y="193"/>
                    </a:lnTo>
                    <a:lnTo>
                      <a:pt x="449" y="191"/>
                    </a:lnTo>
                    <a:lnTo>
                      <a:pt x="448" y="190"/>
                    </a:lnTo>
                    <a:lnTo>
                      <a:pt x="444" y="190"/>
                    </a:lnTo>
                    <a:lnTo>
                      <a:pt x="442" y="193"/>
                    </a:lnTo>
                    <a:lnTo>
                      <a:pt x="440" y="190"/>
                    </a:lnTo>
                    <a:lnTo>
                      <a:pt x="438" y="190"/>
                    </a:lnTo>
                    <a:lnTo>
                      <a:pt x="436" y="187"/>
                    </a:lnTo>
                    <a:lnTo>
                      <a:pt x="437" y="187"/>
                    </a:lnTo>
                    <a:lnTo>
                      <a:pt x="438" y="187"/>
                    </a:lnTo>
                    <a:lnTo>
                      <a:pt x="443" y="189"/>
                    </a:lnTo>
                    <a:lnTo>
                      <a:pt x="444" y="187"/>
                    </a:lnTo>
                    <a:lnTo>
                      <a:pt x="442" y="184"/>
                    </a:lnTo>
                    <a:lnTo>
                      <a:pt x="444" y="183"/>
                    </a:lnTo>
                    <a:lnTo>
                      <a:pt x="445" y="180"/>
                    </a:lnTo>
                    <a:lnTo>
                      <a:pt x="439" y="177"/>
                    </a:lnTo>
                    <a:lnTo>
                      <a:pt x="436" y="176"/>
                    </a:lnTo>
                    <a:lnTo>
                      <a:pt x="435" y="177"/>
                    </a:lnTo>
                    <a:lnTo>
                      <a:pt x="433" y="176"/>
                    </a:lnTo>
                    <a:lnTo>
                      <a:pt x="434" y="176"/>
                    </a:lnTo>
                    <a:lnTo>
                      <a:pt x="431" y="173"/>
                    </a:lnTo>
                    <a:lnTo>
                      <a:pt x="430" y="171"/>
                    </a:lnTo>
                    <a:lnTo>
                      <a:pt x="429" y="167"/>
                    </a:lnTo>
                    <a:lnTo>
                      <a:pt x="427" y="167"/>
                    </a:lnTo>
                    <a:lnTo>
                      <a:pt x="428" y="165"/>
                    </a:lnTo>
                    <a:lnTo>
                      <a:pt x="427" y="165"/>
                    </a:lnTo>
                    <a:lnTo>
                      <a:pt x="426" y="164"/>
                    </a:lnTo>
                    <a:lnTo>
                      <a:pt x="424" y="165"/>
                    </a:lnTo>
                    <a:lnTo>
                      <a:pt x="423" y="166"/>
                    </a:lnTo>
                    <a:lnTo>
                      <a:pt x="422" y="166"/>
                    </a:lnTo>
                    <a:lnTo>
                      <a:pt x="420" y="167"/>
                    </a:lnTo>
                    <a:lnTo>
                      <a:pt x="418" y="168"/>
                    </a:lnTo>
                    <a:lnTo>
                      <a:pt x="415" y="172"/>
                    </a:lnTo>
                    <a:lnTo>
                      <a:pt x="412" y="171"/>
                    </a:lnTo>
                    <a:lnTo>
                      <a:pt x="412" y="170"/>
                    </a:lnTo>
                    <a:lnTo>
                      <a:pt x="411" y="170"/>
                    </a:lnTo>
                    <a:lnTo>
                      <a:pt x="411" y="169"/>
                    </a:lnTo>
                    <a:lnTo>
                      <a:pt x="410" y="166"/>
                    </a:lnTo>
                    <a:lnTo>
                      <a:pt x="407" y="163"/>
                    </a:lnTo>
                    <a:lnTo>
                      <a:pt x="406" y="163"/>
                    </a:lnTo>
                    <a:lnTo>
                      <a:pt x="404" y="160"/>
                    </a:lnTo>
                    <a:lnTo>
                      <a:pt x="405" y="158"/>
                    </a:lnTo>
                    <a:lnTo>
                      <a:pt x="403" y="157"/>
                    </a:lnTo>
                    <a:lnTo>
                      <a:pt x="403" y="156"/>
                    </a:lnTo>
                    <a:lnTo>
                      <a:pt x="401" y="155"/>
                    </a:lnTo>
                    <a:lnTo>
                      <a:pt x="398" y="153"/>
                    </a:lnTo>
                    <a:lnTo>
                      <a:pt x="400" y="150"/>
                    </a:lnTo>
                    <a:lnTo>
                      <a:pt x="400" y="149"/>
                    </a:lnTo>
                    <a:lnTo>
                      <a:pt x="397" y="148"/>
                    </a:lnTo>
                    <a:lnTo>
                      <a:pt x="395" y="144"/>
                    </a:lnTo>
                    <a:lnTo>
                      <a:pt x="394" y="142"/>
                    </a:lnTo>
                    <a:lnTo>
                      <a:pt x="394" y="141"/>
                    </a:lnTo>
                    <a:lnTo>
                      <a:pt x="395" y="140"/>
                    </a:lnTo>
                    <a:lnTo>
                      <a:pt x="395" y="139"/>
                    </a:lnTo>
                    <a:lnTo>
                      <a:pt x="397" y="139"/>
                    </a:lnTo>
                    <a:lnTo>
                      <a:pt x="397" y="136"/>
                    </a:lnTo>
                    <a:lnTo>
                      <a:pt x="398" y="137"/>
                    </a:lnTo>
                    <a:lnTo>
                      <a:pt x="400" y="135"/>
                    </a:lnTo>
                    <a:lnTo>
                      <a:pt x="401" y="134"/>
                    </a:lnTo>
                    <a:lnTo>
                      <a:pt x="402" y="135"/>
                    </a:lnTo>
                    <a:lnTo>
                      <a:pt x="403" y="132"/>
                    </a:lnTo>
                    <a:lnTo>
                      <a:pt x="401" y="133"/>
                    </a:lnTo>
                    <a:lnTo>
                      <a:pt x="401" y="129"/>
                    </a:lnTo>
                    <a:lnTo>
                      <a:pt x="400" y="126"/>
                    </a:lnTo>
                    <a:lnTo>
                      <a:pt x="397" y="125"/>
                    </a:lnTo>
                    <a:lnTo>
                      <a:pt x="393" y="123"/>
                    </a:lnTo>
                    <a:lnTo>
                      <a:pt x="392" y="122"/>
                    </a:lnTo>
                    <a:lnTo>
                      <a:pt x="393" y="120"/>
                    </a:lnTo>
                    <a:lnTo>
                      <a:pt x="393" y="119"/>
                    </a:lnTo>
                    <a:lnTo>
                      <a:pt x="393" y="118"/>
                    </a:lnTo>
                    <a:lnTo>
                      <a:pt x="393" y="116"/>
                    </a:lnTo>
                    <a:lnTo>
                      <a:pt x="395" y="116"/>
                    </a:lnTo>
                    <a:lnTo>
                      <a:pt x="393" y="115"/>
                    </a:lnTo>
                    <a:lnTo>
                      <a:pt x="394" y="113"/>
                    </a:lnTo>
                    <a:lnTo>
                      <a:pt x="395" y="113"/>
                    </a:lnTo>
                    <a:lnTo>
                      <a:pt x="397" y="113"/>
                    </a:lnTo>
                    <a:lnTo>
                      <a:pt x="397" y="111"/>
                    </a:lnTo>
                    <a:lnTo>
                      <a:pt x="397" y="109"/>
                    </a:lnTo>
                    <a:lnTo>
                      <a:pt x="398" y="108"/>
                    </a:lnTo>
                    <a:lnTo>
                      <a:pt x="398" y="105"/>
                    </a:lnTo>
                    <a:lnTo>
                      <a:pt x="399" y="105"/>
                    </a:lnTo>
                    <a:lnTo>
                      <a:pt x="399" y="102"/>
                    </a:lnTo>
                    <a:lnTo>
                      <a:pt x="401" y="102"/>
                    </a:lnTo>
                    <a:lnTo>
                      <a:pt x="402" y="99"/>
                    </a:lnTo>
                    <a:lnTo>
                      <a:pt x="401" y="99"/>
                    </a:lnTo>
                    <a:lnTo>
                      <a:pt x="400" y="100"/>
                    </a:lnTo>
                    <a:lnTo>
                      <a:pt x="398" y="100"/>
                    </a:lnTo>
                    <a:lnTo>
                      <a:pt x="398" y="99"/>
                    </a:lnTo>
                    <a:lnTo>
                      <a:pt x="398" y="98"/>
                    </a:lnTo>
                    <a:lnTo>
                      <a:pt x="400" y="98"/>
                    </a:lnTo>
                    <a:lnTo>
                      <a:pt x="402" y="95"/>
                    </a:lnTo>
                    <a:lnTo>
                      <a:pt x="402" y="91"/>
                    </a:lnTo>
                    <a:lnTo>
                      <a:pt x="403" y="89"/>
                    </a:lnTo>
                    <a:lnTo>
                      <a:pt x="406" y="89"/>
                    </a:lnTo>
                    <a:lnTo>
                      <a:pt x="407" y="80"/>
                    </a:lnTo>
                    <a:lnTo>
                      <a:pt x="407" y="79"/>
                    </a:lnTo>
                    <a:lnTo>
                      <a:pt x="406" y="78"/>
                    </a:lnTo>
                    <a:lnTo>
                      <a:pt x="406" y="76"/>
                    </a:lnTo>
                    <a:lnTo>
                      <a:pt x="407" y="75"/>
                    </a:lnTo>
                    <a:lnTo>
                      <a:pt x="409" y="73"/>
                    </a:lnTo>
                    <a:lnTo>
                      <a:pt x="410" y="72"/>
                    </a:lnTo>
                    <a:lnTo>
                      <a:pt x="409" y="70"/>
                    </a:lnTo>
                    <a:lnTo>
                      <a:pt x="410" y="67"/>
                    </a:lnTo>
                    <a:lnTo>
                      <a:pt x="409" y="66"/>
                    </a:lnTo>
                    <a:lnTo>
                      <a:pt x="409" y="65"/>
                    </a:lnTo>
                    <a:lnTo>
                      <a:pt x="410" y="65"/>
                    </a:lnTo>
                    <a:lnTo>
                      <a:pt x="407" y="62"/>
                    </a:lnTo>
                    <a:lnTo>
                      <a:pt x="407" y="61"/>
                    </a:lnTo>
                    <a:lnTo>
                      <a:pt x="407" y="59"/>
                    </a:lnTo>
                    <a:lnTo>
                      <a:pt x="406" y="59"/>
                    </a:lnTo>
                    <a:lnTo>
                      <a:pt x="403" y="57"/>
                    </a:lnTo>
                    <a:lnTo>
                      <a:pt x="404" y="55"/>
                    </a:lnTo>
                    <a:lnTo>
                      <a:pt x="406" y="53"/>
                    </a:lnTo>
                    <a:lnTo>
                      <a:pt x="407" y="54"/>
                    </a:lnTo>
                    <a:lnTo>
                      <a:pt x="407" y="53"/>
                    </a:lnTo>
                    <a:lnTo>
                      <a:pt x="409" y="54"/>
                    </a:lnTo>
                    <a:lnTo>
                      <a:pt x="410" y="54"/>
                    </a:lnTo>
                    <a:lnTo>
                      <a:pt x="413" y="55"/>
                    </a:lnTo>
                    <a:lnTo>
                      <a:pt x="415" y="54"/>
                    </a:lnTo>
                    <a:lnTo>
                      <a:pt x="415" y="53"/>
                    </a:lnTo>
                    <a:lnTo>
                      <a:pt x="414" y="51"/>
                    </a:lnTo>
                    <a:lnTo>
                      <a:pt x="414" y="48"/>
                    </a:lnTo>
                    <a:lnTo>
                      <a:pt x="412" y="45"/>
                    </a:lnTo>
                    <a:lnTo>
                      <a:pt x="412" y="44"/>
                    </a:lnTo>
                    <a:lnTo>
                      <a:pt x="414" y="42"/>
                    </a:lnTo>
                    <a:lnTo>
                      <a:pt x="412" y="42"/>
                    </a:lnTo>
                    <a:lnTo>
                      <a:pt x="411" y="44"/>
                    </a:lnTo>
                    <a:lnTo>
                      <a:pt x="410" y="44"/>
                    </a:lnTo>
                    <a:lnTo>
                      <a:pt x="409" y="42"/>
                    </a:lnTo>
                    <a:lnTo>
                      <a:pt x="407" y="44"/>
                    </a:lnTo>
                    <a:lnTo>
                      <a:pt x="406" y="44"/>
                    </a:lnTo>
                    <a:lnTo>
                      <a:pt x="405" y="41"/>
                    </a:lnTo>
                    <a:lnTo>
                      <a:pt x="402" y="38"/>
                    </a:lnTo>
                    <a:lnTo>
                      <a:pt x="404" y="37"/>
                    </a:lnTo>
                    <a:lnTo>
                      <a:pt x="402" y="36"/>
                    </a:lnTo>
                    <a:lnTo>
                      <a:pt x="402" y="34"/>
                    </a:lnTo>
                    <a:lnTo>
                      <a:pt x="402" y="33"/>
                    </a:lnTo>
                    <a:lnTo>
                      <a:pt x="401" y="32"/>
                    </a:lnTo>
                    <a:lnTo>
                      <a:pt x="401" y="28"/>
                    </a:lnTo>
                    <a:lnTo>
                      <a:pt x="399" y="29"/>
                    </a:lnTo>
                    <a:lnTo>
                      <a:pt x="400" y="28"/>
                    </a:lnTo>
                    <a:lnTo>
                      <a:pt x="400" y="27"/>
                    </a:lnTo>
                    <a:lnTo>
                      <a:pt x="399" y="27"/>
                    </a:lnTo>
                    <a:lnTo>
                      <a:pt x="400" y="26"/>
                    </a:lnTo>
                    <a:lnTo>
                      <a:pt x="400" y="24"/>
                    </a:lnTo>
                    <a:lnTo>
                      <a:pt x="398" y="23"/>
                    </a:lnTo>
                    <a:lnTo>
                      <a:pt x="399" y="23"/>
                    </a:lnTo>
                    <a:lnTo>
                      <a:pt x="401" y="23"/>
                    </a:lnTo>
                    <a:lnTo>
                      <a:pt x="398" y="21"/>
                    </a:lnTo>
                    <a:lnTo>
                      <a:pt x="398" y="20"/>
                    </a:lnTo>
                    <a:lnTo>
                      <a:pt x="397" y="22"/>
                    </a:lnTo>
                    <a:lnTo>
                      <a:pt x="396" y="22"/>
                    </a:lnTo>
                    <a:lnTo>
                      <a:pt x="395" y="21"/>
                    </a:lnTo>
                    <a:lnTo>
                      <a:pt x="394" y="21"/>
                    </a:lnTo>
                    <a:lnTo>
                      <a:pt x="392" y="25"/>
                    </a:lnTo>
                    <a:lnTo>
                      <a:pt x="393" y="26"/>
                    </a:lnTo>
                    <a:lnTo>
                      <a:pt x="392" y="27"/>
                    </a:lnTo>
                    <a:lnTo>
                      <a:pt x="391" y="26"/>
                    </a:lnTo>
                    <a:lnTo>
                      <a:pt x="391" y="24"/>
                    </a:lnTo>
                    <a:lnTo>
                      <a:pt x="390" y="22"/>
                    </a:lnTo>
                    <a:lnTo>
                      <a:pt x="389" y="22"/>
                    </a:lnTo>
                    <a:lnTo>
                      <a:pt x="387" y="21"/>
                    </a:lnTo>
                    <a:lnTo>
                      <a:pt x="385" y="17"/>
                    </a:lnTo>
                    <a:lnTo>
                      <a:pt x="384" y="13"/>
                    </a:lnTo>
                    <a:lnTo>
                      <a:pt x="382" y="13"/>
                    </a:lnTo>
                    <a:lnTo>
                      <a:pt x="376" y="10"/>
                    </a:lnTo>
                    <a:lnTo>
                      <a:pt x="375" y="8"/>
                    </a:lnTo>
                    <a:lnTo>
                      <a:pt x="372" y="3"/>
                    </a:lnTo>
                    <a:lnTo>
                      <a:pt x="373" y="2"/>
                    </a:lnTo>
                    <a:lnTo>
                      <a:pt x="372" y="2"/>
                    </a:lnTo>
                    <a:lnTo>
                      <a:pt x="371" y="4"/>
                    </a:lnTo>
                    <a:lnTo>
                      <a:pt x="371" y="7"/>
                    </a:lnTo>
                    <a:lnTo>
                      <a:pt x="368" y="7"/>
                    </a:lnTo>
                    <a:lnTo>
                      <a:pt x="368" y="8"/>
                    </a:lnTo>
                    <a:lnTo>
                      <a:pt x="366" y="8"/>
                    </a:lnTo>
                    <a:lnTo>
                      <a:pt x="366" y="9"/>
                    </a:lnTo>
                    <a:lnTo>
                      <a:pt x="366" y="8"/>
                    </a:lnTo>
                    <a:lnTo>
                      <a:pt x="365" y="10"/>
                    </a:lnTo>
                    <a:lnTo>
                      <a:pt x="366" y="10"/>
                    </a:lnTo>
                    <a:lnTo>
                      <a:pt x="365" y="14"/>
                    </a:lnTo>
                    <a:lnTo>
                      <a:pt x="361" y="11"/>
                    </a:lnTo>
                    <a:lnTo>
                      <a:pt x="361" y="13"/>
                    </a:lnTo>
                    <a:lnTo>
                      <a:pt x="361" y="14"/>
                    </a:lnTo>
                    <a:lnTo>
                      <a:pt x="360" y="14"/>
                    </a:lnTo>
                    <a:lnTo>
                      <a:pt x="361" y="15"/>
                    </a:lnTo>
                    <a:lnTo>
                      <a:pt x="360" y="15"/>
                    </a:lnTo>
                    <a:lnTo>
                      <a:pt x="361" y="16"/>
                    </a:lnTo>
                    <a:lnTo>
                      <a:pt x="360" y="18"/>
                    </a:lnTo>
                    <a:lnTo>
                      <a:pt x="361" y="19"/>
                    </a:lnTo>
                    <a:lnTo>
                      <a:pt x="360" y="19"/>
                    </a:lnTo>
                    <a:lnTo>
                      <a:pt x="359" y="20"/>
                    </a:lnTo>
                    <a:lnTo>
                      <a:pt x="358" y="20"/>
                    </a:lnTo>
                    <a:lnTo>
                      <a:pt x="358" y="23"/>
                    </a:lnTo>
                    <a:lnTo>
                      <a:pt x="357" y="23"/>
                    </a:lnTo>
                    <a:lnTo>
                      <a:pt x="357" y="24"/>
                    </a:lnTo>
                    <a:lnTo>
                      <a:pt x="357" y="25"/>
                    </a:lnTo>
                    <a:lnTo>
                      <a:pt x="359" y="26"/>
                    </a:lnTo>
                    <a:lnTo>
                      <a:pt x="358" y="28"/>
                    </a:lnTo>
                    <a:lnTo>
                      <a:pt x="358" y="30"/>
                    </a:lnTo>
                    <a:lnTo>
                      <a:pt x="360" y="29"/>
                    </a:lnTo>
                    <a:lnTo>
                      <a:pt x="360" y="31"/>
                    </a:lnTo>
                    <a:lnTo>
                      <a:pt x="359" y="31"/>
                    </a:lnTo>
                    <a:lnTo>
                      <a:pt x="361" y="32"/>
                    </a:lnTo>
                    <a:lnTo>
                      <a:pt x="361" y="33"/>
                    </a:lnTo>
                    <a:lnTo>
                      <a:pt x="359" y="34"/>
                    </a:lnTo>
                    <a:lnTo>
                      <a:pt x="361" y="34"/>
                    </a:lnTo>
                    <a:lnTo>
                      <a:pt x="360" y="34"/>
                    </a:lnTo>
                    <a:lnTo>
                      <a:pt x="358" y="35"/>
                    </a:lnTo>
                    <a:lnTo>
                      <a:pt x="357" y="34"/>
                    </a:lnTo>
                    <a:lnTo>
                      <a:pt x="357" y="35"/>
                    </a:lnTo>
                    <a:lnTo>
                      <a:pt x="357" y="36"/>
                    </a:lnTo>
                    <a:lnTo>
                      <a:pt x="353" y="36"/>
                    </a:lnTo>
                    <a:lnTo>
                      <a:pt x="353" y="37"/>
                    </a:lnTo>
                    <a:lnTo>
                      <a:pt x="352" y="37"/>
                    </a:lnTo>
                    <a:lnTo>
                      <a:pt x="352" y="36"/>
                    </a:lnTo>
                    <a:lnTo>
                      <a:pt x="349" y="36"/>
                    </a:lnTo>
                    <a:lnTo>
                      <a:pt x="348" y="35"/>
                    </a:lnTo>
                    <a:lnTo>
                      <a:pt x="348" y="36"/>
                    </a:lnTo>
                    <a:lnTo>
                      <a:pt x="348" y="37"/>
                    </a:lnTo>
                    <a:lnTo>
                      <a:pt x="346" y="37"/>
                    </a:lnTo>
                    <a:lnTo>
                      <a:pt x="345" y="37"/>
                    </a:lnTo>
                    <a:lnTo>
                      <a:pt x="344" y="39"/>
                    </a:lnTo>
                    <a:lnTo>
                      <a:pt x="341" y="42"/>
                    </a:lnTo>
                    <a:lnTo>
                      <a:pt x="340" y="41"/>
                    </a:lnTo>
                    <a:lnTo>
                      <a:pt x="340" y="42"/>
                    </a:lnTo>
                    <a:lnTo>
                      <a:pt x="338" y="42"/>
                    </a:lnTo>
                    <a:lnTo>
                      <a:pt x="336" y="43"/>
                    </a:lnTo>
                    <a:lnTo>
                      <a:pt x="336" y="44"/>
                    </a:lnTo>
                    <a:lnTo>
                      <a:pt x="335" y="44"/>
                    </a:lnTo>
                    <a:lnTo>
                      <a:pt x="336" y="48"/>
                    </a:lnTo>
                    <a:lnTo>
                      <a:pt x="335" y="49"/>
                    </a:lnTo>
                    <a:lnTo>
                      <a:pt x="335" y="51"/>
                    </a:lnTo>
                    <a:lnTo>
                      <a:pt x="334" y="52"/>
                    </a:lnTo>
                    <a:lnTo>
                      <a:pt x="332" y="51"/>
                    </a:lnTo>
                    <a:lnTo>
                      <a:pt x="331" y="50"/>
                    </a:lnTo>
                    <a:lnTo>
                      <a:pt x="332" y="49"/>
                    </a:lnTo>
                    <a:lnTo>
                      <a:pt x="331" y="45"/>
                    </a:lnTo>
                    <a:lnTo>
                      <a:pt x="329" y="44"/>
                    </a:lnTo>
                    <a:lnTo>
                      <a:pt x="324" y="41"/>
                    </a:lnTo>
                    <a:lnTo>
                      <a:pt x="319" y="42"/>
                    </a:lnTo>
                    <a:lnTo>
                      <a:pt x="317" y="42"/>
                    </a:lnTo>
                    <a:lnTo>
                      <a:pt x="317" y="40"/>
                    </a:lnTo>
                    <a:lnTo>
                      <a:pt x="315" y="40"/>
                    </a:lnTo>
                    <a:lnTo>
                      <a:pt x="315" y="39"/>
                    </a:lnTo>
                    <a:lnTo>
                      <a:pt x="316" y="38"/>
                    </a:lnTo>
                    <a:lnTo>
                      <a:pt x="317" y="38"/>
                    </a:lnTo>
                    <a:lnTo>
                      <a:pt x="318" y="36"/>
                    </a:lnTo>
                    <a:lnTo>
                      <a:pt x="319" y="35"/>
                    </a:lnTo>
                    <a:lnTo>
                      <a:pt x="320" y="32"/>
                    </a:lnTo>
                    <a:lnTo>
                      <a:pt x="320" y="31"/>
                    </a:lnTo>
                    <a:lnTo>
                      <a:pt x="319" y="31"/>
                    </a:lnTo>
                    <a:lnTo>
                      <a:pt x="318" y="33"/>
                    </a:lnTo>
                    <a:lnTo>
                      <a:pt x="317" y="34"/>
                    </a:lnTo>
                    <a:lnTo>
                      <a:pt x="315" y="33"/>
                    </a:lnTo>
                    <a:lnTo>
                      <a:pt x="315" y="34"/>
                    </a:lnTo>
                    <a:lnTo>
                      <a:pt x="314" y="34"/>
                    </a:lnTo>
                    <a:lnTo>
                      <a:pt x="314" y="32"/>
                    </a:lnTo>
                    <a:lnTo>
                      <a:pt x="312" y="36"/>
                    </a:lnTo>
                    <a:lnTo>
                      <a:pt x="310" y="35"/>
                    </a:lnTo>
                    <a:lnTo>
                      <a:pt x="311" y="34"/>
                    </a:lnTo>
                    <a:lnTo>
                      <a:pt x="310" y="34"/>
                    </a:lnTo>
                    <a:lnTo>
                      <a:pt x="309" y="35"/>
                    </a:lnTo>
                    <a:lnTo>
                      <a:pt x="309" y="34"/>
                    </a:lnTo>
                    <a:lnTo>
                      <a:pt x="308" y="34"/>
                    </a:lnTo>
                    <a:lnTo>
                      <a:pt x="306" y="33"/>
                    </a:lnTo>
                    <a:lnTo>
                      <a:pt x="305" y="32"/>
                    </a:lnTo>
                    <a:lnTo>
                      <a:pt x="304" y="32"/>
                    </a:lnTo>
                    <a:lnTo>
                      <a:pt x="303" y="34"/>
                    </a:lnTo>
                    <a:lnTo>
                      <a:pt x="302" y="32"/>
                    </a:lnTo>
                    <a:lnTo>
                      <a:pt x="301" y="32"/>
                    </a:lnTo>
                    <a:lnTo>
                      <a:pt x="301" y="31"/>
                    </a:lnTo>
                    <a:lnTo>
                      <a:pt x="300" y="32"/>
                    </a:lnTo>
                    <a:lnTo>
                      <a:pt x="300" y="31"/>
                    </a:lnTo>
                    <a:lnTo>
                      <a:pt x="298" y="31"/>
                    </a:lnTo>
                    <a:lnTo>
                      <a:pt x="300" y="28"/>
                    </a:lnTo>
                    <a:lnTo>
                      <a:pt x="299" y="27"/>
                    </a:lnTo>
                    <a:lnTo>
                      <a:pt x="297" y="27"/>
                    </a:lnTo>
                    <a:lnTo>
                      <a:pt x="296" y="28"/>
                    </a:lnTo>
                    <a:lnTo>
                      <a:pt x="294" y="28"/>
                    </a:lnTo>
                    <a:lnTo>
                      <a:pt x="291" y="25"/>
                    </a:lnTo>
                    <a:lnTo>
                      <a:pt x="289" y="25"/>
                    </a:lnTo>
                    <a:lnTo>
                      <a:pt x="289" y="26"/>
                    </a:lnTo>
                    <a:lnTo>
                      <a:pt x="288" y="28"/>
                    </a:lnTo>
                    <a:lnTo>
                      <a:pt x="286" y="29"/>
                    </a:lnTo>
                    <a:lnTo>
                      <a:pt x="286" y="31"/>
                    </a:lnTo>
                    <a:lnTo>
                      <a:pt x="288" y="31"/>
                    </a:lnTo>
                    <a:lnTo>
                      <a:pt x="287" y="31"/>
                    </a:lnTo>
                    <a:lnTo>
                      <a:pt x="286" y="31"/>
                    </a:lnTo>
                    <a:lnTo>
                      <a:pt x="285" y="29"/>
                    </a:lnTo>
                    <a:lnTo>
                      <a:pt x="284" y="31"/>
                    </a:lnTo>
                    <a:lnTo>
                      <a:pt x="283" y="29"/>
                    </a:lnTo>
                    <a:lnTo>
                      <a:pt x="283" y="28"/>
                    </a:lnTo>
                    <a:lnTo>
                      <a:pt x="282" y="26"/>
                    </a:lnTo>
                    <a:lnTo>
                      <a:pt x="280" y="26"/>
                    </a:lnTo>
                    <a:lnTo>
                      <a:pt x="280" y="23"/>
                    </a:lnTo>
                    <a:lnTo>
                      <a:pt x="278" y="23"/>
                    </a:lnTo>
                    <a:lnTo>
                      <a:pt x="277" y="24"/>
                    </a:lnTo>
                    <a:lnTo>
                      <a:pt x="276" y="24"/>
                    </a:lnTo>
                    <a:lnTo>
                      <a:pt x="273" y="18"/>
                    </a:lnTo>
                    <a:lnTo>
                      <a:pt x="272" y="18"/>
                    </a:lnTo>
                    <a:lnTo>
                      <a:pt x="271" y="16"/>
                    </a:lnTo>
                    <a:lnTo>
                      <a:pt x="271" y="19"/>
                    </a:lnTo>
                    <a:lnTo>
                      <a:pt x="270" y="17"/>
                    </a:lnTo>
                    <a:lnTo>
                      <a:pt x="269" y="18"/>
                    </a:lnTo>
                    <a:lnTo>
                      <a:pt x="270" y="18"/>
                    </a:lnTo>
                    <a:lnTo>
                      <a:pt x="271" y="22"/>
                    </a:lnTo>
                    <a:lnTo>
                      <a:pt x="270" y="23"/>
                    </a:lnTo>
                    <a:lnTo>
                      <a:pt x="271" y="23"/>
                    </a:lnTo>
                    <a:lnTo>
                      <a:pt x="270" y="25"/>
                    </a:lnTo>
                    <a:lnTo>
                      <a:pt x="270" y="26"/>
                    </a:lnTo>
                    <a:lnTo>
                      <a:pt x="272" y="26"/>
                    </a:lnTo>
                    <a:lnTo>
                      <a:pt x="271" y="27"/>
                    </a:lnTo>
                    <a:lnTo>
                      <a:pt x="270" y="26"/>
                    </a:lnTo>
                    <a:lnTo>
                      <a:pt x="270" y="27"/>
                    </a:lnTo>
                    <a:lnTo>
                      <a:pt x="269" y="24"/>
                    </a:lnTo>
                    <a:lnTo>
                      <a:pt x="268" y="24"/>
                    </a:lnTo>
                    <a:lnTo>
                      <a:pt x="267" y="23"/>
                    </a:lnTo>
                    <a:lnTo>
                      <a:pt x="265" y="23"/>
                    </a:lnTo>
                    <a:lnTo>
                      <a:pt x="264" y="24"/>
                    </a:lnTo>
                    <a:lnTo>
                      <a:pt x="263" y="23"/>
                    </a:lnTo>
                    <a:lnTo>
                      <a:pt x="263" y="24"/>
                    </a:lnTo>
                    <a:lnTo>
                      <a:pt x="262" y="24"/>
                    </a:lnTo>
                    <a:lnTo>
                      <a:pt x="263" y="25"/>
                    </a:lnTo>
                    <a:lnTo>
                      <a:pt x="262" y="25"/>
                    </a:lnTo>
                    <a:lnTo>
                      <a:pt x="262" y="26"/>
                    </a:lnTo>
                    <a:lnTo>
                      <a:pt x="262" y="25"/>
                    </a:lnTo>
                    <a:lnTo>
                      <a:pt x="262" y="26"/>
                    </a:lnTo>
                    <a:lnTo>
                      <a:pt x="261" y="27"/>
                    </a:lnTo>
                    <a:lnTo>
                      <a:pt x="260" y="25"/>
                    </a:lnTo>
                    <a:lnTo>
                      <a:pt x="260" y="26"/>
                    </a:lnTo>
                    <a:lnTo>
                      <a:pt x="259" y="28"/>
                    </a:lnTo>
                    <a:lnTo>
                      <a:pt x="258" y="28"/>
                    </a:lnTo>
                    <a:lnTo>
                      <a:pt x="259" y="27"/>
                    </a:lnTo>
                    <a:lnTo>
                      <a:pt x="257" y="27"/>
                    </a:lnTo>
                    <a:lnTo>
                      <a:pt x="256" y="28"/>
                    </a:lnTo>
                    <a:lnTo>
                      <a:pt x="255" y="30"/>
                    </a:lnTo>
                    <a:lnTo>
                      <a:pt x="255" y="28"/>
                    </a:lnTo>
                    <a:lnTo>
                      <a:pt x="254" y="28"/>
                    </a:lnTo>
                    <a:lnTo>
                      <a:pt x="254" y="27"/>
                    </a:lnTo>
                    <a:lnTo>
                      <a:pt x="252" y="26"/>
                    </a:lnTo>
                    <a:lnTo>
                      <a:pt x="249" y="28"/>
                    </a:lnTo>
                    <a:lnTo>
                      <a:pt x="248" y="27"/>
                    </a:lnTo>
                    <a:lnTo>
                      <a:pt x="247" y="27"/>
                    </a:lnTo>
                    <a:lnTo>
                      <a:pt x="249" y="27"/>
                    </a:lnTo>
                    <a:lnTo>
                      <a:pt x="249" y="26"/>
                    </a:lnTo>
                    <a:lnTo>
                      <a:pt x="249" y="24"/>
                    </a:lnTo>
                    <a:lnTo>
                      <a:pt x="250" y="23"/>
                    </a:lnTo>
                    <a:lnTo>
                      <a:pt x="250" y="21"/>
                    </a:lnTo>
                    <a:lnTo>
                      <a:pt x="249" y="21"/>
                    </a:lnTo>
                    <a:lnTo>
                      <a:pt x="248" y="21"/>
                    </a:lnTo>
                    <a:lnTo>
                      <a:pt x="247" y="20"/>
                    </a:lnTo>
                    <a:lnTo>
                      <a:pt x="247" y="18"/>
                    </a:lnTo>
                    <a:lnTo>
                      <a:pt x="246" y="19"/>
                    </a:lnTo>
                    <a:lnTo>
                      <a:pt x="243" y="16"/>
                    </a:lnTo>
                    <a:lnTo>
                      <a:pt x="241" y="18"/>
                    </a:lnTo>
                    <a:lnTo>
                      <a:pt x="240" y="16"/>
                    </a:lnTo>
                    <a:lnTo>
                      <a:pt x="240" y="17"/>
                    </a:lnTo>
                    <a:lnTo>
                      <a:pt x="240" y="16"/>
                    </a:lnTo>
                    <a:lnTo>
                      <a:pt x="239" y="15"/>
                    </a:lnTo>
                    <a:lnTo>
                      <a:pt x="240" y="12"/>
                    </a:lnTo>
                    <a:lnTo>
                      <a:pt x="240" y="11"/>
                    </a:lnTo>
                    <a:lnTo>
                      <a:pt x="239" y="10"/>
                    </a:lnTo>
                    <a:lnTo>
                      <a:pt x="236" y="9"/>
                    </a:lnTo>
                    <a:lnTo>
                      <a:pt x="236" y="8"/>
                    </a:lnTo>
                    <a:lnTo>
                      <a:pt x="234" y="8"/>
                    </a:lnTo>
                    <a:lnTo>
                      <a:pt x="234" y="6"/>
                    </a:lnTo>
                    <a:lnTo>
                      <a:pt x="231" y="8"/>
                    </a:lnTo>
                    <a:lnTo>
                      <a:pt x="230" y="8"/>
                    </a:lnTo>
                    <a:lnTo>
                      <a:pt x="226" y="8"/>
                    </a:lnTo>
                    <a:lnTo>
                      <a:pt x="225" y="6"/>
                    </a:lnTo>
                    <a:lnTo>
                      <a:pt x="224" y="8"/>
                    </a:lnTo>
                    <a:lnTo>
                      <a:pt x="223" y="8"/>
                    </a:lnTo>
                    <a:lnTo>
                      <a:pt x="222" y="8"/>
                    </a:lnTo>
                    <a:lnTo>
                      <a:pt x="222" y="10"/>
                    </a:lnTo>
                    <a:lnTo>
                      <a:pt x="222" y="13"/>
                    </a:lnTo>
                    <a:lnTo>
                      <a:pt x="220" y="14"/>
                    </a:lnTo>
                    <a:lnTo>
                      <a:pt x="220" y="15"/>
                    </a:lnTo>
                    <a:lnTo>
                      <a:pt x="218" y="16"/>
                    </a:lnTo>
                    <a:lnTo>
                      <a:pt x="217" y="16"/>
                    </a:lnTo>
                    <a:lnTo>
                      <a:pt x="217" y="17"/>
                    </a:lnTo>
                    <a:lnTo>
                      <a:pt x="218" y="17"/>
                    </a:lnTo>
                    <a:lnTo>
                      <a:pt x="216" y="19"/>
                    </a:lnTo>
                    <a:lnTo>
                      <a:pt x="216" y="21"/>
                    </a:lnTo>
                    <a:lnTo>
                      <a:pt x="214" y="20"/>
                    </a:lnTo>
                    <a:lnTo>
                      <a:pt x="214" y="19"/>
                    </a:lnTo>
                    <a:lnTo>
                      <a:pt x="215" y="18"/>
                    </a:lnTo>
                    <a:lnTo>
                      <a:pt x="215" y="17"/>
                    </a:lnTo>
                    <a:lnTo>
                      <a:pt x="212" y="18"/>
                    </a:lnTo>
                    <a:lnTo>
                      <a:pt x="209" y="18"/>
                    </a:lnTo>
                    <a:lnTo>
                      <a:pt x="208" y="19"/>
                    </a:lnTo>
                    <a:lnTo>
                      <a:pt x="206" y="18"/>
                    </a:lnTo>
                    <a:lnTo>
                      <a:pt x="205" y="17"/>
                    </a:lnTo>
                    <a:lnTo>
                      <a:pt x="202" y="17"/>
                    </a:lnTo>
                    <a:lnTo>
                      <a:pt x="201" y="17"/>
                    </a:lnTo>
                    <a:lnTo>
                      <a:pt x="200" y="19"/>
                    </a:lnTo>
                    <a:lnTo>
                      <a:pt x="198" y="16"/>
                    </a:lnTo>
                    <a:lnTo>
                      <a:pt x="196" y="16"/>
                    </a:lnTo>
                    <a:lnTo>
                      <a:pt x="193" y="15"/>
                    </a:lnTo>
                    <a:lnTo>
                      <a:pt x="193" y="19"/>
                    </a:lnTo>
                    <a:lnTo>
                      <a:pt x="191" y="17"/>
                    </a:lnTo>
                    <a:lnTo>
                      <a:pt x="189" y="18"/>
                    </a:lnTo>
                    <a:lnTo>
                      <a:pt x="188" y="17"/>
                    </a:lnTo>
                    <a:lnTo>
                      <a:pt x="188" y="16"/>
                    </a:lnTo>
                    <a:lnTo>
                      <a:pt x="189" y="15"/>
                    </a:lnTo>
                    <a:lnTo>
                      <a:pt x="188" y="14"/>
                    </a:lnTo>
                    <a:lnTo>
                      <a:pt x="187" y="14"/>
                    </a:lnTo>
                    <a:lnTo>
                      <a:pt x="187" y="16"/>
                    </a:lnTo>
                    <a:lnTo>
                      <a:pt x="186" y="17"/>
                    </a:lnTo>
                    <a:lnTo>
                      <a:pt x="184" y="17"/>
                    </a:lnTo>
                    <a:lnTo>
                      <a:pt x="183" y="17"/>
                    </a:lnTo>
                    <a:lnTo>
                      <a:pt x="183" y="16"/>
                    </a:lnTo>
                    <a:lnTo>
                      <a:pt x="180" y="16"/>
                    </a:lnTo>
                    <a:lnTo>
                      <a:pt x="180" y="15"/>
                    </a:lnTo>
                    <a:lnTo>
                      <a:pt x="179" y="16"/>
                    </a:lnTo>
                    <a:lnTo>
                      <a:pt x="178" y="15"/>
                    </a:lnTo>
                    <a:lnTo>
                      <a:pt x="177" y="12"/>
                    </a:lnTo>
                    <a:lnTo>
                      <a:pt x="178" y="10"/>
                    </a:lnTo>
                    <a:lnTo>
                      <a:pt x="178" y="7"/>
                    </a:lnTo>
                    <a:lnTo>
                      <a:pt x="178" y="6"/>
                    </a:lnTo>
                    <a:lnTo>
                      <a:pt x="179" y="5"/>
                    </a:lnTo>
                    <a:lnTo>
                      <a:pt x="179" y="4"/>
                    </a:lnTo>
                    <a:lnTo>
                      <a:pt x="181" y="4"/>
                    </a:lnTo>
                    <a:lnTo>
                      <a:pt x="179" y="3"/>
                    </a:lnTo>
                    <a:lnTo>
                      <a:pt x="177" y="0"/>
                    </a:lnTo>
                    <a:lnTo>
                      <a:pt x="177" y="1"/>
                    </a:lnTo>
                    <a:lnTo>
                      <a:pt x="173" y="1"/>
                    </a:lnTo>
                    <a:lnTo>
                      <a:pt x="172" y="0"/>
                    </a:lnTo>
                    <a:lnTo>
                      <a:pt x="170" y="3"/>
                    </a:lnTo>
                    <a:lnTo>
                      <a:pt x="170" y="2"/>
                    </a:lnTo>
                    <a:lnTo>
                      <a:pt x="167" y="4"/>
                    </a:lnTo>
                    <a:lnTo>
                      <a:pt x="166" y="4"/>
                    </a:lnTo>
                    <a:lnTo>
                      <a:pt x="164" y="3"/>
                    </a:lnTo>
                    <a:lnTo>
                      <a:pt x="163" y="6"/>
                    </a:lnTo>
                    <a:lnTo>
                      <a:pt x="164" y="8"/>
                    </a:lnTo>
                    <a:lnTo>
                      <a:pt x="163" y="10"/>
                    </a:lnTo>
                    <a:lnTo>
                      <a:pt x="163" y="8"/>
                    </a:lnTo>
                    <a:lnTo>
                      <a:pt x="162" y="11"/>
                    </a:lnTo>
                    <a:lnTo>
                      <a:pt x="162" y="13"/>
                    </a:lnTo>
                    <a:lnTo>
                      <a:pt x="161" y="13"/>
                    </a:lnTo>
                    <a:lnTo>
                      <a:pt x="161" y="14"/>
                    </a:lnTo>
                    <a:lnTo>
                      <a:pt x="160" y="12"/>
                    </a:lnTo>
                    <a:lnTo>
                      <a:pt x="159" y="12"/>
                    </a:lnTo>
                    <a:lnTo>
                      <a:pt x="159" y="14"/>
                    </a:lnTo>
                    <a:lnTo>
                      <a:pt x="160" y="16"/>
                    </a:lnTo>
                    <a:lnTo>
                      <a:pt x="159" y="16"/>
                    </a:lnTo>
                    <a:lnTo>
                      <a:pt x="159" y="17"/>
                    </a:lnTo>
                    <a:lnTo>
                      <a:pt x="158" y="17"/>
                    </a:lnTo>
                    <a:lnTo>
                      <a:pt x="158" y="15"/>
                    </a:lnTo>
                    <a:lnTo>
                      <a:pt x="156" y="15"/>
                    </a:lnTo>
                    <a:lnTo>
                      <a:pt x="156" y="13"/>
                    </a:lnTo>
                    <a:lnTo>
                      <a:pt x="154" y="15"/>
                    </a:lnTo>
                    <a:lnTo>
                      <a:pt x="154" y="16"/>
                    </a:lnTo>
                    <a:lnTo>
                      <a:pt x="153" y="17"/>
                    </a:lnTo>
                    <a:lnTo>
                      <a:pt x="153" y="19"/>
                    </a:lnTo>
                    <a:lnTo>
                      <a:pt x="153" y="20"/>
                    </a:lnTo>
                    <a:lnTo>
                      <a:pt x="149" y="19"/>
                    </a:lnTo>
                    <a:lnTo>
                      <a:pt x="146" y="18"/>
                    </a:lnTo>
                    <a:lnTo>
                      <a:pt x="146" y="16"/>
                    </a:lnTo>
                    <a:lnTo>
                      <a:pt x="145" y="15"/>
                    </a:lnTo>
                    <a:lnTo>
                      <a:pt x="141" y="18"/>
                    </a:lnTo>
                    <a:lnTo>
                      <a:pt x="141" y="21"/>
                    </a:lnTo>
                    <a:lnTo>
                      <a:pt x="139" y="23"/>
                    </a:lnTo>
                    <a:lnTo>
                      <a:pt x="139" y="21"/>
                    </a:lnTo>
                    <a:lnTo>
                      <a:pt x="135" y="22"/>
                    </a:lnTo>
                    <a:lnTo>
                      <a:pt x="134" y="21"/>
                    </a:lnTo>
                    <a:lnTo>
                      <a:pt x="133" y="21"/>
                    </a:lnTo>
                    <a:lnTo>
                      <a:pt x="133" y="19"/>
                    </a:lnTo>
                    <a:lnTo>
                      <a:pt x="131" y="17"/>
                    </a:lnTo>
                    <a:lnTo>
                      <a:pt x="131" y="19"/>
                    </a:lnTo>
                    <a:lnTo>
                      <a:pt x="128" y="19"/>
                    </a:lnTo>
                    <a:lnTo>
                      <a:pt x="130" y="17"/>
                    </a:lnTo>
                    <a:lnTo>
                      <a:pt x="130" y="16"/>
                    </a:lnTo>
                    <a:lnTo>
                      <a:pt x="131" y="15"/>
                    </a:lnTo>
                    <a:lnTo>
                      <a:pt x="128" y="15"/>
                    </a:lnTo>
                    <a:lnTo>
                      <a:pt x="128" y="16"/>
                    </a:lnTo>
                    <a:lnTo>
                      <a:pt x="126" y="15"/>
                    </a:lnTo>
                    <a:lnTo>
                      <a:pt x="126" y="13"/>
                    </a:lnTo>
                    <a:lnTo>
                      <a:pt x="126" y="10"/>
                    </a:lnTo>
                    <a:lnTo>
                      <a:pt x="123" y="8"/>
                    </a:lnTo>
                    <a:lnTo>
                      <a:pt x="121" y="9"/>
                    </a:lnTo>
                    <a:lnTo>
                      <a:pt x="121" y="10"/>
                    </a:lnTo>
                    <a:lnTo>
                      <a:pt x="122" y="10"/>
                    </a:lnTo>
                    <a:lnTo>
                      <a:pt x="120" y="11"/>
                    </a:lnTo>
                    <a:lnTo>
                      <a:pt x="118" y="14"/>
                    </a:lnTo>
                    <a:lnTo>
                      <a:pt x="117" y="14"/>
                    </a:lnTo>
                    <a:lnTo>
                      <a:pt x="115" y="15"/>
                    </a:lnTo>
                    <a:lnTo>
                      <a:pt x="115" y="14"/>
                    </a:lnTo>
                    <a:lnTo>
                      <a:pt x="115" y="13"/>
                    </a:lnTo>
                    <a:lnTo>
                      <a:pt x="114" y="14"/>
                    </a:lnTo>
                    <a:lnTo>
                      <a:pt x="113" y="14"/>
                    </a:lnTo>
                    <a:lnTo>
                      <a:pt x="113" y="10"/>
                    </a:lnTo>
                    <a:lnTo>
                      <a:pt x="112" y="10"/>
                    </a:lnTo>
                    <a:lnTo>
                      <a:pt x="112" y="6"/>
                    </a:lnTo>
                    <a:lnTo>
                      <a:pt x="110" y="6"/>
                    </a:lnTo>
                    <a:lnTo>
                      <a:pt x="111" y="7"/>
                    </a:lnTo>
                    <a:lnTo>
                      <a:pt x="109" y="7"/>
                    </a:lnTo>
                    <a:lnTo>
                      <a:pt x="109" y="10"/>
                    </a:lnTo>
                    <a:lnTo>
                      <a:pt x="107" y="10"/>
                    </a:lnTo>
                    <a:lnTo>
                      <a:pt x="107" y="11"/>
                    </a:lnTo>
                    <a:lnTo>
                      <a:pt x="104" y="9"/>
                    </a:lnTo>
                    <a:lnTo>
                      <a:pt x="102" y="8"/>
                    </a:lnTo>
                    <a:lnTo>
                      <a:pt x="100" y="12"/>
                    </a:lnTo>
                    <a:lnTo>
                      <a:pt x="99" y="12"/>
                    </a:lnTo>
                    <a:lnTo>
                      <a:pt x="95" y="11"/>
                    </a:lnTo>
                    <a:lnTo>
                      <a:pt x="95" y="10"/>
                    </a:lnTo>
                    <a:lnTo>
                      <a:pt x="93" y="10"/>
                    </a:lnTo>
                    <a:lnTo>
                      <a:pt x="93" y="11"/>
                    </a:lnTo>
                    <a:lnTo>
                      <a:pt x="91" y="12"/>
                    </a:lnTo>
                    <a:lnTo>
                      <a:pt x="90" y="14"/>
                    </a:lnTo>
                    <a:lnTo>
                      <a:pt x="92" y="15"/>
                    </a:lnTo>
                    <a:lnTo>
                      <a:pt x="92" y="16"/>
                    </a:lnTo>
                    <a:lnTo>
                      <a:pt x="92" y="17"/>
                    </a:lnTo>
                    <a:lnTo>
                      <a:pt x="90" y="17"/>
                    </a:lnTo>
                    <a:lnTo>
                      <a:pt x="90" y="18"/>
                    </a:lnTo>
                    <a:lnTo>
                      <a:pt x="88" y="18"/>
                    </a:lnTo>
                    <a:lnTo>
                      <a:pt x="89" y="19"/>
                    </a:lnTo>
                    <a:lnTo>
                      <a:pt x="88" y="20"/>
                    </a:lnTo>
                    <a:lnTo>
                      <a:pt x="88" y="23"/>
                    </a:lnTo>
                    <a:lnTo>
                      <a:pt x="90" y="23"/>
                    </a:lnTo>
                    <a:lnTo>
                      <a:pt x="91" y="23"/>
                    </a:lnTo>
                    <a:lnTo>
                      <a:pt x="91" y="24"/>
                    </a:lnTo>
                    <a:lnTo>
                      <a:pt x="91" y="23"/>
                    </a:lnTo>
                    <a:lnTo>
                      <a:pt x="93" y="24"/>
                    </a:lnTo>
                    <a:lnTo>
                      <a:pt x="93" y="25"/>
                    </a:lnTo>
                    <a:lnTo>
                      <a:pt x="91" y="24"/>
                    </a:lnTo>
                    <a:lnTo>
                      <a:pt x="92" y="25"/>
                    </a:lnTo>
                    <a:lnTo>
                      <a:pt x="91" y="27"/>
                    </a:lnTo>
                    <a:lnTo>
                      <a:pt x="92" y="25"/>
                    </a:lnTo>
                    <a:lnTo>
                      <a:pt x="92" y="27"/>
                    </a:lnTo>
                    <a:lnTo>
                      <a:pt x="91" y="28"/>
                    </a:lnTo>
                    <a:lnTo>
                      <a:pt x="92" y="28"/>
                    </a:lnTo>
                    <a:lnTo>
                      <a:pt x="92" y="29"/>
                    </a:lnTo>
                    <a:lnTo>
                      <a:pt x="92" y="32"/>
                    </a:lnTo>
                    <a:lnTo>
                      <a:pt x="91" y="32"/>
                    </a:lnTo>
                    <a:lnTo>
                      <a:pt x="90" y="34"/>
                    </a:lnTo>
                    <a:lnTo>
                      <a:pt x="92" y="35"/>
                    </a:lnTo>
                    <a:lnTo>
                      <a:pt x="91" y="36"/>
                    </a:lnTo>
                    <a:lnTo>
                      <a:pt x="91" y="37"/>
                    </a:lnTo>
                    <a:lnTo>
                      <a:pt x="90" y="38"/>
                    </a:lnTo>
                    <a:lnTo>
                      <a:pt x="91" y="39"/>
                    </a:lnTo>
                    <a:lnTo>
                      <a:pt x="92" y="41"/>
                    </a:lnTo>
                    <a:lnTo>
                      <a:pt x="92" y="42"/>
                    </a:lnTo>
                    <a:lnTo>
                      <a:pt x="93" y="43"/>
                    </a:lnTo>
                    <a:lnTo>
                      <a:pt x="93" y="44"/>
                    </a:lnTo>
                    <a:lnTo>
                      <a:pt x="94" y="44"/>
                    </a:lnTo>
                    <a:lnTo>
                      <a:pt x="94" y="45"/>
                    </a:lnTo>
                    <a:lnTo>
                      <a:pt x="93" y="45"/>
                    </a:lnTo>
                    <a:lnTo>
                      <a:pt x="93" y="46"/>
                    </a:lnTo>
                    <a:lnTo>
                      <a:pt x="97" y="47"/>
                    </a:lnTo>
                    <a:lnTo>
                      <a:pt x="97" y="48"/>
                    </a:lnTo>
                    <a:lnTo>
                      <a:pt x="95" y="48"/>
                    </a:lnTo>
                    <a:lnTo>
                      <a:pt x="93" y="47"/>
                    </a:lnTo>
                    <a:lnTo>
                      <a:pt x="92" y="49"/>
                    </a:lnTo>
                    <a:lnTo>
                      <a:pt x="90" y="52"/>
                    </a:lnTo>
                    <a:lnTo>
                      <a:pt x="88" y="52"/>
                    </a:lnTo>
                    <a:lnTo>
                      <a:pt x="89" y="53"/>
                    </a:lnTo>
                    <a:lnTo>
                      <a:pt x="88" y="55"/>
                    </a:lnTo>
                    <a:lnTo>
                      <a:pt x="88" y="57"/>
                    </a:lnTo>
                    <a:lnTo>
                      <a:pt x="88" y="58"/>
                    </a:lnTo>
                    <a:lnTo>
                      <a:pt x="87" y="61"/>
                    </a:lnTo>
                    <a:lnTo>
                      <a:pt x="86" y="61"/>
                    </a:lnTo>
                    <a:lnTo>
                      <a:pt x="86" y="62"/>
                    </a:lnTo>
                    <a:lnTo>
                      <a:pt x="87" y="62"/>
                    </a:lnTo>
                    <a:lnTo>
                      <a:pt x="86" y="62"/>
                    </a:lnTo>
                    <a:lnTo>
                      <a:pt x="87" y="62"/>
                    </a:lnTo>
                    <a:lnTo>
                      <a:pt x="86" y="63"/>
                    </a:lnTo>
                    <a:lnTo>
                      <a:pt x="87" y="66"/>
                    </a:lnTo>
                    <a:lnTo>
                      <a:pt x="87" y="68"/>
                    </a:lnTo>
                    <a:lnTo>
                      <a:pt x="88" y="70"/>
                    </a:lnTo>
                    <a:lnTo>
                      <a:pt x="89" y="72"/>
                    </a:lnTo>
                    <a:lnTo>
                      <a:pt x="88" y="72"/>
                    </a:lnTo>
                    <a:lnTo>
                      <a:pt x="89" y="73"/>
                    </a:lnTo>
                    <a:lnTo>
                      <a:pt x="88" y="73"/>
                    </a:lnTo>
                    <a:lnTo>
                      <a:pt x="88" y="74"/>
                    </a:lnTo>
                    <a:lnTo>
                      <a:pt x="89" y="74"/>
                    </a:lnTo>
                    <a:lnTo>
                      <a:pt x="90" y="75"/>
                    </a:lnTo>
                    <a:lnTo>
                      <a:pt x="92" y="75"/>
                    </a:lnTo>
                    <a:lnTo>
                      <a:pt x="91" y="76"/>
                    </a:lnTo>
                    <a:lnTo>
                      <a:pt x="92" y="77"/>
                    </a:lnTo>
                    <a:lnTo>
                      <a:pt x="92" y="79"/>
                    </a:lnTo>
                    <a:lnTo>
                      <a:pt x="92" y="81"/>
                    </a:lnTo>
                    <a:lnTo>
                      <a:pt x="91" y="80"/>
                    </a:lnTo>
                    <a:lnTo>
                      <a:pt x="91" y="82"/>
                    </a:lnTo>
                    <a:lnTo>
                      <a:pt x="90" y="82"/>
                    </a:lnTo>
                    <a:lnTo>
                      <a:pt x="88" y="83"/>
                    </a:lnTo>
                    <a:lnTo>
                      <a:pt x="89" y="84"/>
                    </a:lnTo>
                    <a:lnTo>
                      <a:pt x="90" y="82"/>
                    </a:lnTo>
                    <a:lnTo>
                      <a:pt x="90" y="85"/>
                    </a:lnTo>
                    <a:lnTo>
                      <a:pt x="91" y="86"/>
                    </a:lnTo>
                    <a:lnTo>
                      <a:pt x="88" y="86"/>
                    </a:lnTo>
                    <a:lnTo>
                      <a:pt x="86" y="89"/>
                    </a:lnTo>
                    <a:lnTo>
                      <a:pt x="85" y="92"/>
                    </a:lnTo>
                    <a:lnTo>
                      <a:pt x="85" y="93"/>
                    </a:lnTo>
                    <a:lnTo>
                      <a:pt x="84" y="93"/>
                    </a:lnTo>
                    <a:lnTo>
                      <a:pt x="85" y="96"/>
                    </a:lnTo>
                    <a:lnTo>
                      <a:pt x="84" y="98"/>
                    </a:lnTo>
                    <a:lnTo>
                      <a:pt x="80" y="97"/>
                    </a:lnTo>
                    <a:lnTo>
                      <a:pt x="79" y="98"/>
                    </a:lnTo>
                    <a:lnTo>
                      <a:pt x="78" y="100"/>
                    </a:lnTo>
                    <a:lnTo>
                      <a:pt x="77" y="100"/>
                    </a:lnTo>
                    <a:lnTo>
                      <a:pt x="75" y="100"/>
                    </a:lnTo>
                    <a:lnTo>
                      <a:pt x="74" y="105"/>
                    </a:lnTo>
                    <a:lnTo>
                      <a:pt x="71" y="102"/>
                    </a:lnTo>
                    <a:lnTo>
                      <a:pt x="71" y="107"/>
                    </a:lnTo>
                    <a:lnTo>
                      <a:pt x="70" y="108"/>
                    </a:lnTo>
                    <a:lnTo>
                      <a:pt x="69" y="108"/>
                    </a:lnTo>
                    <a:lnTo>
                      <a:pt x="71" y="111"/>
                    </a:lnTo>
                    <a:lnTo>
                      <a:pt x="72" y="111"/>
                    </a:lnTo>
                    <a:lnTo>
                      <a:pt x="73" y="112"/>
                    </a:lnTo>
                    <a:lnTo>
                      <a:pt x="72" y="114"/>
                    </a:lnTo>
                    <a:lnTo>
                      <a:pt x="71" y="115"/>
                    </a:lnTo>
                    <a:lnTo>
                      <a:pt x="71" y="118"/>
                    </a:lnTo>
                    <a:lnTo>
                      <a:pt x="69" y="118"/>
                    </a:lnTo>
                    <a:lnTo>
                      <a:pt x="68" y="118"/>
                    </a:lnTo>
                    <a:lnTo>
                      <a:pt x="67" y="116"/>
                    </a:lnTo>
                    <a:lnTo>
                      <a:pt x="65" y="116"/>
                    </a:lnTo>
                    <a:lnTo>
                      <a:pt x="63" y="116"/>
                    </a:lnTo>
                    <a:lnTo>
                      <a:pt x="62" y="116"/>
                    </a:lnTo>
                    <a:lnTo>
                      <a:pt x="63" y="118"/>
                    </a:lnTo>
                    <a:lnTo>
                      <a:pt x="63" y="122"/>
                    </a:lnTo>
                    <a:lnTo>
                      <a:pt x="63" y="126"/>
                    </a:lnTo>
                    <a:lnTo>
                      <a:pt x="64" y="126"/>
                    </a:lnTo>
                    <a:lnTo>
                      <a:pt x="65" y="126"/>
                    </a:lnTo>
                    <a:lnTo>
                      <a:pt x="69" y="127"/>
                    </a:lnTo>
                    <a:lnTo>
                      <a:pt x="70" y="126"/>
                    </a:lnTo>
                    <a:lnTo>
                      <a:pt x="71" y="128"/>
                    </a:lnTo>
                    <a:lnTo>
                      <a:pt x="69" y="128"/>
                    </a:lnTo>
                    <a:lnTo>
                      <a:pt x="66" y="130"/>
                    </a:lnTo>
                    <a:lnTo>
                      <a:pt x="66" y="131"/>
                    </a:lnTo>
                    <a:lnTo>
                      <a:pt x="68" y="134"/>
                    </a:lnTo>
                    <a:lnTo>
                      <a:pt x="67" y="134"/>
                    </a:lnTo>
                    <a:lnTo>
                      <a:pt x="64" y="133"/>
                    </a:lnTo>
                    <a:lnTo>
                      <a:pt x="64" y="132"/>
                    </a:lnTo>
                    <a:lnTo>
                      <a:pt x="63" y="131"/>
                    </a:lnTo>
                    <a:lnTo>
                      <a:pt x="62" y="133"/>
                    </a:lnTo>
                    <a:lnTo>
                      <a:pt x="63" y="134"/>
                    </a:lnTo>
                    <a:lnTo>
                      <a:pt x="63" y="136"/>
                    </a:lnTo>
                    <a:lnTo>
                      <a:pt x="60" y="135"/>
                    </a:lnTo>
                    <a:lnTo>
                      <a:pt x="58" y="137"/>
                    </a:lnTo>
                    <a:lnTo>
                      <a:pt x="58" y="138"/>
                    </a:lnTo>
                    <a:lnTo>
                      <a:pt x="58" y="139"/>
                    </a:lnTo>
                    <a:lnTo>
                      <a:pt x="57" y="139"/>
                    </a:lnTo>
                    <a:lnTo>
                      <a:pt x="56" y="139"/>
                    </a:lnTo>
                    <a:lnTo>
                      <a:pt x="56" y="141"/>
                    </a:lnTo>
                    <a:lnTo>
                      <a:pt x="58" y="141"/>
                    </a:lnTo>
                    <a:lnTo>
                      <a:pt x="57" y="141"/>
                    </a:lnTo>
                    <a:lnTo>
                      <a:pt x="57" y="143"/>
                    </a:lnTo>
                    <a:lnTo>
                      <a:pt x="58" y="142"/>
                    </a:lnTo>
                    <a:lnTo>
                      <a:pt x="58" y="146"/>
                    </a:lnTo>
                    <a:lnTo>
                      <a:pt x="61" y="148"/>
                    </a:lnTo>
                    <a:lnTo>
                      <a:pt x="61" y="149"/>
                    </a:lnTo>
                    <a:lnTo>
                      <a:pt x="62" y="149"/>
                    </a:lnTo>
                    <a:lnTo>
                      <a:pt x="62" y="153"/>
                    </a:lnTo>
                    <a:lnTo>
                      <a:pt x="63" y="156"/>
                    </a:lnTo>
                    <a:lnTo>
                      <a:pt x="61" y="157"/>
                    </a:lnTo>
                    <a:lnTo>
                      <a:pt x="59" y="156"/>
                    </a:lnTo>
                    <a:lnTo>
                      <a:pt x="58" y="156"/>
                    </a:lnTo>
                    <a:lnTo>
                      <a:pt x="55" y="159"/>
                    </a:lnTo>
                    <a:lnTo>
                      <a:pt x="54" y="167"/>
                    </a:lnTo>
                    <a:lnTo>
                      <a:pt x="52" y="168"/>
                    </a:lnTo>
                    <a:lnTo>
                      <a:pt x="53" y="169"/>
                    </a:lnTo>
                    <a:lnTo>
                      <a:pt x="55" y="169"/>
                    </a:lnTo>
                    <a:lnTo>
                      <a:pt x="53" y="170"/>
                    </a:lnTo>
                    <a:lnTo>
                      <a:pt x="53" y="172"/>
                    </a:lnTo>
                    <a:lnTo>
                      <a:pt x="53" y="170"/>
                    </a:lnTo>
                    <a:lnTo>
                      <a:pt x="52" y="170"/>
                    </a:lnTo>
                    <a:lnTo>
                      <a:pt x="51" y="169"/>
                    </a:lnTo>
                    <a:lnTo>
                      <a:pt x="50" y="170"/>
                    </a:lnTo>
                    <a:lnTo>
                      <a:pt x="49" y="169"/>
                    </a:lnTo>
                    <a:lnTo>
                      <a:pt x="47" y="170"/>
                    </a:lnTo>
                    <a:lnTo>
                      <a:pt x="44" y="170"/>
                    </a:lnTo>
                    <a:lnTo>
                      <a:pt x="44" y="172"/>
                    </a:lnTo>
                    <a:lnTo>
                      <a:pt x="43" y="172"/>
                    </a:lnTo>
                    <a:lnTo>
                      <a:pt x="43" y="174"/>
                    </a:lnTo>
                    <a:lnTo>
                      <a:pt x="41" y="174"/>
                    </a:lnTo>
                    <a:lnTo>
                      <a:pt x="40" y="174"/>
                    </a:lnTo>
                    <a:lnTo>
                      <a:pt x="39" y="176"/>
                    </a:lnTo>
                    <a:lnTo>
                      <a:pt x="35" y="179"/>
                    </a:lnTo>
                    <a:lnTo>
                      <a:pt x="34" y="177"/>
                    </a:lnTo>
                    <a:lnTo>
                      <a:pt x="33" y="176"/>
                    </a:lnTo>
                    <a:lnTo>
                      <a:pt x="32" y="176"/>
                    </a:lnTo>
                    <a:lnTo>
                      <a:pt x="28" y="174"/>
                    </a:lnTo>
                    <a:lnTo>
                      <a:pt x="30" y="174"/>
                    </a:lnTo>
                    <a:lnTo>
                      <a:pt x="30" y="173"/>
                    </a:lnTo>
                    <a:lnTo>
                      <a:pt x="25" y="172"/>
                    </a:lnTo>
                    <a:lnTo>
                      <a:pt x="24" y="172"/>
                    </a:lnTo>
                    <a:lnTo>
                      <a:pt x="24" y="173"/>
                    </a:lnTo>
                    <a:lnTo>
                      <a:pt x="27" y="174"/>
                    </a:lnTo>
                    <a:lnTo>
                      <a:pt x="27" y="176"/>
                    </a:lnTo>
                    <a:lnTo>
                      <a:pt x="25" y="177"/>
                    </a:lnTo>
                    <a:lnTo>
                      <a:pt x="24" y="180"/>
                    </a:lnTo>
                    <a:lnTo>
                      <a:pt x="24" y="182"/>
                    </a:lnTo>
                    <a:lnTo>
                      <a:pt x="23" y="183"/>
                    </a:lnTo>
                    <a:lnTo>
                      <a:pt x="24" y="184"/>
                    </a:lnTo>
                    <a:lnTo>
                      <a:pt x="24" y="190"/>
                    </a:lnTo>
                    <a:lnTo>
                      <a:pt x="24" y="191"/>
                    </a:lnTo>
                    <a:lnTo>
                      <a:pt x="19" y="191"/>
                    </a:lnTo>
                    <a:lnTo>
                      <a:pt x="19" y="192"/>
                    </a:lnTo>
                    <a:lnTo>
                      <a:pt x="20" y="196"/>
                    </a:lnTo>
                    <a:lnTo>
                      <a:pt x="22" y="199"/>
                    </a:lnTo>
                    <a:lnTo>
                      <a:pt x="23" y="200"/>
                    </a:lnTo>
                    <a:lnTo>
                      <a:pt x="22" y="203"/>
                    </a:lnTo>
                    <a:lnTo>
                      <a:pt x="24" y="208"/>
                    </a:lnTo>
                    <a:lnTo>
                      <a:pt x="24" y="211"/>
                    </a:lnTo>
                    <a:lnTo>
                      <a:pt x="24" y="212"/>
                    </a:lnTo>
                    <a:lnTo>
                      <a:pt x="22" y="216"/>
                    </a:lnTo>
                    <a:lnTo>
                      <a:pt x="17" y="220"/>
                    </a:lnTo>
                    <a:lnTo>
                      <a:pt x="15" y="218"/>
                    </a:lnTo>
                    <a:lnTo>
                      <a:pt x="14" y="217"/>
                    </a:lnTo>
                    <a:lnTo>
                      <a:pt x="14" y="216"/>
                    </a:lnTo>
                    <a:lnTo>
                      <a:pt x="13" y="216"/>
                    </a:lnTo>
                    <a:lnTo>
                      <a:pt x="13" y="217"/>
                    </a:lnTo>
                    <a:lnTo>
                      <a:pt x="9" y="222"/>
                    </a:lnTo>
                    <a:lnTo>
                      <a:pt x="7" y="227"/>
                    </a:lnTo>
                    <a:lnTo>
                      <a:pt x="4" y="231"/>
                    </a:lnTo>
                    <a:lnTo>
                      <a:pt x="4" y="232"/>
                    </a:lnTo>
                    <a:lnTo>
                      <a:pt x="4" y="234"/>
                    </a:lnTo>
                    <a:lnTo>
                      <a:pt x="4" y="237"/>
                    </a:lnTo>
                    <a:lnTo>
                      <a:pt x="1" y="240"/>
                    </a:lnTo>
                    <a:lnTo>
                      <a:pt x="1" y="242"/>
                    </a:lnTo>
                    <a:lnTo>
                      <a:pt x="0" y="245"/>
                    </a:lnTo>
                    <a:lnTo>
                      <a:pt x="1" y="248"/>
                    </a:lnTo>
                    <a:lnTo>
                      <a:pt x="4" y="249"/>
                    </a:lnTo>
                    <a:lnTo>
                      <a:pt x="3" y="251"/>
                    </a:lnTo>
                    <a:lnTo>
                      <a:pt x="3" y="254"/>
                    </a:lnTo>
                    <a:lnTo>
                      <a:pt x="5" y="255"/>
                    </a:lnTo>
                    <a:lnTo>
                      <a:pt x="6" y="254"/>
                    </a:lnTo>
                    <a:lnTo>
                      <a:pt x="9" y="256"/>
                    </a:lnTo>
                    <a:lnTo>
                      <a:pt x="10" y="255"/>
                    </a:lnTo>
                    <a:lnTo>
                      <a:pt x="11" y="254"/>
                    </a:lnTo>
                    <a:lnTo>
                      <a:pt x="14" y="259"/>
                    </a:lnTo>
                    <a:lnTo>
                      <a:pt x="12" y="262"/>
                    </a:lnTo>
                    <a:lnTo>
                      <a:pt x="14" y="265"/>
                    </a:lnTo>
                    <a:lnTo>
                      <a:pt x="17" y="271"/>
                    </a:lnTo>
                    <a:lnTo>
                      <a:pt x="17" y="268"/>
                    </a:lnTo>
                    <a:lnTo>
                      <a:pt x="19" y="268"/>
                    </a:lnTo>
                    <a:lnTo>
                      <a:pt x="20" y="266"/>
                    </a:lnTo>
                    <a:lnTo>
                      <a:pt x="23" y="267"/>
                    </a:lnTo>
                    <a:lnTo>
                      <a:pt x="24" y="267"/>
                    </a:lnTo>
                    <a:lnTo>
                      <a:pt x="21" y="269"/>
                    </a:lnTo>
                    <a:lnTo>
                      <a:pt x="20" y="271"/>
                    </a:lnTo>
                    <a:lnTo>
                      <a:pt x="24" y="277"/>
                    </a:lnTo>
                    <a:lnTo>
                      <a:pt x="24" y="282"/>
                    </a:lnTo>
                    <a:lnTo>
                      <a:pt x="25" y="283"/>
                    </a:lnTo>
                    <a:lnTo>
                      <a:pt x="27" y="293"/>
                    </a:lnTo>
                    <a:lnTo>
                      <a:pt x="28" y="294"/>
                    </a:lnTo>
                    <a:lnTo>
                      <a:pt x="30" y="295"/>
                    </a:lnTo>
                    <a:lnTo>
                      <a:pt x="30" y="297"/>
                    </a:lnTo>
                    <a:lnTo>
                      <a:pt x="30" y="300"/>
                    </a:lnTo>
                    <a:lnTo>
                      <a:pt x="32" y="301"/>
                    </a:lnTo>
                    <a:lnTo>
                      <a:pt x="34" y="301"/>
                    </a:lnTo>
                    <a:lnTo>
                      <a:pt x="35" y="302"/>
                    </a:lnTo>
                    <a:lnTo>
                      <a:pt x="38" y="301"/>
                    </a:lnTo>
                    <a:lnTo>
                      <a:pt x="43" y="303"/>
                    </a:lnTo>
                    <a:lnTo>
                      <a:pt x="45" y="302"/>
                    </a:lnTo>
                    <a:lnTo>
                      <a:pt x="47" y="300"/>
                    </a:lnTo>
                    <a:lnTo>
                      <a:pt x="49" y="301"/>
                    </a:lnTo>
                    <a:lnTo>
                      <a:pt x="49" y="305"/>
                    </a:lnTo>
                    <a:lnTo>
                      <a:pt x="52" y="311"/>
                    </a:lnTo>
                    <a:lnTo>
                      <a:pt x="50" y="313"/>
                    </a:lnTo>
                    <a:lnTo>
                      <a:pt x="53" y="324"/>
                    </a:lnTo>
                    <a:lnTo>
                      <a:pt x="53" y="325"/>
                    </a:lnTo>
                    <a:lnTo>
                      <a:pt x="55" y="328"/>
                    </a:lnTo>
                    <a:lnTo>
                      <a:pt x="57" y="328"/>
                    </a:lnTo>
                    <a:lnTo>
                      <a:pt x="61" y="329"/>
                    </a:lnTo>
                    <a:lnTo>
                      <a:pt x="59" y="332"/>
                    </a:lnTo>
                    <a:lnTo>
                      <a:pt x="61" y="335"/>
                    </a:lnTo>
                    <a:lnTo>
                      <a:pt x="61" y="337"/>
                    </a:lnTo>
                    <a:lnTo>
                      <a:pt x="64" y="345"/>
                    </a:lnTo>
                    <a:lnTo>
                      <a:pt x="62" y="351"/>
                    </a:lnTo>
                    <a:lnTo>
                      <a:pt x="61" y="353"/>
                    </a:lnTo>
                    <a:lnTo>
                      <a:pt x="63" y="356"/>
                    </a:lnTo>
                    <a:lnTo>
                      <a:pt x="68" y="359"/>
                    </a:lnTo>
                    <a:lnTo>
                      <a:pt x="71" y="358"/>
                    </a:lnTo>
                    <a:lnTo>
                      <a:pt x="72" y="360"/>
                    </a:lnTo>
                    <a:lnTo>
                      <a:pt x="74" y="359"/>
                    </a:lnTo>
                    <a:lnTo>
                      <a:pt x="79" y="362"/>
                    </a:lnTo>
                    <a:lnTo>
                      <a:pt x="82" y="366"/>
                    </a:lnTo>
                    <a:lnTo>
                      <a:pt x="85" y="368"/>
                    </a:lnTo>
                    <a:lnTo>
                      <a:pt x="88" y="375"/>
                    </a:lnTo>
                    <a:lnTo>
                      <a:pt x="90" y="377"/>
                    </a:lnTo>
                    <a:lnTo>
                      <a:pt x="90" y="379"/>
                    </a:lnTo>
                    <a:lnTo>
                      <a:pt x="92" y="379"/>
                    </a:lnTo>
                    <a:lnTo>
                      <a:pt x="92" y="381"/>
                    </a:lnTo>
                    <a:lnTo>
                      <a:pt x="95" y="386"/>
                    </a:lnTo>
                    <a:lnTo>
                      <a:pt x="97" y="386"/>
                    </a:lnTo>
                    <a:lnTo>
                      <a:pt x="98" y="388"/>
                    </a:lnTo>
                    <a:lnTo>
                      <a:pt x="99" y="391"/>
                    </a:lnTo>
                    <a:lnTo>
                      <a:pt x="103" y="392"/>
                    </a:lnTo>
                    <a:lnTo>
                      <a:pt x="105" y="394"/>
                    </a:lnTo>
                    <a:lnTo>
                      <a:pt x="107" y="394"/>
                    </a:lnTo>
                    <a:lnTo>
                      <a:pt x="112" y="396"/>
                    </a:lnTo>
                    <a:lnTo>
                      <a:pt x="113" y="397"/>
                    </a:lnTo>
                    <a:lnTo>
                      <a:pt x="113" y="400"/>
                    </a:lnTo>
                    <a:lnTo>
                      <a:pt x="112" y="402"/>
                    </a:lnTo>
                    <a:lnTo>
                      <a:pt x="115" y="402"/>
                    </a:lnTo>
                    <a:lnTo>
                      <a:pt x="114" y="403"/>
                    </a:lnTo>
                    <a:lnTo>
                      <a:pt x="116" y="405"/>
                    </a:lnTo>
                    <a:lnTo>
                      <a:pt x="117" y="407"/>
                    </a:lnTo>
                    <a:lnTo>
                      <a:pt x="116" y="407"/>
                    </a:lnTo>
                    <a:lnTo>
                      <a:pt x="115" y="408"/>
                    </a:lnTo>
                    <a:lnTo>
                      <a:pt x="118" y="410"/>
                    </a:lnTo>
                    <a:lnTo>
                      <a:pt x="118" y="412"/>
                    </a:lnTo>
                    <a:lnTo>
                      <a:pt x="119" y="412"/>
                    </a:lnTo>
                    <a:lnTo>
                      <a:pt x="121" y="412"/>
                    </a:lnTo>
                    <a:lnTo>
                      <a:pt x="123" y="414"/>
                    </a:lnTo>
                    <a:lnTo>
                      <a:pt x="125" y="414"/>
                    </a:lnTo>
                    <a:lnTo>
                      <a:pt x="124" y="418"/>
                    </a:lnTo>
                    <a:lnTo>
                      <a:pt x="123" y="421"/>
                    </a:lnTo>
                    <a:lnTo>
                      <a:pt x="121" y="423"/>
                    </a:lnTo>
                    <a:lnTo>
                      <a:pt x="118" y="422"/>
                    </a:lnTo>
                    <a:lnTo>
                      <a:pt x="113" y="422"/>
                    </a:lnTo>
                    <a:lnTo>
                      <a:pt x="113" y="426"/>
                    </a:lnTo>
                    <a:lnTo>
                      <a:pt x="111" y="426"/>
                    </a:lnTo>
                    <a:lnTo>
                      <a:pt x="110" y="427"/>
                    </a:lnTo>
                    <a:lnTo>
                      <a:pt x="109" y="427"/>
                    </a:lnTo>
                    <a:lnTo>
                      <a:pt x="112" y="431"/>
                    </a:lnTo>
                    <a:lnTo>
                      <a:pt x="112" y="432"/>
                    </a:lnTo>
                    <a:lnTo>
                      <a:pt x="114" y="434"/>
                    </a:lnTo>
                    <a:lnTo>
                      <a:pt x="113" y="435"/>
                    </a:lnTo>
                    <a:lnTo>
                      <a:pt x="117" y="435"/>
                    </a:lnTo>
                    <a:lnTo>
                      <a:pt x="118" y="435"/>
                    </a:lnTo>
                    <a:lnTo>
                      <a:pt x="118" y="439"/>
                    </a:lnTo>
                    <a:lnTo>
                      <a:pt x="116" y="439"/>
                    </a:lnTo>
                    <a:lnTo>
                      <a:pt x="117" y="440"/>
                    </a:lnTo>
                    <a:lnTo>
                      <a:pt x="116" y="442"/>
                    </a:lnTo>
                    <a:lnTo>
                      <a:pt x="118" y="443"/>
                    </a:lnTo>
                    <a:lnTo>
                      <a:pt x="118" y="444"/>
                    </a:lnTo>
                    <a:lnTo>
                      <a:pt x="119" y="447"/>
                    </a:lnTo>
                    <a:lnTo>
                      <a:pt x="121" y="445"/>
                    </a:lnTo>
                    <a:lnTo>
                      <a:pt x="123" y="446"/>
                    </a:lnTo>
                    <a:lnTo>
                      <a:pt x="122" y="448"/>
                    </a:lnTo>
                    <a:lnTo>
                      <a:pt x="122" y="451"/>
                    </a:lnTo>
                    <a:lnTo>
                      <a:pt x="123" y="451"/>
                    </a:lnTo>
                    <a:lnTo>
                      <a:pt x="124" y="449"/>
                    </a:lnTo>
                    <a:lnTo>
                      <a:pt x="130" y="450"/>
                    </a:lnTo>
                    <a:lnTo>
                      <a:pt x="131" y="451"/>
                    </a:lnTo>
                    <a:lnTo>
                      <a:pt x="129" y="454"/>
                    </a:lnTo>
                    <a:lnTo>
                      <a:pt x="132" y="456"/>
                    </a:lnTo>
                    <a:lnTo>
                      <a:pt x="136" y="456"/>
                    </a:lnTo>
                    <a:lnTo>
                      <a:pt x="140" y="453"/>
                    </a:lnTo>
                    <a:lnTo>
                      <a:pt x="143" y="455"/>
                    </a:lnTo>
                    <a:lnTo>
                      <a:pt x="145" y="454"/>
                    </a:lnTo>
                    <a:lnTo>
                      <a:pt x="148" y="456"/>
                    </a:lnTo>
                    <a:lnTo>
                      <a:pt x="148" y="458"/>
                    </a:lnTo>
                    <a:lnTo>
                      <a:pt x="152" y="457"/>
                    </a:lnTo>
                    <a:lnTo>
                      <a:pt x="153" y="457"/>
                    </a:lnTo>
                    <a:lnTo>
                      <a:pt x="154" y="457"/>
                    </a:lnTo>
                    <a:lnTo>
                      <a:pt x="155" y="457"/>
                    </a:lnTo>
                    <a:lnTo>
                      <a:pt x="158" y="458"/>
                    </a:lnTo>
                    <a:lnTo>
                      <a:pt x="162" y="461"/>
                    </a:lnTo>
                    <a:lnTo>
                      <a:pt x="166" y="463"/>
                    </a:lnTo>
                    <a:lnTo>
                      <a:pt x="169" y="465"/>
                    </a:lnTo>
                    <a:lnTo>
                      <a:pt x="169" y="467"/>
                    </a:lnTo>
                    <a:lnTo>
                      <a:pt x="174" y="465"/>
                    </a:lnTo>
                    <a:lnTo>
                      <a:pt x="178" y="467"/>
                    </a:lnTo>
                    <a:lnTo>
                      <a:pt x="180" y="471"/>
                    </a:lnTo>
                    <a:lnTo>
                      <a:pt x="188" y="477"/>
                    </a:lnTo>
                    <a:lnTo>
                      <a:pt x="190" y="477"/>
                    </a:lnTo>
                    <a:lnTo>
                      <a:pt x="191" y="477"/>
                    </a:lnTo>
                    <a:lnTo>
                      <a:pt x="191" y="481"/>
                    </a:lnTo>
                    <a:lnTo>
                      <a:pt x="193" y="482"/>
                    </a:lnTo>
                    <a:lnTo>
                      <a:pt x="196" y="482"/>
                    </a:lnTo>
                    <a:lnTo>
                      <a:pt x="197" y="479"/>
                    </a:lnTo>
                    <a:lnTo>
                      <a:pt x="200" y="478"/>
                    </a:lnTo>
                    <a:lnTo>
                      <a:pt x="200" y="476"/>
                    </a:lnTo>
                    <a:lnTo>
                      <a:pt x="202" y="473"/>
                    </a:lnTo>
                    <a:lnTo>
                      <a:pt x="204" y="473"/>
                    </a:lnTo>
                    <a:lnTo>
                      <a:pt x="205" y="476"/>
                    </a:lnTo>
                    <a:lnTo>
                      <a:pt x="206" y="477"/>
                    </a:lnTo>
                    <a:lnTo>
                      <a:pt x="208" y="477"/>
                    </a:lnTo>
                    <a:lnTo>
                      <a:pt x="210" y="476"/>
                    </a:lnTo>
                    <a:lnTo>
                      <a:pt x="211" y="473"/>
                    </a:lnTo>
                    <a:lnTo>
                      <a:pt x="211" y="471"/>
                    </a:lnTo>
                    <a:lnTo>
                      <a:pt x="210" y="470"/>
                    </a:lnTo>
                    <a:lnTo>
                      <a:pt x="210" y="466"/>
                    </a:lnTo>
                    <a:lnTo>
                      <a:pt x="211" y="465"/>
                    </a:lnTo>
                    <a:lnTo>
                      <a:pt x="213" y="467"/>
                    </a:lnTo>
                    <a:lnTo>
                      <a:pt x="215" y="467"/>
                    </a:lnTo>
                    <a:lnTo>
                      <a:pt x="216" y="467"/>
                    </a:lnTo>
                    <a:lnTo>
                      <a:pt x="218" y="467"/>
                    </a:lnTo>
                    <a:lnTo>
                      <a:pt x="221" y="470"/>
                    </a:lnTo>
                    <a:lnTo>
                      <a:pt x="223" y="470"/>
                    </a:lnTo>
                    <a:lnTo>
                      <a:pt x="224" y="466"/>
                    </a:lnTo>
                    <a:lnTo>
                      <a:pt x="226" y="465"/>
                    </a:lnTo>
                    <a:lnTo>
                      <a:pt x="227" y="462"/>
                    </a:lnTo>
                    <a:lnTo>
                      <a:pt x="229" y="459"/>
                    </a:lnTo>
                    <a:lnTo>
                      <a:pt x="229" y="456"/>
                    </a:lnTo>
                    <a:lnTo>
                      <a:pt x="231" y="454"/>
                    </a:lnTo>
                    <a:lnTo>
                      <a:pt x="232" y="454"/>
                    </a:lnTo>
                    <a:lnTo>
                      <a:pt x="231" y="450"/>
                    </a:lnTo>
                    <a:lnTo>
                      <a:pt x="229" y="447"/>
                    </a:lnTo>
                    <a:lnTo>
                      <a:pt x="229" y="444"/>
                    </a:lnTo>
                    <a:lnTo>
                      <a:pt x="232" y="444"/>
                    </a:lnTo>
                    <a:lnTo>
                      <a:pt x="233" y="445"/>
                    </a:lnTo>
                    <a:lnTo>
                      <a:pt x="236" y="444"/>
                    </a:lnTo>
                    <a:lnTo>
                      <a:pt x="237" y="446"/>
                    </a:lnTo>
                    <a:lnTo>
                      <a:pt x="238" y="447"/>
                    </a:lnTo>
                    <a:lnTo>
                      <a:pt x="237" y="447"/>
                    </a:lnTo>
                    <a:lnTo>
                      <a:pt x="237" y="448"/>
                    </a:lnTo>
                    <a:lnTo>
                      <a:pt x="239" y="450"/>
                    </a:lnTo>
                    <a:lnTo>
                      <a:pt x="242" y="452"/>
                    </a:lnTo>
                    <a:lnTo>
                      <a:pt x="242" y="455"/>
                    </a:lnTo>
                    <a:lnTo>
                      <a:pt x="242" y="456"/>
                    </a:lnTo>
                    <a:lnTo>
                      <a:pt x="243" y="457"/>
                    </a:lnTo>
                    <a:lnTo>
                      <a:pt x="244" y="460"/>
                    </a:lnTo>
                    <a:lnTo>
                      <a:pt x="246" y="459"/>
                    </a:lnTo>
                    <a:lnTo>
                      <a:pt x="249" y="459"/>
                    </a:lnTo>
                    <a:lnTo>
                      <a:pt x="250" y="461"/>
                    </a:lnTo>
                    <a:lnTo>
                      <a:pt x="256" y="463"/>
                    </a:lnTo>
                    <a:lnTo>
                      <a:pt x="257" y="464"/>
                    </a:lnTo>
                    <a:lnTo>
                      <a:pt x="257" y="467"/>
                    </a:lnTo>
                    <a:lnTo>
                      <a:pt x="259" y="469"/>
                    </a:lnTo>
                    <a:lnTo>
                      <a:pt x="260" y="468"/>
                    </a:lnTo>
                    <a:lnTo>
                      <a:pt x="260" y="466"/>
                    </a:lnTo>
                    <a:lnTo>
                      <a:pt x="262" y="466"/>
                    </a:lnTo>
                    <a:lnTo>
                      <a:pt x="263" y="465"/>
                    </a:lnTo>
                    <a:lnTo>
                      <a:pt x="264" y="465"/>
                    </a:lnTo>
                    <a:lnTo>
                      <a:pt x="266" y="463"/>
                    </a:lnTo>
                    <a:lnTo>
                      <a:pt x="268" y="463"/>
                    </a:lnTo>
                    <a:lnTo>
                      <a:pt x="271" y="460"/>
                    </a:lnTo>
                    <a:lnTo>
                      <a:pt x="272" y="459"/>
                    </a:lnTo>
                    <a:lnTo>
                      <a:pt x="275" y="459"/>
                    </a:lnTo>
                    <a:lnTo>
                      <a:pt x="276" y="463"/>
                    </a:lnTo>
                    <a:lnTo>
                      <a:pt x="276" y="470"/>
                    </a:lnTo>
                    <a:lnTo>
                      <a:pt x="278" y="471"/>
                    </a:lnTo>
                    <a:lnTo>
                      <a:pt x="279" y="471"/>
                    </a:lnTo>
                    <a:lnTo>
                      <a:pt x="283" y="470"/>
                    </a:lnTo>
                    <a:lnTo>
                      <a:pt x="285" y="475"/>
                    </a:lnTo>
                    <a:lnTo>
                      <a:pt x="286" y="483"/>
                    </a:lnTo>
                    <a:lnTo>
                      <a:pt x="292" y="483"/>
                    </a:lnTo>
                    <a:lnTo>
                      <a:pt x="294" y="482"/>
                    </a:lnTo>
                    <a:lnTo>
                      <a:pt x="294" y="483"/>
                    </a:lnTo>
                    <a:lnTo>
                      <a:pt x="295" y="482"/>
                    </a:lnTo>
                    <a:lnTo>
                      <a:pt x="297" y="484"/>
                    </a:lnTo>
                    <a:lnTo>
                      <a:pt x="299" y="482"/>
                    </a:lnTo>
                    <a:lnTo>
                      <a:pt x="299" y="480"/>
                    </a:lnTo>
                    <a:lnTo>
                      <a:pt x="301" y="479"/>
                    </a:lnTo>
                    <a:lnTo>
                      <a:pt x="301" y="478"/>
                    </a:lnTo>
                    <a:lnTo>
                      <a:pt x="304" y="476"/>
                    </a:lnTo>
                    <a:lnTo>
                      <a:pt x="303" y="468"/>
                    </a:lnTo>
                    <a:lnTo>
                      <a:pt x="306" y="458"/>
                    </a:lnTo>
                    <a:lnTo>
                      <a:pt x="306" y="453"/>
                    </a:lnTo>
                    <a:lnTo>
                      <a:pt x="304" y="453"/>
                    </a:lnTo>
                    <a:lnTo>
                      <a:pt x="308" y="441"/>
                    </a:lnTo>
                    <a:lnTo>
                      <a:pt x="309" y="440"/>
                    </a:lnTo>
                    <a:lnTo>
                      <a:pt x="310" y="436"/>
                    </a:lnTo>
                    <a:lnTo>
                      <a:pt x="313" y="431"/>
                    </a:lnTo>
                    <a:lnTo>
                      <a:pt x="314" y="430"/>
                    </a:lnTo>
                    <a:lnTo>
                      <a:pt x="319" y="430"/>
                    </a:lnTo>
                    <a:lnTo>
                      <a:pt x="320" y="427"/>
                    </a:lnTo>
                    <a:lnTo>
                      <a:pt x="324" y="427"/>
                    </a:lnTo>
                    <a:lnTo>
                      <a:pt x="328" y="424"/>
                    </a:lnTo>
                    <a:lnTo>
                      <a:pt x="328" y="422"/>
                    </a:lnTo>
                    <a:lnTo>
                      <a:pt x="330" y="421"/>
                    </a:lnTo>
                    <a:lnTo>
                      <a:pt x="330" y="419"/>
                    </a:lnTo>
                    <a:lnTo>
                      <a:pt x="332" y="418"/>
                    </a:lnTo>
                    <a:lnTo>
                      <a:pt x="333" y="418"/>
                    </a:lnTo>
                    <a:lnTo>
                      <a:pt x="335" y="418"/>
                    </a:lnTo>
                    <a:lnTo>
                      <a:pt x="333" y="411"/>
                    </a:lnTo>
                    <a:lnTo>
                      <a:pt x="337" y="405"/>
                    </a:lnTo>
                    <a:lnTo>
                      <a:pt x="337" y="403"/>
                    </a:lnTo>
                    <a:lnTo>
                      <a:pt x="336" y="400"/>
                    </a:lnTo>
                    <a:lnTo>
                      <a:pt x="337" y="399"/>
                    </a:lnTo>
                    <a:lnTo>
                      <a:pt x="337" y="397"/>
                    </a:lnTo>
                    <a:lnTo>
                      <a:pt x="340" y="396"/>
                    </a:lnTo>
                    <a:lnTo>
                      <a:pt x="341" y="396"/>
                    </a:lnTo>
                    <a:lnTo>
                      <a:pt x="343" y="397"/>
                    </a:lnTo>
                    <a:lnTo>
                      <a:pt x="346" y="397"/>
                    </a:lnTo>
                    <a:lnTo>
                      <a:pt x="347" y="396"/>
                    </a:lnTo>
                    <a:lnTo>
                      <a:pt x="348" y="398"/>
                    </a:lnTo>
                    <a:lnTo>
                      <a:pt x="348" y="397"/>
                    </a:lnTo>
                    <a:lnTo>
                      <a:pt x="349" y="399"/>
                    </a:lnTo>
                    <a:lnTo>
                      <a:pt x="350" y="400"/>
                    </a:lnTo>
                    <a:lnTo>
                      <a:pt x="351" y="399"/>
                    </a:lnTo>
                    <a:lnTo>
                      <a:pt x="352" y="400"/>
                    </a:lnTo>
                    <a:lnTo>
                      <a:pt x="354" y="398"/>
                    </a:lnTo>
                    <a:lnTo>
                      <a:pt x="356" y="399"/>
                    </a:lnTo>
                    <a:lnTo>
                      <a:pt x="358" y="401"/>
                    </a:lnTo>
                    <a:lnTo>
                      <a:pt x="358" y="403"/>
                    </a:lnTo>
                    <a:lnTo>
                      <a:pt x="361" y="403"/>
                    </a:lnTo>
                    <a:lnTo>
                      <a:pt x="363" y="405"/>
                    </a:lnTo>
                    <a:lnTo>
                      <a:pt x="365" y="406"/>
                    </a:lnTo>
                    <a:lnTo>
                      <a:pt x="366" y="405"/>
                    </a:lnTo>
                    <a:lnTo>
                      <a:pt x="369" y="407"/>
                    </a:lnTo>
                    <a:lnTo>
                      <a:pt x="371" y="408"/>
                    </a:lnTo>
                    <a:lnTo>
                      <a:pt x="372" y="410"/>
                    </a:lnTo>
                    <a:lnTo>
                      <a:pt x="374" y="410"/>
                    </a:lnTo>
                    <a:lnTo>
                      <a:pt x="375" y="410"/>
                    </a:lnTo>
                    <a:lnTo>
                      <a:pt x="377" y="412"/>
                    </a:lnTo>
                    <a:lnTo>
                      <a:pt x="379" y="410"/>
                    </a:lnTo>
                    <a:lnTo>
                      <a:pt x="380" y="410"/>
                    </a:lnTo>
                    <a:lnTo>
                      <a:pt x="382" y="409"/>
                    </a:lnTo>
                    <a:lnTo>
                      <a:pt x="384" y="405"/>
                    </a:lnTo>
                    <a:lnTo>
                      <a:pt x="384" y="403"/>
                    </a:lnTo>
                    <a:lnTo>
                      <a:pt x="379" y="398"/>
                    </a:lnTo>
                    <a:lnTo>
                      <a:pt x="379" y="397"/>
                    </a:lnTo>
                    <a:lnTo>
                      <a:pt x="379" y="396"/>
                    </a:lnTo>
                    <a:lnTo>
                      <a:pt x="378" y="395"/>
                    </a:lnTo>
                    <a:lnTo>
                      <a:pt x="381" y="392"/>
                    </a:lnTo>
                    <a:lnTo>
                      <a:pt x="381" y="387"/>
                    </a:lnTo>
                    <a:lnTo>
                      <a:pt x="384" y="382"/>
                    </a:lnTo>
                    <a:lnTo>
                      <a:pt x="384" y="376"/>
                    </a:lnTo>
                    <a:lnTo>
                      <a:pt x="386" y="375"/>
                    </a:lnTo>
                    <a:lnTo>
                      <a:pt x="386" y="374"/>
                    </a:lnTo>
                    <a:lnTo>
                      <a:pt x="389" y="374"/>
                    </a:lnTo>
                    <a:lnTo>
                      <a:pt x="389" y="372"/>
                    </a:lnTo>
                    <a:lnTo>
                      <a:pt x="388" y="369"/>
                    </a:lnTo>
                    <a:lnTo>
                      <a:pt x="387" y="369"/>
                    </a:lnTo>
                    <a:lnTo>
                      <a:pt x="387" y="365"/>
                    </a:lnTo>
                    <a:lnTo>
                      <a:pt x="388" y="359"/>
                    </a:lnTo>
                    <a:lnTo>
                      <a:pt x="391" y="359"/>
                    </a:lnTo>
                    <a:lnTo>
                      <a:pt x="392" y="351"/>
                    </a:lnTo>
                    <a:lnTo>
                      <a:pt x="393" y="352"/>
                    </a:lnTo>
                    <a:lnTo>
                      <a:pt x="393" y="350"/>
                    </a:lnTo>
                    <a:lnTo>
                      <a:pt x="394" y="348"/>
                    </a:lnTo>
                    <a:lnTo>
                      <a:pt x="395" y="346"/>
                    </a:lnTo>
                    <a:lnTo>
                      <a:pt x="395" y="340"/>
                    </a:lnTo>
                    <a:lnTo>
                      <a:pt x="393" y="339"/>
                    </a:lnTo>
                    <a:lnTo>
                      <a:pt x="393" y="336"/>
                    </a:lnTo>
                    <a:lnTo>
                      <a:pt x="392" y="335"/>
                    </a:lnTo>
                    <a:lnTo>
                      <a:pt x="392" y="333"/>
                    </a:lnTo>
                    <a:lnTo>
                      <a:pt x="394" y="332"/>
                    </a:lnTo>
                    <a:lnTo>
                      <a:pt x="395" y="331"/>
                    </a:lnTo>
                    <a:lnTo>
                      <a:pt x="395" y="328"/>
                    </a:lnTo>
                    <a:lnTo>
                      <a:pt x="393" y="327"/>
                    </a:lnTo>
                    <a:lnTo>
                      <a:pt x="393" y="321"/>
                    </a:lnTo>
                    <a:lnTo>
                      <a:pt x="393" y="318"/>
                    </a:lnTo>
                    <a:lnTo>
                      <a:pt x="394" y="314"/>
                    </a:lnTo>
                    <a:lnTo>
                      <a:pt x="395" y="310"/>
                    </a:lnTo>
                    <a:lnTo>
                      <a:pt x="395" y="311"/>
                    </a:lnTo>
                    <a:lnTo>
                      <a:pt x="397" y="307"/>
                    </a:lnTo>
                    <a:lnTo>
                      <a:pt x="400" y="306"/>
                    </a:lnTo>
                    <a:lnTo>
                      <a:pt x="401" y="305"/>
                    </a:lnTo>
                    <a:lnTo>
                      <a:pt x="401" y="304"/>
                    </a:lnTo>
                    <a:lnTo>
                      <a:pt x="402" y="299"/>
                    </a:lnTo>
                    <a:lnTo>
                      <a:pt x="401" y="299"/>
                    </a:lnTo>
                    <a:lnTo>
                      <a:pt x="400" y="297"/>
                    </a:lnTo>
                    <a:lnTo>
                      <a:pt x="402" y="294"/>
                    </a:lnTo>
                    <a:lnTo>
                      <a:pt x="403" y="295"/>
                    </a:lnTo>
                    <a:lnTo>
                      <a:pt x="406" y="295"/>
                    </a:lnTo>
                    <a:lnTo>
                      <a:pt x="407" y="293"/>
                    </a:lnTo>
                    <a:lnTo>
                      <a:pt x="409" y="292"/>
                    </a:lnTo>
                    <a:lnTo>
                      <a:pt x="410" y="295"/>
                    </a:lnTo>
                    <a:lnTo>
                      <a:pt x="414" y="297"/>
                    </a:lnTo>
                    <a:lnTo>
                      <a:pt x="418" y="296"/>
                    </a:lnTo>
                    <a:lnTo>
                      <a:pt x="420" y="297"/>
                    </a:lnTo>
                    <a:lnTo>
                      <a:pt x="421" y="301"/>
                    </a:lnTo>
                    <a:lnTo>
                      <a:pt x="420" y="302"/>
                    </a:lnTo>
                    <a:lnTo>
                      <a:pt x="420" y="303"/>
                    </a:lnTo>
                    <a:lnTo>
                      <a:pt x="420" y="305"/>
                    </a:lnTo>
                    <a:lnTo>
                      <a:pt x="426" y="306"/>
                    </a:lnTo>
                    <a:lnTo>
                      <a:pt x="430" y="308"/>
                    </a:lnTo>
                    <a:lnTo>
                      <a:pt x="431" y="306"/>
                    </a:lnTo>
                    <a:lnTo>
                      <a:pt x="433" y="306"/>
                    </a:lnTo>
                    <a:lnTo>
                      <a:pt x="435" y="307"/>
                    </a:lnTo>
                    <a:lnTo>
                      <a:pt x="436" y="306"/>
                    </a:lnTo>
                    <a:lnTo>
                      <a:pt x="437" y="307"/>
                    </a:lnTo>
                    <a:lnTo>
                      <a:pt x="439" y="306"/>
                    </a:lnTo>
                    <a:lnTo>
                      <a:pt x="439" y="308"/>
                    </a:lnTo>
                    <a:lnTo>
                      <a:pt x="444" y="311"/>
                    </a:lnTo>
                    <a:lnTo>
                      <a:pt x="444" y="314"/>
                    </a:lnTo>
                    <a:lnTo>
                      <a:pt x="443" y="314"/>
                    </a:lnTo>
                    <a:lnTo>
                      <a:pt x="442" y="315"/>
                    </a:lnTo>
                    <a:lnTo>
                      <a:pt x="442" y="316"/>
                    </a:lnTo>
                    <a:lnTo>
                      <a:pt x="445" y="318"/>
                    </a:lnTo>
                    <a:lnTo>
                      <a:pt x="445" y="319"/>
                    </a:lnTo>
                    <a:lnTo>
                      <a:pt x="444" y="320"/>
                    </a:lnTo>
                    <a:lnTo>
                      <a:pt x="446" y="322"/>
                    </a:lnTo>
                    <a:lnTo>
                      <a:pt x="446" y="325"/>
                    </a:lnTo>
                    <a:lnTo>
                      <a:pt x="446" y="326"/>
                    </a:lnTo>
                    <a:lnTo>
                      <a:pt x="444" y="327"/>
                    </a:lnTo>
                    <a:lnTo>
                      <a:pt x="441" y="332"/>
                    </a:lnTo>
                    <a:lnTo>
                      <a:pt x="443" y="335"/>
                    </a:lnTo>
                    <a:lnTo>
                      <a:pt x="444" y="334"/>
                    </a:lnTo>
                    <a:lnTo>
                      <a:pt x="445" y="335"/>
                    </a:lnTo>
                    <a:lnTo>
                      <a:pt x="448" y="333"/>
                    </a:lnTo>
                    <a:lnTo>
                      <a:pt x="450" y="335"/>
                    </a:lnTo>
                    <a:lnTo>
                      <a:pt x="454" y="331"/>
                    </a:lnTo>
                    <a:lnTo>
                      <a:pt x="456" y="331"/>
                    </a:lnTo>
                    <a:lnTo>
                      <a:pt x="458" y="329"/>
                    </a:lnTo>
                    <a:lnTo>
                      <a:pt x="459" y="329"/>
                    </a:lnTo>
                    <a:lnTo>
                      <a:pt x="462" y="329"/>
                    </a:lnTo>
                    <a:lnTo>
                      <a:pt x="466" y="330"/>
                    </a:lnTo>
                    <a:lnTo>
                      <a:pt x="467" y="330"/>
                    </a:lnTo>
                    <a:lnTo>
                      <a:pt x="471" y="333"/>
                    </a:lnTo>
                    <a:lnTo>
                      <a:pt x="472" y="331"/>
                    </a:lnTo>
                    <a:lnTo>
                      <a:pt x="474" y="331"/>
                    </a:lnTo>
                    <a:lnTo>
                      <a:pt x="473" y="328"/>
                    </a:lnTo>
                    <a:lnTo>
                      <a:pt x="474" y="328"/>
                    </a:lnTo>
                    <a:lnTo>
                      <a:pt x="475" y="328"/>
                    </a:lnTo>
                    <a:lnTo>
                      <a:pt x="478" y="322"/>
                    </a:lnTo>
                    <a:lnTo>
                      <a:pt x="479" y="322"/>
                    </a:lnTo>
                    <a:lnTo>
                      <a:pt x="477" y="318"/>
                    </a:lnTo>
                    <a:lnTo>
                      <a:pt x="478" y="315"/>
                    </a:lnTo>
                    <a:lnTo>
                      <a:pt x="481" y="316"/>
                    </a:lnTo>
                    <a:lnTo>
                      <a:pt x="482" y="318"/>
                    </a:lnTo>
                    <a:lnTo>
                      <a:pt x="481" y="320"/>
                    </a:lnTo>
                    <a:lnTo>
                      <a:pt x="485" y="324"/>
                    </a:lnTo>
                    <a:lnTo>
                      <a:pt x="487" y="323"/>
                    </a:lnTo>
                    <a:lnTo>
                      <a:pt x="489" y="325"/>
                    </a:lnTo>
                    <a:lnTo>
                      <a:pt x="491" y="324"/>
                    </a:lnTo>
                    <a:lnTo>
                      <a:pt x="492" y="322"/>
                    </a:lnTo>
                    <a:lnTo>
                      <a:pt x="494" y="323"/>
                    </a:lnTo>
                    <a:lnTo>
                      <a:pt x="497" y="322"/>
                    </a:lnTo>
                    <a:lnTo>
                      <a:pt x="501" y="324"/>
                    </a:lnTo>
                    <a:lnTo>
                      <a:pt x="507" y="329"/>
                    </a:lnTo>
                    <a:lnTo>
                      <a:pt x="508" y="333"/>
                    </a:lnTo>
                    <a:lnTo>
                      <a:pt x="511" y="334"/>
                    </a:lnTo>
                    <a:lnTo>
                      <a:pt x="513" y="338"/>
                    </a:lnTo>
                    <a:lnTo>
                      <a:pt x="516" y="341"/>
                    </a:lnTo>
                    <a:lnTo>
                      <a:pt x="519" y="342"/>
                    </a:lnTo>
                    <a:lnTo>
                      <a:pt x="521" y="342"/>
                    </a:lnTo>
                    <a:lnTo>
                      <a:pt x="523" y="342"/>
                    </a:lnTo>
                    <a:lnTo>
                      <a:pt x="524" y="345"/>
                    </a:lnTo>
                    <a:lnTo>
                      <a:pt x="528" y="342"/>
                    </a:lnTo>
                    <a:lnTo>
                      <a:pt x="529" y="345"/>
                    </a:lnTo>
                    <a:lnTo>
                      <a:pt x="531" y="346"/>
                    </a:lnTo>
                    <a:lnTo>
                      <a:pt x="532" y="346"/>
                    </a:lnTo>
                    <a:lnTo>
                      <a:pt x="537" y="350"/>
                    </a:lnTo>
                    <a:lnTo>
                      <a:pt x="537" y="357"/>
                    </a:lnTo>
                    <a:lnTo>
                      <a:pt x="539" y="361"/>
                    </a:lnTo>
                    <a:lnTo>
                      <a:pt x="545" y="365"/>
                    </a:lnTo>
                    <a:lnTo>
                      <a:pt x="548" y="361"/>
                    </a:lnTo>
                    <a:lnTo>
                      <a:pt x="549" y="361"/>
                    </a:lnTo>
                    <a:lnTo>
                      <a:pt x="549" y="358"/>
                    </a:lnTo>
                    <a:lnTo>
                      <a:pt x="550" y="358"/>
                    </a:lnTo>
                    <a:lnTo>
                      <a:pt x="552" y="359"/>
                    </a:lnTo>
                    <a:lnTo>
                      <a:pt x="553" y="358"/>
                    </a:lnTo>
                    <a:lnTo>
                      <a:pt x="555" y="357"/>
                    </a:lnTo>
                    <a:lnTo>
                      <a:pt x="552" y="356"/>
                    </a:lnTo>
                    <a:lnTo>
                      <a:pt x="554" y="354"/>
                    </a:lnTo>
                    <a:lnTo>
                      <a:pt x="555" y="355"/>
                    </a:lnTo>
                    <a:lnTo>
                      <a:pt x="555" y="353"/>
                    </a:lnTo>
                    <a:lnTo>
                      <a:pt x="555" y="352"/>
                    </a:lnTo>
                    <a:lnTo>
                      <a:pt x="554" y="352"/>
                    </a:lnTo>
                    <a:lnTo>
                      <a:pt x="554" y="351"/>
                    </a:lnTo>
                    <a:lnTo>
                      <a:pt x="553" y="352"/>
                    </a:lnTo>
                    <a:lnTo>
                      <a:pt x="552" y="350"/>
                    </a:lnTo>
                    <a:lnTo>
                      <a:pt x="553" y="348"/>
                    </a:lnTo>
                    <a:lnTo>
                      <a:pt x="555" y="348"/>
                    </a:lnTo>
                    <a:lnTo>
                      <a:pt x="555" y="350"/>
                    </a:lnTo>
                    <a:lnTo>
                      <a:pt x="557" y="351"/>
                    </a:lnTo>
                    <a:lnTo>
                      <a:pt x="558" y="351"/>
                    </a:lnTo>
                    <a:lnTo>
                      <a:pt x="559" y="350"/>
                    </a:lnTo>
                    <a:lnTo>
                      <a:pt x="560" y="348"/>
                    </a:lnTo>
                    <a:lnTo>
                      <a:pt x="557" y="345"/>
                    </a:lnTo>
                    <a:lnTo>
                      <a:pt x="558" y="343"/>
                    </a:lnTo>
                    <a:lnTo>
                      <a:pt x="559" y="342"/>
                    </a:lnTo>
                    <a:lnTo>
                      <a:pt x="559" y="341"/>
                    </a:lnTo>
                    <a:lnTo>
                      <a:pt x="560" y="340"/>
                    </a:lnTo>
                    <a:lnTo>
                      <a:pt x="556" y="337"/>
                    </a:lnTo>
                    <a:lnTo>
                      <a:pt x="552" y="335"/>
                    </a:lnTo>
                    <a:lnTo>
                      <a:pt x="550" y="335"/>
                    </a:lnTo>
                    <a:lnTo>
                      <a:pt x="546" y="334"/>
                    </a:lnTo>
                    <a:lnTo>
                      <a:pt x="545" y="333"/>
                    </a:lnTo>
                    <a:lnTo>
                      <a:pt x="544" y="331"/>
                    </a:lnTo>
                    <a:lnTo>
                      <a:pt x="545" y="329"/>
                    </a:lnTo>
                    <a:lnTo>
                      <a:pt x="545" y="327"/>
                    </a:lnTo>
                    <a:lnTo>
                      <a:pt x="546" y="326"/>
                    </a:lnTo>
                    <a:lnTo>
                      <a:pt x="545" y="324"/>
                    </a:lnTo>
                    <a:lnTo>
                      <a:pt x="544" y="323"/>
                    </a:lnTo>
                    <a:lnTo>
                      <a:pt x="542" y="322"/>
                    </a:lnTo>
                    <a:lnTo>
                      <a:pt x="540" y="324"/>
                    </a:lnTo>
                    <a:lnTo>
                      <a:pt x="538" y="324"/>
                    </a:lnTo>
                    <a:lnTo>
                      <a:pt x="537" y="325"/>
                    </a:lnTo>
                    <a:lnTo>
                      <a:pt x="535" y="322"/>
                    </a:lnTo>
                    <a:lnTo>
                      <a:pt x="537" y="320"/>
                    </a:lnTo>
                    <a:lnTo>
                      <a:pt x="537" y="318"/>
                    </a:lnTo>
                    <a:lnTo>
                      <a:pt x="539" y="317"/>
                    </a:lnTo>
                    <a:lnTo>
                      <a:pt x="541" y="317"/>
                    </a:lnTo>
                    <a:lnTo>
                      <a:pt x="542" y="315"/>
                    </a:lnTo>
                    <a:lnTo>
                      <a:pt x="543" y="313"/>
                    </a:lnTo>
                    <a:lnTo>
                      <a:pt x="545" y="314"/>
                    </a:lnTo>
                    <a:lnTo>
                      <a:pt x="545" y="311"/>
                    </a:lnTo>
                    <a:lnTo>
                      <a:pt x="547" y="312"/>
                    </a:lnTo>
                    <a:lnTo>
                      <a:pt x="548" y="311"/>
                    </a:lnTo>
                    <a:lnTo>
                      <a:pt x="549" y="310"/>
                    </a:lnTo>
                    <a:lnTo>
                      <a:pt x="548" y="309"/>
                    </a:lnTo>
                    <a:lnTo>
                      <a:pt x="550" y="307"/>
                    </a:lnTo>
                    <a:lnTo>
                      <a:pt x="548" y="306"/>
                    </a:lnTo>
                    <a:lnTo>
                      <a:pt x="549" y="306"/>
                    </a:lnTo>
                    <a:lnTo>
                      <a:pt x="548" y="305"/>
                    </a:lnTo>
                    <a:lnTo>
                      <a:pt x="549" y="303"/>
                    </a:lnTo>
                    <a:lnTo>
                      <a:pt x="552" y="303"/>
                    </a:lnTo>
                    <a:lnTo>
                      <a:pt x="555" y="302"/>
                    </a:lnTo>
                    <a:lnTo>
                      <a:pt x="556" y="299"/>
                    </a:lnTo>
                    <a:lnTo>
                      <a:pt x="554" y="298"/>
                    </a:lnTo>
                    <a:lnTo>
                      <a:pt x="555" y="295"/>
                    </a:lnTo>
                    <a:lnTo>
                      <a:pt x="554" y="295"/>
                    </a:lnTo>
                    <a:lnTo>
                      <a:pt x="554" y="294"/>
                    </a:lnTo>
                    <a:lnTo>
                      <a:pt x="557" y="294"/>
                    </a:lnTo>
                    <a:lnTo>
                      <a:pt x="558" y="295"/>
                    </a:lnTo>
                    <a:lnTo>
                      <a:pt x="559" y="291"/>
                    </a:lnTo>
                    <a:lnTo>
                      <a:pt x="557" y="289"/>
                    </a:lnTo>
                    <a:lnTo>
                      <a:pt x="558" y="287"/>
                    </a:lnTo>
                    <a:lnTo>
                      <a:pt x="562" y="289"/>
                    </a:lnTo>
                    <a:lnTo>
                      <a:pt x="565" y="289"/>
                    </a:lnTo>
                    <a:lnTo>
                      <a:pt x="565" y="290"/>
                    </a:lnTo>
                    <a:lnTo>
                      <a:pt x="566" y="289"/>
                    </a:lnTo>
                    <a:lnTo>
                      <a:pt x="567" y="290"/>
                    </a:lnTo>
                    <a:lnTo>
                      <a:pt x="569" y="290"/>
                    </a:lnTo>
                    <a:lnTo>
                      <a:pt x="570" y="289"/>
                    </a:lnTo>
                    <a:lnTo>
                      <a:pt x="570" y="287"/>
                    </a:lnTo>
                    <a:lnTo>
                      <a:pt x="569" y="284"/>
                    </a:lnTo>
                    <a:lnTo>
                      <a:pt x="572" y="284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42" name="Group 122">
              <a:extLst>
                <a:ext uri="{FF2B5EF4-FFF2-40B4-BE49-F238E27FC236}">
                  <a16:creationId xmlns:a16="http://schemas.microsoft.com/office/drawing/2014/main" id="{BD22BE6B-9B89-1F66-3936-5066DB85CC0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308" y="3431"/>
              <a:ext cx="579" cy="487"/>
              <a:chOff x="1308" y="3431"/>
              <a:chExt cx="579" cy="487"/>
            </a:xfrm>
          </p:grpSpPr>
          <p:sp>
            <p:nvSpPr>
              <p:cNvPr id="146" name="Freeform 120">
                <a:extLst>
                  <a:ext uri="{FF2B5EF4-FFF2-40B4-BE49-F238E27FC236}">
                    <a16:creationId xmlns:a16="http://schemas.microsoft.com/office/drawing/2014/main" id="{565B4ADB-262D-DBEF-8B31-4834D94B52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8" y="3431"/>
                <a:ext cx="579" cy="487"/>
              </a:xfrm>
              <a:custGeom>
                <a:avLst/>
                <a:gdLst>
                  <a:gd name="T0" fmla="*/ 545 w 579"/>
                  <a:gd name="T1" fmla="*/ 345 h 487"/>
                  <a:gd name="T2" fmla="*/ 506 w 579"/>
                  <a:gd name="T3" fmla="*/ 331 h 487"/>
                  <a:gd name="T4" fmla="*/ 490 w 579"/>
                  <a:gd name="T5" fmla="*/ 310 h 487"/>
                  <a:gd name="T6" fmla="*/ 473 w 579"/>
                  <a:gd name="T7" fmla="*/ 285 h 487"/>
                  <a:gd name="T8" fmla="*/ 442 w 579"/>
                  <a:gd name="T9" fmla="*/ 263 h 487"/>
                  <a:gd name="T10" fmla="*/ 468 w 579"/>
                  <a:gd name="T11" fmla="*/ 236 h 487"/>
                  <a:gd name="T12" fmla="*/ 453 w 579"/>
                  <a:gd name="T13" fmla="*/ 212 h 487"/>
                  <a:gd name="T14" fmla="*/ 460 w 579"/>
                  <a:gd name="T15" fmla="*/ 176 h 487"/>
                  <a:gd name="T16" fmla="*/ 438 w 579"/>
                  <a:gd name="T17" fmla="*/ 146 h 487"/>
                  <a:gd name="T18" fmla="*/ 435 w 579"/>
                  <a:gd name="T19" fmla="*/ 123 h 487"/>
                  <a:gd name="T20" fmla="*/ 428 w 579"/>
                  <a:gd name="T21" fmla="*/ 117 h 487"/>
                  <a:gd name="T22" fmla="*/ 420 w 579"/>
                  <a:gd name="T23" fmla="*/ 91 h 487"/>
                  <a:gd name="T24" fmla="*/ 393 w 579"/>
                  <a:gd name="T25" fmla="*/ 76 h 487"/>
                  <a:gd name="T26" fmla="*/ 398 w 579"/>
                  <a:gd name="T27" fmla="*/ 91 h 487"/>
                  <a:gd name="T28" fmla="*/ 391 w 579"/>
                  <a:gd name="T29" fmla="*/ 118 h 487"/>
                  <a:gd name="T30" fmla="*/ 378 w 579"/>
                  <a:gd name="T31" fmla="*/ 99 h 487"/>
                  <a:gd name="T32" fmla="*/ 373 w 579"/>
                  <a:gd name="T33" fmla="*/ 62 h 487"/>
                  <a:gd name="T34" fmla="*/ 371 w 579"/>
                  <a:gd name="T35" fmla="*/ 49 h 487"/>
                  <a:gd name="T36" fmla="*/ 362 w 579"/>
                  <a:gd name="T37" fmla="*/ 25 h 487"/>
                  <a:gd name="T38" fmla="*/ 373 w 579"/>
                  <a:gd name="T39" fmla="*/ 23 h 487"/>
                  <a:gd name="T40" fmla="*/ 330 w 579"/>
                  <a:gd name="T41" fmla="*/ 0 h 487"/>
                  <a:gd name="T42" fmla="*/ 307 w 579"/>
                  <a:gd name="T43" fmla="*/ 13 h 487"/>
                  <a:gd name="T44" fmla="*/ 280 w 579"/>
                  <a:gd name="T45" fmla="*/ 10 h 487"/>
                  <a:gd name="T46" fmla="*/ 261 w 579"/>
                  <a:gd name="T47" fmla="*/ 33 h 487"/>
                  <a:gd name="T48" fmla="*/ 254 w 579"/>
                  <a:gd name="T49" fmla="*/ 57 h 487"/>
                  <a:gd name="T50" fmla="*/ 252 w 579"/>
                  <a:gd name="T51" fmla="*/ 92 h 487"/>
                  <a:gd name="T52" fmla="*/ 251 w 579"/>
                  <a:gd name="T53" fmla="*/ 123 h 487"/>
                  <a:gd name="T54" fmla="*/ 226 w 579"/>
                  <a:gd name="T55" fmla="*/ 142 h 487"/>
                  <a:gd name="T56" fmla="*/ 219 w 579"/>
                  <a:gd name="T57" fmla="*/ 166 h 487"/>
                  <a:gd name="T58" fmla="*/ 214 w 579"/>
                  <a:gd name="T59" fmla="*/ 198 h 487"/>
                  <a:gd name="T60" fmla="*/ 206 w 579"/>
                  <a:gd name="T61" fmla="*/ 219 h 487"/>
                  <a:gd name="T62" fmla="*/ 198 w 579"/>
                  <a:gd name="T63" fmla="*/ 242 h 487"/>
                  <a:gd name="T64" fmla="*/ 170 w 579"/>
                  <a:gd name="T65" fmla="*/ 260 h 487"/>
                  <a:gd name="T66" fmla="*/ 148 w 579"/>
                  <a:gd name="T67" fmla="*/ 257 h 487"/>
                  <a:gd name="T68" fmla="*/ 127 w 579"/>
                  <a:gd name="T69" fmla="*/ 257 h 487"/>
                  <a:gd name="T70" fmla="*/ 106 w 579"/>
                  <a:gd name="T71" fmla="*/ 257 h 487"/>
                  <a:gd name="T72" fmla="*/ 90 w 579"/>
                  <a:gd name="T73" fmla="*/ 264 h 487"/>
                  <a:gd name="T74" fmla="*/ 59 w 579"/>
                  <a:gd name="T75" fmla="*/ 283 h 487"/>
                  <a:gd name="T76" fmla="*/ 38 w 579"/>
                  <a:gd name="T77" fmla="*/ 284 h 487"/>
                  <a:gd name="T78" fmla="*/ 15 w 579"/>
                  <a:gd name="T79" fmla="*/ 281 h 487"/>
                  <a:gd name="T80" fmla="*/ 7 w 579"/>
                  <a:gd name="T81" fmla="*/ 292 h 487"/>
                  <a:gd name="T82" fmla="*/ 39 w 579"/>
                  <a:gd name="T83" fmla="*/ 331 h 487"/>
                  <a:gd name="T84" fmla="*/ 85 w 579"/>
                  <a:gd name="T85" fmla="*/ 337 h 487"/>
                  <a:gd name="T86" fmla="*/ 102 w 579"/>
                  <a:gd name="T87" fmla="*/ 349 h 487"/>
                  <a:gd name="T88" fmla="*/ 146 w 579"/>
                  <a:gd name="T89" fmla="*/ 397 h 487"/>
                  <a:gd name="T90" fmla="*/ 212 w 579"/>
                  <a:gd name="T91" fmla="*/ 410 h 487"/>
                  <a:gd name="T92" fmla="*/ 231 w 579"/>
                  <a:gd name="T93" fmla="*/ 410 h 487"/>
                  <a:gd name="T94" fmla="*/ 265 w 579"/>
                  <a:gd name="T95" fmla="*/ 387 h 487"/>
                  <a:gd name="T96" fmla="*/ 308 w 579"/>
                  <a:gd name="T97" fmla="*/ 415 h 487"/>
                  <a:gd name="T98" fmla="*/ 328 w 579"/>
                  <a:gd name="T99" fmla="*/ 433 h 487"/>
                  <a:gd name="T100" fmla="*/ 369 w 579"/>
                  <a:gd name="T101" fmla="*/ 443 h 487"/>
                  <a:gd name="T102" fmla="*/ 369 w 579"/>
                  <a:gd name="T103" fmla="*/ 471 h 487"/>
                  <a:gd name="T104" fmla="*/ 381 w 579"/>
                  <a:gd name="T105" fmla="*/ 483 h 487"/>
                  <a:gd name="T106" fmla="*/ 388 w 579"/>
                  <a:gd name="T107" fmla="*/ 454 h 487"/>
                  <a:gd name="T108" fmla="*/ 396 w 579"/>
                  <a:gd name="T109" fmla="*/ 444 h 487"/>
                  <a:gd name="T110" fmla="*/ 409 w 579"/>
                  <a:gd name="T111" fmla="*/ 422 h 487"/>
                  <a:gd name="T112" fmla="*/ 421 w 579"/>
                  <a:gd name="T113" fmla="*/ 413 h 487"/>
                  <a:gd name="T114" fmla="*/ 440 w 579"/>
                  <a:gd name="T115" fmla="*/ 389 h 487"/>
                  <a:gd name="T116" fmla="*/ 450 w 579"/>
                  <a:gd name="T117" fmla="*/ 376 h 487"/>
                  <a:gd name="T118" fmla="*/ 484 w 579"/>
                  <a:gd name="T119" fmla="*/ 391 h 487"/>
                  <a:gd name="T120" fmla="*/ 525 w 579"/>
                  <a:gd name="T121" fmla="*/ 394 h 487"/>
                  <a:gd name="T122" fmla="*/ 579 w 579"/>
                  <a:gd name="T123" fmla="*/ 397 h 487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79"/>
                  <a:gd name="T187" fmla="*/ 0 h 487"/>
                  <a:gd name="T188" fmla="*/ 579 w 579"/>
                  <a:gd name="T189" fmla="*/ 487 h 487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79" h="487">
                    <a:moveTo>
                      <a:pt x="577" y="389"/>
                    </a:moveTo>
                    <a:lnTo>
                      <a:pt x="577" y="387"/>
                    </a:lnTo>
                    <a:lnTo>
                      <a:pt x="577" y="386"/>
                    </a:lnTo>
                    <a:lnTo>
                      <a:pt x="578" y="385"/>
                    </a:lnTo>
                    <a:lnTo>
                      <a:pt x="575" y="386"/>
                    </a:lnTo>
                    <a:lnTo>
                      <a:pt x="574" y="384"/>
                    </a:lnTo>
                    <a:lnTo>
                      <a:pt x="574" y="382"/>
                    </a:lnTo>
                    <a:lnTo>
                      <a:pt x="572" y="378"/>
                    </a:lnTo>
                    <a:lnTo>
                      <a:pt x="569" y="369"/>
                    </a:lnTo>
                    <a:lnTo>
                      <a:pt x="564" y="369"/>
                    </a:lnTo>
                    <a:lnTo>
                      <a:pt x="559" y="362"/>
                    </a:lnTo>
                    <a:lnTo>
                      <a:pt x="557" y="362"/>
                    </a:lnTo>
                    <a:lnTo>
                      <a:pt x="555" y="364"/>
                    </a:lnTo>
                    <a:lnTo>
                      <a:pt x="552" y="361"/>
                    </a:lnTo>
                    <a:lnTo>
                      <a:pt x="556" y="355"/>
                    </a:lnTo>
                    <a:lnTo>
                      <a:pt x="556" y="353"/>
                    </a:lnTo>
                    <a:lnTo>
                      <a:pt x="557" y="352"/>
                    </a:lnTo>
                    <a:lnTo>
                      <a:pt x="554" y="349"/>
                    </a:lnTo>
                    <a:lnTo>
                      <a:pt x="549" y="345"/>
                    </a:lnTo>
                    <a:lnTo>
                      <a:pt x="545" y="346"/>
                    </a:lnTo>
                    <a:lnTo>
                      <a:pt x="545" y="345"/>
                    </a:lnTo>
                    <a:lnTo>
                      <a:pt x="543" y="339"/>
                    </a:lnTo>
                    <a:lnTo>
                      <a:pt x="543" y="342"/>
                    </a:lnTo>
                    <a:lnTo>
                      <a:pt x="537" y="344"/>
                    </a:lnTo>
                    <a:lnTo>
                      <a:pt x="535" y="341"/>
                    </a:lnTo>
                    <a:lnTo>
                      <a:pt x="534" y="341"/>
                    </a:lnTo>
                    <a:lnTo>
                      <a:pt x="531" y="342"/>
                    </a:lnTo>
                    <a:lnTo>
                      <a:pt x="531" y="341"/>
                    </a:lnTo>
                    <a:lnTo>
                      <a:pt x="530" y="342"/>
                    </a:lnTo>
                    <a:lnTo>
                      <a:pt x="529" y="342"/>
                    </a:lnTo>
                    <a:lnTo>
                      <a:pt x="524" y="345"/>
                    </a:lnTo>
                    <a:lnTo>
                      <a:pt x="521" y="341"/>
                    </a:lnTo>
                    <a:lnTo>
                      <a:pt x="520" y="341"/>
                    </a:lnTo>
                    <a:lnTo>
                      <a:pt x="517" y="336"/>
                    </a:lnTo>
                    <a:lnTo>
                      <a:pt x="515" y="334"/>
                    </a:lnTo>
                    <a:lnTo>
                      <a:pt x="515" y="329"/>
                    </a:lnTo>
                    <a:lnTo>
                      <a:pt x="510" y="330"/>
                    </a:lnTo>
                    <a:lnTo>
                      <a:pt x="509" y="332"/>
                    </a:lnTo>
                    <a:lnTo>
                      <a:pt x="509" y="331"/>
                    </a:lnTo>
                    <a:lnTo>
                      <a:pt x="508" y="331"/>
                    </a:lnTo>
                    <a:lnTo>
                      <a:pt x="507" y="331"/>
                    </a:lnTo>
                    <a:lnTo>
                      <a:pt x="506" y="331"/>
                    </a:lnTo>
                    <a:lnTo>
                      <a:pt x="504" y="330"/>
                    </a:lnTo>
                    <a:lnTo>
                      <a:pt x="503" y="329"/>
                    </a:lnTo>
                    <a:lnTo>
                      <a:pt x="504" y="328"/>
                    </a:lnTo>
                    <a:lnTo>
                      <a:pt x="503" y="327"/>
                    </a:lnTo>
                    <a:lnTo>
                      <a:pt x="505" y="325"/>
                    </a:lnTo>
                    <a:lnTo>
                      <a:pt x="505" y="324"/>
                    </a:lnTo>
                    <a:lnTo>
                      <a:pt x="506" y="322"/>
                    </a:lnTo>
                    <a:lnTo>
                      <a:pt x="505" y="321"/>
                    </a:lnTo>
                    <a:lnTo>
                      <a:pt x="506" y="318"/>
                    </a:lnTo>
                    <a:lnTo>
                      <a:pt x="504" y="315"/>
                    </a:lnTo>
                    <a:lnTo>
                      <a:pt x="504" y="317"/>
                    </a:lnTo>
                    <a:lnTo>
                      <a:pt x="501" y="315"/>
                    </a:lnTo>
                    <a:lnTo>
                      <a:pt x="502" y="314"/>
                    </a:lnTo>
                    <a:lnTo>
                      <a:pt x="500" y="312"/>
                    </a:lnTo>
                    <a:lnTo>
                      <a:pt x="497" y="313"/>
                    </a:lnTo>
                    <a:lnTo>
                      <a:pt x="496" y="312"/>
                    </a:lnTo>
                    <a:lnTo>
                      <a:pt x="493" y="312"/>
                    </a:lnTo>
                    <a:lnTo>
                      <a:pt x="492" y="310"/>
                    </a:lnTo>
                    <a:lnTo>
                      <a:pt x="491" y="310"/>
                    </a:lnTo>
                    <a:lnTo>
                      <a:pt x="490" y="310"/>
                    </a:lnTo>
                    <a:lnTo>
                      <a:pt x="488" y="310"/>
                    </a:lnTo>
                    <a:lnTo>
                      <a:pt x="486" y="309"/>
                    </a:lnTo>
                    <a:lnTo>
                      <a:pt x="485" y="310"/>
                    </a:lnTo>
                    <a:lnTo>
                      <a:pt x="483" y="310"/>
                    </a:lnTo>
                    <a:lnTo>
                      <a:pt x="484" y="305"/>
                    </a:lnTo>
                    <a:lnTo>
                      <a:pt x="482" y="304"/>
                    </a:lnTo>
                    <a:lnTo>
                      <a:pt x="482" y="301"/>
                    </a:lnTo>
                    <a:lnTo>
                      <a:pt x="480" y="301"/>
                    </a:lnTo>
                    <a:lnTo>
                      <a:pt x="478" y="302"/>
                    </a:lnTo>
                    <a:lnTo>
                      <a:pt x="478" y="298"/>
                    </a:lnTo>
                    <a:lnTo>
                      <a:pt x="471" y="297"/>
                    </a:lnTo>
                    <a:lnTo>
                      <a:pt x="470" y="299"/>
                    </a:lnTo>
                    <a:lnTo>
                      <a:pt x="469" y="300"/>
                    </a:lnTo>
                    <a:lnTo>
                      <a:pt x="468" y="299"/>
                    </a:lnTo>
                    <a:lnTo>
                      <a:pt x="469" y="297"/>
                    </a:lnTo>
                    <a:lnTo>
                      <a:pt x="470" y="295"/>
                    </a:lnTo>
                    <a:lnTo>
                      <a:pt x="470" y="294"/>
                    </a:lnTo>
                    <a:lnTo>
                      <a:pt x="472" y="291"/>
                    </a:lnTo>
                    <a:lnTo>
                      <a:pt x="473" y="289"/>
                    </a:lnTo>
                    <a:lnTo>
                      <a:pt x="473" y="285"/>
                    </a:lnTo>
                    <a:lnTo>
                      <a:pt x="473" y="284"/>
                    </a:lnTo>
                    <a:lnTo>
                      <a:pt x="473" y="282"/>
                    </a:lnTo>
                    <a:lnTo>
                      <a:pt x="472" y="280"/>
                    </a:lnTo>
                    <a:lnTo>
                      <a:pt x="470" y="280"/>
                    </a:lnTo>
                    <a:lnTo>
                      <a:pt x="470" y="273"/>
                    </a:lnTo>
                    <a:lnTo>
                      <a:pt x="469" y="272"/>
                    </a:lnTo>
                    <a:lnTo>
                      <a:pt x="466" y="272"/>
                    </a:lnTo>
                    <a:lnTo>
                      <a:pt x="461" y="274"/>
                    </a:lnTo>
                    <a:lnTo>
                      <a:pt x="457" y="275"/>
                    </a:lnTo>
                    <a:lnTo>
                      <a:pt x="455" y="276"/>
                    </a:lnTo>
                    <a:lnTo>
                      <a:pt x="454" y="275"/>
                    </a:lnTo>
                    <a:lnTo>
                      <a:pt x="453" y="276"/>
                    </a:lnTo>
                    <a:lnTo>
                      <a:pt x="452" y="276"/>
                    </a:lnTo>
                    <a:lnTo>
                      <a:pt x="450" y="278"/>
                    </a:lnTo>
                    <a:lnTo>
                      <a:pt x="449" y="277"/>
                    </a:lnTo>
                    <a:lnTo>
                      <a:pt x="447" y="278"/>
                    </a:lnTo>
                    <a:lnTo>
                      <a:pt x="441" y="276"/>
                    </a:lnTo>
                    <a:lnTo>
                      <a:pt x="443" y="274"/>
                    </a:lnTo>
                    <a:lnTo>
                      <a:pt x="444" y="272"/>
                    </a:lnTo>
                    <a:lnTo>
                      <a:pt x="443" y="270"/>
                    </a:lnTo>
                    <a:lnTo>
                      <a:pt x="442" y="271"/>
                    </a:lnTo>
                    <a:lnTo>
                      <a:pt x="442" y="263"/>
                    </a:lnTo>
                    <a:lnTo>
                      <a:pt x="447" y="264"/>
                    </a:lnTo>
                    <a:lnTo>
                      <a:pt x="448" y="265"/>
                    </a:lnTo>
                    <a:lnTo>
                      <a:pt x="450" y="264"/>
                    </a:lnTo>
                    <a:lnTo>
                      <a:pt x="450" y="261"/>
                    </a:lnTo>
                    <a:lnTo>
                      <a:pt x="452" y="255"/>
                    </a:lnTo>
                    <a:lnTo>
                      <a:pt x="453" y="251"/>
                    </a:lnTo>
                    <a:lnTo>
                      <a:pt x="455" y="250"/>
                    </a:lnTo>
                    <a:lnTo>
                      <a:pt x="457" y="251"/>
                    </a:lnTo>
                    <a:lnTo>
                      <a:pt x="458" y="251"/>
                    </a:lnTo>
                    <a:lnTo>
                      <a:pt x="459" y="251"/>
                    </a:lnTo>
                    <a:lnTo>
                      <a:pt x="460" y="250"/>
                    </a:lnTo>
                    <a:lnTo>
                      <a:pt x="460" y="249"/>
                    </a:lnTo>
                    <a:lnTo>
                      <a:pt x="461" y="250"/>
                    </a:lnTo>
                    <a:lnTo>
                      <a:pt x="462" y="249"/>
                    </a:lnTo>
                    <a:lnTo>
                      <a:pt x="464" y="250"/>
                    </a:lnTo>
                    <a:lnTo>
                      <a:pt x="466" y="240"/>
                    </a:lnTo>
                    <a:lnTo>
                      <a:pt x="468" y="240"/>
                    </a:lnTo>
                    <a:lnTo>
                      <a:pt x="468" y="238"/>
                    </a:lnTo>
                    <a:lnTo>
                      <a:pt x="468" y="237"/>
                    </a:lnTo>
                    <a:lnTo>
                      <a:pt x="468" y="236"/>
                    </a:lnTo>
                    <a:lnTo>
                      <a:pt x="470" y="231"/>
                    </a:lnTo>
                    <a:lnTo>
                      <a:pt x="469" y="229"/>
                    </a:lnTo>
                    <a:lnTo>
                      <a:pt x="468" y="229"/>
                    </a:lnTo>
                    <a:lnTo>
                      <a:pt x="466" y="233"/>
                    </a:lnTo>
                    <a:lnTo>
                      <a:pt x="464" y="233"/>
                    </a:lnTo>
                    <a:lnTo>
                      <a:pt x="463" y="232"/>
                    </a:lnTo>
                    <a:lnTo>
                      <a:pt x="461" y="232"/>
                    </a:lnTo>
                    <a:lnTo>
                      <a:pt x="461" y="231"/>
                    </a:lnTo>
                    <a:lnTo>
                      <a:pt x="457" y="231"/>
                    </a:lnTo>
                    <a:lnTo>
                      <a:pt x="457" y="233"/>
                    </a:lnTo>
                    <a:lnTo>
                      <a:pt x="455" y="231"/>
                    </a:lnTo>
                    <a:lnTo>
                      <a:pt x="457" y="230"/>
                    </a:lnTo>
                    <a:lnTo>
                      <a:pt x="457" y="227"/>
                    </a:lnTo>
                    <a:lnTo>
                      <a:pt x="458" y="227"/>
                    </a:lnTo>
                    <a:lnTo>
                      <a:pt x="460" y="225"/>
                    </a:lnTo>
                    <a:lnTo>
                      <a:pt x="460" y="223"/>
                    </a:lnTo>
                    <a:lnTo>
                      <a:pt x="459" y="223"/>
                    </a:lnTo>
                    <a:lnTo>
                      <a:pt x="458" y="223"/>
                    </a:lnTo>
                    <a:lnTo>
                      <a:pt x="457" y="222"/>
                    </a:lnTo>
                    <a:lnTo>
                      <a:pt x="457" y="217"/>
                    </a:lnTo>
                    <a:lnTo>
                      <a:pt x="455" y="214"/>
                    </a:lnTo>
                    <a:lnTo>
                      <a:pt x="453" y="212"/>
                    </a:lnTo>
                    <a:lnTo>
                      <a:pt x="457" y="207"/>
                    </a:lnTo>
                    <a:lnTo>
                      <a:pt x="457" y="204"/>
                    </a:lnTo>
                    <a:lnTo>
                      <a:pt x="455" y="202"/>
                    </a:lnTo>
                    <a:lnTo>
                      <a:pt x="455" y="200"/>
                    </a:lnTo>
                    <a:lnTo>
                      <a:pt x="453" y="199"/>
                    </a:lnTo>
                    <a:lnTo>
                      <a:pt x="453" y="196"/>
                    </a:lnTo>
                    <a:lnTo>
                      <a:pt x="456" y="195"/>
                    </a:lnTo>
                    <a:lnTo>
                      <a:pt x="457" y="193"/>
                    </a:lnTo>
                    <a:lnTo>
                      <a:pt x="459" y="192"/>
                    </a:lnTo>
                    <a:lnTo>
                      <a:pt x="460" y="188"/>
                    </a:lnTo>
                    <a:lnTo>
                      <a:pt x="460" y="187"/>
                    </a:lnTo>
                    <a:lnTo>
                      <a:pt x="462" y="185"/>
                    </a:lnTo>
                    <a:lnTo>
                      <a:pt x="463" y="185"/>
                    </a:lnTo>
                    <a:lnTo>
                      <a:pt x="463" y="183"/>
                    </a:lnTo>
                    <a:lnTo>
                      <a:pt x="461" y="183"/>
                    </a:lnTo>
                    <a:lnTo>
                      <a:pt x="462" y="182"/>
                    </a:lnTo>
                    <a:lnTo>
                      <a:pt x="461" y="182"/>
                    </a:lnTo>
                    <a:lnTo>
                      <a:pt x="461" y="178"/>
                    </a:lnTo>
                    <a:lnTo>
                      <a:pt x="461" y="176"/>
                    </a:lnTo>
                    <a:lnTo>
                      <a:pt x="460" y="175"/>
                    </a:lnTo>
                    <a:lnTo>
                      <a:pt x="460" y="176"/>
                    </a:lnTo>
                    <a:lnTo>
                      <a:pt x="459" y="174"/>
                    </a:lnTo>
                    <a:lnTo>
                      <a:pt x="459" y="171"/>
                    </a:lnTo>
                    <a:lnTo>
                      <a:pt x="458" y="168"/>
                    </a:lnTo>
                    <a:lnTo>
                      <a:pt x="457" y="165"/>
                    </a:lnTo>
                    <a:lnTo>
                      <a:pt x="458" y="165"/>
                    </a:lnTo>
                    <a:lnTo>
                      <a:pt x="458" y="164"/>
                    </a:lnTo>
                    <a:lnTo>
                      <a:pt x="459" y="163"/>
                    </a:lnTo>
                    <a:lnTo>
                      <a:pt x="459" y="160"/>
                    </a:lnTo>
                    <a:lnTo>
                      <a:pt x="456" y="161"/>
                    </a:lnTo>
                    <a:lnTo>
                      <a:pt x="454" y="157"/>
                    </a:lnTo>
                    <a:lnTo>
                      <a:pt x="453" y="155"/>
                    </a:lnTo>
                    <a:lnTo>
                      <a:pt x="453" y="154"/>
                    </a:lnTo>
                    <a:lnTo>
                      <a:pt x="452" y="153"/>
                    </a:lnTo>
                    <a:lnTo>
                      <a:pt x="449" y="152"/>
                    </a:lnTo>
                    <a:lnTo>
                      <a:pt x="447" y="152"/>
                    </a:lnTo>
                    <a:lnTo>
                      <a:pt x="444" y="149"/>
                    </a:lnTo>
                    <a:lnTo>
                      <a:pt x="442" y="149"/>
                    </a:lnTo>
                    <a:lnTo>
                      <a:pt x="439" y="148"/>
                    </a:lnTo>
                    <a:lnTo>
                      <a:pt x="438" y="146"/>
                    </a:lnTo>
                    <a:lnTo>
                      <a:pt x="439" y="146"/>
                    </a:lnTo>
                    <a:lnTo>
                      <a:pt x="436" y="143"/>
                    </a:lnTo>
                    <a:lnTo>
                      <a:pt x="435" y="144"/>
                    </a:lnTo>
                    <a:lnTo>
                      <a:pt x="434" y="142"/>
                    </a:lnTo>
                    <a:lnTo>
                      <a:pt x="436" y="141"/>
                    </a:lnTo>
                    <a:lnTo>
                      <a:pt x="436" y="139"/>
                    </a:lnTo>
                    <a:lnTo>
                      <a:pt x="436" y="138"/>
                    </a:lnTo>
                    <a:lnTo>
                      <a:pt x="435" y="137"/>
                    </a:lnTo>
                    <a:lnTo>
                      <a:pt x="437" y="134"/>
                    </a:lnTo>
                    <a:lnTo>
                      <a:pt x="438" y="133"/>
                    </a:lnTo>
                    <a:lnTo>
                      <a:pt x="438" y="131"/>
                    </a:lnTo>
                    <a:lnTo>
                      <a:pt x="438" y="129"/>
                    </a:lnTo>
                    <a:lnTo>
                      <a:pt x="441" y="127"/>
                    </a:lnTo>
                    <a:lnTo>
                      <a:pt x="441" y="125"/>
                    </a:lnTo>
                    <a:lnTo>
                      <a:pt x="439" y="123"/>
                    </a:lnTo>
                    <a:lnTo>
                      <a:pt x="438" y="120"/>
                    </a:lnTo>
                    <a:lnTo>
                      <a:pt x="438" y="118"/>
                    </a:lnTo>
                    <a:lnTo>
                      <a:pt x="437" y="118"/>
                    </a:lnTo>
                    <a:lnTo>
                      <a:pt x="438" y="120"/>
                    </a:lnTo>
                    <a:lnTo>
                      <a:pt x="437" y="122"/>
                    </a:lnTo>
                    <a:lnTo>
                      <a:pt x="437" y="123"/>
                    </a:lnTo>
                    <a:lnTo>
                      <a:pt x="435" y="123"/>
                    </a:lnTo>
                    <a:lnTo>
                      <a:pt x="436" y="123"/>
                    </a:lnTo>
                    <a:lnTo>
                      <a:pt x="436" y="125"/>
                    </a:lnTo>
                    <a:lnTo>
                      <a:pt x="436" y="126"/>
                    </a:lnTo>
                    <a:lnTo>
                      <a:pt x="437" y="126"/>
                    </a:lnTo>
                    <a:lnTo>
                      <a:pt x="436" y="127"/>
                    </a:lnTo>
                    <a:lnTo>
                      <a:pt x="436" y="128"/>
                    </a:lnTo>
                    <a:lnTo>
                      <a:pt x="434" y="127"/>
                    </a:lnTo>
                    <a:lnTo>
                      <a:pt x="433" y="127"/>
                    </a:lnTo>
                    <a:lnTo>
                      <a:pt x="433" y="128"/>
                    </a:lnTo>
                    <a:lnTo>
                      <a:pt x="432" y="128"/>
                    </a:lnTo>
                    <a:lnTo>
                      <a:pt x="432" y="126"/>
                    </a:lnTo>
                    <a:lnTo>
                      <a:pt x="432" y="125"/>
                    </a:lnTo>
                    <a:lnTo>
                      <a:pt x="431" y="125"/>
                    </a:lnTo>
                    <a:lnTo>
                      <a:pt x="430" y="122"/>
                    </a:lnTo>
                    <a:lnTo>
                      <a:pt x="431" y="120"/>
                    </a:lnTo>
                    <a:lnTo>
                      <a:pt x="427" y="120"/>
                    </a:lnTo>
                    <a:lnTo>
                      <a:pt x="427" y="118"/>
                    </a:lnTo>
                    <a:lnTo>
                      <a:pt x="429" y="119"/>
                    </a:lnTo>
                    <a:lnTo>
                      <a:pt x="429" y="117"/>
                    </a:lnTo>
                    <a:lnTo>
                      <a:pt x="428" y="117"/>
                    </a:lnTo>
                    <a:lnTo>
                      <a:pt x="429" y="114"/>
                    </a:lnTo>
                    <a:lnTo>
                      <a:pt x="429" y="113"/>
                    </a:lnTo>
                    <a:lnTo>
                      <a:pt x="427" y="113"/>
                    </a:lnTo>
                    <a:lnTo>
                      <a:pt x="427" y="112"/>
                    </a:lnTo>
                    <a:lnTo>
                      <a:pt x="425" y="112"/>
                    </a:lnTo>
                    <a:lnTo>
                      <a:pt x="424" y="112"/>
                    </a:lnTo>
                    <a:lnTo>
                      <a:pt x="421" y="109"/>
                    </a:lnTo>
                    <a:lnTo>
                      <a:pt x="422" y="108"/>
                    </a:lnTo>
                    <a:lnTo>
                      <a:pt x="423" y="106"/>
                    </a:lnTo>
                    <a:lnTo>
                      <a:pt x="423" y="104"/>
                    </a:lnTo>
                    <a:lnTo>
                      <a:pt x="422" y="99"/>
                    </a:lnTo>
                    <a:lnTo>
                      <a:pt x="422" y="95"/>
                    </a:lnTo>
                    <a:lnTo>
                      <a:pt x="421" y="93"/>
                    </a:lnTo>
                    <a:lnTo>
                      <a:pt x="420" y="94"/>
                    </a:lnTo>
                    <a:lnTo>
                      <a:pt x="419" y="92"/>
                    </a:lnTo>
                    <a:lnTo>
                      <a:pt x="418" y="92"/>
                    </a:lnTo>
                    <a:lnTo>
                      <a:pt x="418" y="91"/>
                    </a:lnTo>
                    <a:lnTo>
                      <a:pt x="420" y="91"/>
                    </a:lnTo>
                    <a:lnTo>
                      <a:pt x="421" y="91"/>
                    </a:lnTo>
                    <a:lnTo>
                      <a:pt x="420" y="89"/>
                    </a:lnTo>
                    <a:lnTo>
                      <a:pt x="416" y="88"/>
                    </a:lnTo>
                    <a:lnTo>
                      <a:pt x="416" y="86"/>
                    </a:lnTo>
                    <a:lnTo>
                      <a:pt x="414" y="86"/>
                    </a:lnTo>
                    <a:lnTo>
                      <a:pt x="414" y="85"/>
                    </a:lnTo>
                    <a:lnTo>
                      <a:pt x="416" y="85"/>
                    </a:lnTo>
                    <a:lnTo>
                      <a:pt x="416" y="81"/>
                    </a:lnTo>
                    <a:lnTo>
                      <a:pt x="414" y="79"/>
                    </a:lnTo>
                    <a:lnTo>
                      <a:pt x="413" y="78"/>
                    </a:lnTo>
                    <a:lnTo>
                      <a:pt x="414" y="77"/>
                    </a:lnTo>
                    <a:lnTo>
                      <a:pt x="413" y="76"/>
                    </a:lnTo>
                    <a:lnTo>
                      <a:pt x="411" y="75"/>
                    </a:lnTo>
                    <a:lnTo>
                      <a:pt x="409" y="78"/>
                    </a:lnTo>
                    <a:lnTo>
                      <a:pt x="406" y="72"/>
                    </a:lnTo>
                    <a:lnTo>
                      <a:pt x="405" y="72"/>
                    </a:lnTo>
                    <a:lnTo>
                      <a:pt x="404" y="73"/>
                    </a:lnTo>
                    <a:lnTo>
                      <a:pt x="403" y="72"/>
                    </a:lnTo>
                    <a:lnTo>
                      <a:pt x="397" y="76"/>
                    </a:lnTo>
                    <a:lnTo>
                      <a:pt x="395" y="76"/>
                    </a:lnTo>
                    <a:lnTo>
                      <a:pt x="393" y="76"/>
                    </a:lnTo>
                    <a:lnTo>
                      <a:pt x="394" y="77"/>
                    </a:lnTo>
                    <a:lnTo>
                      <a:pt x="395" y="77"/>
                    </a:lnTo>
                    <a:lnTo>
                      <a:pt x="395" y="78"/>
                    </a:lnTo>
                    <a:lnTo>
                      <a:pt x="394" y="78"/>
                    </a:lnTo>
                    <a:lnTo>
                      <a:pt x="393" y="79"/>
                    </a:lnTo>
                    <a:lnTo>
                      <a:pt x="392" y="80"/>
                    </a:lnTo>
                    <a:lnTo>
                      <a:pt x="390" y="79"/>
                    </a:lnTo>
                    <a:lnTo>
                      <a:pt x="389" y="80"/>
                    </a:lnTo>
                    <a:lnTo>
                      <a:pt x="391" y="80"/>
                    </a:lnTo>
                    <a:lnTo>
                      <a:pt x="392" y="82"/>
                    </a:lnTo>
                    <a:lnTo>
                      <a:pt x="391" y="85"/>
                    </a:lnTo>
                    <a:lnTo>
                      <a:pt x="392" y="85"/>
                    </a:lnTo>
                    <a:lnTo>
                      <a:pt x="393" y="85"/>
                    </a:lnTo>
                    <a:lnTo>
                      <a:pt x="394" y="85"/>
                    </a:lnTo>
                    <a:lnTo>
                      <a:pt x="395" y="86"/>
                    </a:lnTo>
                    <a:lnTo>
                      <a:pt x="395" y="89"/>
                    </a:lnTo>
                    <a:lnTo>
                      <a:pt x="396" y="89"/>
                    </a:lnTo>
                    <a:lnTo>
                      <a:pt x="396" y="91"/>
                    </a:lnTo>
                    <a:lnTo>
                      <a:pt x="397" y="90"/>
                    </a:lnTo>
                    <a:lnTo>
                      <a:pt x="398" y="90"/>
                    </a:lnTo>
                    <a:lnTo>
                      <a:pt x="398" y="91"/>
                    </a:lnTo>
                    <a:lnTo>
                      <a:pt x="400" y="92"/>
                    </a:lnTo>
                    <a:lnTo>
                      <a:pt x="399" y="93"/>
                    </a:lnTo>
                    <a:lnTo>
                      <a:pt x="399" y="94"/>
                    </a:lnTo>
                    <a:lnTo>
                      <a:pt x="397" y="95"/>
                    </a:lnTo>
                    <a:lnTo>
                      <a:pt x="397" y="96"/>
                    </a:lnTo>
                    <a:lnTo>
                      <a:pt x="397" y="97"/>
                    </a:lnTo>
                    <a:lnTo>
                      <a:pt x="400" y="99"/>
                    </a:lnTo>
                    <a:lnTo>
                      <a:pt x="401" y="99"/>
                    </a:lnTo>
                    <a:lnTo>
                      <a:pt x="400" y="102"/>
                    </a:lnTo>
                    <a:lnTo>
                      <a:pt x="403" y="105"/>
                    </a:lnTo>
                    <a:lnTo>
                      <a:pt x="400" y="107"/>
                    </a:lnTo>
                    <a:lnTo>
                      <a:pt x="399" y="108"/>
                    </a:lnTo>
                    <a:lnTo>
                      <a:pt x="398" y="105"/>
                    </a:lnTo>
                    <a:lnTo>
                      <a:pt x="396" y="110"/>
                    </a:lnTo>
                    <a:lnTo>
                      <a:pt x="395" y="110"/>
                    </a:lnTo>
                    <a:lnTo>
                      <a:pt x="395" y="112"/>
                    </a:lnTo>
                    <a:lnTo>
                      <a:pt x="395" y="113"/>
                    </a:lnTo>
                    <a:lnTo>
                      <a:pt x="395" y="115"/>
                    </a:lnTo>
                    <a:lnTo>
                      <a:pt x="396" y="118"/>
                    </a:lnTo>
                    <a:lnTo>
                      <a:pt x="395" y="117"/>
                    </a:lnTo>
                    <a:lnTo>
                      <a:pt x="393" y="118"/>
                    </a:lnTo>
                    <a:lnTo>
                      <a:pt x="391" y="118"/>
                    </a:lnTo>
                    <a:lnTo>
                      <a:pt x="389" y="119"/>
                    </a:lnTo>
                    <a:lnTo>
                      <a:pt x="386" y="123"/>
                    </a:lnTo>
                    <a:lnTo>
                      <a:pt x="386" y="125"/>
                    </a:lnTo>
                    <a:lnTo>
                      <a:pt x="384" y="125"/>
                    </a:lnTo>
                    <a:lnTo>
                      <a:pt x="383" y="123"/>
                    </a:lnTo>
                    <a:lnTo>
                      <a:pt x="380" y="121"/>
                    </a:lnTo>
                    <a:lnTo>
                      <a:pt x="377" y="117"/>
                    </a:lnTo>
                    <a:lnTo>
                      <a:pt x="371" y="112"/>
                    </a:lnTo>
                    <a:lnTo>
                      <a:pt x="372" y="109"/>
                    </a:lnTo>
                    <a:lnTo>
                      <a:pt x="370" y="109"/>
                    </a:lnTo>
                    <a:lnTo>
                      <a:pt x="370" y="110"/>
                    </a:lnTo>
                    <a:lnTo>
                      <a:pt x="368" y="109"/>
                    </a:lnTo>
                    <a:lnTo>
                      <a:pt x="368" y="107"/>
                    </a:lnTo>
                    <a:lnTo>
                      <a:pt x="370" y="105"/>
                    </a:lnTo>
                    <a:lnTo>
                      <a:pt x="370" y="103"/>
                    </a:lnTo>
                    <a:lnTo>
                      <a:pt x="371" y="101"/>
                    </a:lnTo>
                    <a:lnTo>
                      <a:pt x="373" y="102"/>
                    </a:lnTo>
                    <a:lnTo>
                      <a:pt x="374" y="101"/>
                    </a:lnTo>
                    <a:lnTo>
                      <a:pt x="376" y="101"/>
                    </a:lnTo>
                    <a:lnTo>
                      <a:pt x="377" y="101"/>
                    </a:lnTo>
                    <a:lnTo>
                      <a:pt x="378" y="101"/>
                    </a:lnTo>
                    <a:lnTo>
                      <a:pt x="378" y="99"/>
                    </a:lnTo>
                    <a:lnTo>
                      <a:pt x="378" y="98"/>
                    </a:lnTo>
                    <a:lnTo>
                      <a:pt x="376" y="97"/>
                    </a:lnTo>
                    <a:lnTo>
                      <a:pt x="377" y="96"/>
                    </a:lnTo>
                    <a:lnTo>
                      <a:pt x="376" y="95"/>
                    </a:lnTo>
                    <a:lnTo>
                      <a:pt x="375" y="95"/>
                    </a:lnTo>
                    <a:lnTo>
                      <a:pt x="376" y="91"/>
                    </a:lnTo>
                    <a:lnTo>
                      <a:pt x="373" y="91"/>
                    </a:lnTo>
                    <a:lnTo>
                      <a:pt x="373" y="89"/>
                    </a:lnTo>
                    <a:lnTo>
                      <a:pt x="371" y="89"/>
                    </a:lnTo>
                    <a:lnTo>
                      <a:pt x="372" y="82"/>
                    </a:lnTo>
                    <a:lnTo>
                      <a:pt x="371" y="81"/>
                    </a:lnTo>
                    <a:lnTo>
                      <a:pt x="372" y="81"/>
                    </a:lnTo>
                    <a:lnTo>
                      <a:pt x="372" y="80"/>
                    </a:lnTo>
                    <a:lnTo>
                      <a:pt x="371" y="78"/>
                    </a:lnTo>
                    <a:lnTo>
                      <a:pt x="371" y="76"/>
                    </a:lnTo>
                    <a:lnTo>
                      <a:pt x="370" y="74"/>
                    </a:lnTo>
                    <a:lnTo>
                      <a:pt x="370" y="72"/>
                    </a:lnTo>
                    <a:lnTo>
                      <a:pt x="369" y="70"/>
                    </a:lnTo>
                    <a:lnTo>
                      <a:pt x="371" y="65"/>
                    </a:lnTo>
                    <a:lnTo>
                      <a:pt x="370" y="64"/>
                    </a:lnTo>
                    <a:lnTo>
                      <a:pt x="373" y="62"/>
                    </a:lnTo>
                    <a:lnTo>
                      <a:pt x="374" y="62"/>
                    </a:lnTo>
                    <a:lnTo>
                      <a:pt x="375" y="62"/>
                    </a:lnTo>
                    <a:lnTo>
                      <a:pt x="376" y="61"/>
                    </a:lnTo>
                    <a:lnTo>
                      <a:pt x="376" y="58"/>
                    </a:lnTo>
                    <a:lnTo>
                      <a:pt x="375" y="57"/>
                    </a:lnTo>
                    <a:lnTo>
                      <a:pt x="377" y="54"/>
                    </a:lnTo>
                    <a:lnTo>
                      <a:pt x="379" y="54"/>
                    </a:lnTo>
                    <a:lnTo>
                      <a:pt x="381" y="55"/>
                    </a:lnTo>
                    <a:lnTo>
                      <a:pt x="383" y="55"/>
                    </a:lnTo>
                    <a:lnTo>
                      <a:pt x="384" y="54"/>
                    </a:lnTo>
                    <a:lnTo>
                      <a:pt x="383" y="54"/>
                    </a:lnTo>
                    <a:lnTo>
                      <a:pt x="382" y="54"/>
                    </a:lnTo>
                    <a:lnTo>
                      <a:pt x="380" y="53"/>
                    </a:lnTo>
                    <a:lnTo>
                      <a:pt x="379" y="52"/>
                    </a:lnTo>
                    <a:lnTo>
                      <a:pt x="378" y="54"/>
                    </a:lnTo>
                    <a:lnTo>
                      <a:pt x="378" y="52"/>
                    </a:lnTo>
                    <a:lnTo>
                      <a:pt x="379" y="51"/>
                    </a:lnTo>
                    <a:lnTo>
                      <a:pt x="377" y="53"/>
                    </a:lnTo>
                    <a:lnTo>
                      <a:pt x="374" y="52"/>
                    </a:lnTo>
                    <a:lnTo>
                      <a:pt x="371" y="49"/>
                    </a:lnTo>
                    <a:lnTo>
                      <a:pt x="370" y="48"/>
                    </a:lnTo>
                    <a:lnTo>
                      <a:pt x="368" y="47"/>
                    </a:lnTo>
                    <a:lnTo>
                      <a:pt x="367" y="48"/>
                    </a:lnTo>
                    <a:lnTo>
                      <a:pt x="365" y="47"/>
                    </a:lnTo>
                    <a:lnTo>
                      <a:pt x="364" y="46"/>
                    </a:lnTo>
                    <a:lnTo>
                      <a:pt x="361" y="47"/>
                    </a:lnTo>
                    <a:lnTo>
                      <a:pt x="359" y="46"/>
                    </a:lnTo>
                    <a:lnTo>
                      <a:pt x="360" y="44"/>
                    </a:lnTo>
                    <a:lnTo>
                      <a:pt x="361" y="43"/>
                    </a:lnTo>
                    <a:lnTo>
                      <a:pt x="362" y="40"/>
                    </a:lnTo>
                    <a:lnTo>
                      <a:pt x="364" y="38"/>
                    </a:lnTo>
                    <a:lnTo>
                      <a:pt x="364" y="37"/>
                    </a:lnTo>
                    <a:lnTo>
                      <a:pt x="362" y="37"/>
                    </a:lnTo>
                    <a:lnTo>
                      <a:pt x="362" y="36"/>
                    </a:lnTo>
                    <a:lnTo>
                      <a:pt x="362" y="34"/>
                    </a:lnTo>
                    <a:lnTo>
                      <a:pt x="362" y="31"/>
                    </a:lnTo>
                    <a:lnTo>
                      <a:pt x="363" y="30"/>
                    </a:lnTo>
                    <a:lnTo>
                      <a:pt x="362" y="28"/>
                    </a:lnTo>
                    <a:lnTo>
                      <a:pt x="364" y="28"/>
                    </a:lnTo>
                    <a:lnTo>
                      <a:pt x="362" y="25"/>
                    </a:lnTo>
                    <a:lnTo>
                      <a:pt x="364" y="28"/>
                    </a:lnTo>
                    <a:lnTo>
                      <a:pt x="367" y="29"/>
                    </a:lnTo>
                    <a:lnTo>
                      <a:pt x="367" y="31"/>
                    </a:lnTo>
                    <a:lnTo>
                      <a:pt x="368" y="28"/>
                    </a:lnTo>
                    <a:lnTo>
                      <a:pt x="368" y="31"/>
                    </a:lnTo>
                    <a:lnTo>
                      <a:pt x="370" y="30"/>
                    </a:lnTo>
                    <a:lnTo>
                      <a:pt x="371" y="31"/>
                    </a:lnTo>
                    <a:lnTo>
                      <a:pt x="372" y="33"/>
                    </a:lnTo>
                    <a:lnTo>
                      <a:pt x="372" y="34"/>
                    </a:lnTo>
                    <a:lnTo>
                      <a:pt x="375" y="33"/>
                    </a:lnTo>
                    <a:lnTo>
                      <a:pt x="377" y="32"/>
                    </a:lnTo>
                    <a:lnTo>
                      <a:pt x="378" y="31"/>
                    </a:lnTo>
                    <a:lnTo>
                      <a:pt x="376" y="31"/>
                    </a:lnTo>
                    <a:lnTo>
                      <a:pt x="376" y="28"/>
                    </a:lnTo>
                    <a:lnTo>
                      <a:pt x="374" y="27"/>
                    </a:lnTo>
                    <a:lnTo>
                      <a:pt x="375" y="25"/>
                    </a:lnTo>
                    <a:lnTo>
                      <a:pt x="377" y="25"/>
                    </a:lnTo>
                    <a:lnTo>
                      <a:pt x="377" y="23"/>
                    </a:lnTo>
                    <a:lnTo>
                      <a:pt x="380" y="23"/>
                    </a:lnTo>
                    <a:lnTo>
                      <a:pt x="379" y="22"/>
                    </a:lnTo>
                    <a:lnTo>
                      <a:pt x="373" y="23"/>
                    </a:lnTo>
                    <a:lnTo>
                      <a:pt x="371" y="21"/>
                    </a:lnTo>
                    <a:lnTo>
                      <a:pt x="367" y="17"/>
                    </a:lnTo>
                    <a:lnTo>
                      <a:pt x="365" y="17"/>
                    </a:lnTo>
                    <a:lnTo>
                      <a:pt x="359" y="12"/>
                    </a:lnTo>
                    <a:lnTo>
                      <a:pt x="358" y="12"/>
                    </a:lnTo>
                    <a:lnTo>
                      <a:pt x="357" y="11"/>
                    </a:lnTo>
                    <a:lnTo>
                      <a:pt x="356" y="9"/>
                    </a:lnTo>
                    <a:lnTo>
                      <a:pt x="351" y="7"/>
                    </a:lnTo>
                    <a:lnTo>
                      <a:pt x="352" y="6"/>
                    </a:lnTo>
                    <a:lnTo>
                      <a:pt x="349" y="7"/>
                    </a:lnTo>
                    <a:lnTo>
                      <a:pt x="348" y="6"/>
                    </a:lnTo>
                    <a:lnTo>
                      <a:pt x="348" y="7"/>
                    </a:lnTo>
                    <a:lnTo>
                      <a:pt x="346" y="6"/>
                    </a:lnTo>
                    <a:lnTo>
                      <a:pt x="343" y="4"/>
                    </a:lnTo>
                    <a:lnTo>
                      <a:pt x="344" y="5"/>
                    </a:lnTo>
                    <a:lnTo>
                      <a:pt x="344" y="6"/>
                    </a:lnTo>
                    <a:lnTo>
                      <a:pt x="341" y="5"/>
                    </a:lnTo>
                    <a:lnTo>
                      <a:pt x="339" y="8"/>
                    </a:lnTo>
                    <a:lnTo>
                      <a:pt x="335" y="2"/>
                    </a:lnTo>
                    <a:lnTo>
                      <a:pt x="331" y="0"/>
                    </a:lnTo>
                    <a:lnTo>
                      <a:pt x="330" y="0"/>
                    </a:lnTo>
                    <a:lnTo>
                      <a:pt x="329" y="2"/>
                    </a:lnTo>
                    <a:lnTo>
                      <a:pt x="330" y="4"/>
                    </a:lnTo>
                    <a:lnTo>
                      <a:pt x="329" y="4"/>
                    </a:lnTo>
                    <a:lnTo>
                      <a:pt x="326" y="4"/>
                    </a:lnTo>
                    <a:lnTo>
                      <a:pt x="324" y="4"/>
                    </a:lnTo>
                    <a:lnTo>
                      <a:pt x="323" y="2"/>
                    </a:lnTo>
                    <a:lnTo>
                      <a:pt x="321" y="4"/>
                    </a:lnTo>
                    <a:lnTo>
                      <a:pt x="318" y="2"/>
                    </a:lnTo>
                    <a:lnTo>
                      <a:pt x="318" y="0"/>
                    </a:lnTo>
                    <a:lnTo>
                      <a:pt x="316" y="1"/>
                    </a:lnTo>
                    <a:lnTo>
                      <a:pt x="315" y="0"/>
                    </a:lnTo>
                    <a:lnTo>
                      <a:pt x="313" y="0"/>
                    </a:lnTo>
                    <a:lnTo>
                      <a:pt x="311" y="0"/>
                    </a:lnTo>
                    <a:lnTo>
                      <a:pt x="311" y="2"/>
                    </a:lnTo>
                    <a:lnTo>
                      <a:pt x="310" y="4"/>
                    </a:lnTo>
                    <a:lnTo>
                      <a:pt x="310" y="7"/>
                    </a:lnTo>
                    <a:lnTo>
                      <a:pt x="310" y="9"/>
                    </a:lnTo>
                    <a:lnTo>
                      <a:pt x="309" y="10"/>
                    </a:lnTo>
                    <a:lnTo>
                      <a:pt x="307" y="13"/>
                    </a:lnTo>
                    <a:lnTo>
                      <a:pt x="308" y="15"/>
                    </a:lnTo>
                    <a:lnTo>
                      <a:pt x="308" y="17"/>
                    </a:lnTo>
                    <a:lnTo>
                      <a:pt x="307" y="17"/>
                    </a:lnTo>
                    <a:lnTo>
                      <a:pt x="307" y="16"/>
                    </a:lnTo>
                    <a:lnTo>
                      <a:pt x="305" y="17"/>
                    </a:lnTo>
                    <a:lnTo>
                      <a:pt x="300" y="15"/>
                    </a:lnTo>
                    <a:lnTo>
                      <a:pt x="300" y="17"/>
                    </a:lnTo>
                    <a:lnTo>
                      <a:pt x="299" y="16"/>
                    </a:lnTo>
                    <a:lnTo>
                      <a:pt x="299" y="15"/>
                    </a:lnTo>
                    <a:lnTo>
                      <a:pt x="297" y="16"/>
                    </a:lnTo>
                    <a:lnTo>
                      <a:pt x="297" y="15"/>
                    </a:lnTo>
                    <a:lnTo>
                      <a:pt x="294" y="11"/>
                    </a:lnTo>
                    <a:lnTo>
                      <a:pt x="293" y="11"/>
                    </a:lnTo>
                    <a:lnTo>
                      <a:pt x="289" y="15"/>
                    </a:lnTo>
                    <a:lnTo>
                      <a:pt x="286" y="14"/>
                    </a:lnTo>
                    <a:lnTo>
                      <a:pt x="285" y="15"/>
                    </a:lnTo>
                    <a:lnTo>
                      <a:pt x="284" y="15"/>
                    </a:lnTo>
                    <a:lnTo>
                      <a:pt x="283" y="15"/>
                    </a:lnTo>
                    <a:lnTo>
                      <a:pt x="281" y="15"/>
                    </a:lnTo>
                    <a:lnTo>
                      <a:pt x="283" y="11"/>
                    </a:lnTo>
                    <a:lnTo>
                      <a:pt x="281" y="10"/>
                    </a:lnTo>
                    <a:lnTo>
                      <a:pt x="280" y="10"/>
                    </a:lnTo>
                    <a:lnTo>
                      <a:pt x="279" y="10"/>
                    </a:lnTo>
                    <a:lnTo>
                      <a:pt x="278" y="11"/>
                    </a:lnTo>
                    <a:lnTo>
                      <a:pt x="276" y="12"/>
                    </a:lnTo>
                    <a:lnTo>
                      <a:pt x="274" y="11"/>
                    </a:lnTo>
                    <a:lnTo>
                      <a:pt x="273" y="13"/>
                    </a:lnTo>
                    <a:lnTo>
                      <a:pt x="274" y="16"/>
                    </a:lnTo>
                    <a:lnTo>
                      <a:pt x="270" y="19"/>
                    </a:lnTo>
                    <a:lnTo>
                      <a:pt x="270" y="21"/>
                    </a:lnTo>
                    <a:lnTo>
                      <a:pt x="268" y="20"/>
                    </a:lnTo>
                    <a:lnTo>
                      <a:pt x="267" y="17"/>
                    </a:lnTo>
                    <a:lnTo>
                      <a:pt x="266" y="17"/>
                    </a:lnTo>
                    <a:lnTo>
                      <a:pt x="266" y="18"/>
                    </a:lnTo>
                    <a:lnTo>
                      <a:pt x="266" y="22"/>
                    </a:lnTo>
                    <a:lnTo>
                      <a:pt x="266" y="23"/>
                    </a:lnTo>
                    <a:lnTo>
                      <a:pt x="265" y="23"/>
                    </a:lnTo>
                    <a:lnTo>
                      <a:pt x="265" y="25"/>
                    </a:lnTo>
                    <a:lnTo>
                      <a:pt x="263" y="28"/>
                    </a:lnTo>
                    <a:lnTo>
                      <a:pt x="262" y="29"/>
                    </a:lnTo>
                    <a:lnTo>
                      <a:pt x="260" y="29"/>
                    </a:lnTo>
                    <a:lnTo>
                      <a:pt x="259" y="31"/>
                    </a:lnTo>
                    <a:lnTo>
                      <a:pt x="261" y="31"/>
                    </a:lnTo>
                    <a:lnTo>
                      <a:pt x="261" y="33"/>
                    </a:lnTo>
                    <a:lnTo>
                      <a:pt x="262" y="34"/>
                    </a:lnTo>
                    <a:lnTo>
                      <a:pt x="263" y="36"/>
                    </a:lnTo>
                    <a:lnTo>
                      <a:pt x="265" y="36"/>
                    </a:lnTo>
                    <a:lnTo>
                      <a:pt x="269" y="38"/>
                    </a:lnTo>
                    <a:lnTo>
                      <a:pt x="270" y="41"/>
                    </a:lnTo>
                    <a:lnTo>
                      <a:pt x="270" y="44"/>
                    </a:lnTo>
                    <a:lnTo>
                      <a:pt x="267" y="51"/>
                    </a:lnTo>
                    <a:lnTo>
                      <a:pt x="266" y="51"/>
                    </a:lnTo>
                    <a:lnTo>
                      <a:pt x="264" y="54"/>
                    </a:lnTo>
                    <a:lnTo>
                      <a:pt x="261" y="55"/>
                    </a:lnTo>
                    <a:lnTo>
                      <a:pt x="261" y="57"/>
                    </a:lnTo>
                    <a:lnTo>
                      <a:pt x="260" y="58"/>
                    </a:lnTo>
                    <a:lnTo>
                      <a:pt x="257" y="59"/>
                    </a:lnTo>
                    <a:lnTo>
                      <a:pt x="256" y="55"/>
                    </a:lnTo>
                    <a:lnTo>
                      <a:pt x="255" y="54"/>
                    </a:lnTo>
                    <a:lnTo>
                      <a:pt x="253" y="54"/>
                    </a:lnTo>
                    <a:lnTo>
                      <a:pt x="252" y="54"/>
                    </a:lnTo>
                    <a:lnTo>
                      <a:pt x="254" y="56"/>
                    </a:lnTo>
                    <a:lnTo>
                      <a:pt x="254" y="57"/>
                    </a:lnTo>
                    <a:lnTo>
                      <a:pt x="253" y="58"/>
                    </a:lnTo>
                    <a:lnTo>
                      <a:pt x="254" y="60"/>
                    </a:lnTo>
                    <a:lnTo>
                      <a:pt x="256" y="62"/>
                    </a:lnTo>
                    <a:lnTo>
                      <a:pt x="257" y="62"/>
                    </a:lnTo>
                    <a:lnTo>
                      <a:pt x="258" y="61"/>
                    </a:lnTo>
                    <a:lnTo>
                      <a:pt x="259" y="62"/>
                    </a:lnTo>
                    <a:lnTo>
                      <a:pt x="258" y="63"/>
                    </a:lnTo>
                    <a:lnTo>
                      <a:pt x="258" y="64"/>
                    </a:lnTo>
                    <a:lnTo>
                      <a:pt x="258" y="66"/>
                    </a:lnTo>
                    <a:lnTo>
                      <a:pt x="261" y="66"/>
                    </a:lnTo>
                    <a:lnTo>
                      <a:pt x="260" y="69"/>
                    </a:lnTo>
                    <a:lnTo>
                      <a:pt x="256" y="71"/>
                    </a:lnTo>
                    <a:lnTo>
                      <a:pt x="258" y="74"/>
                    </a:lnTo>
                    <a:lnTo>
                      <a:pt x="256" y="77"/>
                    </a:lnTo>
                    <a:lnTo>
                      <a:pt x="254" y="78"/>
                    </a:lnTo>
                    <a:lnTo>
                      <a:pt x="253" y="80"/>
                    </a:lnTo>
                    <a:lnTo>
                      <a:pt x="252" y="83"/>
                    </a:lnTo>
                    <a:lnTo>
                      <a:pt x="254" y="88"/>
                    </a:lnTo>
                    <a:lnTo>
                      <a:pt x="253" y="89"/>
                    </a:lnTo>
                    <a:lnTo>
                      <a:pt x="253" y="90"/>
                    </a:lnTo>
                    <a:lnTo>
                      <a:pt x="254" y="91"/>
                    </a:lnTo>
                    <a:lnTo>
                      <a:pt x="252" y="92"/>
                    </a:lnTo>
                    <a:lnTo>
                      <a:pt x="253" y="95"/>
                    </a:lnTo>
                    <a:lnTo>
                      <a:pt x="254" y="95"/>
                    </a:lnTo>
                    <a:lnTo>
                      <a:pt x="256" y="94"/>
                    </a:lnTo>
                    <a:lnTo>
                      <a:pt x="256" y="96"/>
                    </a:lnTo>
                    <a:lnTo>
                      <a:pt x="255" y="98"/>
                    </a:lnTo>
                    <a:lnTo>
                      <a:pt x="254" y="99"/>
                    </a:lnTo>
                    <a:lnTo>
                      <a:pt x="254" y="102"/>
                    </a:lnTo>
                    <a:lnTo>
                      <a:pt x="253" y="105"/>
                    </a:lnTo>
                    <a:lnTo>
                      <a:pt x="253" y="107"/>
                    </a:lnTo>
                    <a:lnTo>
                      <a:pt x="252" y="106"/>
                    </a:lnTo>
                    <a:lnTo>
                      <a:pt x="252" y="107"/>
                    </a:lnTo>
                    <a:lnTo>
                      <a:pt x="253" y="112"/>
                    </a:lnTo>
                    <a:lnTo>
                      <a:pt x="254" y="112"/>
                    </a:lnTo>
                    <a:lnTo>
                      <a:pt x="251" y="114"/>
                    </a:lnTo>
                    <a:lnTo>
                      <a:pt x="253" y="118"/>
                    </a:lnTo>
                    <a:lnTo>
                      <a:pt x="254" y="120"/>
                    </a:lnTo>
                    <a:lnTo>
                      <a:pt x="253" y="119"/>
                    </a:lnTo>
                    <a:lnTo>
                      <a:pt x="254" y="120"/>
                    </a:lnTo>
                    <a:lnTo>
                      <a:pt x="254" y="122"/>
                    </a:lnTo>
                    <a:lnTo>
                      <a:pt x="251" y="122"/>
                    </a:lnTo>
                    <a:lnTo>
                      <a:pt x="251" y="123"/>
                    </a:lnTo>
                    <a:lnTo>
                      <a:pt x="248" y="125"/>
                    </a:lnTo>
                    <a:lnTo>
                      <a:pt x="246" y="125"/>
                    </a:lnTo>
                    <a:lnTo>
                      <a:pt x="246" y="126"/>
                    </a:lnTo>
                    <a:lnTo>
                      <a:pt x="244" y="128"/>
                    </a:lnTo>
                    <a:lnTo>
                      <a:pt x="244" y="129"/>
                    </a:lnTo>
                    <a:lnTo>
                      <a:pt x="243" y="128"/>
                    </a:lnTo>
                    <a:lnTo>
                      <a:pt x="243" y="125"/>
                    </a:lnTo>
                    <a:lnTo>
                      <a:pt x="240" y="125"/>
                    </a:lnTo>
                    <a:lnTo>
                      <a:pt x="240" y="126"/>
                    </a:lnTo>
                    <a:lnTo>
                      <a:pt x="240" y="128"/>
                    </a:lnTo>
                    <a:lnTo>
                      <a:pt x="238" y="129"/>
                    </a:lnTo>
                    <a:lnTo>
                      <a:pt x="234" y="133"/>
                    </a:lnTo>
                    <a:lnTo>
                      <a:pt x="232" y="132"/>
                    </a:lnTo>
                    <a:lnTo>
                      <a:pt x="230" y="133"/>
                    </a:lnTo>
                    <a:lnTo>
                      <a:pt x="227" y="133"/>
                    </a:lnTo>
                    <a:lnTo>
                      <a:pt x="227" y="135"/>
                    </a:lnTo>
                    <a:lnTo>
                      <a:pt x="227" y="136"/>
                    </a:lnTo>
                    <a:lnTo>
                      <a:pt x="226" y="136"/>
                    </a:lnTo>
                    <a:lnTo>
                      <a:pt x="227" y="139"/>
                    </a:lnTo>
                    <a:lnTo>
                      <a:pt x="226" y="140"/>
                    </a:lnTo>
                    <a:lnTo>
                      <a:pt x="226" y="142"/>
                    </a:lnTo>
                    <a:lnTo>
                      <a:pt x="225" y="143"/>
                    </a:lnTo>
                    <a:lnTo>
                      <a:pt x="223" y="143"/>
                    </a:lnTo>
                    <a:lnTo>
                      <a:pt x="222" y="144"/>
                    </a:lnTo>
                    <a:lnTo>
                      <a:pt x="223" y="146"/>
                    </a:lnTo>
                    <a:lnTo>
                      <a:pt x="221" y="146"/>
                    </a:lnTo>
                    <a:lnTo>
                      <a:pt x="221" y="147"/>
                    </a:lnTo>
                    <a:lnTo>
                      <a:pt x="218" y="148"/>
                    </a:lnTo>
                    <a:lnTo>
                      <a:pt x="218" y="147"/>
                    </a:lnTo>
                    <a:lnTo>
                      <a:pt x="217" y="148"/>
                    </a:lnTo>
                    <a:lnTo>
                      <a:pt x="215" y="151"/>
                    </a:lnTo>
                    <a:lnTo>
                      <a:pt x="215" y="154"/>
                    </a:lnTo>
                    <a:lnTo>
                      <a:pt x="216" y="156"/>
                    </a:lnTo>
                    <a:lnTo>
                      <a:pt x="220" y="156"/>
                    </a:lnTo>
                    <a:lnTo>
                      <a:pt x="220" y="157"/>
                    </a:lnTo>
                    <a:lnTo>
                      <a:pt x="221" y="157"/>
                    </a:lnTo>
                    <a:lnTo>
                      <a:pt x="221" y="159"/>
                    </a:lnTo>
                    <a:lnTo>
                      <a:pt x="223" y="161"/>
                    </a:lnTo>
                    <a:lnTo>
                      <a:pt x="223" y="165"/>
                    </a:lnTo>
                    <a:lnTo>
                      <a:pt x="222" y="165"/>
                    </a:lnTo>
                    <a:lnTo>
                      <a:pt x="221" y="165"/>
                    </a:lnTo>
                    <a:lnTo>
                      <a:pt x="219" y="166"/>
                    </a:lnTo>
                    <a:lnTo>
                      <a:pt x="218" y="166"/>
                    </a:lnTo>
                    <a:lnTo>
                      <a:pt x="217" y="165"/>
                    </a:lnTo>
                    <a:lnTo>
                      <a:pt x="214" y="165"/>
                    </a:lnTo>
                    <a:lnTo>
                      <a:pt x="212" y="166"/>
                    </a:lnTo>
                    <a:lnTo>
                      <a:pt x="212" y="169"/>
                    </a:lnTo>
                    <a:lnTo>
                      <a:pt x="210" y="170"/>
                    </a:lnTo>
                    <a:lnTo>
                      <a:pt x="208" y="176"/>
                    </a:lnTo>
                    <a:lnTo>
                      <a:pt x="207" y="178"/>
                    </a:lnTo>
                    <a:lnTo>
                      <a:pt x="207" y="180"/>
                    </a:lnTo>
                    <a:lnTo>
                      <a:pt x="206" y="183"/>
                    </a:lnTo>
                    <a:lnTo>
                      <a:pt x="207" y="185"/>
                    </a:lnTo>
                    <a:lnTo>
                      <a:pt x="209" y="185"/>
                    </a:lnTo>
                    <a:lnTo>
                      <a:pt x="211" y="186"/>
                    </a:lnTo>
                    <a:lnTo>
                      <a:pt x="213" y="186"/>
                    </a:lnTo>
                    <a:lnTo>
                      <a:pt x="214" y="188"/>
                    </a:lnTo>
                    <a:lnTo>
                      <a:pt x="216" y="191"/>
                    </a:lnTo>
                    <a:lnTo>
                      <a:pt x="215" y="193"/>
                    </a:lnTo>
                    <a:lnTo>
                      <a:pt x="215" y="192"/>
                    </a:lnTo>
                    <a:lnTo>
                      <a:pt x="214" y="193"/>
                    </a:lnTo>
                    <a:lnTo>
                      <a:pt x="214" y="198"/>
                    </a:lnTo>
                    <a:lnTo>
                      <a:pt x="216" y="199"/>
                    </a:lnTo>
                    <a:lnTo>
                      <a:pt x="214" y="202"/>
                    </a:lnTo>
                    <a:lnTo>
                      <a:pt x="212" y="200"/>
                    </a:lnTo>
                    <a:lnTo>
                      <a:pt x="212" y="201"/>
                    </a:lnTo>
                    <a:lnTo>
                      <a:pt x="210" y="203"/>
                    </a:lnTo>
                    <a:lnTo>
                      <a:pt x="207" y="201"/>
                    </a:lnTo>
                    <a:lnTo>
                      <a:pt x="204" y="201"/>
                    </a:lnTo>
                    <a:lnTo>
                      <a:pt x="202" y="205"/>
                    </a:lnTo>
                    <a:lnTo>
                      <a:pt x="201" y="206"/>
                    </a:lnTo>
                    <a:lnTo>
                      <a:pt x="203" y="207"/>
                    </a:lnTo>
                    <a:lnTo>
                      <a:pt x="202" y="209"/>
                    </a:lnTo>
                    <a:lnTo>
                      <a:pt x="204" y="208"/>
                    </a:lnTo>
                    <a:lnTo>
                      <a:pt x="204" y="210"/>
                    </a:lnTo>
                    <a:lnTo>
                      <a:pt x="204" y="212"/>
                    </a:lnTo>
                    <a:lnTo>
                      <a:pt x="206" y="215"/>
                    </a:lnTo>
                    <a:lnTo>
                      <a:pt x="205" y="216"/>
                    </a:lnTo>
                    <a:lnTo>
                      <a:pt x="204" y="216"/>
                    </a:lnTo>
                    <a:lnTo>
                      <a:pt x="204" y="217"/>
                    </a:lnTo>
                    <a:lnTo>
                      <a:pt x="202" y="220"/>
                    </a:lnTo>
                    <a:lnTo>
                      <a:pt x="203" y="220"/>
                    </a:lnTo>
                    <a:lnTo>
                      <a:pt x="204" y="218"/>
                    </a:lnTo>
                    <a:lnTo>
                      <a:pt x="206" y="219"/>
                    </a:lnTo>
                    <a:lnTo>
                      <a:pt x="209" y="217"/>
                    </a:lnTo>
                    <a:lnTo>
                      <a:pt x="209" y="215"/>
                    </a:lnTo>
                    <a:lnTo>
                      <a:pt x="210" y="216"/>
                    </a:lnTo>
                    <a:lnTo>
                      <a:pt x="210" y="217"/>
                    </a:lnTo>
                    <a:lnTo>
                      <a:pt x="208" y="221"/>
                    </a:lnTo>
                    <a:lnTo>
                      <a:pt x="211" y="221"/>
                    </a:lnTo>
                    <a:lnTo>
                      <a:pt x="211" y="223"/>
                    </a:lnTo>
                    <a:lnTo>
                      <a:pt x="212" y="223"/>
                    </a:lnTo>
                    <a:lnTo>
                      <a:pt x="210" y="230"/>
                    </a:lnTo>
                    <a:lnTo>
                      <a:pt x="210" y="231"/>
                    </a:lnTo>
                    <a:lnTo>
                      <a:pt x="210" y="230"/>
                    </a:lnTo>
                    <a:lnTo>
                      <a:pt x="209" y="232"/>
                    </a:lnTo>
                    <a:lnTo>
                      <a:pt x="207" y="233"/>
                    </a:lnTo>
                    <a:lnTo>
                      <a:pt x="207" y="234"/>
                    </a:lnTo>
                    <a:lnTo>
                      <a:pt x="205" y="235"/>
                    </a:lnTo>
                    <a:lnTo>
                      <a:pt x="204" y="237"/>
                    </a:lnTo>
                    <a:lnTo>
                      <a:pt x="203" y="237"/>
                    </a:lnTo>
                    <a:lnTo>
                      <a:pt x="201" y="237"/>
                    </a:lnTo>
                    <a:lnTo>
                      <a:pt x="199" y="237"/>
                    </a:lnTo>
                    <a:lnTo>
                      <a:pt x="197" y="237"/>
                    </a:lnTo>
                    <a:lnTo>
                      <a:pt x="196" y="238"/>
                    </a:lnTo>
                    <a:lnTo>
                      <a:pt x="198" y="242"/>
                    </a:lnTo>
                    <a:lnTo>
                      <a:pt x="198" y="244"/>
                    </a:lnTo>
                    <a:lnTo>
                      <a:pt x="196" y="244"/>
                    </a:lnTo>
                    <a:lnTo>
                      <a:pt x="194" y="246"/>
                    </a:lnTo>
                    <a:lnTo>
                      <a:pt x="194" y="247"/>
                    </a:lnTo>
                    <a:lnTo>
                      <a:pt x="193" y="249"/>
                    </a:lnTo>
                    <a:lnTo>
                      <a:pt x="190" y="247"/>
                    </a:lnTo>
                    <a:lnTo>
                      <a:pt x="187" y="248"/>
                    </a:lnTo>
                    <a:lnTo>
                      <a:pt x="185" y="247"/>
                    </a:lnTo>
                    <a:lnTo>
                      <a:pt x="184" y="248"/>
                    </a:lnTo>
                    <a:lnTo>
                      <a:pt x="181" y="246"/>
                    </a:lnTo>
                    <a:lnTo>
                      <a:pt x="180" y="246"/>
                    </a:lnTo>
                    <a:lnTo>
                      <a:pt x="178" y="248"/>
                    </a:lnTo>
                    <a:lnTo>
                      <a:pt x="177" y="248"/>
                    </a:lnTo>
                    <a:lnTo>
                      <a:pt x="172" y="250"/>
                    </a:lnTo>
                    <a:lnTo>
                      <a:pt x="172" y="249"/>
                    </a:lnTo>
                    <a:lnTo>
                      <a:pt x="172" y="250"/>
                    </a:lnTo>
                    <a:lnTo>
                      <a:pt x="170" y="252"/>
                    </a:lnTo>
                    <a:lnTo>
                      <a:pt x="173" y="254"/>
                    </a:lnTo>
                    <a:lnTo>
                      <a:pt x="173" y="256"/>
                    </a:lnTo>
                    <a:lnTo>
                      <a:pt x="174" y="257"/>
                    </a:lnTo>
                    <a:lnTo>
                      <a:pt x="174" y="258"/>
                    </a:lnTo>
                    <a:lnTo>
                      <a:pt x="170" y="260"/>
                    </a:lnTo>
                    <a:lnTo>
                      <a:pt x="170" y="257"/>
                    </a:lnTo>
                    <a:lnTo>
                      <a:pt x="168" y="257"/>
                    </a:lnTo>
                    <a:lnTo>
                      <a:pt x="168" y="260"/>
                    </a:lnTo>
                    <a:lnTo>
                      <a:pt x="166" y="260"/>
                    </a:lnTo>
                    <a:lnTo>
                      <a:pt x="168" y="261"/>
                    </a:lnTo>
                    <a:lnTo>
                      <a:pt x="166" y="261"/>
                    </a:lnTo>
                    <a:lnTo>
                      <a:pt x="166" y="262"/>
                    </a:lnTo>
                    <a:lnTo>
                      <a:pt x="162" y="260"/>
                    </a:lnTo>
                    <a:lnTo>
                      <a:pt x="161" y="260"/>
                    </a:lnTo>
                    <a:lnTo>
                      <a:pt x="161" y="261"/>
                    </a:lnTo>
                    <a:lnTo>
                      <a:pt x="159" y="260"/>
                    </a:lnTo>
                    <a:lnTo>
                      <a:pt x="157" y="260"/>
                    </a:lnTo>
                    <a:lnTo>
                      <a:pt x="157" y="261"/>
                    </a:lnTo>
                    <a:lnTo>
                      <a:pt x="157" y="263"/>
                    </a:lnTo>
                    <a:lnTo>
                      <a:pt x="157" y="264"/>
                    </a:lnTo>
                    <a:lnTo>
                      <a:pt x="156" y="263"/>
                    </a:lnTo>
                    <a:lnTo>
                      <a:pt x="155" y="260"/>
                    </a:lnTo>
                    <a:lnTo>
                      <a:pt x="153" y="260"/>
                    </a:lnTo>
                    <a:lnTo>
                      <a:pt x="152" y="261"/>
                    </a:lnTo>
                    <a:lnTo>
                      <a:pt x="151" y="260"/>
                    </a:lnTo>
                    <a:lnTo>
                      <a:pt x="149" y="257"/>
                    </a:lnTo>
                    <a:lnTo>
                      <a:pt x="148" y="257"/>
                    </a:lnTo>
                    <a:lnTo>
                      <a:pt x="146" y="257"/>
                    </a:lnTo>
                    <a:lnTo>
                      <a:pt x="144" y="257"/>
                    </a:lnTo>
                    <a:lnTo>
                      <a:pt x="144" y="255"/>
                    </a:lnTo>
                    <a:lnTo>
                      <a:pt x="144" y="254"/>
                    </a:lnTo>
                    <a:lnTo>
                      <a:pt x="142" y="254"/>
                    </a:lnTo>
                    <a:lnTo>
                      <a:pt x="142" y="255"/>
                    </a:lnTo>
                    <a:lnTo>
                      <a:pt x="143" y="257"/>
                    </a:lnTo>
                    <a:lnTo>
                      <a:pt x="142" y="260"/>
                    </a:lnTo>
                    <a:lnTo>
                      <a:pt x="141" y="260"/>
                    </a:lnTo>
                    <a:lnTo>
                      <a:pt x="139" y="262"/>
                    </a:lnTo>
                    <a:lnTo>
                      <a:pt x="137" y="262"/>
                    </a:lnTo>
                    <a:lnTo>
                      <a:pt x="136" y="263"/>
                    </a:lnTo>
                    <a:lnTo>
                      <a:pt x="133" y="262"/>
                    </a:lnTo>
                    <a:lnTo>
                      <a:pt x="131" y="261"/>
                    </a:lnTo>
                    <a:lnTo>
                      <a:pt x="128" y="259"/>
                    </a:lnTo>
                    <a:lnTo>
                      <a:pt x="128" y="257"/>
                    </a:lnTo>
                    <a:lnTo>
                      <a:pt x="129" y="257"/>
                    </a:lnTo>
                    <a:lnTo>
                      <a:pt x="128" y="256"/>
                    </a:lnTo>
                    <a:lnTo>
                      <a:pt x="128" y="255"/>
                    </a:lnTo>
                    <a:lnTo>
                      <a:pt x="128" y="257"/>
                    </a:lnTo>
                    <a:lnTo>
                      <a:pt x="127" y="257"/>
                    </a:lnTo>
                    <a:lnTo>
                      <a:pt x="126" y="256"/>
                    </a:lnTo>
                    <a:lnTo>
                      <a:pt x="125" y="256"/>
                    </a:lnTo>
                    <a:lnTo>
                      <a:pt x="125" y="255"/>
                    </a:lnTo>
                    <a:lnTo>
                      <a:pt x="126" y="255"/>
                    </a:lnTo>
                    <a:lnTo>
                      <a:pt x="125" y="254"/>
                    </a:lnTo>
                    <a:lnTo>
                      <a:pt x="126" y="254"/>
                    </a:lnTo>
                    <a:lnTo>
                      <a:pt x="126" y="252"/>
                    </a:lnTo>
                    <a:lnTo>
                      <a:pt x="125" y="251"/>
                    </a:lnTo>
                    <a:lnTo>
                      <a:pt x="125" y="250"/>
                    </a:lnTo>
                    <a:lnTo>
                      <a:pt x="125" y="248"/>
                    </a:lnTo>
                    <a:lnTo>
                      <a:pt x="124" y="247"/>
                    </a:lnTo>
                    <a:lnTo>
                      <a:pt x="121" y="249"/>
                    </a:lnTo>
                    <a:lnTo>
                      <a:pt x="119" y="251"/>
                    </a:lnTo>
                    <a:lnTo>
                      <a:pt x="115" y="248"/>
                    </a:lnTo>
                    <a:lnTo>
                      <a:pt x="114" y="254"/>
                    </a:lnTo>
                    <a:lnTo>
                      <a:pt x="116" y="254"/>
                    </a:lnTo>
                    <a:lnTo>
                      <a:pt x="112" y="256"/>
                    </a:lnTo>
                    <a:lnTo>
                      <a:pt x="110" y="259"/>
                    </a:lnTo>
                    <a:lnTo>
                      <a:pt x="109" y="257"/>
                    </a:lnTo>
                    <a:lnTo>
                      <a:pt x="108" y="258"/>
                    </a:lnTo>
                    <a:lnTo>
                      <a:pt x="106" y="257"/>
                    </a:lnTo>
                    <a:lnTo>
                      <a:pt x="108" y="257"/>
                    </a:lnTo>
                    <a:lnTo>
                      <a:pt x="108" y="256"/>
                    </a:lnTo>
                    <a:lnTo>
                      <a:pt x="104" y="253"/>
                    </a:lnTo>
                    <a:lnTo>
                      <a:pt x="103" y="253"/>
                    </a:lnTo>
                    <a:lnTo>
                      <a:pt x="101" y="252"/>
                    </a:lnTo>
                    <a:lnTo>
                      <a:pt x="102" y="255"/>
                    </a:lnTo>
                    <a:lnTo>
                      <a:pt x="101" y="256"/>
                    </a:lnTo>
                    <a:lnTo>
                      <a:pt x="101" y="258"/>
                    </a:lnTo>
                    <a:lnTo>
                      <a:pt x="99" y="261"/>
                    </a:lnTo>
                    <a:lnTo>
                      <a:pt x="100" y="261"/>
                    </a:lnTo>
                    <a:lnTo>
                      <a:pt x="100" y="262"/>
                    </a:lnTo>
                    <a:lnTo>
                      <a:pt x="99" y="262"/>
                    </a:lnTo>
                    <a:lnTo>
                      <a:pt x="100" y="264"/>
                    </a:lnTo>
                    <a:lnTo>
                      <a:pt x="99" y="264"/>
                    </a:lnTo>
                    <a:lnTo>
                      <a:pt x="98" y="264"/>
                    </a:lnTo>
                    <a:lnTo>
                      <a:pt x="96" y="265"/>
                    </a:lnTo>
                    <a:lnTo>
                      <a:pt x="98" y="267"/>
                    </a:lnTo>
                    <a:lnTo>
                      <a:pt x="95" y="267"/>
                    </a:lnTo>
                    <a:lnTo>
                      <a:pt x="95" y="264"/>
                    </a:lnTo>
                    <a:lnTo>
                      <a:pt x="94" y="264"/>
                    </a:lnTo>
                    <a:lnTo>
                      <a:pt x="91" y="263"/>
                    </a:lnTo>
                    <a:lnTo>
                      <a:pt x="90" y="264"/>
                    </a:lnTo>
                    <a:lnTo>
                      <a:pt x="87" y="263"/>
                    </a:lnTo>
                    <a:lnTo>
                      <a:pt x="85" y="265"/>
                    </a:lnTo>
                    <a:lnTo>
                      <a:pt x="82" y="263"/>
                    </a:lnTo>
                    <a:lnTo>
                      <a:pt x="81" y="265"/>
                    </a:lnTo>
                    <a:lnTo>
                      <a:pt x="78" y="267"/>
                    </a:lnTo>
                    <a:lnTo>
                      <a:pt x="77" y="267"/>
                    </a:lnTo>
                    <a:lnTo>
                      <a:pt x="76" y="269"/>
                    </a:lnTo>
                    <a:lnTo>
                      <a:pt x="78" y="270"/>
                    </a:lnTo>
                    <a:lnTo>
                      <a:pt x="78" y="271"/>
                    </a:lnTo>
                    <a:lnTo>
                      <a:pt x="77" y="271"/>
                    </a:lnTo>
                    <a:lnTo>
                      <a:pt x="77" y="272"/>
                    </a:lnTo>
                    <a:lnTo>
                      <a:pt x="75" y="272"/>
                    </a:lnTo>
                    <a:lnTo>
                      <a:pt x="74" y="275"/>
                    </a:lnTo>
                    <a:lnTo>
                      <a:pt x="71" y="277"/>
                    </a:lnTo>
                    <a:lnTo>
                      <a:pt x="66" y="276"/>
                    </a:lnTo>
                    <a:lnTo>
                      <a:pt x="64" y="275"/>
                    </a:lnTo>
                    <a:lnTo>
                      <a:pt x="64" y="276"/>
                    </a:lnTo>
                    <a:lnTo>
                      <a:pt x="64" y="280"/>
                    </a:lnTo>
                    <a:lnTo>
                      <a:pt x="63" y="282"/>
                    </a:lnTo>
                    <a:lnTo>
                      <a:pt x="60" y="280"/>
                    </a:lnTo>
                    <a:lnTo>
                      <a:pt x="59" y="283"/>
                    </a:lnTo>
                    <a:lnTo>
                      <a:pt x="58" y="282"/>
                    </a:lnTo>
                    <a:lnTo>
                      <a:pt x="58" y="283"/>
                    </a:lnTo>
                    <a:lnTo>
                      <a:pt x="58" y="284"/>
                    </a:lnTo>
                    <a:lnTo>
                      <a:pt x="59" y="284"/>
                    </a:lnTo>
                    <a:lnTo>
                      <a:pt x="58" y="286"/>
                    </a:lnTo>
                    <a:lnTo>
                      <a:pt x="58" y="288"/>
                    </a:lnTo>
                    <a:lnTo>
                      <a:pt x="56" y="288"/>
                    </a:lnTo>
                    <a:lnTo>
                      <a:pt x="55" y="289"/>
                    </a:lnTo>
                    <a:lnTo>
                      <a:pt x="54" y="287"/>
                    </a:lnTo>
                    <a:lnTo>
                      <a:pt x="52" y="285"/>
                    </a:lnTo>
                    <a:lnTo>
                      <a:pt x="52" y="283"/>
                    </a:lnTo>
                    <a:lnTo>
                      <a:pt x="49" y="280"/>
                    </a:lnTo>
                    <a:lnTo>
                      <a:pt x="49" y="279"/>
                    </a:lnTo>
                    <a:lnTo>
                      <a:pt x="46" y="279"/>
                    </a:lnTo>
                    <a:lnTo>
                      <a:pt x="43" y="281"/>
                    </a:lnTo>
                    <a:lnTo>
                      <a:pt x="42" y="282"/>
                    </a:lnTo>
                    <a:lnTo>
                      <a:pt x="42" y="280"/>
                    </a:lnTo>
                    <a:lnTo>
                      <a:pt x="40" y="280"/>
                    </a:lnTo>
                    <a:lnTo>
                      <a:pt x="39" y="279"/>
                    </a:lnTo>
                    <a:lnTo>
                      <a:pt x="38" y="279"/>
                    </a:lnTo>
                    <a:lnTo>
                      <a:pt x="36" y="280"/>
                    </a:lnTo>
                    <a:lnTo>
                      <a:pt x="38" y="284"/>
                    </a:lnTo>
                    <a:lnTo>
                      <a:pt x="37" y="284"/>
                    </a:lnTo>
                    <a:lnTo>
                      <a:pt x="35" y="285"/>
                    </a:lnTo>
                    <a:lnTo>
                      <a:pt x="35" y="287"/>
                    </a:lnTo>
                    <a:lnTo>
                      <a:pt x="33" y="287"/>
                    </a:lnTo>
                    <a:lnTo>
                      <a:pt x="33" y="288"/>
                    </a:lnTo>
                    <a:lnTo>
                      <a:pt x="33" y="289"/>
                    </a:lnTo>
                    <a:lnTo>
                      <a:pt x="31" y="291"/>
                    </a:lnTo>
                    <a:lnTo>
                      <a:pt x="30" y="291"/>
                    </a:lnTo>
                    <a:lnTo>
                      <a:pt x="30" y="288"/>
                    </a:lnTo>
                    <a:lnTo>
                      <a:pt x="28" y="289"/>
                    </a:lnTo>
                    <a:lnTo>
                      <a:pt x="27" y="289"/>
                    </a:lnTo>
                    <a:lnTo>
                      <a:pt x="25" y="287"/>
                    </a:lnTo>
                    <a:lnTo>
                      <a:pt x="25" y="286"/>
                    </a:lnTo>
                    <a:lnTo>
                      <a:pt x="26" y="284"/>
                    </a:lnTo>
                    <a:lnTo>
                      <a:pt x="25" y="283"/>
                    </a:lnTo>
                    <a:lnTo>
                      <a:pt x="24" y="281"/>
                    </a:lnTo>
                    <a:lnTo>
                      <a:pt x="23" y="280"/>
                    </a:lnTo>
                    <a:lnTo>
                      <a:pt x="20" y="280"/>
                    </a:lnTo>
                    <a:lnTo>
                      <a:pt x="21" y="284"/>
                    </a:lnTo>
                    <a:lnTo>
                      <a:pt x="17" y="280"/>
                    </a:lnTo>
                    <a:lnTo>
                      <a:pt x="14" y="280"/>
                    </a:lnTo>
                    <a:lnTo>
                      <a:pt x="15" y="281"/>
                    </a:lnTo>
                    <a:lnTo>
                      <a:pt x="17" y="281"/>
                    </a:lnTo>
                    <a:lnTo>
                      <a:pt x="17" y="282"/>
                    </a:lnTo>
                    <a:lnTo>
                      <a:pt x="18" y="282"/>
                    </a:lnTo>
                    <a:lnTo>
                      <a:pt x="15" y="284"/>
                    </a:lnTo>
                    <a:lnTo>
                      <a:pt x="14" y="285"/>
                    </a:lnTo>
                    <a:lnTo>
                      <a:pt x="14" y="286"/>
                    </a:lnTo>
                    <a:lnTo>
                      <a:pt x="13" y="287"/>
                    </a:lnTo>
                    <a:lnTo>
                      <a:pt x="12" y="287"/>
                    </a:lnTo>
                    <a:lnTo>
                      <a:pt x="10" y="286"/>
                    </a:lnTo>
                    <a:lnTo>
                      <a:pt x="10" y="284"/>
                    </a:lnTo>
                    <a:lnTo>
                      <a:pt x="8" y="284"/>
                    </a:lnTo>
                    <a:lnTo>
                      <a:pt x="7" y="286"/>
                    </a:lnTo>
                    <a:lnTo>
                      <a:pt x="8" y="287"/>
                    </a:lnTo>
                    <a:lnTo>
                      <a:pt x="9" y="287"/>
                    </a:lnTo>
                    <a:lnTo>
                      <a:pt x="10" y="288"/>
                    </a:lnTo>
                    <a:lnTo>
                      <a:pt x="11" y="289"/>
                    </a:lnTo>
                    <a:lnTo>
                      <a:pt x="10" y="291"/>
                    </a:lnTo>
                    <a:lnTo>
                      <a:pt x="9" y="290"/>
                    </a:lnTo>
                    <a:lnTo>
                      <a:pt x="7" y="291"/>
                    </a:lnTo>
                    <a:lnTo>
                      <a:pt x="7" y="292"/>
                    </a:lnTo>
                    <a:lnTo>
                      <a:pt x="10" y="293"/>
                    </a:lnTo>
                    <a:lnTo>
                      <a:pt x="8" y="294"/>
                    </a:lnTo>
                    <a:lnTo>
                      <a:pt x="7" y="295"/>
                    </a:lnTo>
                    <a:lnTo>
                      <a:pt x="5" y="294"/>
                    </a:lnTo>
                    <a:lnTo>
                      <a:pt x="4" y="294"/>
                    </a:lnTo>
                    <a:lnTo>
                      <a:pt x="4" y="297"/>
                    </a:lnTo>
                    <a:lnTo>
                      <a:pt x="0" y="301"/>
                    </a:lnTo>
                    <a:lnTo>
                      <a:pt x="5" y="303"/>
                    </a:lnTo>
                    <a:lnTo>
                      <a:pt x="11" y="308"/>
                    </a:lnTo>
                    <a:lnTo>
                      <a:pt x="17" y="308"/>
                    </a:lnTo>
                    <a:lnTo>
                      <a:pt x="19" y="309"/>
                    </a:lnTo>
                    <a:lnTo>
                      <a:pt x="20" y="308"/>
                    </a:lnTo>
                    <a:lnTo>
                      <a:pt x="22" y="310"/>
                    </a:lnTo>
                    <a:lnTo>
                      <a:pt x="25" y="315"/>
                    </a:lnTo>
                    <a:lnTo>
                      <a:pt x="27" y="315"/>
                    </a:lnTo>
                    <a:lnTo>
                      <a:pt x="26" y="314"/>
                    </a:lnTo>
                    <a:lnTo>
                      <a:pt x="31" y="318"/>
                    </a:lnTo>
                    <a:lnTo>
                      <a:pt x="34" y="322"/>
                    </a:lnTo>
                    <a:lnTo>
                      <a:pt x="35" y="325"/>
                    </a:lnTo>
                    <a:lnTo>
                      <a:pt x="38" y="328"/>
                    </a:lnTo>
                    <a:lnTo>
                      <a:pt x="39" y="331"/>
                    </a:lnTo>
                    <a:lnTo>
                      <a:pt x="40" y="331"/>
                    </a:lnTo>
                    <a:lnTo>
                      <a:pt x="42" y="330"/>
                    </a:lnTo>
                    <a:lnTo>
                      <a:pt x="45" y="330"/>
                    </a:lnTo>
                    <a:lnTo>
                      <a:pt x="46" y="330"/>
                    </a:lnTo>
                    <a:lnTo>
                      <a:pt x="46" y="331"/>
                    </a:lnTo>
                    <a:lnTo>
                      <a:pt x="53" y="333"/>
                    </a:lnTo>
                    <a:lnTo>
                      <a:pt x="57" y="335"/>
                    </a:lnTo>
                    <a:lnTo>
                      <a:pt x="62" y="331"/>
                    </a:lnTo>
                    <a:lnTo>
                      <a:pt x="64" y="328"/>
                    </a:lnTo>
                    <a:lnTo>
                      <a:pt x="65" y="325"/>
                    </a:lnTo>
                    <a:lnTo>
                      <a:pt x="69" y="326"/>
                    </a:lnTo>
                    <a:lnTo>
                      <a:pt x="72" y="328"/>
                    </a:lnTo>
                    <a:lnTo>
                      <a:pt x="77" y="328"/>
                    </a:lnTo>
                    <a:lnTo>
                      <a:pt x="78" y="329"/>
                    </a:lnTo>
                    <a:lnTo>
                      <a:pt x="79" y="329"/>
                    </a:lnTo>
                    <a:lnTo>
                      <a:pt x="82" y="326"/>
                    </a:lnTo>
                    <a:lnTo>
                      <a:pt x="82" y="328"/>
                    </a:lnTo>
                    <a:lnTo>
                      <a:pt x="84" y="331"/>
                    </a:lnTo>
                    <a:lnTo>
                      <a:pt x="84" y="332"/>
                    </a:lnTo>
                    <a:lnTo>
                      <a:pt x="82" y="333"/>
                    </a:lnTo>
                    <a:lnTo>
                      <a:pt x="82" y="335"/>
                    </a:lnTo>
                    <a:lnTo>
                      <a:pt x="85" y="337"/>
                    </a:lnTo>
                    <a:lnTo>
                      <a:pt x="87" y="339"/>
                    </a:lnTo>
                    <a:lnTo>
                      <a:pt x="90" y="338"/>
                    </a:lnTo>
                    <a:lnTo>
                      <a:pt x="90" y="337"/>
                    </a:lnTo>
                    <a:lnTo>
                      <a:pt x="90" y="336"/>
                    </a:lnTo>
                    <a:lnTo>
                      <a:pt x="91" y="336"/>
                    </a:lnTo>
                    <a:lnTo>
                      <a:pt x="92" y="337"/>
                    </a:lnTo>
                    <a:lnTo>
                      <a:pt x="92" y="338"/>
                    </a:lnTo>
                    <a:lnTo>
                      <a:pt x="91" y="342"/>
                    </a:lnTo>
                    <a:lnTo>
                      <a:pt x="92" y="345"/>
                    </a:lnTo>
                    <a:lnTo>
                      <a:pt x="93" y="345"/>
                    </a:lnTo>
                    <a:lnTo>
                      <a:pt x="96" y="342"/>
                    </a:lnTo>
                    <a:lnTo>
                      <a:pt x="97" y="345"/>
                    </a:lnTo>
                    <a:lnTo>
                      <a:pt x="97" y="347"/>
                    </a:lnTo>
                    <a:lnTo>
                      <a:pt x="96" y="347"/>
                    </a:lnTo>
                    <a:lnTo>
                      <a:pt x="95" y="346"/>
                    </a:lnTo>
                    <a:lnTo>
                      <a:pt x="95" y="344"/>
                    </a:lnTo>
                    <a:lnTo>
                      <a:pt x="95" y="345"/>
                    </a:lnTo>
                    <a:lnTo>
                      <a:pt x="94" y="346"/>
                    </a:lnTo>
                    <a:lnTo>
                      <a:pt x="95" y="348"/>
                    </a:lnTo>
                    <a:lnTo>
                      <a:pt x="98" y="348"/>
                    </a:lnTo>
                    <a:lnTo>
                      <a:pt x="101" y="347"/>
                    </a:lnTo>
                    <a:lnTo>
                      <a:pt x="102" y="349"/>
                    </a:lnTo>
                    <a:lnTo>
                      <a:pt x="104" y="349"/>
                    </a:lnTo>
                    <a:lnTo>
                      <a:pt x="102" y="354"/>
                    </a:lnTo>
                    <a:lnTo>
                      <a:pt x="103" y="355"/>
                    </a:lnTo>
                    <a:lnTo>
                      <a:pt x="104" y="358"/>
                    </a:lnTo>
                    <a:lnTo>
                      <a:pt x="106" y="358"/>
                    </a:lnTo>
                    <a:lnTo>
                      <a:pt x="107" y="357"/>
                    </a:lnTo>
                    <a:lnTo>
                      <a:pt x="107" y="354"/>
                    </a:lnTo>
                    <a:lnTo>
                      <a:pt x="108" y="354"/>
                    </a:lnTo>
                    <a:lnTo>
                      <a:pt x="109" y="354"/>
                    </a:lnTo>
                    <a:lnTo>
                      <a:pt x="108" y="356"/>
                    </a:lnTo>
                    <a:lnTo>
                      <a:pt x="112" y="356"/>
                    </a:lnTo>
                    <a:lnTo>
                      <a:pt x="112" y="358"/>
                    </a:lnTo>
                    <a:lnTo>
                      <a:pt x="109" y="360"/>
                    </a:lnTo>
                    <a:lnTo>
                      <a:pt x="108" y="365"/>
                    </a:lnTo>
                    <a:lnTo>
                      <a:pt x="112" y="368"/>
                    </a:lnTo>
                    <a:lnTo>
                      <a:pt x="118" y="375"/>
                    </a:lnTo>
                    <a:lnTo>
                      <a:pt x="120" y="378"/>
                    </a:lnTo>
                    <a:lnTo>
                      <a:pt x="134" y="388"/>
                    </a:lnTo>
                    <a:lnTo>
                      <a:pt x="138" y="392"/>
                    </a:lnTo>
                    <a:lnTo>
                      <a:pt x="142" y="395"/>
                    </a:lnTo>
                    <a:lnTo>
                      <a:pt x="146" y="397"/>
                    </a:lnTo>
                    <a:lnTo>
                      <a:pt x="149" y="398"/>
                    </a:lnTo>
                    <a:lnTo>
                      <a:pt x="150" y="398"/>
                    </a:lnTo>
                    <a:lnTo>
                      <a:pt x="150" y="397"/>
                    </a:lnTo>
                    <a:lnTo>
                      <a:pt x="152" y="397"/>
                    </a:lnTo>
                    <a:lnTo>
                      <a:pt x="152" y="398"/>
                    </a:lnTo>
                    <a:lnTo>
                      <a:pt x="157" y="400"/>
                    </a:lnTo>
                    <a:lnTo>
                      <a:pt x="158" y="399"/>
                    </a:lnTo>
                    <a:lnTo>
                      <a:pt x="160" y="399"/>
                    </a:lnTo>
                    <a:lnTo>
                      <a:pt x="160" y="400"/>
                    </a:lnTo>
                    <a:lnTo>
                      <a:pt x="161" y="399"/>
                    </a:lnTo>
                    <a:lnTo>
                      <a:pt x="161" y="398"/>
                    </a:lnTo>
                    <a:lnTo>
                      <a:pt x="173" y="402"/>
                    </a:lnTo>
                    <a:lnTo>
                      <a:pt x="187" y="405"/>
                    </a:lnTo>
                    <a:lnTo>
                      <a:pt x="191" y="407"/>
                    </a:lnTo>
                    <a:lnTo>
                      <a:pt x="193" y="406"/>
                    </a:lnTo>
                    <a:lnTo>
                      <a:pt x="196" y="406"/>
                    </a:lnTo>
                    <a:lnTo>
                      <a:pt x="201" y="408"/>
                    </a:lnTo>
                    <a:lnTo>
                      <a:pt x="202" y="407"/>
                    </a:lnTo>
                    <a:lnTo>
                      <a:pt x="205" y="410"/>
                    </a:lnTo>
                    <a:lnTo>
                      <a:pt x="210" y="412"/>
                    </a:lnTo>
                    <a:lnTo>
                      <a:pt x="212" y="410"/>
                    </a:lnTo>
                    <a:lnTo>
                      <a:pt x="213" y="408"/>
                    </a:lnTo>
                    <a:lnTo>
                      <a:pt x="214" y="407"/>
                    </a:lnTo>
                    <a:lnTo>
                      <a:pt x="214" y="406"/>
                    </a:lnTo>
                    <a:lnTo>
                      <a:pt x="214" y="409"/>
                    </a:lnTo>
                    <a:lnTo>
                      <a:pt x="216" y="408"/>
                    </a:lnTo>
                    <a:lnTo>
                      <a:pt x="217" y="409"/>
                    </a:lnTo>
                    <a:lnTo>
                      <a:pt x="218" y="410"/>
                    </a:lnTo>
                    <a:lnTo>
                      <a:pt x="216" y="412"/>
                    </a:lnTo>
                    <a:lnTo>
                      <a:pt x="218" y="414"/>
                    </a:lnTo>
                    <a:lnTo>
                      <a:pt x="218" y="413"/>
                    </a:lnTo>
                    <a:lnTo>
                      <a:pt x="218" y="414"/>
                    </a:lnTo>
                    <a:lnTo>
                      <a:pt x="222" y="414"/>
                    </a:lnTo>
                    <a:lnTo>
                      <a:pt x="222" y="415"/>
                    </a:lnTo>
                    <a:lnTo>
                      <a:pt x="224" y="415"/>
                    </a:lnTo>
                    <a:lnTo>
                      <a:pt x="225" y="414"/>
                    </a:lnTo>
                    <a:lnTo>
                      <a:pt x="226" y="412"/>
                    </a:lnTo>
                    <a:lnTo>
                      <a:pt x="227" y="410"/>
                    </a:lnTo>
                    <a:lnTo>
                      <a:pt x="228" y="412"/>
                    </a:lnTo>
                    <a:lnTo>
                      <a:pt x="230" y="410"/>
                    </a:lnTo>
                    <a:lnTo>
                      <a:pt x="231" y="410"/>
                    </a:lnTo>
                    <a:lnTo>
                      <a:pt x="232" y="410"/>
                    </a:lnTo>
                    <a:lnTo>
                      <a:pt x="234" y="406"/>
                    </a:lnTo>
                    <a:lnTo>
                      <a:pt x="235" y="404"/>
                    </a:lnTo>
                    <a:lnTo>
                      <a:pt x="237" y="401"/>
                    </a:lnTo>
                    <a:lnTo>
                      <a:pt x="240" y="401"/>
                    </a:lnTo>
                    <a:lnTo>
                      <a:pt x="242" y="399"/>
                    </a:lnTo>
                    <a:lnTo>
                      <a:pt x="242" y="396"/>
                    </a:lnTo>
                    <a:lnTo>
                      <a:pt x="242" y="395"/>
                    </a:lnTo>
                    <a:lnTo>
                      <a:pt x="243" y="392"/>
                    </a:lnTo>
                    <a:lnTo>
                      <a:pt x="245" y="388"/>
                    </a:lnTo>
                    <a:lnTo>
                      <a:pt x="245" y="386"/>
                    </a:lnTo>
                    <a:lnTo>
                      <a:pt x="246" y="384"/>
                    </a:lnTo>
                    <a:lnTo>
                      <a:pt x="250" y="382"/>
                    </a:lnTo>
                    <a:lnTo>
                      <a:pt x="250" y="381"/>
                    </a:lnTo>
                    <a:lnTo>
                      <a:pt x="249" y="380"/>
                    </a:lnTo>
                    <a:lnTo>
                      <a:pt x="250" y="380"/>
                    </a:lnTo>
                    <a:lnTo>
                      <a:pt x="254" y="384"/>
                    </a:lnTo>
                    <a:lnTo>
                      <a:pt x="260" y="386"/>
                    </a:lnTo>
                    <a:lnTo>
                      <a:pt x="264" y="385"/>
                    </a:lnTo>
                    <a:lnTo>
                      <a:pt x="265" y="387"/>
                    </a:lnTo>
                    <a:lnTo>
                      <a:pt x="267" y="386"/>
                    </a:lnTo>
                    <a:lnTo>
                      <a:pt x="269" y="383"/>
                    </a:lnTo>
                    <a:lnTo>
                      <a:pt x="271" y="381"/>
                    </a:lnTo>
                    <a:lnTo>
                      <a:pt x="275" y="386"/>
                    </a:lnTo>
                    <a:lnTo>
                      <a:pt x="275" y="387"/>
                    </a:lnTo>
                    <a:lnTo>
                      <a:pt x="278" y="391"/>
                    </a:lnTo>
                    <a:lnTo>
                      <a:pt x="283" y="392"/>
                    </a:lnTo>
                    <a:lnTo>
                      <a:pt x="286" y="395"/>
                    </a:lnTo>
                    <a:lnTo>
                      <a:pt x="285" y="397"/>
                    </a:lnTo>
                    <a:lnTo>
                      <a:pt x="289" y="399"/>
                    </a:lnTo>
                    <a:lnTo>
                      <a:pt x="291" y="399"/>
                    </a:lnTo>
                    <a:lnTo>
                      <a:pt x="295" y="399"/>
                    </a:lnTo>
                    <a:lnTo>
                      <a:pt x="296" y="397"/>
                    </a:lnTo>
                    <a:lnTo>
                      <a:pt x="299" y="397"/>
                    </a:lnTo>
                    <a:lnTo>
                      <a:pt x="302" y="399"/>
                    </a:lnTo>
                    <a:lnTo>
                      <a:pt x="304" y="400"/>
                    </a:lnTo>
                    <a:lnTo>
                      <a:pt x="305" y="403"/>
                    </a:lnTo>
                    <a:lnTo>
                      <a:pt x="307" y="406"/>
                    </a:lnTo>
                    <a:lnTo>
                      <a:pt x="308" y="412"/>
                    </a:lnTo>
                    <a:lnTo>
                      <a:pt x="308" y="415"/>
                    </a:lnTo>
                    <a:lnTo>
                      <a:pt x="305" y="418"/>
                    </a:lnTo>
                    <a:lnTo>
                      <a:pt x="305" y="420"/>
                    </a:lnTo>
                    <a:lnTo>
                      <a:pt x="307" y="423"/>
                    </a:lnTo>
                    <a:lnTo>
                      <a:pt x="307" y="426"/>
                    </a:lnTo>
                    <a:lnTo>
                      <a:pt x="308" y="426"/>
                    </a:lnTo>
                    <a:lnTo>
                      <a:pt x="313" y="423"/>
                    </a:lnTo>
                    <a:lnTo>
                      <a:pt x="314" y="422"/>
                    </a:lnTo>
                    <a:lnTo>
                      <a:pt x="317" y="422"/>
                    </a:lnTo>
                    <a:lnTo>
                      <a:pt x="319" y="423"/>
                    </a:lnTo>
                    <a:lnTo>
                      <a:pt x="321" y="423"/>
                    </a:lnTo>
                    <a:lnTo>
                      <a:pt x="320" y="424"/>
                    </a:lnTo>
                    <a:lnTo>
                      <a:pt x="320" y="425"/>
                    </a:lnTo>
                    <a:lnTo>
                      <a:pt x="321" y="425"/>
                    </a:lnTo>
                    <a:lnTo>
                      <a:pt x="322" y="426"/>
                    </a:lnTo>
                    <a:lnTo>
                      <a:pt x="322" y="427"/>
                    </a:lnTo>
                    <a:lnTo>
                      <a:pt x="325" y="426"/>
                    </a:lnTo>
                    <a:lnTo>
                      <a:pt x="327" y="429"/>
                    </a:lnTo>
                    <a:lnTo>
                      <a:pt x="327" y="431"/>
                    </a:lnTo>
                    <a:lnTo>
                      <a:pt x="328" y="433"/>
                    </a:lnTo>
                    <a:lnTo>
                      <a:pt x="329" y="433"/>
                    </a:lnTo>
                    <a:lnTo>
                      <a:pt x="332" y="436"/>
                    </a:lnTo>
                    <a:lnTo>
                      <a:pt x="333" y="435"/>
                    </a:lnTo>
                    <a:lnTo>
                      <a:pt x="334" y="436"/>
                    </a:lnTo>
                    <a:lnTo>
                      <a:pt x="336" y="436"/>
                    </a:lnTo>
                    <a:lnTo>
                      <a:pt x="338" y="438"/>
                    </a:lnTo>
                    <a:lnTo>
                      <a:pt x="339" y="440"/>
                    </a:lnTo>
                    <a:lnTo>
                      <a:pt x="341" y="437"/>
                    </a:lnTo>
                    <a:lnTo>
                      <a:pt x="343" y="438"/>
                    </a:lnTo>
                    <a:lnTo>
                      <a:pt x="346" y="439"/>
                    </a:lnTo>
                    <a:lnTo>
                      <a:pt x="349" y="436"/>
                    </a:lnTo>
                    <a:lnTo>
                      <a:pt x="351" y="439"/>
                    </a:lnTo>
                    <a:lnTo>
                      <a:pt x="358" y="439"/>
                    </a:lnTo>
                    <a:lnTo>
                      <a:pt x="361" y="435"/>
                    </a:lnTo>
                    <a:lnTo>
                      <a:pt x="362" y="438"/>
                    </a:lnTo>
                    <a:lnTo>
                      <a:pt x="366" y="439"/>
                    </a:lnTo>
                    <a:lnTo>
                      <a:pt x="367" y="438"/>
                    </a:lnTo>
                    <a:lnTo>
                      <a:pt x="368" y="439"/>
                    </a:lnTo>
                    <a:lnTo>
                      <a:pt x="367" y="439"/>
                    </a:lnTo>
                    <a:lnTo>
                      <a:pt x="368" y="441"/>
                    </a:lnTo>
                    <a:lnTo>
                      <a:pt x="369" y="443"/>
                    </a:lnTo>
                    <a:lnTo>
                      <a:pt x="368" y="444"/>
                    </a:lnTo>
                    <a:lnTo>
                      <a:pt x="370" y="446"/>
                    </a:lnTo>
                    <a:lnTo>
                      <a:pt x="370" y="448"/>
                    </a:lnTo>
                    <a:lnTo>
                      <a:pt x="370" y="450"/>
                    </a:lnTo>
                    <a:lnTo>
                      <a:pt x="370" y="451"/>
                    </a:lnTo>
                    <a:lnTo>
                      <a:pt x="370" y="452"/>
                    </a:lnTo>
                    <a:lnTo>
                      <a:pt x="370" y="454"/>
                    </a:lnTo>
                    <a:lnTo>
                      <a:pt x="369" y="454"/>
                    </a:lnTo>
                    <a:lnTo>
                      <a:pt x="368" y="456"/>
                    </a:lnTo>
                    <a:lnTo>
                      <a:pt x="368" y="458"/>
                    </a:lnTo>
                    <a:lnTo>
                      <a:pt x="370" y="460"/>
                    </a:lnTo>
                    <a:lnTo>
                      <a:pt x="371" y="461"/>
                    </a:lnTo>
                    <a:lnTo>
                      <a:pt x="370" y="462"/>
                    </a:lnTo>
                    <a:lnTo>
                      <a:pt x="371" y="463"/>
                    </a:lnTo>
                    <a:lnTo>
                      <a:pt x="370" y="463"/>
                    </a:lnTo>
                    <a:lnTo>
                      <a:pt x="371" y="465"/>
                    </a:lnTo>
                    <a:lnTo>
                      <a:pt x="370" y="467"/>
                    </a:lnTo>
                    <a:lnTo>
                      <a:pt x="369" y="468"/>
                    </a:lnTo>
                    <a:lnTo>
                      <a:pt x="370" y="471"/>
                    </a:lnTo>
                    <a:lnTo>
                      <a:pt x="369" y="471"/>
                    </a:lnTo>
                    <a:lnTo>
                      <a:pt x="370" y="473"/>
                    </a:lnTo>
                    <a:lnTo>
                      <a:pt x="371" y="473"/>
                    </a:lnTo>
                    <a:lnTo>
                      <a:pt x="371" y="475"/>
                    </a:lnTo>
                    <a:lnTo>
                      <a:pt x="370" y="476"/>
                    </a:lnTo>
                    <a:lnTo>
                      <a:pt x="370" y="478"/>
                    </a:lnTo>
                    <a:lnTo>
                      <a:pt x="368" y="481"/>
                    </a:lnTo>
                    <a:lnTo>
                      <a:pt x="368" y="483"/>
                    </a:lnTo>
                    <a:lnTo>
                      <a:pt x="370" y="484"/>
                    </a:lnTo>
                    <a:lnTo>
                      <a:pt x="373" y="486"/>
                    </a:lnTo>
                    <a:lnTo>
                      <a:pt x="375" y="487"/>
                    </a:lnTo>
                    <a:lnTo>
                      <a:pt x="375" y="485"/>
                    </a:lnTo>
                    <a:lnTo>
                      <a:pt x="376" y="486"/>
                    </a:lnTo>
                    <a:lnTo>
                      <a:pt x="377" y="486"/>
                    </a:lnTo>
                    <a:lnTo>
                      <a:pt x="376" y="485"/>
                    </a:lnTo>
                    <a:lnTo>
                      <a:pt x="376" y="484"/>
                    </a:lnTo>
                    <a:lnTo>
                      <a:pt x="378" y="484"/>
                    </a:lnTo>
                    <a:lnTo>
                      <a:pt x="378" y="481"/>
                    </a:lnTo>
                    <a:lnTo>
                      <a:pt x="379" y="483"/>
                    </a:lnTo>
                    <a:lnTo>
                      <a:pt x="379" y="481"/>
                    </a:lnTo>
                    <a:lnTo>
                      <a:pt x="381" y="483"/>
                    </a:lnTo>
                    <a:lnTo>
                      <a:pt x="382" y="482"/>
                    </a:lnTo>
                    <a:lnTo>
                      <a:pt x="380" y="480"/>
                    </a:lnTo>
                    <a:lnTo>
                      <a:pt x="382" y="480"/>
                    </a:lnTo>
                    <a:lnTo>
                      <a:pt x="380" y="477"/>
                    </a:lnTo>
                    <a:lnTo>
                      <a:pt x="380" y="476"/>
                    </a:lnTo>
                    <a:lnTo>
                      <a:pt x="382" y="478"/>
                    </a:lnTo>
                    <a:lnTo>
                      <a:pt x="382" y="476"/>
                    </a:lnTo>
                    <a:lnTo>
                      <a:pt x="383" y="475"/>
                    </a:lnTo>
                    <a:lnTo>
                      <a:pt x="382" y="473"/>
                    </a:lnTo>
                    <a:lnTo>
                      <a:pt x="384" y="473"/>
                    </a:lnTo>
                    <a:lnTo>
                      <a:pt x="383" y="471"/>
                    </a:lnTo>
                    <a:lnTo>
                      <a:pt x="383" y="464"/>
                    </a:lnTo>
                    <a:lnTo>
                      <a:pt x="385" y="463"/>
                    </a:lnTo>
                    <a:lnTo>
                      <a:pt x="384" y="461"/>
                    </a:lnTo>
                    <a:lnTo>
                      <a:pt x="384" y="460"/>
                    </a:lnTo>
                    <a:lnTo>
                      <a:pt x="385" y="462"/>
                    </a:lnTo>
                    <a:lnTo>
                      <a:pt x="386" y="461"/>
                    </a:lnTo>
                    <a:lnTo>
                      <a:pt x="386" y="459"/>
                    </a:lnTo>
                    <a:lnTo>
                      <a:pt x="387" y="459"/>
                    </a:lnTo>
                    <a:lnTo>
                      <a:pt x="387" y="457"/>
                    </a:lnTo>
                    <a:lnTo>
                      <a:pt x="388" y="456"/>
                    </a:lnTo>
                    <a:lnTo>
                      <a:pt x="388" y="454"/>
                    </a:lnTo>
                    <a:lnTo>
                      <a:pt x="389" y="453"/>
                    </a:lnTo>
                    <a:lnTo>
                      <a:pt x="390" y="454"/>
                    </a:lnTo>
                    <a:lnTo>
                      <a:pt x="391" y="454"/>
                    </a:lnTo>
                    <a:lnTo>
                      <a:pt x="392" y="452"/>
                    </a:lnTo>
                    <a:lnTo>
                      <a:pt x="393" y="454"/>
                    </a:lnTo>
                    <a:lnTo>
                      <a:pt x="394" y="452"/>
                    </a:lnTo>
                    <a:lnTo>
                      <a:pt x="392" y="452"/>
                    </a:lnTo>
                    <a:lnTo>
                      <a:pt x="393" y="451"/>
                    </a:lnTo>
                    <a:lnTo>
                      <a:pt x="392" y="450"/>
                    </a:lnTo>
                    <a:lnTo>
                      <a:pt x="396" y="450"/>
                    </a:lnTo>
                    <a:lnTo>
                      <a:pt x="394" y="448"/>
                    </a:lnTo>
                    <a:lnTo>
                      <a:pt x="395" y="447"/>
                    </a:lnTo>
                    <a:lnTo>
                      <a:pt x="394" y="448"/>
                    </a:lnTo>
                    <a:lnTo>
                      <a:pt x="393" y="447"/>
                    </a:lnTo>
                    <a:lnTo>
                      <a:pt x="394" y="446"/>
                    </a:lnTo>
                    <a:lnTo>
                      <a:pt x="395" y="446"/>
                    </a:lnTo>
                    <a:lnTo>
                      <a:pt x="394" y="446"/>
                    </a:lnTo>
                    <a:lnTo>
                      <a:pt x="395" y="444"/>
                    </a:lnTo>
                    <a:lnTo>
                      <a:pt x="396" y="444"/>
                    </a:lnTo>
                    <a:lnTo>
                      <a:pt x="395" y="443"/>
                    </a:lnTo>
                    <a:lnTo>
                      <a:pt x="395" y="441"/>
                    </a:lnTo>
                    <a:lnTo>
                      <a:pt x="397" y="440"/>
                    </a:lnTo>
                    <a:lnTo>
                      <a:pt x="395" y="440"/>
                    </a:lnTo>
                    <a:lnTo>
                      <a:pt x="395" y="439"/>
                    </a:lnTo>
                    <a:lnTo>
                      <a:pt x="394" y="439"/>
                    </a:lnTo>
                    <a:lnTo>
                      <a:pt x="396" y="437"/>
                    </a:lnTo>
                    <a:lnTo>
                      <a:pt x="397" y="438"/>
                    </a:lnTo>
                    <a:lnTo>
                      <a:pt x="397" y="437"/>
                    </a:lnTo>
                    <a:lnTo>
                      <a:pt x="398" y="437"/>
                    </a:lnTo>
                    <a:lnTo>
                      <a:pt x="399" y="436"/>
                    </a:lnTo>
                    <a:lnTo>
                      <a:pt x="400" y="434"/>
                    </a:lnTo>
                    <a:lnTo>
                      <a:pt x="400" y="435"/>
                    </a:lnTo>
                    <a:lnTo>
                      <a:pt x="400" y="433"/>
                    </a:lnTo>
                    <a:lnTo>
                      <a:pt x="403" y="433"/>
                    </a:lnTo>
                    <a:lnTo>
                      <a:pt x="403" y="430"/>
                    </a:lnTo>
                    <a:lnTo>
                      <a:pt x="404" y="427"/>
                    </a:lnTo>
                    <a:lnTo>
                      <a:pt x="406" y="426"/>
                    </a:lnTo>
                    <a:lnTo>
                      <a:pt x="408" y="424"/>
                    </a:lnTo>
                    <a:lnTo>
                      <a:pt x="409" y="423"/>
                    </a:lnTo>
                    <a:lnTo>
                      <a:pt x="409" y="422"/>
                    </a:lnTo>
                    <a:lnTo>
                      <a:pt x="408" y="423"/>
                    </a:lnTo>
                    <a:lnTo>
                      <a:pt x="409" y="418"/>
                    </a:lnTo>
                    <a:lnTo>
                      <a:pt x="411" y="419"/>
                    </a:lnTo>
                    <a:lnTo>
                      <a:pt x="412" y="418"/>
                    </a:lnTo>
                    <a:lnTo>
                      <a:pt x="413" y="418"/>
                    </a:lnTo>
                    <a:lnTo>
                      <a:pt x="413" y="417"/>
                    </a:lnTo>
                    <a:lnTo>
                      <a:pt x="414" y="418"/>
                    </a:lnTo>
                    <a:lnTo>
                      <a:pt x="416" y="417"/>
                    </a:lnTo>
                    <a:lnTo>
                      <a:pt x="414" y="416"/>
                    </a:lnTo>
                    <a:lnTo>
                      <a:pt x="414" y="415"/>
                    </a:lnTo>
                    <a:lnTo>
                      <a:pt x="414" y="416"/>
                    </a:lnTo>
                    <a:lnTo>
                      <a:pt x="416" y="416"/>
                    </a:lnTo>
                    <a:lnTo>
                      <a:pt x="416" y="414"/>
                    </a:lnTo>
                    <a:lnTo>
                      <a:pt x="417" y="414"/>
                    </a:lnTo>
                    <a:lnTo>
                      <a:pt x="417" y="413"/>
                    </a:lnTo>
                    <a:lnTo>
                      <a:pt x="418" y="413"/>
                    </a:lnTo>
                    <a:lnTo>
                      <a:pt x="420" y="412"/>
                    </a:lnTo>
                    <a:lnTo>
                      <a:pt x="421" y="413"/>
                    </a:lnTo>
                    <a:lnTo>
                      <a:pt x="424" y="410"/>
                    </a:lnTo>
                    <a:lnTo>
                      <a:pt x="422" y="409"/>
                    </a:lnTo>
                    <a:lnTo>
                      <a:pt x="423" y="406"/>
                    </a:lnTo>
                    <a:lnTo>
                      <a:pt x="424" y="405"/>
                    </a:lnTo>
                    <a:lnTo>
                      <a:pt x="425" y="405"/>
                    </a:lnTo>
                    <a:lnTo>
                      <a:pt x="424" y="404"/>
                    </a:lnTo>
                    <a:lnTo>
                      <a:pt x="425" y="404"/>
                    </a:lnTo>
                    <a:lnTo>
                      <a:pt x="425" y="403"/>
                    </a:lnTo>
                    <a:lnTo>
                      <a:pt x="427" y="403"/>
                    </a:lnTo>
                    <a:lnTo>
                      <a:pt x="427" y="401"/>
                    </a:lnTo>
                    <a:lnTo>
                      <a:pt x="428" y="400"/>
                    </a:lnTo>
                    <a:lnTo>
                      <a:pt x="429" y="398"/>
                    </a:lnTo>
                    <a:lnTo>
                      <a:pt x="428" y="395"/>
                    </a:lnTo>
                    <a:lnTo>
                      <a:pt x="429" y="392"/>
                    </a:lnTo>
                    <a:lnTo>
                      <a:pt x="429" y="391"/>
                    </a:lnTo>
                    <a:lnTo>
                      <a:pt x="430" y="389"/>
                    </a:lnTo>
                    <a:lnTo>
                      <a:pt x="430" y="388"/>
                    </a:lnTo>
                    <a:lnTo>
                      <a:pt x="431" y="388"/>
                    </a:lnTo>
                    <a:lnTo>
                      <a:pt x="432" y="386"/>
                    </a:lnTo>
                    <a:lnTo>
                      <a:pt x="437" y="389"/>
                    </a:lnTo>
                    <a:lnTo>
                      <a:pt x="440" y="389"/>
                    </a:lnTo>
                    <a:lnTo>
                      <a:pt x="441" y="389"/>
                    </a:lnTo>
                    <a:lnTo>
                      <a:pt x="442" y="387"/>
                    </a:lnTo>
                    <a:lnTo>
                      <a:pt x="443" y="386"/>
                    </a:lnTo>
                    <a:lnTo>
                      <a:pt x="442" y="386"/>
                    </a:lnTo>
                    <a:lnTo>
                      <a:pt x="442" y="384"/>
                    </a:lnTo>
                    <a:lnTo>
                      <a:pt x="443" y="385"/>
                    </a:lnTo>
                    <a:lnTo>
                      <a:pt x="445" y="384"/>
                    </a:lnTo>
                    <a:lnTo>
                      <a:pt x="444" y="383"/>
                    </a:lnTo>
                    <a:lnTo>
                      <a:pt x="446" y="384"/>
                    </a:lnTo>
                    <a:lnTo>
                      <a:pt x="446" y="383"/>
                    </a:lnTo>
                    <a:lnTo>
                      <a:pt x="445" y="382"/>
                    </a:lnTo>
                    <a:lnTo>
                      <a:pt x="447" y="382"/>
                    </a:lnTo>
                    <a:lnTo>
                      <a:pt x="448" y="381"/>
                    </a:lnTo>
                    <a:lnTo>
                      <a:pt x="447" y="380"/>
                    </a:lnTo>
                    <a:lnTo>
                      <a:pt x="449" y="379"/>
                    </a:lnTo>
                    <a:lnTo>
                      <a:pt x="449" y="381"/>
                    </a:lnTo>
                    <a:lnTo>
                      <a:pt x="450" y="381"/>
                    </a:lnTo>
                    <a:lnTo>
                      <a:pt x="450" y="380"/>
                    </a:lnTo>
                    <a:lnTo>
                      <a:pt x="449" y="378"/>
                    </a:lnTo>
                    <a:lnTo>
                      <a:pt x="449" y="376"/>
                    </a:lnTo>
                    <a:lnTo>
                      <a:pt x="450" y="376"/>
                    </a:lnTo>
                    <a:lnTo>
                      <a:pt x="452" y="377"/>
                    </a:lnTo>
                    <a:lnTo>
                      <a:pt x="452" y="375"/>
                    </a:lnTo>
                    <a:lnTo>
                      <a:pt x="455" y="373"/>
                    </a:lnTo>
                    <a:lnTo>
                      <a:pt x="456" y="373"/>
                    </a:lnTo>
                    <a:lnTo>
                      <a:pt x="457" y="373"/>
                    </a:lnTo>
                    <a:lnTo>
                      <a:pt x="458" y="373"/>
                    </a:lnTo>
                    <a:lnTo>
                      <a:pt x="458" y="374"/>
                    </a:lnTo>
                    <a:lnTo>
                      <a:pt x="458" y="375"/>
                    </a:lnTo>
                    <a:lnTo>
                      <a:pt x="459" y="374"/>
                    </a:lnTo>
                    <a:lnTo>
                      <a:pt x="461" y="375"/>
                    </a:lnTo>
                    <a:lnTo>
                      <a:pt x="463" y="374"/>
                    </a:lnTo>
                    <a:lnTo>
                      <a:pt x="463" y="376"/>
                    </a:lnTo>
                    <a:lnTo>
                      <a:pt x="465" y="376"/>
                    </a:lnTo>
                    <a:lnTo>
                      <a:pt x="466" y="378"/>
                    </a:lnTo>
                    <a:lnTo>
                      <a:pt x="469" y="378"/>
                    </a:lnTo>
                    <a:lnTo>
                      <a:pt x="470" y="380"/>
                    </a:lnTo>
                    <a:lnTo>
                      <a:pt x="473" y="382"/>
                    </a:lnTo>
                    <a:lnTo>
                      <a:pt x="475" y="382"/>
                    </a:lnTo>
                    <a:lnTo>
                      <a:pt x="478" y="382"/>
                    </a:lnTo>
                    <a:lnTo>
                      <a:pt x="478" y="385"/>
                    </a:lnTo>
                    <a:lnTo>
                      <a:pt x="482" y="388"/>
                    </a:lnTo>
                    <a:lnTo>
                      <a:pt x="484" y="391"/>
                    </a:lnTo>
                    <a:lnTo>
                      <a:pt x="486" y="392"/>
                    </a:lnTo>
                    <a:lnTo>
                      <a:pt x="488" y="391"/>
                    </a:lnTo>
                    <a:lnTo>
                      <a:pt x="489" y="392"/>
                    </a:lnTo>
                    <a:lnTo>
                      <a:pt x="490" y="394"/>
                    </a:lnTo>
                    <a:lnTo>
                      <a:pt x="491" y="397"/>
                    </a:lnTo>
                    <a:lnTo>
                      <a:pt x="495" y="401"/>
                    </a:lnTo>
                    <a:lnTo>
                      <a:pt x="496" y="403"/>
                    </a:lnTo>
                    <a:lnTo>
                      <a:pt x="497" y="403"/>
                    </a:lnTo>
                    <a:lnTo>
                      <a:pt x="499" y="407"/>
                    </a:lnTo>
                    <a:lnTo>
                      <a:pt x="504" y="405"/>
                    </a:lnTo>
                    <a:lnTo>
                      <a:pt x="506" y="406"/>
                    </a:lnTo>
                    <a:lnTo>
                      <a:pt x="507" y="406"/>
                    </a:lnTo>
                    <a:lnTo>
                      <a:pt x="508" y="408"/>
                    </a:lnTo>
                    <a:lnTo>
                      <a:pt x="510" y="405"/>
                    </a:lnTo>
                    <a:lnTo>
                      <a:pt x="514" y="403"/>
                    </a:lnTo>
                    <a:lnTo>
                      <a:pt x="515" y="402"/>
                    </a:lnTo>
                    <a:lnTo>
                      <a:pt x="517" y="403"/>
                    </a:lnTo>
                    <a:lnTo>
                      <a:pt x="518" y="401"/>
                    </a:lnTo>
                    <a:lnTo>
                      <a:pt x="520" y="397"/>
                    </a:lnTo>
                    <a:lnTo>
                      <a:pt x="522" y="399"/>
                    </a:lnTo>
                    <a:lnTo>
                      <a:pt x="522" y="397"/>
                    </a:lnTo>
                    <a:lnTo>
                      <a:pt x="525" y="394"/>
                    </a:lnTo>
                    <a:lnTo>
                      <a:pt x="531" y="397"/>
                    </a:lnTo>
                    <a:lnTo>
                      <a:pt x="533" y="399"/>
                    </a:lnTo>
                    <a:lnTo>
                      <a:pt x="536" y="404"/>
                    </a:lnTo>
                    <a:lnTo>
                      <a:pt x="539" y="409"/>
                    </a:lnTo>
                    <a:lnTo>
                      <a:pt x="539" y="410"/>
                    </a:lnTo>
                    <a:lnTo>
                      <a:pt x="542" y="412"/>
                    </a:lnTo>
                    <a:lnTo>
                      <a:pt x="545" y="412"/>
                    </a:lnTo>
                    <a:lnTo>
                      <a:pt x="548" y="410"/>
                    </a:lnTo>
                    <a:lnTo>
                      <a:pt x="551" y="411"/>
                    </a:lnTo>
                    <a:lnTo>
                      <a:pt x="554" y="407"/>
                    </a:lnTo>
                    <a:lnTo>
                      <a:pt x="557" y="409"/>
                    </a:lnTo>
                    <a:lnTo>
                      <a:pt x="559" y="408"/>
                    </a:lnTo>
                    <a:lnTo>
                      <a:pt x="562" y="409"/>
                    </a:lnTo>
                    <a:lnTo>
                      <a:pt x="564" y="407"/>
                    </a:lnTo>
                    <a:lnTo>
                      <a:pt x="565" y="403"/>
                    </a:lnTo>
                    <a:lnTo>
                      <a:pt x="566" y="401"/>
                    </a:lnTo>
                    <a:lnTo>
                      <a:pt x="571" y="401"/>
                    </a:lnTo>
                    <a:lnTo>
                      <a:pt x="572" y="399"/>
                    </a:lnTo>
                    <a:lnTo>
                      <a:pt x="574" y="396"/>
                    </a:lnTo>
                    <a:lnTo>
                      <a:pt x="577" y="396"/>
                    </a:lnTo>
                    <a:lnTo>
                      <a:pt x="579" y="397"/>
                    </a:lnTo>
                    <a:lnTo>
                      <a:pt x="577" y="38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7" name="Freeform 121">
                <a:extLst>
                  <a:ext uri="{FF2B5EF4-FFF2-40B4-BE49-F238E27FC236}">
                    <a16:creationId xmlns:a16="http://schemas.microsoft.com/office/drawing/2014/main" id="{D300A42B-23B6-2832-C8D5-51BA8819EC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8" y="3431"/>
                <a:ext cx="579" cy="487"/>
              </a:xfrm>
              <a:custGeom>
                <a:avLst/>
                <a:gdLst>
                  <a:gd name="T0" fmla="*/ 545 w 579"/>
                  <a:gd name="T1" fmla="*/ 345 h 487"/>
                  <a:gd name="T2" fmla="*/ 506 w 579"/>
                  <a:gd name="T3" fmla="*/ 331 h 487"/>
                  <a:gd name="T4" fmla="*/ 490 w 579"/>
                  <a:gd name="T5" fmla="*/ 310 h 487"/>
                  <a:gd name="T6" fmla="*/ 473 w 579"/>
                  <a:gd name="T7" fmla="*/ 285 h 487"/>
                  <a:gd name="T8" fmla="*/ 442 w 579"/>
                  <a:gd name="T9" fmla="*/ 263 h 487"/>
                  <a:gd name="T10" fmla="*/ 468 w 579"/>
                  <a:gd name="T11" fmla="*/ 236 h 487"/>
                  <a:gd name="T12" fmla="*/ 453 w 579"/>
                  <a:gd name="T13" fmla="*/ 212 h 487"/>
                  <a:gd name="T14" fmla="*/ 460 w 579"/>
                  <a:gd name="T15" fmla="*/ 176 h 487"/>
                  <a:gd name="T16" fmla="*/ 438 w 579"/>
                  <a:gd name="T17" fmla="*/ 146 h 487"/>
                  <a:gd name="T18" fmla="*/ 435 w 579"/>
                  <a:gd name="T19" fmla="*/ 123 h 487"/>
                  <a:gd name="T20" fmla="*/ 428 w 579"/>
                  <a:gd name="T21" fmla="*/ 117 h 487"/>
                  <a:gd name="T22" fmla="*/ 420 w 579"/>
                  <a:gd name="T23" fmla="*/ 91 h 487"/>
                  <a:gd name="T24" fmla="*/ 393 w 579"/>
                  <a:gd name="T25" fmla="*/ 76 h 487"/>
                  <a:gd name="T26" fmla="*/ 398 w 579"/>
                  <a:gd name="T27" fmla="*/ 91 h 487"/>
                  <a:gd name="T28" fmla="*/ 391 w 579"/>
                  <a:gd name="T29" fmla="*/ 118 h 487"/>
                  <a:gd name="T30" fmla="*/ 378 w 579"/>
                  <a:gd name="T31" fmla="*/ 99 h 487"/>
                  <a:gd name="T32" fmla="*/ 373 w 579"/>
                  <a:gd name="T33" fmla="*/ 62 h 487"/>
                  <a:gd name="T34" fmla="*/ 371 w 579"/>
                  <a:gd name="T35" fmla="*/ 49 h 487"/>
                  <a:gd name="T36" fmla="*/ 362 w 579"/>
                  <a:gd name="T37" fmla="*/ 25 h 487"/>
                  <a:gd name="T38" fmla="*/ 373 w 579"/>
                  <a:gd name="T39" fmla="*/ 23 h 487"/>
                  <a:gd name="T40" fmla="*/ 330 w 579"/>
                  <a:gd name="T41" fmla="*/ 0 h 487"/>
                  <a:gd name="T42" fmla="*/ 307 w 579"/>
                  <a:gd name="T43" fmla="*/ 13 h 487"/>
                  <a:gd name="T44" fmla="*/ 280 w 579"/>
                  <a:gd name="T45" fmla="*/ 10 h 487"/>
                  <a:gd name="T46" fmla="*/ 261 w 579"/>
                  <a:gd name="T47" fmla="*/ 33 h 487"/>
                  <a:gd name="T48" fmla="*/ 254 w 579"/>
                  <a:gd name="T49" fmla="*/ 57 h 487"/>
                  <a:gd name="T50" fmla="*/ 252 w 579"/>
                  <a:gd name="T51" fmla="*/ 92 h 487"/>
                  <a:gd name="T52" fmla="*/ 251 w 579"/>
                  <a:gd name="T53" fmla="*/ 123 h 487"/>
                  <a:gd name="T54" fmla="*/ 226 w 579"/>
                  <a:gd name="T55" fmla="*/ 142 h 487"/>
                  <a:gd name="T56" fmla="*/ 219 w 579"/>
                  <a:gd name="T57" fmla="*/ 166 h 487"/>
                  <a:gd name="T58" fmla="*/ 214 w 579"/>
                  <a:gd name="T59" fmla="*/ 198 h 487"/>
                  <a:gd name="T60" fmla="*/ 206 w 579"/>
                  <a:gd name="T61" fmla="*/ 219 h 487"/>
                  <a:gd name="T62" fmla="*/ 198 w 579"/>
                  <a:gd name="T63" fmla="*/ 242 h 487"/>
                  <a:gd name="T64" fmla="*/ 170 w 579"/>
                  <a:gd name="T65" fmla="*/ 260 h 487"/>
                  <a:gd name="T66" fmla="*/ 148 w 579"/>
                  <a:gd name="T67" fmla="*/ 257 h 487"/>
                  <a:gd name="T68" fmla="*/ 127 w 579"/>
                  <a:gd name="T69" fmla="*/ 257 h 487"/>
                  <a:gd name="T70" fmla="*/ 106 w 579"/>
                  <a:gd name="T71" fmla="*/ 257 h 487"/>
                  <a:gd name="T72" fmla="*/ 90 w 579"/>
                  <a:gd name="T73" fmla="*/ 264 h 487"/>
                  <a:gd name="T74" fmla="*/ 59 w 579"/>
                  <a:gd name="T75" fmla="*/ 283 h 487"/>
                  <a:gd name="T76" fmla="*/ 38 w 579"/>
                  <a:gd name="T77" fmla="*/ 284 h 487"/>
                  <a:gd name="T78" fmla="*/ 15 w 579"/>
                  <a:gd name="T79" fmla="*/ 281 h 487"/>
                  <a:gd name="T80" fmla="*/ 7 w 579"/>
                  <a:gd name="T81" fmla="*/ 292 h 487"/>
                  <a:gd name="T82" fmla="*/ 39 w 579"/>
                  <a:gd name="T83" fmla="*/ 331 h 487"/>
                  <a:gd name="T84" fmla="*/ 85 w 579"/>
                  <a:gd name="T85" fmla="*/ 337 h 487"/>
                  <a:gd name="T86" fmla="*/ 102 w 579"/>
                  <a:gd name="T87" fmla="*/ 349 h 487"/>
                  <a:gd name="T88" fmla="*/ 146 w 579"/>
                  <a:gd name="T89" fmla="*/ 397 h 487"/>
                  <a:gd name="T90" fmla="*/ 212 w 579"/>
                  <a:gd name="T91" fmla="*/ 410 h 487"/>
                  <a:gd name="T92" fmla="*/ 231 w 579"/>
                  <a:gd name="T93" fmla="*/ 410 h 487"/>
                  <a:gd name="T94" fmla="*/ 265 w 579"/>
                  <a:gd name="T95" fmla="*/ 387 h 487"/>
                  <a:gd name="T96" fmla="*/ 308 w 579"/>
                  <a:gd name="T97" fmla="*/ 415 h 487"/>
                  <a:gd name="T98" fmla="*/ 328 w 579"/>
                  <a:gd name="T99" fmla="*/ 433 h 487"/>
                  <a:gd name="T100" fmla="*/ 369 w 579"/>
                  <a:gd name="T101" fmla="*/ 443 h 487"/>
                  <a:gd name="T102" fmla="*/ 369 w 579"/>
                  <a:gd name="T103" fmla="*/ 471 h 487"/>
                  <a:gd name="T104" fmla="*/ 381 w 579"/>
                  <a:gd name="T105" fmla="*/ 483 h 487"/>
                  <a:gd name="T106" fmla="*/ 388 w 579"/>
                  <a:gd name="T107" fmla="*/ 454 h 487"/>
                  <a:gd name="T108" fmla="*/ 396 w 579"/>
                  <a:gd name="T109" fmla="*/ 444 h 487"/>
                  <a:gd name="T110" fmla="*/ 409 w 579"/>
                  <a:gd name="T111" fmla="*/ 422 h 487"/>
                  <a:gd name="T112" fmla="*/ 421 w 579"/>
                  <a:gd name="T113" fmla="*/ 413 h 487"/>
                  <a:gd name="T114" fmla="*/ 440 w 579"/>
                  <a:gd name="T115" fmla="*/ 389 h 487"/>
                  <a:gd name="T116" fmla="*/ 450 w 579"/>
                  <a:gd name="T117" fmla="*/ 376 h 487"/>
                  <a:gd name="T118" fmla="*/ 484 w 579"/>
                  <a:gd name="T119" fmla="*/ 391 h 487"/>
                  <a:gd name="T120" fmla="*/ 525 w 579"/>
                  <a:gd name="T121" fmla="*/ 394 h 487"/>
                  <a:gd name="T122" fmla="*/ 579 w 579"/>
                  <a:gd name="T123" fmla="*/ 397 h 487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79"/>
                  <a:gd name="T187" fmla="*/ 0 h 487"/>
                  <a:gd name="T188" fmla="*/ 579 w 579"/>
                  <a:gd name="T189" fmla="*/ 487 h 487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79" h="487">
                    <a:moveTo>
                      <a:pt x="577" y="389"/>
                    </a:moveTo>
                    <a:lnTo>
                      <a:pt x="577" y="387"/>
                    </a:lnTo>
                    <a:lnTo>
                      <a:pt x="577" y="386"/>
                    </a:lnTo>
                    <a:lnTo>
                      <a:pt x="578" y="385"/>
                    </a:lnTo>
                    <a:lnTo>
                      <a:pt x="575" y="386"/>
                    </a:lnTo>
                    <a:lnTo>
                      <a:pt x="574" y="384"/>
                    </a:lnTo>
                    <a:lnTo>
                      <a:pt x="574" y="382"/>
                    </a:lnTo>
                    <a:lnTo>
                      <a:pt x="572" y="378"/>
                    </a:lnTo>
                    <a:lnTo>
                      <a:pt x="569" y="369"/>
                    </a:lnTo>
                    <a:lnTo>
                      <a:pt x="564" y="369"/>
                    </a:lnTo>
                    <a:lnTo>
                      <a:pt x="559" y="362"/>
                    </a:lnTo>
                    <a:lnTo>
                      <a:pt x="557" y="362"/>
                    </a:lnTo>
                    <a:lnTo>
                      <a:pt x="555" y="364"/>
                    </a:lnTo>
                    <a:lnTo>
                      <a:pt x="552" y="361"/>
                    </a:lnTo>
                    <a:lnTo>
                      <a:pt x="556" y="355"/>
                    </a:lnTo>
                    <a:lnTo>
                      <a:pt x="556" y="353"/>
                    </a:lnTo>
                    <a:lnTo>
                      <a:pt x="557" y="352"/>
                    </a:lnTo>
                    <a:lnTo>
                      <a:pt x="554" y="349"/>
                    </a:lnTo>
                    <a:lnTo>
                      <a:pt x="549" y="345"/>
                    </a:lnTo>
                    <a:lnTo>
                      <a:pt x="545" y="346"/>
                    </a:lnTo>
                    <a:lnTo>
                      <a:pt x="545" y="345"/>
                    </a:lnTo>
                    <a:lnTo>
                      <a:pt x="543" y="339"/>
                    </a:lnTo>
                    <a:lnTo>
                      <a:pt x="543" y="342"/>
                    </a:lnTo>
                    <a:lnTo>
                      <a:pt x="537" y="344"/>
                    </a:lnTo>
                    <a:lnTo>
                      <a:pt x="535" y="341"/>
                    </a:lnTo>
                    <a:lnTo>
                      <a:pt x="534" y="341"/>
                    </a:lnTo>
                    <a:lnTo>
                      <a:pt x="531" y="342"/>
                    </a:lnTo>
                    <a:lnTo>
                      <a:pt x="531" y="341"/>
                    </a:lnTo>
                    <a:lnTo>
                      <a:pt x="530" y="342"/>
                    </a:lnTo>
                    <a:lnTo>
                      <a:pt x="529" y="342"/>
                    </a:lnTo>
                    <a:lnTo>
                      <a:pt x="524" y="345"/>
                    </a:lnTo>
                    <a:lnTo>
                      <a:pt x="521" y="341"/>
                    </a:lnTo>
                    <a:lnTo>
                      <a:pt x="520" y="341"/>
                    </a:lnTo>
                    <a:lnTo>
                      <a:pt x="517" y="336"/>
                    </a:lnTo>
                    <a:lnTo>
                      <a:pt x="515" y="334"/>
                    </a:lnTo>
                    <a:lnTo>
                      <a:pt x="515" y="329"/>
                    </a:lnTo>
                    <a:lnTo>
                      <a:pt x="510" y="330"/>
                    </a:lnTo>
                    <a:lnTo>
                      <a:pt x="509" y="332"/>
                    </a:lnTo>
                    <a:lnTo>
                      <a:pt x="509" y="331"/>
                    </a:lnTo>
                    <a:lnTo>
                      <a:pt x="508" y="331"/>
                    </a:lnTo>
                    <a:lnTo>
                      <a:pt x="507" y="331"/>
                    </a:lnTo>
                    <a:lnTo>
                      <a:pt x="506" y="331"/>
                    </a:lnTo>
                    <a:lnTo>
                      <a:pt x="504" y="330"/>
                    </a:lnTo>
                    <a:lnTo>
                      <a:pt x="503" y="329"/>
                    </a:lnTo>
                    <a:lnTo>
                      <a:pt x="504" y="328"/>
                    </a:lnTo>
                    <a:lnTo>
                      <a:pt x="503" y="327"/>
                    </a:lnTo>
                    <a:lnTo>
                      <a:pt x="505" y="325"/>
                    </a:lnTo>
                    <a:lnTo>
                      <a:pt x="505" y="324"/>
                    </a:lnTo>
                    <a:lnTo>
                      <a:pt x="506" y="322"/>
                    </a:lnTo>
                    <a:lnTo>
                      <a:pt x="505" y="321"/>
                    </a:lnTo>
                    <a:lnTo>
                      <a:pt x="506" y="318"/>
                    </a:lnTo>
                    <a:lnTo>
                      <a:pt x="504" y="315"/>
                    </a:lnTo>
                    <a:lnTo>
                      <a:pt x="504" y="317"/>
                    </a:lnTo>
                    <a:lnTo>
                      <a:pt x="501" y="315"/>
                    </a:lnTo>
                    <a:lnTo>
                      <a:pt x="502" y="314"/>
                    </a:lnTo>
                    <a:lnTo>
                      <a:pt x="500" y="312"/>
                    </a:lnTo>
                    <a:lnTo>
                      <a:pt x="497" y="313"/>
                    </a:lnTo>
                    <a:lnTo>
                      <a:pt x="496" y="312"/>
                    </a:lnTo>
                    <a:lnTo>
                      <a:pt x="493" y="312"/>
                    </a:lnTo>
                    <a:lnTo>
                      <a:pt x="492" y="310"/>
                    </a:lnTo>
                    <a:lnTo>
                      <a:pt x="491" y="310"/>
                    </a:lnTo>
                    <a:lnTo>
                      <a:pt x="490" y="310"/>
                    </a:lnTo>
                    <a:lnTo>
                      <a:pt x="488" y="310"/>
                    </a:lnTo>
                    <a:lnTo>
                      <a:pt x="486" y="309"/>
                    </a:lnTo>
                    <a:lnTo>
                      <a:pt x="485" y="310"/>
                    </a:lnTo>
                    <a:lnTo>
                      <a:pt x="483" y="310"/>
                    </a:lnTo>
                    <a:lnTo>
                      <a:pt x="484" y="305"/>
                    </a:lnTo>
                    <a:lnTo>
                      <a:pt x="482" y="304"/>
                    </a:lnTo>
                    <a:lnTo>
                      <a:pt x="482" y="301"/>
                    </a:lnTo>
                    <a:lnTo>
                      <a:pt x="480" y="301"/>
                    </a:lnTo>
                    <a:lnTo>
                      <a:pt x="478" y="302"/>
                    </a:lnTo>
                    <a:lnTo>
                      <a:pt x="478" y="298"/>
                    </a:lnTo>
                    <a:lnTo>
                      <a:pt x="471" y="297"/>
                    </a:lnTo>
                    <a:lnTo>
                      <a:pt x="470" y="299"/>
                    </a:lnTo>
                    <a:lnTo>
                      <a:pt x="469" y="300"/>
                    </a:lnTo>
                    <a:lnTo>
                      <a:pt x="468" y="299"/>
                    </a:lnTo>
                    <a:lnTo>
                      <a:pt x="469" y="297"/>
                    </a:lnTo>
                    <a:lnTo>
                      <a:pt x="470" y="295"/>
                    </a:lnTo>
                    <a:lnTo>
                      <a:pt x="470" y="294"/>
                    </a:lnTo>
                    <a:lnTo>
                      <a:pt x="472" y="291"/>
                    </a:lnTo>
                    <a:lnTo>
                      <a:pt x="473" y="289"/>
                    </a:lnTo>
                    <a:lnTo>
                      <a:pt x="473" y="285"/>
                    </a:lnTo>
                    <a:lnTo>
                      <a:pt x="473" y="284"/>
                    </a:lnTo>
                    <a:lnTo>
                      <a:pt x="473" y="282"/>
                    </a:lnTo>
                    <a:lnTo>
                      <a:pt x="472" y="280"/>
                    </a:lnTo>
                    <a:lnTo>
                      <a:pt x="470" y="280"/>
                    </a:lnTo>
                    <a:lnTo>
                      <a:pt x="470" y="273"/>
                    </a:lnTo>
                    <a:lnTo>
                      <a:pt x="469" y="272"/>
                    </a:lnTo>
                    <a:lnTo>
                      <a:pt x="466" y="272"/>
                    </a:lnTo>
                    <a:lnTo>
                      <a:pt x="461" y="274"/>
                    </a:lnTo>
                    <a:lnTo>
                      <a:pt x="457" y="275"/>
                    </a:lnTo>
                    <a:lnTo>
                      <a:pt x="455" y="276"/>
                    </a:lnTo>
                    <a:lnTo>
                      <a:pt x="454" y="275"/>
                    </a:lnTo>
                    <a:lnTo>
                      <a:pt x="453" y="276"/>
                    </a:lnTo>
                    <a:lnTo>
                      <a:pt x="452" y="276"/>
                    </a:lnTo>
                    <a:lnTo>
                      <a:pt x="450" y="278"/>
                    </a:lnTo>
                    <a:lnTo>
                      <a:pt x="449" y="277"/>
                    </a:lnTo>
                    <a:lnTo>
                      <a:pt x="447" y="278"/>
                    </a:lnTo>
                    <a:lnTo>
                      <a:pt x="441" y="276"/>
                    </a:lnTo>
                    <a:lnTo>
                      <a:pt x="443" y="274"/>
                    </a:lnTo>
                    <a:lnTo>
                      <a:pt x="444" y="272"/>
                    </a:lnTo>
                    <a:lnTo>
                      <a:pt x="443" y="270"/>
                    </a:lnTo>
                    <a:lnTo>
                      <a:pt x="442" y="271"/>
                    </a:lnTo>
                    <a:lnTo>
                      <a:pt x="442" y="263"/>
                    </a:lnTo>
                    <a:lnTo>
                      <a:pt x="447" y="264"/>
                    </a:lnTo>
                    <a:lnTo>
                      <a:pt x="448" y="265"/>
                    </a:lnTo>
                    <a:lnTo>
                      <a:pt x="450" y="264"/>
                    </a:lnTo>
                    <a:lnTo>
                      <a:pt x="450" y="261"/>
                    </a:lnTo>
                    <a:lnTo>
                      <a:pt x="452" y="255"/>
                    </a:lnTo>
                    <a:lnTo>
                      <a:pt x="453" y="251"/>
                    </a:lnTo>
                    <a:lnTo>
                      <a:pt x="455" y="250"/>
                    </a:lnTo>
                    <a:lnTo>
                      <a:pt x="457" y="251"/>
                    </a:lnTo>
                    <a:lnTo>
                      <a:pt x="458" y="251"/>
                    </a:lnTo>
                    <a:lnTo>
                      <a:pt x="459" y="251"/>
                    </a:lnTo>
                    <a:lnTo>
                      <a:pt x="460" y="250"/>
                    </a:lnTo>
                    <a:lnTo>
                      <a:pt x="460" y="249"/>
                    </a:lnTo>
                    <a:lnTo>
                      <a:pt x="461" y="250"/>
                    </a:lnTo>
                    <a:lnTo>
                      <a:pt x="462" y="249"/>
                    </a:lnTo>
                    <a:lnTo>
                      <a:pt x="464" y="250"/>
                    </a:lnTo>
                    <a:lnTo>
                      <a:pt x="466" y="240"/>
                    </a:lnTo>
                    <a:lnTo>
                      <a:pt x="468" y="240"/>
                    </a:lnTo>
                    <a:lnTo>
                      <a:pt x="468" y="238"/>
                    </a:lnTo>
                    <a:lnTo>
                      <a:pt x="468" y="237"/>
                    </a:lnTo>
                    <a:lnTo>
                      <a:pt x="468" y="236"/>
                    </a:lnTo>
                    <a:lnTo>
                      <a:pt x="470" y="231"/>
                    </a:lnTo>
                    <a:lnTo>
                      <a:pt x="469" y="229"/>
                    </a:lnTo>
                    <a:lnTo>
                      <a:pt x="468" y="229"/>
                    </a:lnTo>
                    <a:lnTo>
                      <a:pt x="466" y="233"/>
                    </a:lnTo>
                    <a:lnTo>
                      <a:pt x="464" y="233"/>
                    </a:lnTo>
                    <a:lnTo>
                      <a:pt x="463" y="232"/>
                    </a:lnTo>
                    <a:lnTo>
                      <a:pt x="461" y="232"/>
                    </a:lnTo>
                    <a:lnTo>
                      <a:pt x="461" y="231"/>
                    </a:lnTo>
                    <a:lnTo>
                      <a:pt x="457" y="231"/>
                    </a:lnTo>
                    <a:lnTo>
                      <a:pt x="457" y="233"/>
                    </a:lnTo>
                    <a:lnTo>
                      <a:pt x="455" y="231"/>
                    </a:lnTo>
                    <a:lnTo>
                      <a:pt x="457" y="230"/>
                    </a:lnTo>
                    <a:lnTo>
                      <a:pt x="457" y="227"/>
                    </a:lnTo>
                    <a:lnTo>
                      <a:pt x="458" y="227"/>
                    </a:lnTo>
                    <a:lnTo>
                      <a:pt x="460" y="225"/>
                    </a:lnTo>
                    <a:lnTo>
                      <a:pt x="460" y="223"/>
                    </a:lnTo>
                    <a:lnTo>
                      <a:pt x="459" y="223"/>
                    </a:lnTo>
                    <a:lnTo>
                      <a:pt x="458" y="223"/>
                    </a:lnTo>
                    <a:lnTo>
                      <a:pt x="457" y="222"/>
                    </a:lnTo>
                    <a:lnTo>
                      <a:pt x="457" y="217"/>
                    </a:lnTo>
                    <a:lnTo>
                      <a:pt x="455" y="214"/>
                    </a:lnTo>
                    <a:lnTo>
                      <a:pt x="453" y="212"/>
                    </a:lnTo>
                    <a:lnTo>
                      <a:pt x="457" y="207"/>
                    </a:lnTo>
                    <a:lnTo>
                      <a:pt x="457" y="204"/>
                    </a:lnTo>
                    <a:lnTo>
                      <a:pt x="455" y="202"/>
                    </a:lnTo>
                    <a:lnTo>
                      <a:pt x="455" y="200"/>
                    </a:lnTo>
                    <a:lnTo>
                      <a:pt x="453" y="199"/>
                    </a:lnTo>
                    <a:lnTo>
                      <a:pt x="453" y="196"/>
                    </a:lnTo>
                    <a:lnTo>
                      <a:pt x="456" y="195"/>
                    </a:lnTo>
                    <a:lnTo>
                      <a:pt x="457" y="193"/>
                    </a:lnTo>
                    <a:lnTo>
                      <a:pt x="459" y="192"/>
                    </a:lnTo>
                    <a:lnTo>
                      <a:pt x="460" y="188"/>
                    </a:lnTo>
                    <a:lnTo>
                      <a:pt x="460" y="187"/>
                    </a:lnTo>
                    <a:lnTo>
                      <a:pt x="462" y="185"/>
                    </a:lnTo>
                    <a:lnTo>
                      <a:pt x="463" y="185"/>
                    </a:lnTo>
                    <a:lnTo>
                      <a:pt x="463" y="183"/>
                    </a:lnTo>
                    <a:lnTo>
                      <a:pt x="461" y="183"/>
                    </a:lnTo>
                    <a:lnTo>
                      <a:pt x="462" y="182"/>
                    </a:lnTo>
                    <a:lnTo>
                      <a:pt x="461" y="182"/>
                    </a:lnTo>
                    <a:lnTo>
                      <a:pt x="461" y="178"/>
                    </a:lnTo>
                    <a:lnTo>
                      <a:pt x="461" y="176"/>
                    </a:lnTo>
                    <a:lnTo>
                      <a:pt x="460" y="175"/>
                    </a:lnTo>
                    <a:lnTo>
                      <a:pt x="460" y="176"/>
                    </a:lnTo>
                    <a:lnTo>
                      <a:pt x="459" y="174"/>
                    </a:lnTo>
                    <a:lnTo>
                      <a:pt x="459" y="171"/>
                    </a:lnTo>
                    <a:lnTo>
                      <a:pt x="458" y="168"/>
                    </a:lnTo>
                    <a:lnTo>
                      <a:pt x="457" y="165"/>
                    </a:lnTo>
                    <a:lnTo>
                      <a:pt x="458" y="165"/>
                    </a:lnTo>
                    <a:lnTo>
                      <a:pt x="458" y="164"/>
                    </a:lnTo>
                    <a:lnTo>
                      <a:pt x="459" y="163"/>
                    </a:lnTo>
                    <a:lnTo>
                      <a:pt x="459" y="160"/>
                    </a:lnTo>
                    <a:lnTo>
                      <a:pt x="456" y="161"/>
                    </a:lnTo>
                    <a:lnTo>
                      <a:pt x="454" y="157"/>
                    </a:lnTo>
                    <a:lnTo>
                      <a:pt x="453" y="155"/>
                    </a:lnTo>
                    <a:lnTo>
                      <a:pt x="453" y="154"/>
                    </a:lnTo>
                    <a:lnTo>
                      <a:pt x="452" y="153"/>
                    </a:lnTo>
                    <a:lnTo>
                      <a:pt x="449" y="152"/>
                    </a:lnTo>
                    <a:lnTo>
                      <a:pt x="447" y="152"/>
                    </a:lnTo>
                    <a:lnTo>
                      <a:pt x="444" y="149"/>
                    </a:lnTo>
                    <a:lnTo>
                      <a:pt x="442" y="149"/>
                    </a:lnTo>
                    <a:lnTo>
                      <a:pt x="439" y="148"/>
                    </a:lnTo>
                    <a:lnTo>
                      <a:pt x="438" y="146"/>
                    </a:lnTo>
                    <a:lnTo>
                      <a:pt x="439" y="146"/>
                    </a:lnTo>
                    <a:lnTo>
                      <a:pt x="436" y="143"/>
                    </a:lnTo>
                    <a:lnTo>
                      <a:pt x="435" y="144"/>
                    </a:lnTo>
                    <a:lnTo>
                      <a:pt x="434" y="142"/>
                    </a:lnTo>
                    <a:lnTo>
                      <a:pt x="436" y="141"/>
                    </a:lnTo>
                    <a:lnTo>
                      <a:pt x="436" y="139"/>
                    </a:lnTo>
                    <a:lnTo>
                      <a:pt x="436" y="138"/>
                    </a:lnTo>
                    <a:lnTo>
                      <a:pt x="435" y="137"/>
                    </a:lnTo>
                    <a:lnTo>
                      <a:pt x="437" y="134"/>
                    </a:lnTo>
                    <a:lnTo>
                      <a:pt x="438" y="133"/>
                    </a:lnTo>
                    <a:lnTo>
                      <a:pt x="438" y="131"/>
                    </a:lnTo>
                    <a:lnTo>
                      <a:pt x="438" y="129"/>
                    </a:lnTo>
                    <a:lnTo>
                      <a:pt x="441" y="127"/>
                    </a:lnTo>
                    <a:lnTo>
                      <a:pt x="441" y="125"/>
                    </a:lnTo>
                    <a:lnTo>
                      <a:pt x="439" y="123"/>
                    </a:lnTo>
                    <a:lnTo>
                      <a:pt x="438" y="120"/>
                    </a:lnTo>
                    <a:lnTo>
                      <a:pt x="438" y="118"/>
                    </a:lnTo>
                    <a:lnTo>
                      <a:pt x="437" y="118"/>
                    </a:lnTo>
                    <a:lnTo>
                      <a:pt x="438" y="120"/>
                    </a:lnTo>
                    <a:lnTo>
                      <a:pt x="437" y="122"/>
                    </a:lnTo>
                    <a:lnTo>
                      <a:pt x="437" y="123"/>
                    </a:lnTo>
                    <a:lnTo>
                      <a:pt x="435" y="123"/>
                    </a:lnTo>
                    <a:lnTo>
                      <a:pt x="436" y="123"/>
                    </a:lnTo>
                    <a:lnTo>
                      <a:pt x="436" y="125"/>
                    </a:lnTo>
                    <a:lnTo>
                      <a:pt x="436" y="126"/>
                    </a:lnTo>
                    <a:lnTo>
                      <a:pt x="437" y="126"/>
                    </a:lnTo>
                    <a:lnTo>
                      <a:pt x="436" y="127"/>
                    </a:lnTo>
                    <a:lnTo>
                      <a:pt x="436" y="128"/>
                    </a:lnTo>
                    <a:lnTo>
                      <a:pt x="434" y="127"/>
                    </a:lnTo>
                    <a:lnTo>
                      <a:pt x="433" y="127"/>
                    </a:lnTo>
                    <a:lnTo>
                      <a:pt x="433" y="128"/>
                    </a:lnTo>
                    <a:lnTo>
                      <a:pt x="432" y="128"/>
                    </a:lnTo>
                    <a:lnTo>
                      <a:pt x="432" y="126"/>
                    </a:lnTo>
                    <a:lnTo>
                      <a:pt x="432" y="125"/>
                    </a:lnTo>
                    <a:lnTo>
                      <a:pt x="431" y="125"/>
                    </a:lnTo>
                    <a:lnTo>
                      <a:pt x="430" y="122"/>
                    </a:lnTo>
                    <a:lnTo>
                      <a:pt x="431" y="120"/>
                    </a:lnTo>
                    <a:lnTo>
                      <a:pt x="427" y="120"/>
                    </a:lnTo>
                    <a:lnTo>
                      <a:pt x="427" y="118"/>
                    </a:lnTo>
                    <a:lnTo>
                      <a:pt x="429" y="119"/>
                    </a:lnTo>
                    <a:lnTo>
                      <a:pt x="429" y="117"/>
                    </a:lnTo>
                    <a:lnTo>
                      <a:pt x="428" y="117"/>
                    </a:lnTo>
                    <a:lnTo>
                      <a:pt x="429" y="114"/>
                    </a:lnTo>
                    <a:lnTo>
                      <a:pt x="429" y="113"/>
                    </a:lnTo>
                    <a:lnTo>
                      <a:pt x="427" y="113"/>
                    </a:lnTo>
                    <a:lnTo>
                      <a:pt x="427" y="112"/>
                    </a:lnTo>
                    <a:lnTo>
                      <a:pt x="425" y="112"/>
                    </a:lnTo>
                    <a:lnTo>
                      <a:pt x="424" y="112"/>
                    </a:lnTo>
                    <a:lnTo>
                      <a:pt x="421" y="109"/>
                    </a:lnTo>
                    <a:lnTo>
                      <a:pt x="422" y="108"/>
                    </a:lnTo>
                    <a:lnTo>
                      <a:pt x="423" y="106"/>
                    </a:lnTo>
                    <a:lnTo>
                      <a:pt x="423" y="104"/>
                    </a:lnTo>
                    <a:lnTo>
                      <a:pt x="422" y="99"/>
                    </a:lnTo>
                    <a:lnTo>
                      <a:pt x="422" y="95"/>
                    </a:lnTo>
                    <a:lnTo>
                      <a:pt x="421" y="93"/>
                    </a:lnTo>
                    <a:lnTo>
                      <a:pt x="420" y="94"/>
                    </a:lnTo>
                    <a:lnTo>
                      <a:pt x="419" y="92"/>
                    </a:lnTo>
                    <a:lnTo>
                      <a:pt x="418" y="92"/>
                    </a:lnTo>
                    <a:lnTo>
                      <a:pt x="418" y="91"/>
                    </a:lnTo>
                    <a:lnTo>
                      <a:pt x="420" y="91"/>
                    </a:lnTo>
                    <a:lnTo>
                      <a:pt x="421" y="91"/>
                    </a:lnTo>
                    <a:lnTo>
                      <a:pt x="420" y="89"/>
                    </a:lnTo>
                    <a:lnTo>
                      <a:pt x="416" y="88"/>
                    </a:lnTo>
                    <a:lnTo>
                      <a:pt x="416" y="86"/>
                    </a:lnTo>
                    <a:lnTo>
                      <a:pt x="414" y="86"/>
                    </a:lnTo>
                    <a:lnTo>
                      <a:pt x="414" y="85"/>
                    </a:lnTo>
                    <a:lnTo>
                      <a:pt x="416" y="85"/>
                    </a:lnTo>
                    <a:lnTo>
                      <a:pt x="416" y="81"/>
                    </a:lnTo>
                    <a:lnTo>
                      <a:pt x="414" y="79"/>
                    </a:lnTo>
                    <a:lnTo>
                      <a:pt x="413" y="78"/>
                    </a:lnTo>
                    <a:lnTo>
                      <a:pt x="414" y="77"/>
                    </a:lnTo>
                    <a:lnTo>
                      <a:pt x="413" y="76"/>
                    </a:lnTo>
                    <a:lnTo>
                      <a:pt x="411" y="75"/>
                    </a:lnTo>
                    <a:lnTo>
                      <a:pt x="409" y="78"/>
                    </a:lnTo>
                    <a:lnTo>
                      <a:pt x="406" y="72"/>
                    </a:lnTo>
                    <a:lnTo>
                      <a:pt x="405" y="72"/>
                    </a:lnTo>
                    <a:lnTo>
                      <a:pt x="404" y="73"/>
                    </a:lnTo>
                    <a:lnTo>
                      <a:pt x="403" y="72"/>
                    </a:lnTo>
                    <a:lnTo>
                      <a:pt x="397" y="76"/>
                    </a:lnTo>
                    <a:lnTo>
                      <a:pt x="395" y="76"/>
                    </a:lnTo>
                    <a:lnTo>
                      <a:pt x="393" y="76"/>
                    </a:lnTo>
                    <a:lnTo>
                      <a:pt x="394" y="77"/>
                    </a:lnTo>
                    <a:lnTo>
                      <a:pt x="395" y="77"/>
                    </a:lnTo>
                    <a:lnTo>
                      <a:pt x="395" y="78"/>
                    </a:lnTo>
                    <a:lnTo>
                      <a:pt x="394" y="78"/>
                    </a:lnTo>
                    <a:lnTo>
                      <a:pt x="393" y="79"/>
                    </a:lnTo>
                    <a:lnTo>
                      <a:pt x="392" y="80"/>
                    </a:lnTo>
                    <a:lnTo>
                      <a:pt x="390" y="79"/>
                    </a:lnTo>
                    <a:lnTo>
                      <a:pt x="389" y="80"/>
                    </a:lnTo>
                    <a:lnTo>
                      <a:pt x="391" y="80"/>
                    </a:lnTo>
                    <a:lnTo>
                      <a:pt x="392" y="82"/>
                    </a:lnTo>
                    <a:lnTo>
                      <a:pt x="391" y="85"/>
                    </a:lnTo>
                    <a:lnTo>
                      <a:pt x="392" y="85"/>
                    </a:lnTo>
                    <a:lnTo>
                      <a:pt x="393" y="85"/>
                    </a:lnTo>
                    <a:lnTo>
                      <a:pt x="394" y="85"/>
                    </a:lnTo>
                    <a:lnTo>
                      <a:pt x="395" y="86"/>
                    </a:lnTo>
                    <a:lnTo>
                      <a:pt x="395" y="89"/>
                    </a:lnTo>
                    <a:lnTo>
                      <a:pt x="396" y="89"/>
                    </a:lnTo>
                    <a:lnTo>
                      <a:pt x="396" y="91"/>
                    </a:lnTo>
                    <a:lnTo>
                      <a:pt x="397" y="90"/>
                    </a:lnTo>
                    <a:lnTo>
                      <a:pt x="398" y="90"/>
                    </a:lnTo>
                    <a:lnTo>
                      <a:pt x="398" y="91"/>
                    </a:lnTo>
                    <a:lnTo>
                      <a:pt x="400" y="92"/>
                    </a:lnTo>
                    <a:lnTo>
                      <a:pt x="399" y="93"/>
                    </a:lnTo>
                    <a:lnTo>
                      <a:pt x="399" y="94"/>
                    </a:lnTo>
                    <a:lnTo>
                      <a:pt x="397" y="95"/>
                    </a:lnTo>
                    <a:lnTo>
                      <a:pt x="397" y="96"/>
                    </a:lnTo>
                    <a:lnTo>
                      <a:pt x="397" y="97"/>
                    </a:lnTo>
                    <a:lnTo>
                      <a:pt x="400" y="99"/>
                    </a:lnTo>
                    <a:lnTo>
                      <a:pt x="401" y="99"/>
                    </a:lnTo>
                    <a:lnTo>
                      <a:pt x="400" y="102"/>
                    </a:lnTo>
                    <a:lnTo>
                      <a:pt x="403" y="105"/>
                    </a:lnTo>
                    <a:lnTo>
                      <a:pt x="400" y="107"/>
                    </a:lnTo>
                    <a:lnTo>
                      <a:pt x="399" y="108"/>
                    </a:lnTo>
                    <a:lnTo>
                      <a:pt x="398" y="105"/>
                    </a:lnTo>
                    <a:lnTo>
                      <a:pt x="396" y="110"/>
                    </a:lnTo>
                    <a:lnTo>
                      <a:pt x="395" y="110"/>
                    </a:lnTo>
                    <a:lnTo>
                      <a:pt x="395" y="112"/>
                    </a:lnTo>
                    <a:lnTo>
                      <a:pt x="395" y="113"/>
                    </a:lnTo>
                    <a:lnTo>
                      <a:pt x="395" y="115"/>
                    </a:lnTo>
                    <a:lnTo>
                      <a:pt x="396" y="118"/>
                    </a:lnTo>
                    <a:lnTo>
                      <a:pt x="395" y="117"/>
                    </a:lnTo>
                    <a:lnTo>
                      <a:pt x="393" y="118"/>
                    </a:lnTo>
                    <a:lnTo>
                      <a:pt x="391" y="118"/>
                    </a:lnTo>
                    <a:lnTo>
                      <a:pt x="389" y="119"/>
                    </a:lnTo>
                    <a:lnTo>
                      <a:pt x="386" y="123"/>
                    </a:lnTo>
                    <a:lnTo>
                      <a:pt x="386" y="125"/>
                    </a:lnTo>
                    <a:lnTo>
                      <a:pt x="384" y="125"/>
                    </a:lnTo>
                    <a:lnTo>
                      <a:pt x="383" y="123"/>
                    </a:lnTo>
                    <a:lnTo>
                      <a:pt x="380" y="121"/>
                    </a:lnTo>
                    <a:lnTo>
                      <a:pt x="377" y="117"/>
                    </a:lnTo>
                    <a:lnTo>
                      <a:pt x="371" y="112"/>
                    </a:lnTo>
                    <a:lnTo>
                      <a:pt x="372" y="109"/>
                    </a:lnTo>
                    <a:lnTo>
                      <a:pt x="370" y="109"/>
                    </a:lnTo>
                    <a:lnTo>
                      <a:pt x="370" y="110"/>
                    </a:lnTo>
                    <a:lnTo>
                      <a:pt x="368" y="109"/>
                    </a:lnTo>
                    <a:lnTo>
                      <a:pt x="368" y="107"/>
                    </a:lnTo>
                    <a:lnTo>
                      <a:pt x="370" y="105"/>
                    </a:lnTo>
                    <a:lnTo>
                      <a:pt x="370" y="103"/>
                    </a:lnTo>
                    <a:lnTo>
                      <a:pt x="371" y="101"/>
                    </a:lnTo>
                    <a:lnTo>
                      <a:pt x="373" y="102"/>
                    </a:lnTo>
                    <a:lnTo>
                      <a:pt x="374" y="101"/>
                    </a:lnTo>
                    <a:lnTo>
                      <a:pt x="376" y="101"/>
                    </a:lnTo>
                    <a:lnTo>
                      <a:pt x="377" y="101"/>
                    </a:lnTo>
                    <a:lnTo>
                      <a:pt x="378" y="101"/>
                    </a:lnTo>
                    <a:lnTo>
                      <a:pt x="378" y="99"/>
                    </a:lnTo>
                    <a:lnTo>
                      <a:pt x="378" y="98"/>
                    </a:lnTo>
                    <a:lnTo>
                      <a:pt x="376" y="97"/>
                    </a:lnTo>
                    <a:lnTo>
                      <a:pt x="377" y="96"/>
                    </a:lnTo>
                    <a:lnTo>
                      <a:pt x="376" y="95"/>
                    </a:lnTo>
                    <a:lnTo>
                      <a:pt x="375" y="95"/>
                    </a:lnTo>
                    <a:lnTo>
                      <a:pt x="376" y="91"/>
                    </a:lnTo>
                    <a:lnTo>
                      <a:pt x="373" y="91"/>
                    </a:lnTo>
                    <a:lnTo>
                      <a:pt x="373" y="89"/>
                    </a:lnTo>
                    <a:lnTo>
                      <a:pt x="371" y="89"/>
                    </a:lnTo>
                    <a:lnTo>
                      <a:pt x="372" y="82"/>
                    </a:lnTo>
                    <a:lnTo>
                      <a:pt x="371" y="81"/>
                    </a:lnTo>
                    <a:lnTo>
                      <a:pt x="372" y="81"/>
                    </a:lnTo>
                    <a:lnTo>
                      <a:pt x="372" y="80"/>
                    </a:lnTo>
                    <a:lnTo>
                      <a:pt x="371" y="78"/>
                    </a:lnTo>
                    <a:lnTo>
                      <a:pt x="371" y="76"/>
                    </a:lnTo>
                    <a:lnTo>
                      <a:pt x="370" y="74"/>
                    </a:lnTo>
                    <a:lnTo>
                      <a:pt x="370" y="72"/>
                    </a:lnTo>
                    <a:lnTo>
                      <a:pt x="369" y="70"/>
                    </a:lnTo>
                    <a:lnTo>
                      <a:pt x="371" y="65"/>
                    </a:lnTo>
                    <a:lnTo>
                      <a:pt x="370" y="64"/>
                    </a:lnTo>
                    <a:lnTo>
                      <a:pt x="373" y="62"/>
                    </a:lnTo>
                    <a:lnTo>
                      <a:pt x="374" y="62"/>
                    </a:lnTo>
                    <a:lnTo>
                      <a:pt x="375" y="62"/>
                    </a:lnTo>
                    <a:lnTo>
                      <a:pt x="376" y="61"/>
                    </a:lnTo>
                    <a:lnTo>
                      <a:pt x="376" y="58"/>
                    </a:lnTo>
                    <a:lnTo>
                      <a:pt x="375" y="57"/>
                    </a:lnTo>
                    <a:lnTo>
                      <a:pt x="377" y="54"/>
                    </a:lnTo>
                    <a:lnTo>
                      <a:pt x="379" y="54"/>
                    </a:lnTo>
                    <a:lnTo>
                      <a:pt x="381" y="55"/>
                    </a:lnTo>
                    <a:lnTo>
                      <a:pt x="383" y="55"/>
                    </a:lnTo>
                    <a:lnTo>
                      <a:pt x="384" y="54"/>
                    </a:lnTo>
                    <a:lnTo>
                      <a:pt x="383" y="54"/>
                    </a:lnTo>
                    <a:lnTo>
                      <a:pt x="382" y="54"/>
                    </a:lnTo>
                    <a:lnTo>
                      <a:pt x="380" y="53"/>
                    </a:lnTo>
                    <a:lnTo>
                      <a:pt x="379" y="52"/>
                    </a:lnTo>
                    <a:lnTo>
                      <a:pt x="378" y="54"/>
                    </a:lnTo>
                    <a:lnTo>
                      <a:pt x="378" y="52"/>
                    </a:lnTo>
                    <a:lnTo>
                      <a:pt x="379" y="51"/>
                    </a:lnTo>
                    <a:lnTo>
                      <a:pt x="377" y="53"/>
                    </a:lnTo>
                    <a:lnTo>
                      <a:pt x="374" y="52"/>
                    </a:lnTo>
                    <a:lnTo>
                      <a:pt x="371" y="49"/>
                    </a:lnTo>
                    <a:lnTo>
                      <a:pt x="370" y="48"/>
                    </a:lnTo>
                    <a:lnTo>
                      <a:pt x="368" y="47"/>
                    </a:lnTo>
                    <a:lnTo>
                      <a:pt x="367" y="48"/>
                    </a:lnTo>
                    <a:lnTo>
                      <a:pt x="365" y="47"/>
                    </a:lnTo>
                    <a:lnTo>
                      <a:pt x="364" y="46"/>
                    </a:lnTo>
                    <a:lnTo>
                      <a:pt x="361" y="47"/>
                    </a:lnTo>
                    <a:lnTo>
                      <a:pt x="359" y="46"/>
                    </a:lnTo>
                    <a:lnTo>
                      <a:pt x="360" y="44"/>
                    </a:lnTo>
                    <a:lnTo>
                      <a:pt x="361" y="43"/>
                    </a:lnTo>
                    <a:lnTo>
                      <a:pt x="362" y="40"/>
                    </a:lnTo>
                    <a:lnTo>
                      <a:pt x="364" y="38"/>
                    </a:lnTo>
                    <a:lnTo>
                      <a:pt x="364" y="37"/>
                    </a:lnTo>
                    <a:lnTo>
                      <a:pt x="362" y="37"/>
                    </a:lnTo>
                    <a:lnTo>
                      <a:pt x="362" y="36"/>
                    </a:lnTo>
                    <a:lnTo>
                      <a:pt x="362" y="34"/>
                    </a:lnTo>
                    <a:lnTo>
                      <a:pt x="362" y="31"/>
                    </a:lnTo>
                    <a:lnTo>
                      <a:pt x="363" y="30"/>
                    </a:lnTo>
                    <a:lnTo>
                      <a:pt x="362" y="28"/>
                    </a:lnTo>
                    <a:lnTo>
                      <a:pt x="364" y="28"/>
                    </a:lnTo>
                    <a:lnTo>
                      <a:pt x="362" y="25"/>
                    </a:lnTo>
                    <a:lnTo>
                      <a:pt x="364" y="28"/>
                    </a:lnTo>
                    <a:lnTo>
                      <a:pt x="367" y="29"/>
                    </a:lnTo>
                    <a:lnTo>
                      <a:pt x="367" y="31"/>
                    </a:lnTo>
                    <a:lnTo>
                      <a:pt x="368" y="28"/>
                    </a:lnTo>
                    <a:lnTo>
                      <a:pt x="368" y="31"/>
                    </a:lnTo>
                    <a:lnTo>
                      <a:pt x="370" y="30"/>
                    </a:lnTo>
                    <a:lnTo>
                      <a:pt x="371" y="31"/>
                    </a:lnTo>
                    <a:lnTo>
                      <a:pt x="372" y="33"/>
                    </a:lnTo>
                    <a:lnTo>
                      <a:pt x="372" y="34"/>
                    </a:lnTo>
                    <a:lnTo>
                      <a:pt x="375" y="33"/>
                    </a:lnTo>
                    <a:lnTo>
                      <a:pt x="377" y="32"/>
                    </a:lnTo>
                    <a:lnTo>
                      <a:pt x="378" y="31"/>
                    </a:lnTo>
                    <a:lnTo>
                      <a:pt x="376" y="31"/>
                    </a:lnTo>
                    <a:lnTo>
                      <a:pt x="376" y="28"/>
                    </a:lnTo>
                    <a:lnTo>
                      <a:pt x="374" y="27"/>
                    </a:lnTo>
                    <a:lnTo>
                      <a:pt x="375" y="25"/>
                    </a:lnTo>
                    <a:lnTo>
                      <a:pt x="377" y="25"/>
                    </a:lnTo>
                    <a:lnTo>
                      <a:pt x="377" y="23"/>
                    </a:lnTo>
                    <a:lnTo>
                      <a:pt x="380" y="23"/>
                    </a:lnTo>
                    <a:lnTo>
                      <a:pt x="379" y="22"/>
                    </a:lnTo>
                    <a:lnTo>
                      <a:pt x="373" y="23"/>
                    </a:lnTo>
                    <a:lnTo>
                      <a:pt x="371" y="21"/>
                    </a:lnTo>
                    <a:lnTo>
                      <a:pt x="367" y="17"/>
                    </a:lnTo>
                    <a:lnTo>
                      <a:pt x="365" y="17"/>
                    </a:lnTo>
                    <a:lnTo>
                      <a:pt x="359" y="12"/>
                    </a:lnTo>
                    <a:lnTo>
                      <a:pt x="358" y="12"/>
                    </a:lnTo>
                    <a:lnTo>
                      <a:pt x="357" y="11"/>
                    </a:lnTo>
                    <a:lnTo>
                      <a:pt x="356" y="9"/>
                    </a:lnTo>
                    <a:lnTo>
                      <a:pt x="351" y="7"/>
                    </a:lnTo>
                    <a:lnTo>
                      <a:pt x="352" y="6"/>
                    </a:lnTo>
                    <a:lnTo>
                      <a:pt x="349" y="7"/>
                    </a:lnTo>
                    <a:lnTo>
                      <a:pt x="348" y="6"/>
                    </a:lnTo>
                    <a:lnTo>
                      <a:pt x="348" y="7"/>
                    </a:lnTo>
                    <a:lnTo>
                      <a:pt x="346" y="6"/>
                    </a:lnTo>
                    <a:lnTo>
                      <a:pt x="343" y="4"/>
                    </a:lnTo>
                    <a:lnTo>
                      <a:pt x="344" y="5"/>
                    </a:lnTo>
                    <a:lnTo>
                      <a:pt x="344" y="6"/>
                    </a:lnTo>
                    <a:lnTo>
                      <a:pt x="341" y="5"/>
                    </a:lnTo>
                    <a:lnTo>
                      <a:pt x="339" y="8"/>
                    </a:lnTo>
                    <a:lnTo>
                      <a:pt x="335" y="2"/>
                    </a:lnTo>
                    <a:lnTo>
                      <a:pt x="331" y="0"/>
                    </a:lnTo>
                    <a:lnTo>
                      <a:pt x="330" y="0"/>
                    </a:lnTo>
                    <a:lnTo>
                      <a:pt x="329" y="2"/>
                    </a:lnTo>
                    <a:lnTo>
                      <a:pt x="330" y="4"/>
                    </a:lnTo>
                    <a:lnTo>
                      <a:pt x="329" y="4"/>
                    </a:lnTo>
                    <a:lnTo>
                      <a:pt x="326" y="4"/>
                    </a:lnTo>
                    <a:lnTo>
                      <a:pt x="324" y="4"/>
                    </a:lnTo>
                    <a:lnTo>
                      <a:pt x="323" y="2"/>
                    </a:lnTo>
                    <a:lnTo>
                      <a:pt x="321" y="4"/>
                    </a:lnTo>
                    <a:lnTo>
                      <a:pt x="318" y="2"/>
                    </a:lnTo>
                    <a:lnTo>
                      <a:pt x="318" y="0"/>
                    </a:lnTo>
                    <a:lnTo>
                      <a:pt x="316" y="1"/>
                    </a:lnTo>
                    <a:lnTo>
                      <a:pt x="315" y="0"/>
                    </a:lnTo>
                    <a:lnTo>
                      <a:pt x="313" y="0"/>
                    </a:lnTo>
                    <a:lnTo>
                      <a:pt x="311" y="0"/>
                    </a:lnTo>
                    <a:lnTo>
                      <a:pt x="311" y="2"/>
                    </a:lnTo>
                    <a:lnTo>
                      <a:pt x="310" y="4"/>
                    </a:lnTo>
                    <a:lnTo>
                      <a:pt x="310" y="7"/>
                    </a:lnTo>
                    <a:lnTo>
                      <a:pt x="310" y="9"/>
                    </a:lnTo>
                    <a:lnTo>
                      <a:pt x="309" y="10"/>
                    </a:lnTo>
                    <a:lnTo>
                      <a:pt x="307" y="13"/>
                    </a:lnTo>
                    <a:lnTo>
                      <a:pt x="308" y="15"/>
                    </a:lnTo>
                    <a:lnTo>
                      <a:pt x="308" y="17"/>
                    </a:lnTo>
                    <a:lnTo>
                      <a:pt x="307" y="17"/>
                    </a:lnTo>
                    <a:lnTo>
                      <a:pt x="307" y="16"/>
                    </a:lnTo>
                    <a:lnTo>
                      <a:pt x="305" y="17"/>
                    </a:lnTo>
                    <a:lnTo>
                      <a:pt x="300" y="15"/>
                    </a:lnTo>
                    <a:lnTo>
                      <a:pt x="300" y="17"/>
                    </a:lnTo>
                    <a:lnTo>
                      <a:pt x="299" y="16"/>
                    </a:lnTo>
                    <a:lnTo>
                      <a:pt x="299" y="15"/>
                    </a:lnTo>
                    <a:lnTo>
                      <a:pt x="297" y="16"/>
                    </a:lnTo>
                    <a:lnTo>
                      <a:pt x="297" y="15"/>
                    </a:lnTo>
                    <a:lnTo>
                      <a:pt x="294" y="11"/>
                    </a:lnTo>
                    <a:lnTo>
                      <a:pt x="293" y="11"/>
                    </a:lnTo>
                    <a:lnTo>
                      <a:pt x="289" y="15"/>
                    </a:lnTo>
                    <a:lnTo>
                      <a:pt x="286" y="14"/>
                    </a:lnTo>
                    <a:lnTo>
                      <a:pt x="285" y="15"/>
                    </a:lnTo>
                    <a:lnTo>
                      <a:pt x="284" y="15"/>
                    </a:lnTo>
                    <a:lnTo>
                      <a:pt x="283" y="15"/>
                    </a:lnTo>
                    <a:lnTo>
                      <a:pt x="281" y="15"/>
                    </a:lnTo>
                    <a:lnTo>
                      <a:pt x="283" y="11"/>
                    </a:lnTo>
                    <a:lnTo>
                      <a:pt x="281" y="10"/>
                    </a:lnTo>
                    <a:lnTo>
                      <a:pt x="280" y="10"/>
                    </a:lnTo>
                    <a:lnTo>
                      <a:pt x="279" y="10"/>
                    </a:lnTo>
                    <a:lnTo>
                      <a:pt x="278" y="11"/>
                    </a:lnTo>
                    <a:lnTo>
                      <a:pt x="276" y="12"/>
                    </a:lnTo>
                    <a:lnTo>
                      <a:pt x="274" y="11"/>
                    </a:lnTo>
                    <a:lnTo>
                      <a:pt x="273" y="13"/>
                    </a:lnTo>
                    <a:lnTo>
                      <a:pt x="274" y="16"/>
                    </a:lnTo>
                    <a:lnTo>
                      <a:pt x="270" y="19"/>
                    </a:lnTo>
                    <a:lnTo>
                      <a:pt x="270" y="21"/>
                    </a:lnTo>
                    <a:lnTo>
                      <a:pt x="268" y="20"/>
                    </a:lnTo>
                    <a:lnTo>
                      <a:pt x="267" y="17"/>
                    </a:lnTo>
                    <a:lnTo>
                      <a:pt x="266" y="17"/>
                    </a:lnTo>
                    <a:lnTo>
                      <a:pt x="266" y="18"/>
                    </a:lnTo>
                    <a:lnTo>
                      <a:pt x="266" y="22"/>
                    </a:lnTo>
                    <a:lnTo>
                      <a:pt x="266" y="23"/>
                    </a:lnTo>
                    <a:lnTo>
                      <a:pt x="265" y="23"/>
                    </a:lnTo>
                    <a:lnTo>
                      <a:pt x="265" y="25"/>
                    </a:lnTo>
                    <a:lnTo>
                      <a:pt x="263" y="28"/>
                    </a:lnTo>
                    <a:lnTo>
                      <a:pt x="262" y="29"/>
                    </a:lnTo>
                    <a:lnTo>
                      <a:pt x="260" y="29"/>
                    </a:lnTo>
                    <a:lnTo>
                      <a:pt x="259" y="31"/>
                    </a:lnTo>
                    <a:lnTo>
                      <a:pt x="261" y="31"/>
                    </a:lnTo>
                    <a:lnTo>
                      <a:pt x="261" y="33"/>
                    </a:lnTo>
                    <a:lnTo>
                      <a:pt x="262" y="34"/>
                    </a:lnTo>
                    <a:lnTo>
                      <a:pt x="263" y="36"/>
                    </a:lnTo>
                    <a:lnTo>
                      <a:pt x="265" y="36"/>
                    </a:lnTo>
                    <a:lnTo>
                      <a:pt x="269" y="38"/>
                    </a:lnTo>
                    <a:lnTo>
                      <a:pt x="270" y="41"/>
                    </a:lnTo>
                    <a:lnTo>
                      <a:pt x="270" y="44"/>
                    </a:lnTo>
                    <a:lnTo>
                      <a:pt x="267" y="51"/>
                    </a:lnTo>
                    <a:lnTo>
                      <a:pt x="266" y="51"/>
                    </a:lnTo>
                    <a:lnTo>
                      <a:pt x="264" y="54"/>
                    </a:lnTo>
                    <a:lnTo>
                      <a:pt x="261" y="55"/>
                    </a:lnTo>
                    <a:lnTo>
                      <a:pt x="261" y="57"/>
                    </a:lnTo>
                    <a:lnTo>
                      <a:pt x="260" y="58"/>
                    </a:lnTo>
                    <a:lnTo>
                      <a:pt x="257" y="59"/>
                    </a:lnTo>
                    <a:lnTo>
                      <a:pt x="256" y="55"/>
                    </a:lnTo>
                    <a:lnTo>
                      <a:pt x="255" y="54"/>
                    </a:lnTo>
                    <a:lnTo>
                      <a:pt x="253" y="54"/>
                    </a:lnTo>
                    <a:lnTo>
                      <a:pt x="252" y="54"/>
                    </a:lnTo>
                    <a:lnTo>
                      <a:pt x="254" y="56"/>
                    </a:lnTo>
                    <a:lnTo>
                      <a:pt x="254" y="57"/>
                    </a:lnTo>
                    <a:lnTo>
                      <a:pt x="253" y="58"/>
                    </a:lnTo>
                    <a:lnTo>
                      <a:pt x="254" y="60"/>
                    </a:lnTo>
                    <a:lnTo>
                      <a:pt x="256" y="62"/>
                    </a:lnTo>
                    <a:lnTo>
                      <a:pt x="257" y="62"/>
                    </a:lnTo>
                    <a:lnTo>
                      <a:pt x="258" y="61"/>
                    </a:lnTo>
                    <a:lnTo>
                      <a:pt x="259" y="62"/>
                    </a:lnTo>
                    <a:lnTo>
                      <a:pt x="258" y="63"/>
                    </a:lnTo>
                    <a:lnTo>
                      <a:pt x="258" y="64"/>
                    </a:lnTo>
                    <a:lnTo>
                      <a:pt x="258" y="66"/>
                    </a:lnTo>
                    <a:lnTo>
                      <a:pt x="261" y="66"/>
                    </a:lnTo>
                    <a:lnTo>
                      <a:pt x="260" y="69"/>
                    </a:lnTo>
                    <a:lnTo>
                      <a:pt x="256" y="71"/>
                    </a:lnTo>
                    <a:lnTo>
                      <a:pt x="258" y="74"/>
                    </a:lnTo>
                    <a:lnTo>
                      <a:pt x="256" y="77"/>
                    </a:lnTo>
                    <a:lnTo>
                      <a:pt x="254" y="78"/>
                    </a:lnTo>
                    <a:lnTo>
                      <a:pt x="253" y="80"/>
                    </a:lnTo>
                    <a:lnTo>
                      <a:pt x="252" y="83"/>
                    </a:lnTo>
                    <a:lnTo>
                      <a:pt x="254" y="88"/>
                    </a:lnTo>
                    <a:lnTo>
                      <a:pt x="253" y="89"/>
                    </a:lnTo>
                    <a:lnTo>
                      <a:pt x="253" y="90"/>
                    </a:lnTo>
                    <a:lnTo>
                      <a:pt x="254" y="91"/>
                    </a:lnTo>
                    <a:lnTo>
                      <a:pt x="252" y="92"/>
                    </a:lnTo>
                    <a:lnTo>
                      <a:pt x="253" y="95"/>
                    </a:lnTo>
                    <a:lnTo>
                      <a:pt x="254" y="95"/>
                    </a:lnTo>
                    <a:lnTo>
                      <a:pt x="256" y="94"/>
                    </a:lnTo>
                    <a:lnTo>
                      <a:pt x="256" y="96"/>
                    </a:lnTo>
                    <a:lnTo>
                      <a:pt x="255" y="98"/>
                    </a:lnTo>
                    <a:lnTo>
                      <a:pt x="254" y="99"/>
                    </a:lnTo>
                    <a:lnTo>
                      <a:pt x="254" y="102"/>
                    </a:lnTo>
                    <a:lnTo>
                      <a:pt x="253" y="105"/>
                    </a:lnTo>
                    <a:lnTo>
                      <a:pt x="253" y="107"/>
                    </a:lnTo>
                    <a:lnTo>
                      <a:pt x="252" y="106"/>
                    </a:lnTo>
                    <a:lnTo>
                      <a:pt x="252" y="107"/>
                    </a:lnTo>
                    <a:lnTo>
                      <a:pt x="253" y="112"/>
                    </a:lnTo>
                    <a:lnTo>
                      <a:pt x="254" y="112"/>
                    </a:lnTo>
                    <a:lnTo>
                      <a:pt x="251" y="114"/>
                    </a:lnTo>
                    <a:lnTo>
                      <a:pt x="253" y="118"/>
                    </a:lnTo>
                    <a:lnTo>
                      <a:pt x="254" y="120"/>
                    </a:lnTo>
                    <a:lnTo>
                      <a:pt x="253" y="119"/>
                    </a:lnTo>
                    <a:lnTo>
                      <a:pt x="254" y="120"/>
                    </a:lnTo>
                    <a:lnTo>
                      <a:pt x="254" y="122"/>
                    </a:lnTo>
                    <a:lnTo>
                      <a:pt x="251" y="122"/>
                    </a:lnTo>
                    <a:lnTo>
                      <a:pt x="251" y="123"/>
                    </a:lnTo>
                    <a:lnTo>
                      <a:pt x="248" y="125"/>
                    </a:lnTo>
                    <a:lnTo>
                      <a:pt x="246" y="125"/>
                    </a:lnTo>
                    <a:lnTo>
                      <a:pt x="246" y="126"/>
                    </a:lnTo>
                    <a:lnTo>
                      <a:pt x="244" y="128"/>
                    </a:lnTo>
                    <a:lnTo>
                      <a:pt x="244" y="129"/>
                    </a:lnTo>
                    <a:lnTo>
                      <a:pt x="243" y="128"/>
                    </a:lnTo>
                    <a:lnTo>
                      <a:pt x="243" y="125"/>
                    </a:lnTo>
                    <a:lnTo>
                      <a:pt x="240" y="125"/>
                    </a:lnTo>
                    <a:lnTo>
                      <a:pt x="240" y="126"/>
                    </a:lnTo>
                    <a:lnTo>
                      <a:pt x="240" y="128"/>
                    </a:lnTo>
                    <a:lnTo>
                      <a:pt x="238" y="129"/>
                    </a:lnTo>
                    <a:lnTo>
                      <a:pt x="234" y="133"/>
                    </a:lnTo>
                    <a:lnTo>
                      <a:pt x="232" y="132"/>
                    </a:lnTo>
                    <a:lnTo>
                      <a:pt x="230" y="133"/>
                    </a:lnTo>
                    <a:lnTo>
                      <a:pt x="227" y="133"/>
                    </a:lnTo>
                    <a:lnTo>
                      <a:pt x="227" y="135"/>
                    </a:lnTo>
                    <a:lnTo>
                      <a:pt x="227" y="136"/>
                    </a:lnTo>
                    <a:lnTo>
                      <a:pt x="226" y="136"/>
                    </a:lnTo>
                    <a:lnTo>
                      <a:pt x="227" y="139"/>
                    </a:lnTo>
                    <a:lnTo>
                      <a:pt x="226" y="140"/>
                    </a:lnTo>
                    <a:lnTo>
                      <a:pt x="226" y="142"/>
                    </a:lnTo>
                    <a:lnTo>
                      <a:pt x="225" y="143"/>
                    </a:lnTo>
                    <a:lnTo>
                      <a:pt x="223" y="143"/>
                    </a:lnTo>
                    <a:lnTo>
                      <a:pt x="222" y="144"/>
                    </a:lnTo>
                    <a:lnTo>
                      <a:pt x="223" y="146"/>
                    </a:lnTo>
                    <a:lnTo>
                      <a:pt x="221" y="146"/>
                    </a:lnTo>
                    <a:lnTo>
                      <a:pt x="221" y="147"/>
                    </a:lnTo>
                    <a:lnTo>
                      <a:pt x="218" y="148"/>
                    </a:lnTo>
                    <a:lnTo>
                      <a:pt x="218" y="147"/>
                    </a:lnTo>
                    <a:lnTo>
                      <a:pt x="217" y="148"/>
                    </a:lnTo>
                    <a:lnTo>
                      <a:pt x="215" y="151"/>
                    </a:lnTo>
                    <a:lnTo>
                      <a:pt x="215" y="154"/>
                    </a:lnTo>
                    <a:lnTo>
                      <a:pt x="216" y="156"/>
                    </a:lnTo>
                    <a:lnTo>
                      <a:pt x="220" y="156"/>
                    </a:lnTo>
                    <a:lnTo>
                      <a:pt x="220" y="157"/>
                    </a:lnTo>
                    <a:lnTo>
                      <a:pt x="221" y="157"/>
                    </a:lnTo>
                    <a:lnTo>
                      <a:pt x="221" y="159"/>
                    </a:lnTo>
                    <a:lnTo>
                      <a:pt x="223" y="161"/>
                    </a:lnTo>
                    <a:lnTo>
                      <a:pt x="223" y="165"/>
                    </a:lnTo>
                    <a:lnTo>
                      <a:pt x="222" y="165"/>
                    </a:lnTo>
                    <a:lnTo>
                      <a:pt x="221" y="165"/>
                    </a:lnTo>
                    <a:lnTo>
                      <a:pt x="219" y="166"/>
                    </a:lnTo>
                    <a:lnTo>
                      <a:pt x="218" y="166"/>
                    </a:lnTo>
                    <a:lnTo>
                      <a:pt x="217" y="165"/>
                    </a:lnTo>
                    <a:lnTo>
                      <a:pt x="214" y="165"/>
                    </a:lnTo>
                    <a:lnTo>
                      <a:pt x="212" y="166"/>
                    </a:lnTo>
                    <a:lnTo>
                      <a:pt x="212" y="169"/>
                    </a:lnTo>
                    <a:lnTo>
                      <a:pt x="210" y="170"/>
                    </a:lnTo>
                    <a:lnTo>
                      <a:pt x="208" y="176"/>
                    </a:lnTo>
                    <a:lnTo>
                      <a:pt x="207" y="178"/>
                    </a:lnTo>
                    <a:lnTo>
                      <a:pt x="207" y="180"/>
                    </a:lnTo>
                    <a:lnTo>
                      <a:pt x="206" y="183"/>
                    </a:lnTo>
                    <a:lnTo>
                      <a:pt x="207" y="185"/>
                    </a:lnTo>
                    <a:lnTo>
                      <a:pt x="209" y="185"/>
                    </a:lnTo>
                    <a:lnTo>
                      <a:pt x="211" y="186"/>
                    </a:lnTo>
                    <a:lnTo>
                      <a:pt x="213" y="186"/>
                    </a:lnTo>
                    <a:lnTo>
                      <a:pt x="214" y="188"/>
                    </a:lnTo>
                    <a:lnTo>
                      <a:pt x="216" y="191"/>
                    </a:lnTo>
                    <a:lnTo>
                      <a:pt x="215" y="193"/>
                    </a:lnTo>
                    <a:lnTo>
                      <a:pt x="215" y="192"/>
                    </a:lnTo>
                    <a:lnTo>
                      <a:pt x="214" y="193"/>
                    </a:lnTo>
                    <a:lnTo>
                      <a:pt x="214" y="198"/>
                    </a:lnTo>
                    <a:lnTo>
                      <a:pt x="216" y="199"/>
                    </a:lnTo>
                    <a:lnTo>
                      <a:pt x="214" y="202"/>
                    </a:lnTo>
                    <a:lnTo>
                      <a:pt x="212" y="200"/>
                    </a:lnTo>
                    <a:lnTo>
                      <a:pt x="212" y="201"/>
                    </a:lnTo>
                    <a:lnTo>
                      <a:pt x="210" y="203"/>
                    </a:lnTo>
                    <a:lnTo>
                      <a:pt x="207" y="201"/>
                    </a:lnTo>
                    <a:lnTo>
                      <a:pt x="204" y="201"/>
                    </a:lnTo>
                    <a:lnTo>
                      <a:pt x="202" y="205"/>
                    </a:lnTo>
                    <a:lnTo>
                      <a:pt x="201" y="206"/>
                    </a:lnTo>
                    <a:lnTo>
                      <a:pt x="203" y="207"/>
                    </a:lnTo>
                    <a:lnTo>
                      <a:pt x="202" y="209"/>
                    </a:lnTo>
                    <a:lnTo>
                      <a:pt x="204" y="208"/>
                    </a:lnTo>
                    <a:lnTo>
                      <a:pt x="204" y="210"/>
                    </a:lnTo>
                    <a:lnTo>
                      <a:pt x="204" y="212"/>
                    </a:lnTo>
                    <a:lnTo>
                      <a:pt x="206" y="215"/>
                    </a:lnTo>
                    <a:lnTo>
                      <a:pt x="205" y="216"/>
                    </a:lnTo>
                    <a:lnTo>
                      <a:pt x="204" y="216"/>
                    </a:lnTo>
                    <a:lnTo>
                      <a:pt x="204" y="217"/>
                    </a:lnTo>
                    <a:lnTo>
                      <a:pt x="202" y="220"/>
                    </a:lnTo>
                    <a:lnTo>
                      <a:pt x="203" y="220"/>
                    </a:lnTo>
                    <a:lnTo>
                      <a:pt x="204" y="218"/>
                    </a:lnTo>
                    <a:lnTo>
                      <a:pt x="206" y="219"/>
                    </a:lnTo>
                    <a:lnTo>
                      <a:pt x="209" y="217"/>
                    </a:lnTo>
                    <a:lnTo>
                      <a:pt x="209" y="215"/>
                    </a:lnTo>
                    <a:lnTo>
                      <a:pt x="210" y="216"/>
                    </a:lnTo>
                    <a:lnTo>
                      <a:pt x="210" y="217"/>
                    </a:lnTo>
                    <a:lnTo>
                      <a:pt x="208" y="221"/>
                    </a:lnTo>
                    <a:lnTo>
                      <a:pt x="211" y="221"/>
                    </a:lnTo>
                    <a:lnTo>
                      <a:pt x="211" y="223"/>
                    </a:lnTo>
                    <a:lnTo>
                      <a:pt x="212" y="223"/>
                    </a:lnTo>
                    <a:lnTo>
                      <a:pt x="210" y="230"/>
                    </a:lnTo>
                    <a:lnTo>
                      <a:pt x="210" y="231"/>
                    </a:lnTo>
                    <a:lnTo>
                      <a:pt x="210" y="230"/>
                    </a:lnTo>
                    <a:lnTo>
                      <a:pt x="209" y="232"/>
                    </a:lnTo>
                    <a:lnTo>
                      <a:pt x="207" y="233"/>
                    </a:lnTo>
                    <a:lnTo>
                      <a:pt x="207" y="234"/>
                    </a:lnTo>
                    <a:lnTo>
                      <a:pt x="205" y="235"/>
                    </a:lnTo>
                    <a:lnTo>
                      <a:pt x="204" y="237"/>
                    </a:lnTo>
                    <a:lnTo>
                      <a:pt x="203" y="237"/>
                    </a:lnTo>
                    <a:lnTo>
                      <a:pt x="201" y="237"/>
                    </a:lnTo>
                    <a:lnTo>
                      <a:pt x="199" y="237"/>
                    </a:lnTo>
                    <a:lnTo>
                      <a:pt x="197" y="237"/>
                    </a:lnTo>
                    <a:lnTo>
                      <a:pt x="196" y="238"/>
                    </a:lnTo>
                    <a:lnTo>
                      <a:pt x="198" y="242"/>
                    </a:lnTo>
                    <a:lnTo>
                      <a:pt x="198" y="244"/>
                    </a:lnTo>
                    <a:lnTo>
                      <a:pt x="196" y="244"/>
                    </a:lnTo>
                    <a:lnTo>
                      <a:pt x="194" y="246"/>
                    </a:lnTo>
                    <a:lnTo>
                      <a:pt x="194" y="247"/>
                    </a:lnTo>
                    <a:lnTo>
                      <a:pt x="193" y="249"/>
                    </a:lnTo>
                    <a:lnTo>
                      <a:pt x="190" y="247"/>
                    </a:lnTo>
                    <a:lnTo>
                      <a:pt x="187" y="248"/>
                    </a:lnTo>
                    <a:lnTo>
                      <a:pt x="185" y="247"/>
                    </a:lnTo>
                    <a:lnTo>
                      <a:pt x="184" y="248"/>
                    </a:lnTo>
                    <a:lnTo>
                      <a:pt x="181" y="246"/>
                    </a:lnTo>
                    <a:lnTo>
                      <a:pt x="180" y="246"/>
                    </a:lnTo>
                    <a:lnTo>
                      <a:pt x="178" y="248"/>
                    </a:lnTo>
                    <a:lnTo>
                      <a:pt x="177" y="248"/>
                    </a:lnTo>
                    <a:lnTo>
                      <a:pt x="172" y="250"/>
                    </a:lnTo>
                    <a:lnTo>
                      <a:pt x="172" y="249"/>
                    </a:lnTo>
                    <a:lnTo>
                      <a:pt x="172" y="250"/>
                    </a:lnTo>
                    <a:lnTo>
                      <a:pt x="170" y="252"/>
                    </a:lnTo>
                    <a:lnTo>
                      <a:pt x="173" y="254"/>
                    </a:lnTo>
                    <a:lnTo>
                      <a:pt x="173" y="256"/>
                    </a:lnTo>
                    <a:lnTo>
                      <a:pt x="174" y="257"/>
                    </a:lnTo>
                    <a:lnTo>
                      <a:pt x="174" y="258"/>
                    </a:lnTo>
                    <a:lnTo>
                      <a:pt x="170" y="260"/>
                    </a:lnTo>
                    <a:lnTo>
                      <a:pt x="170" y="257"/>
                    </a:lnTo>
                    <a:lnTo>
                      <a:pt x="168" y="257"/>
                    </a:lnTo>
                    <a:lnTo>
                      <a:pt x="168" y="260"/>
                    </a:lnTo>
                    <a:lnTo>
                      <a:pt x="166" y="260"/>
                    </a:lnTo>
                    <a:lnTo>
                      <a:pt x="168" y="261"/>
                    </a:lnTo>
                    <a:lnTo>
                      <a:pt x="166" y="261"/>
                    </a:lnTo>
                    <a:lnTo>
                      <a:pt x="166" y="262"/>
                    </a:lnTo>
                    <a:lnTo>
                      <a:pt x="162" y="260"/>
                    </a:lnTo>
                    <a:lnTo>
                      <a:pt x="161" y="260"/>
                    </a:lnTo>
                    <a:lnTo>
                      <a:pt x="161" y="261"/>
                    </a:lnTo>
                    <a:lnTo>
                      <a:pt x="159" y="260"/>
                    </a:lnTo>
                    <a:lnTo>
                      <a:pt x="157" y="260"/>
                    </a:lnTo>
                    <a:lnTo>
                      <a:pt x="157" y="261"/>
                    </a:lnTo>
                    <a:lnTo>
                      <a:pt x="157" y="263"/>
                    </a:lnTo>
                    <a:lnTo>
                      <a:pt x="157" y="264"/>
                    </a:lnTo>
                    <a:lnTo>
                      <a:pt x="156" y="263"/>
                    </a:lnTo>
                    <a:lnTo>
                      <a:pt x="155" y="260"/>
                    </a:lnTo>
                    <a:lnTo>
                      <a:pt x="153" y="260"/>
                    </a:lnTo>
                    <a:lnTo>
                      <a:pt x="152" y="261"/>
                    </a:lnTo>
                    <a:lnTo>
                      <a:pt x="151" y="260"/>
                    </a:lnTo>
                    <a:lnTo>
                      <a:pt x="149" y="257"/>
                    </a:lnTo>
                    <a:lnTo>
                      <a:pt x="148" y="257"/>
                    </a:lnTo>
                    <a:lnTo>
                      <a:pt x="146" y="257"/>
                    </a:lnTo>
                    <a:lnTo>
                      <a:pt x="144" y="257"/>
                    </a:lnTo>
                    <a:lnTo>
                      <a:pt x="144" y="255"/>
                    </a:lnTo>
                    <a:lnTo>
                      <a:pt x="144" y="254"/>
                    </a:lnTo>
                    <a:lnTo>
                      <a:pt x="142" y="254"/>
                    </a:lnTo>
                    <a:lnTo>
                      <a:pt x="142" y="255"/>
                    </a:lnTo>
                    <a:lnTo>
                      <a:pt x="143" y="257"/>
                    </a:lnTo>
                    <a:lnTo>
                      <a:pt x="142" y="260"/>
                    </a:lnTo>
                    <a:lnTo>
                      <a:pt x="141" y="260"/>
                    </a:lnTo>
                    <a:lnTo>
                      <a:pt x="139" y="262"/>
                    </a:lnTo>
                    <a:lnTo>
                      <a:pt x="137" y="262"/>
                    </a:lnTo>
                    <a:lnTo>
                      <a:pt x="136" y="263"/>
                    </a:lnTo>
                    <a:lnTo>
                      <a:pt x="133" y="262"/>
                    </a:lnTo>
                    <a:lnTo>
                      <a:pt x="131" y="261"/>
                    </a:lnTo>
                    <a:lnTo>
                      <a:pt x="128" y="259"/>
                    </a:lnTo>
                    <a:lnTo>
                      <a:pt x="128" y="257"/>
                    </a:lnTo>
                    <a:lnTo>
                      <a:pt x="129" y="257"/>
                    </a:lnTo>
                    <a:lnTo>
                      <a:pt x="128" y="256"/>
                    </a:lnTo>
                    <a:lnTo>
                      <a:pt x="128" y="255"/>
                    </a:lnTo>
                    <a:lnTo>
                      <a:pt x="128" y="257"/>
                    </a:lnTo>
                    <a:lnTo>
                      <a:pt x="127" y="257"/>
                    </a:lnTo>
                    <a:lnTo>
                      <a:pt x="126" y="256"/>
                    </a:lnTo>
                    <a:lnTo>
                      <a:pt x="125" y="256"/>
                    </a:lnTo>
                    <a:lnTo>
                      <a:pt x="125" y="255"/>
                    </a:lnTo>
                    <a:lnTo>
                      <a:pt x="126" y="255"/>
                    </a:lnTo>
                    <a:lnTo>
                      <a:pt x="125" y="254"/>
                    </a:lnTo>
                    <a:lnTo>
                      <a:pt x="126" y="254"/>
                    </a:lnTo>
                    <a:lnTo>
                      <a:pt x="126" y="252"/>
                    </a:lnTo>
                    <a:lnTo>
                      <a:pt x="125" y="251"/>
                    </a:lnTo>
                    <a:lnTo>
                      <a:pt x="125" y="250"/>
                    </a:lnTo>
                    <a:lnTo>
                      <a:pt x="125" y="248"/>
                    </a:lnTo>
                    <a:lnTo>
                      <a:pt x="124" y="247"/>
                    </a:lnTo>
                    <a:lnTo>
                      <a:pt x="121" y="249"/>
                    </a:lnTo>
                    <a:lnTo>
                      <a:pt x="119" y="251"/>
                    </a:lnTo>
                    <a:lnTo>
                      <a:pt x="115" y="248"/>
                    </a:lnTo>
                    <a:lnTo>
                      <a:pt x="114" y="254"/>
                    </a:lnTo>
                    <a:lnTo>
                      <a:pt x="116" y="254"/>
                    </a:lnTo>
                    <a:lnTo>
                      <a:pt x="112" y="256"/>
                    </a:lnTo>
                    <a:lnTo>
                      <a:pt x="110" y="259"/>
                    </a:lnTo>
                    <a:lnTo>
                      <a:pt x="109" y="257"/>
                    </a:lnTo>
                    <a:lnTo>
                      <a:pt x="108" y="258"/>
                    </a:lnTo>
                    <a:lnTo>
                      <a:pt x="106" y="257"/>
                    </a:lnTo>
                    <a:lnTo>
                      <a:pt x="108" y="257"/>
                    </a:lnTo>
                    <a:lnTo>
                      <a:pt x="108" y="256"/>
                    </a:lnTo>
                    <a:lnTo>
                      <a:pt x="104" y="253"/>
                    </a:lnTo>
                    <a:lnTo>
                      <a:pt x="103" y="253"/>
                    </a:lnTo>
                    <a:lnTo>
                      <a:pt x="101" y="252"/>
                    </a:lnTo>
                    <a:lnTo>
                      <a:pt x="102" y="255"/>
                    </a:lnTo>
                    <a:lnTo>
                      <a:pt x="101" y="256"/>
                    </a:lnTo>
                    <a:lnTo>
                      <a:pt x="101" y="258"/>
                    </a:lnTo>
                    <a:lnTo>
                      <a:pt x="99" y="261"/>
                    </a:lnTo>
                    <a:lnTo>
                      <a:pt x="100" y="261"/>
                    </a:lnTo>
                    <a:lnTo>
                      <a:pt x="100" y="262"/>
                    </a:lnTo>
                    <a:lnTo>
                      <a:pt x="99" y="262"/>
                    </a:lnTo>
                    <a:lnTo>
                      <a:pt x="100" y="264"/>
                    </a:lnTo>
                    <a:lnTo>
                      <a:pt x="99" y="264"/>
                    </a:lnTo>
                    <a:lnTo>
                      <a:pt x="98" y="264"/>
                    </a:lnTo>
                    <a:lnTo>
                      <a:pt x="96" y="265"/>
                    </a:lnTo>
                    <a:lnTo>
                      <a:pt x="98" y="267"/>
                    </a:lnTo>
                    <a:lnTo>
                      <a:pt x="95" y="267"/>
                    </a:lnTo>
                    <a:lnTo>
                      <a:pt x="95" y="264"/>
                    </a:lnTo>
                    <a:lnTo>
                      <a:pt x="94" y="264"/>
                    </a:lnTo>
                    <a:lnTo>
                      <a:pt x="91" y="263"/>
                    </a:lnTo>
                    <a:lnTo>
                      <a:pt x="90" y="264"/>
                    </a:lnTo>
                    <a:lnTo>
                      <a:pt x="87" y="263"/>
                    </a:lnTo>
                    <a:lnTo>
                      <a:pt x="85" y="265"/>
                    </a:lnTo>
                    <a:lnTo>
                      <a:pt x="82" y="263"/>
                    </a:lnTo>
                    <a:lnTo>
                      <a:pt x="81" y="265"/>
                    </a:lnTo>
                    <a:lnTo>
                      <a:pt x="78" y="267"/>
                    </a:lnTo>
                    <a:lnTo>
                      <a:pt x="77" y="267"/>
                    </a:lnTo>
                    <a:lnTo>
                      <a:pt x="76" y="269"/>
                    </a:lnTo>
                    <a:lnTo>
                      <a:pt x="78" y="270"/>
                    </a:lnTo>
                    <a:lnTo>
                      <a:pt x="78" y="271"/>
                    </a:lnTo>
                    <a:lnTo>
                      <a:pt x="77" y="271"/>
                    </a:lnTo>
                    <a:lnTo>
                      <a:pt x="77" y="272"/>
                    </a:lnTo>
                    <a:lnTo>
                      <a:pt x="75" y="272"/>
                    </a:lnTo>
                    <a:lnTo>
                      <a:pt x="74" y="275"/>
                    </a:lnTo>
                    <a:lnTo>
                      <a:pt x="71" y="277"/>
                    </a:lnTo>
                    <a:lnTo>
                      <a:pt x="66" y="276"/>
                    </a:lnTo>
                    <a:lnTo>
                      <a:pt x="64" y="275"/>
                    </a:lnTo>
                    <a:lnTo>
                      <a:pt x="64" y="276"/>
                    </a:lnTo>
                    <a:lnTo>
                      <a:pt x="64" y="280"/>
                    </a:lnTo>
                    <a:lnTo>
                      <a:pt x="63" y="282"/>
                    </a:lnTo>
                    <a:lnTo>
                      <a:pt x="60" y="280"/>
                    </a:lnTo>
                    <a:lnTo>
                      <a:pt x="59" y="283"/>
                    </a:lnTo>
                    <a:lnTo>
                      <a:pt x="58" y="282"/>
                    </a:lnTo>
                    <a:lnTo>
                      <a:pt x="58" y="283"/>
                    </a:lnTo>
                    <a:lnTo>
                      <a:pt x="58" y="284"/>
                    </a:lnTo>
                    <a:lnTo>
                      <a:pt x="59" y="284"/>
                    </a:lnTo>
                    <a:lnTo>
                      <a:pt x="58" y="286"/>
                    </a:lnTo>
                    <a:lnTo>
                      <a:pt x="58" y="288"/>
                    </a:lnTo>
                    <a:lnTo>
                      <a:pt x="56" y="288"/>
                    </a:lnTo>
                    <a:lnTo>
                      <a:pt x="55" y="289"/>
                    </a:lnTo>
                    <a:lnTo>
                      <a:pt x="54" y="287"/>
                    </a:lnTo>
                    <a:lnTo>
                      <a:pt x="52" y="285"/>
                    </a:lnTo>
                    <a:lnTo>
                      <a:pt x="52" y="283"/>
                    </a:lnTo>
                    <a:lnTo>
                      <a:pt x="49" y="280"/>
                    </a:lnTo>
                    <a:lnTo>
                      <a:pt x="49" y="279"/>
                    </a:lnTo>
                    <a:lnTo>
                      <a:pt x="46" y="279"/>
                    </a:lnTo>
                    <a:lnTo>
                      <a:pt x="43" y="281"/>
                    </a:lnTo>
                    <a:lnTo>
                      <a:pt x="42" y="282"/>
                    </a:lnTo>
                    <a:lnTo>
                      <a:pt x="42" y="280"/>
                    </a:lnTo>
                    <a:lnTo>
                      <a:pt x="40" y="280"/>
                    </a:lnTo>
                    <a:lnTo>
                      <a:pt x="39" y="279"/>
                    </a:lnTo>
                    <a:lnTo>
                      <a:pt x="38" y="279"/>
                    </a:lnTo>
                    <a:lnTo>
                      <a:pt x="36" y="280"/>
                    </a:lnTo>
                    <a:lnTo>
                      <a:pt x="38" y="284"/>
                    </a:lnTo>
                    <a:lnTo>
                      <a:pt x="37" y="284"/>
                    </a:lnTo>
                    <a:lnTo>
                      <a:pt x="35" y="285"/>
                    </a:lnTo>
                    <a:lnTo>
                      <a:pt x="35" y="287"/>
                    </a:lnTo>
                    <a:lnTo>
                      <a:pt x="33" y="287"/>
                    </a:lnTo>
                    <a:lnTo>
                      <a:pt x="33" y="288"/>
                    </a:lnTo>
                    <a:lnTo>
                      <a:pt x="33" y="289"/>
                    </a:lnTo>
                    <a:lnTo>
                      <a:pt x="31" y="291"/>
                    </a:lnTo>
                    <a:lnTo>
                      <a:pt x="30" y="291"/>
                    </a:lnTo>
                    <a:lnTo>
                      <a:pt x="30" y="288"/>
                    </a:lnTo>
                    <a:lnTo>
                      <a:pt x="28" y="289"/>
                    </a:lnTo>
                    <a:lnTo>
                      <a:pt x="27" y="289"/>
                    </a:lnTo>
                    <a:lnTo>
                      <a:pt x="25" y="287"/>
                    </a:lnTo>
                    <a:lnTo>
                      <a:pt x="25" y="286"/>
                    </a:lnTo>
                    <a:lnTo>
                      <a:pt x="26" y="284"/>
                    </a:lnTo>
                    <a:lnTo>
                      <a:pt x="25" y="283"/>
                    </a:lnTo>
                    <a:lnTo>
                      <a:pt x="24" y="281"/>
                    </a:lnTo>
                    <a:lnTo>
                      <a:pt x="23" y="280"/>
                    </a:lnTo>
                    <a:lnTo>
                      <a:pt x="20" y="280"/>
                    </a:lnTo>
                    <a:lnTo>
                      <a:pt x="21" y="284"/>
                    </a:lnTo>
                    <a:lnTo>
                      <a:pt x="17" y="280"/>
                    </a:lnTo>
                    <a:lnTo>
                      <a:pt x="14" y="280"/>
                    </a:lnTo>
                    <a:lnTo>
                      <a:pt x="15" y="281"/>
                    </a:lnTo>
                    <a:lnTo>
                      <a:pt x="17" y="281"/>
                    </a:lnTo>
                    <a:lnTo>
                      <a:pt x="17" y="282"/>
                    </a:lnTo>
                    <a:lnTo>
                      <a:pt x="18" y="282"/>
                    </a:lnTo>
                    <a:lnTo>
                      <a:pt x="15" y="284"/>
                    </a:lnTo>
                    <a:lnTo>
                      <a:pt x="14" y="285"/>
                    </a:lnTo>
                    <a:lnTo>
                      <a:pt x="14" y="286"/>
                    </a:lnTo>
                    <a:lnTo>
                      <a:pt x="13" y="287"/>
                    </a:lnTo>
                    <a:lnTo>
                      <a:pt x="12" y="287"/>
                    </a:lnTo>
                    <a:lnTo>
                      <a:pt x="10" y="286"/>
                    </a:lnTo>
                    <a:lnTo>
                      <a:pt x="10" y="284"/>
                    </a:lnTo>
                    <a:lnTo>
                      <a:pt x="8" y="284"/>
                    </a:lnTo>
                    <a:lnTo>
                      <a:pt x="7" y="286"/>
                    </a:lnTo>
                    <a:lnTo>
                      <a:pt x="8" y="287"/>
                    </a:lnTo>
                    <a:lnTo>
                      <a:pt x="9" y="287"/>
                    </a:lnTo>
                    <a:lnTo>
                      <a:pt x="10" y="288"/>
                    </a:lnTo>
                    <a:lnTo>
                      <a:pt x="11" y="289"/>
                    </a:lnTo>
                    <a:lnTo>
                      <a:pt x="10" y="291"/>
                    </a:lnTo>
                    <a:lnTo>
                      <a:pt x="9" y="290"/>
                    </a:lnTo>
                    <a:lnTo>
                      <a:pt x="7" y="291"/>
                    </a:lnTo>
                    <a:lnTo>
                      <a:pt x="7" y="292"/>
                    </a:lnTo>
                    <a:lnTo>
                      <a:pt x="10" y="293"/>
                    </a:lnTo>
                    <a:lnTo>
                      <a:pt x="8" y="294"/>
                    </a:lnTo>
                    <a:lnTo>
                      <a:pt x="7" y="295"/>
                    </a:lnTo>
                    <a:lnTo>
                      <a:pt x="5" y="294"/>
                    </a:lnTo>
                    <a:lnTo>
                      <a:pt x="4" y="294"/>
                    </a:lnTo>
                    <a:lnTo>
                      <a:pt x="4" y="297"/>
                    </a:lnTo>
                    <a:lnTo>
                      <a:pt x="0" y="301"/>
                    </a:lnTo>
                    <a:lnTo>
                      <a:pt x="5" y="303"/>
                    </a:lnTo>
                    <a:lnTo>
                      <a:pt x="11" y="308"/>
                    </a:lnTo>
                    <a:lnTo>
                      <a:pt x="17" y="308"/>
                    </a:lnTo>
                    <a:lnTo>
                      <a:pt x="19" y="309"/>
                    </a:lnTo>
                    <a:lnTo>
                      <a:pt x="20" y="308"/>
                    </a:lnTo>
                    <a:lnTo>
                      <a:pt x="22" y="310"/>
                    </a:lnTo>
                    <a:lnTo>
                      <a:pt x="25" y="315"/>
                    </a:lnTo>
                    <a:lnTo>
                      <a:pt x="27" y="315"/>
                    </a:lnTo>
                    <a:lnTo>
                      <a:pt x="26" y="314"/>
                    </a:lnTo>
                    <a:lnTo>
                      <a:pt x="31" y="318"/>
                    </a:lnTo>
                    <a:lnTo>
                      <a:pt x="34" y="322"/>
                    </a:lnTo>
                    <a:lnTo>
                      <a:pt x="35" y="325"/>
                    </a:lnTo>
                    <a:lnTo>
                      <a:pt x="38" y="328"/>
                    </a:lnTo>
                    <a:lnTo>
                      <a:pt x="39" y="331"/>
                    </a:lnTo>
                    <a:lnTo>
                      <a:pt x="40" y="331"/>
                    </a:lnTo>
                    <a:lnTo>
                      <a:pt x="42" y="330"/>
                    </a:lnTo>
                    <a:lnTo>
                      <a:pt x="45" y="330"/>
                    </a:lnTo>
                    <a:lnTo>
                      <a:pt x="46" y="330"/>
                    </a:lnTo>
                    <a:lnTo>
                      <a:pt x="46" y="331"/>
                    </a:lnTo>
                    <a:lnTo>
                      <a:pt x="53" y="333"/>
                    </a:lnTo>
                    <a:lnTo>
                      <a:pt x="57" y="335"/>
                    </a:lnTo>
                    <a:lnTo>
                      <a:pt x="62" y="331"/>
                    </a:lnTo>
                    <a:lnTo>
                      <a:pt x="64" y="328"/>
                    </a:lnTo>
                    <a:lnTo>
                      <a:pt x="65" y="325"/>
                    </a:lnTo>
                    <a:lnTo>
                      <a:pt x="69" y="326"/>
                    </a:lnTo>
                    <a:lnTo>
                      <a:pt x="72" y="328"/>
                    </a:lnTo>
                    <a:lnTo>
                      <a:pt x="77" y="328"/>
                    </a:lnTo>
                    <a:lnTo>
                      <a:pt x="78" y="329"/>
                    </a:lnTo>
                    <a:lnTo>
                      <a:pt x="79" y="329"/>
                    </a:lnTo>
                    <a:lnTo>
                      <a:pt x="82" y="326"/>
                    </a:lnTo>
                    <a:lnTo>
                      <a:pt x="82" y="328"/>
                    </a:lnTo>
                    <a:lnTo>
                      <a:pt x="84" y="331"/>
                    </a:lnTo>
                    <a:lnTo>
                      <a:pt x="84" y="332"/>
                    </a:lnTo>
                    <a:lnTo>
                      <a:pt x="82" y="333"/>
                    </a:lnTo>
                    <a:lnTo>
                      <a:pt x="82" y="335"/>
                    </a:lnTo>
                    <a:lnTo>
                      <a:pt x="85" y="337"/>
                    </a:lnTo>
                    <a:lnTo>
                      <a:pt x="87" y="339"/>
                    </a:lnTo>
                    <a:lnTo>
                      <a:pt x="90" y="338"/>
                    </a:lnTo>
                    <a:lnTo>
                      <a:pt x="90" y="337"/>
                    </a:lnTo>
                    <a:lnTo>
                      <a:pt x="90" y="336"/>
                    </a:lnTo>
                    <a:lnTo>
                      <a:pt x="91" y="336"/>
                    </a:lnTo>
                    <a:lnTo>
                      <a:pt x="92" y="337"/>
                    </a:lnTo>
                    <a:lnTo>
                      <a:pt x="92" y="338"/>
                    </a:lnTo>
                    <a:lnTo>
                      <a:pt x="91" y="342"/>
                    </a:lnTo>
                    <a:lnTo>
                      <a:pt x="92" y="345"/>
                    </a:lnTo>
                    <a:lnTo>
                      <a:pt x="93" y="345"/>
                    </a:lnTo>
                    <a:lnTo>
                      <a:pt x="96" y="342"/>
                    </a:lnTo>
                    <a:lnTo>
                      <a:pt x="97" y="345"/>
                    </a:lnTo>
                    <a:lnTo>
                      <a:pt x="97" y="347"/>
                    </a:lnTo>
                    <a:lnTo>
                      <a:pt x="96" y="347"/>
                    </a:lnTo>
                    <a:lnTo>
                      <a:pt x="95" y="346"/>
                    </a:lnTo>
                    <a:lnTo>
                      <a:pt x="95" y="344"/>
                    </a:lnTo>
                    <a:lnTo>
                      <a:pt x="95" y="345"/>
                    </a:lnTo>
                    <a:lnTo>
                      <a:pt x="94" y="346"/>
                    </a:lnTo>
                    <a:lnTo>
                      <a:pt x="95" y="348"/>
                    </a:lnTo>
                    <a:lnTo>
                      <a:pt x="98" y="348"/>
                    </a:lnTo>
                    <a:lnTo>
                      <a:pt x="101" y="347"/>
                    </a:lnTo>
                    <a:lnTo>
                      <a:pt x="102" y="349"/>
                    </a:lnTo>
                    <a:lnTo>
                      <a:pt x="104" y="349"/>
                    </a:lnTo>
                    <a:lnTo>
                      <a:pt x="102" y="354"/>
                    </a:lnTo>
                    <a:lnTo>
                      <a:pt x="103" y="355"/>
                    </a:lnTo>
                    <a:lnTo>
                      <a:pt x="104" y="358"/>
                    </a:lnTo>
                    <a:lnTo>
                      <a:pt x="106" y="358"/>
                    </a:lnTo>
                    <a:lnTo>
                      <a:pt x="107" y="357"/>
                    </a:lnTo>
                    <a:lnTo>
                      <a:pt x="107" y="354"/>
                    </a:lnTo>
                    <a:lnTo>
                      <a:pt x="108" y="354"/>
                    </a:lnTo>
                    <a:lnTo>
                      <a:pt x="109" y="354"/>
                    </a:lnTo>
                    <a:lnTo>
                      <a:pt x="108" y="356"/>
                    </a:lnTo>
                    <a:lnTo>
                      <a:pt x="112" y="356"/>
                    </a:lnTo>
                    <a:lnTo>
                      <a:pt x="112" y="358"/>
                    </a:lnTo>
                    <a:lnTo>
                      <a:pt x="109" y="360"/>
                    </a:lnTo>
                    <a:lnTo>
                      <a:pt x="108" y="365"/>
                    </a:lnTo>
                    <a:lnTo>
                      <a:pt x="112" y="368"/>
                    </a:lnTo>
                    <a:lnTo>
                      <a:pt x="118" y="375"/>
                    </a:lnTo>
                    <a:lnTo>
                      <a:pt x="120" y="378"/>
                    </a:lnTo>
                    <a:lnTo>
                      <a:pt x="134" y="388"/>
                    </a:lnTo>
                    <a:lnTo>
                      <a:pt x="138" y="392"/>
                    </a:lnTo>
                    <a:lnTo>
                      <a:pt x="142" y="395"/>
                    </a:lnTo>
                    <a:lnTo>
                      <a:pt x="146" y="397"/>
                    </a:lnTo>
                    <a:lnTo>
                      <a:pt x="149" y="398"/>
                    </a:lnTo>
                    <a:lnTo>
                      <a:pt x="150" y="398"/>
                    </a:lnTo>
                    <a:lnTo>
                      <a:pt x="150" y="397"/>
                    </a:lnTo>
                    <a:lnTo>
                      <a:pt x="152" y="397"/>
                    </a:lnTo>
                    <a:lnTo>
                      <a:pt x="152" y="398"/>
                    </a:lnTo>
                    <a:lnTo>
                      <a:pt x="157" y="400"/>
                    </a:lnTo>
                    <a:lnTo>
                      <a:pt x="158" y="399"/>
                    </a:lnTo>
                    <a:lnTo>
                      <a:pt x="160" y="399"/>
                    </a:lnTo>
                    <a:lnTo>
                      <a:pt x="160" y="400"/>
                    </a:lnTo>
                    <a:lnTo>
                      <a:pt x="161" y="399"/>
                    </a:lnTo>
                    <a:lnTo>
                      <a:pt x="161" y="398"/>
                    </a:lnTo>
                    <a:lnTo>
                      <a:pt x="173" y="402"/>
                    </a:lnTo>
                    <a:lnTo>
                      <a:pt x="187" y="405"/>
                    </a:lnTo>
                    <a:lnTo>
                      <a:pt x="191" y="407"/>
                    </a:lnTo>
                    <a:lnTo>
                      <a:pt x="193" y="406"/>
                    </a:lnTo>
                    <a:lnTo>
                      <a:pt x="196" y="406"/>
                    </a:lnTo>
                    <a:lnTo>
                      <a:pt x="201" y="408"/>
                    </a:lnTo>
                    <a:lnTo>
                      <a:pt x="202" y="407"/>
                    </a:lnTo>
                    <a:lnTo>
                      <a:pt x="205" y="410"/>
                    </a:lnTo>
                    <a:lnTo>
                      <a:pt x="210" y="412"/>
                    </a:lnTo>
                    <a:lnTo>
                      <a:pt x="212" y="410"/>
                    </a:lnTo>
                    <a:lnTo>
                      <a:pt x="213" y="408"/>
                    </a:lnTo>
                    <a:lnTo>
                      <a:pt x="214" y="407"/>
                    </a:lnTo>
                    <a:lnTo>
                      <a:pt x="214" y="406"/>
                    </a:lnTo>
                    <a:lnTo>
                      <a:pt x="214" y="409"/>
                    </a:lnTo>
                    <a:lnTo>
                      <a:pt x="216" y="408"/>
                    </a:lnTo>
                    <a:lnTo>
                      <a:pt x="217" y="409"/>
                    </a:lnTo>
                    <a:lnTo>
                      <a:pt x="218" y="410"/>
                    </a:lnTo>
                    <a:lnTo>
                      <a:pt x="216" y="412"/>
                    </a:lnTo>
                    <a:lnTo>
                      <a:pt x="218" y="414"/>
                    </a:lnTo>
                    <a:lnTo>
                      <a:pt x="218" y="413"/>
                    </a:lnTo>
                    <a:lnTo>
                      <a:pt x="218" y="414"/>
                    </a:lnTo>
                    <a:lnTo>
                      <a:pt x="222" y="414"/>
                    </a:lnTo>
                    <a:lnTo>
                      <a:pt x="222" y="415"/>
                    </a:lnTo>
                    <a:lnTo>
                      <a:pt x="224" y="415"/>
                    </a:lnTo>
                    <a:lnTo>
                      <a:pt x="225" y="414"/>
                    </a:lnTo>
                    <a:lnTo>
                      <a:pt x="226" y="412"/>
                    </a:lnTo>
                    <a:lnTo>
                      <a:pt x="227" y="410"/>
                    </a:lnTo>
                    <a:lnTo>
                      <a:pt x="228" y="412"/>
                    </a:lnTo>
                    <a:lnTo>
                      <a:pt x="230" y="410"/>
                    </a:lnTo>
                    <a:lnTo>
                      <a:pt x="231" y="410"/>
                    </a:lnTo>
                    <a:lnTo>
                      <a:pt x="232" y="410"/>
                    </a:lnTo>
                    <a:lnTo>
                      <a:pt x="234" y="406"/>
                    </a:lnTo>
                    <a:lnTo>
                      <a:pt x="235" y="404"/>
                    </a:lnTo>
                    <a:lnTo>
                      <a:pt x="237" y="401"/>
                    </a:lnTo>
                    <a:lnTo>
                      <a:pt x="240" y="401"/>
                    </a:lnTo>
                    <a:lnTo>
                      <a:pt x="242" y="399"/>
                    </a:lnTo>
                    <a:lnTo>
                      <a:pt x="242" y="396"/>
                    </a:lnTo>
                    <a:lnTo>
                      <a:pt x="242" y="395"/>
                    </a:lnTo>
                    <a:lnTo>
                      <a:pt x="243" y="392"/>
                    </a:lnTo>
                    <a:lnTo>
                      <a:pt x="245" y="388"/>
                    </a:lnTo>
                    <a:lnTo>
                      <a:pt x="245" y="386"/>
                    </a:lnTo>
                    <a:lnTo>
                      <a:pt x="246" y="384"/>
                    </a:lnTo>
                    <a:lnTo>
                      <a:pt x="250" y="382"/>
                    </a:lnTo>
                    <a:lnTo>
                      <a:pt x="250" y="381"/>
                    </a:lnTo>
                    <a:lnTo>
                      <a:pt x="249" y="380"/>
                    </a:lnTo>
                    <a:lnTo>
                      <a:pt x="250" y="380"/>
                    </a:lnTo>
                    <a:lnTo>
                      <a:pt x="254" y="384"/>
                    </a:lnTo>
                    <a:lnTo>
                      <a:pt x="260" y="386"/>
                    </a:lnTo>
                    <a:lnTo>
                      <a:pt x="264" y="385"/>
                    </a:lnTo>
                    <a:lnTo>
                      <a:pt x="265" y="387"/>
                    </a:lnTo>
                    <a:lnTo>
                      <a:pt x="267" y="386"/>
                    </a:lnTo>
                    <a:lnTo>
                      <a:pt x="269" y="383"/>
                    </a:lnTo>
                    <a:lnTo>
                      <a:pt x="271" y="381"/>
                    </a:lnTo>
                    <a:lnTo>
                      <a:pt x="275" y="386"/>
                    </a:lnTo>
                    <a:lnTo>
                      <a:pt x="275" y="387"/>
                    </a:lnTo>
                    <a:lnTo>
                      <a:pt x="278" y="391"/>
                    </a:lnTo>
                    <a:lnTo>
                      <a:pt x="283" y="392"/>
                    </a:lnTo>
                    <a:lnTo>
                      <a:pt x="286" y="395"/>
                    </a:lnTo>
                    <a:lnTo>
                      <a:pt x="285" y="397"/>
                    </a:lnTo>
                    <a:lnTo>
                      <a:pt x="289" y="399"/>
                    </a:lnTo>
                    <a:lnTo>
                      <a:pt x="291" y="399"/>
                    </a:lnTo>
                    <a:lnTo>
                      <a:pt x="295" y="399"/>
                    </a:lnTo>
                    <a:lnTo>
                      <a:pt x="296" y="397"/>
                    </a:lnTo>
                    <a:lnTo>
                      <a:pt x="299" y="397"/>
                    </a:lnTo>
                    <a:lnTo>
                      <a:pt x="302" y="399"/>
                    </a:lnTo>
                    <a:lnTo>
                      <a:pt x="304" y="400"/>
                    </a:lnTo>
                    <a:lnTo>
                      <a:pt x="305" y="403"/>
                    </a:lnTo>
                    <a:lnTo>
                      <a:pt x="307" y="406"/>
                    </a:lnTo>
                    <a:lnTo>
                      <a:pt x="308" y="412"/>
                    </a:lnTo>
                    <a:lnTo>
                      <a:pt x="308" y="415"/>
                    </a:lnTo>
                    <a:lnTo>
                      <a:pt x="305" y="418"/>
                    </a:lnTo>
                    <a:lnTo>
                      <a:pt x="305" y="420"/>
                    </a:lnTo>
                    <a:lnTo>
                      <a:pt x="307" y="423"/>
                    </a:lnTo>
                    <a:lnTo>
                      <a:pt x="307" y="426"/>
                    </a:lnTo>
                    <a:lnTo>
                      <a:pt x="308" y="426"/>
                    </a:lnTo>
                    <a:lnTo>
                      <a:pt x="313" y="423"/>
                    </a:lnTo>
                    <a:lnTo>
                      <a:pt x="314" y="422"/>
                    </a:lnTo>
                    <a:lnTo>
                      <a:pt x="317" y="422"/>
                    </a:lnTo>
                    <a:lnTo>
                      <a:pt x="319" y="423"/>
                    </a:lnTo>
                    <a:lnTo>
                      <a:pt x="321" y="423"/>
                    </a:lnTo>
                    <a:lnTo>
                      <a:pt x="320" y="424"/>
                    </a:lnTo>
                    <a:lnTo>
                      <a:pt x="320" y="425"/>
                    </a:lnTo>
                    <a:lnTo>
                      <a:pt x="321" y="425"/>
                    </a:lnTo>
                    <a:lnTo>
                      <a:pt x="322" y="426"/>
                    </a:lnTo>
                    <a:lnTo>
                      <a:pt x="322" y="427"/>
                    </a:lnTo>
                    <a:lnTo>
                      <a:pt x="325" y="426"/>
                    </a:lnTo>
                    <a:lnTo>
                      <a:pt x="327" y="429"/>
                    </a:lnTo>
                    <a:lnTo>
                      <a:pt x="327" y="431"/>
                    </a:lnTo>
                    <a:lnTo>
                      <a:pt x="328" y="433"/>
                    </a:lnTo>
                    <a:lnTo>
                      <a:pt x="329" y="433"/>
                    </a:lnTo>
                    <a:lnTo>
                      <a:pt x="332" y="436"/>
                    </a:lnTo>
                    <a:lnTo>
                      <a:pt x="333" y="435"/>
                    </a:lnTo>
                    <a:lnTo>
                      <a:pt x="334" y="436"/>
                    </a:lnTo>
                    <a:lnTo>
                      <a:pt x="336" y="436"/>
                    </a:lnTo>
                    <a:lnTo>
                      <a:pt x="338" y="438"/>
                    </a:lnTo>
                    <a:lnTo>
                      <a:pt x="339" y="440"/>
                    </a:lnTo>
                    <a:lnTo>
                      <a:pt x="341" y="437"/>
                    </a:lnTo>
                    <a:lnTo>
                      <a:pt x="343" y="438"/>
                    </a:lnTo>
                    <a:lnTo>
                      <a:pt x="346" y="439"/>
                    </a:lnTo>
                    <a:lnTo>
                      <a:pt x="349" y="436"/>
                    </a:lnTo>
                    <a:lnTo>
                      <a:pt x="351" y="439"/>
                    </a:lnTo>
                    <a:lnTo>
                      <a:pt x="358" y="439"/>
                    </a:lnTo>
                    <a:lnTo>
                      <a:pt x="361" y="435"/>
                    </a:lnTo>
                    <a:lnTo>
                      <a:pt x="362" y="438"/>
                    </a:lnTo>
                    <a:lnTo>
                      <a:pt x="366" y="439"/>
                    </a:lnTo>
                    <a:lnTo>
                      <a:pt x="367" y="438"/>
                    </a:lnTo>
                    <a:lnTo>
                      <a:pt x="368" y="439"/>
                    </a:lnTo>
                    <a:lnTo>
                      <a:pt x="367" y="439"/>
                    </a:lnTo>
                    <a:lnTo>
                      <a:pt x="368" y="441"/>
                    </a:lnTo>
                    <a:lnTo>
                      <a:pt x="369" y="443"/>
                    </a:lnTo>
                    <a:lnTo>
                      <a:pt x="368" y="444"/>
                    </a:lnTo>
                    <a:lnTo>
                      <a:pt x="370" y="446"/>
                    </a:lnTo>
                    <a:lnTo>
                      <a:pt x="370" y="448"/>
                    </a:lnTo>
                    <a:lnTo>
                      <a:pt x="370" y="450"/>
                    </a:lnTo>
                    <a:lnTo>
                      <a:pt x="370" y="451"/>
                    </a:lnTo>
                    <a:lnTo>
                      <a:pt x="370" y="452"/>
                    </a:lnTo>
                    <a:lnTo>
                      <a:pt x="370" y="454"/>
                    </a:lnTo>
                    <a:lnTo>
                      <a:pt x="369" y="454"/>
                    </a:lnTo>
                    <a:lnTo>
                      <a:pt x="368" y="456"/>
                    </a:lnTo>
                    <a:lnTo>
                      <a:pt x="368" y="458"/>
                    </a:lnTo>
                    <a:lnTo>
                      <a:pt x="370" y="460"/>
                    </a:lnTo>
                    <a:lnTo>
                      <a:pt x="371" y="461"/>
                    </a:lnTo>
                    <a:lnTo>
                      <a:pt x="370" y="462"/>
                    </a:lnTo>
                    <a:lnTo>
                      <a:pt x="371" y="463"/>
                    </a:lnTo>
                    <a:lnTo>
                      <a:pt x="370" y="463"/>
                    </a:lnTo>
                    <a:lnTo>
                      <a:pt x="371" y="465"/>
                    </a:lnTo>
                    <a:lnTo>
                      <a:pt x="370" y="467"/>
                    </a:lnTo>
                    <a:lnTo>
                      <a:pt x="369" y="468"/>
                    </a:lnTo>
                    <a:lnTo>
                      <a:pt x="370" y="471"/>
                    </a:lnTo>
                    <a:lnTo>
                      <a:pt x="369" y="471"/>
                    </a:lnTo>
                    <a:lnTo>
                      <a:pt x="370" y="473"/>
                    </a:lnTo>
                    <a:lnTo>
                      <a:pt x="371" y="473"/>
                    </a:lnTo>
                    <a:lnTo>
                      <a:pt x="371" y="475"/>
                    </a:lnTo>
                    <a:lnTo>
                      <a:pt x="370" y="476"/>
                    </a:lnTo>
                    <a:lnTo>
                      <a:pt x="370" y="478"/>
                    </a:lnTo>
                    <a:lnTo>
                      <a:pt x="368" y="481"/>
                    </a:lnTo>
                    <a:lnTo>
                      <a:pt x="368" y="483"/>
                    </a:lnTo>
                    <a:lnTo>
                      <a:pt x="370" y="484"/>
                    </a:lnTo>
                    <a:lnTo>
                      <a:pt x="373" y="486"/>
                    </a:lnTo>
                    <a:lnTo>
                      <a:pt x="375" y="487"/>
                    </a:lnTo>
                    <a:lnTo>
                      <a:pt x="375" y="485"/>
                    </a:lnTo>
                    <a:lnTo>
                      <a:pt x="376" y="486"/>
                    </a:lnTo>
                    <a:lnTo>
                      <a:pt x="377" y="486"/>
                    </a:lnTo>
                    <a:lnTo>
                      <a:pt x="376" y="485"/>
                    </a:lnTo>
                    <a:lnTo>
                      <a:pt x="376" y="484"/>
                    </a:lnTo>
                    <a:lnTo>
                      <a:pt x="378" y="484"/>
                    </a:lnTo>
                    <a:lnTo>
                      <a:pt x="378" y="481"/>
                    </a:lnTo>
                    <a:lnTo>
                      <a:pt x="379" y="483"/>
                    </a:lnTo>
                    <a:lnTo>
                      <a:pt x="379" y="481"/>
                    </a:lnTo>
                    <a:lnTo>
                      <a:pt x="381" y="483"/>
                    </a:lnTo>
                    <a:lnTo>
                      <a:pt x="382" y="482"/>
                    </a:lnTo>
                    <a:lnTo>
                      <a:pt x="380" y="480"/>
                    </a:lnTo>
                    <a:lnTo>
                      <a:pt x="382" y="480"/>
                    </a:lnTo>
                    <a:lnTo>
                      <a:pt x="380" y="477"/>
                    </a:lnTo>
                    <a:lnTo>
                      <a:pt x="380" y="476"/>
                    </a:lnTo>
                    <a:lnTo>
                      <a:pt x="382" y="478"/>
                    </a:lnTo>
                    <a:lnTo>
                      <a:pt x="382" y="476"/>
                    </a:lnTo>
                    <a:lnTo>
                      <a:pt x="383" y="475"/>
                    </a:lnTo>
                    <a:lnTo>
                      <a:pt x="382" y="473"/>
                    </a:lnTo>
                    <a:lnTo>
                      <a:pt x="384" y="473"/>
                    </a:lnTo>
                    <a:lnTo>
                      <a:pt x="383" y="471"/>
                    </a:lnTo>
                    <a:lnTo>
                      <a:pt x="383" y="464"/>
                    </a:lnTo>
                    <a:lnTo>
                      <a:pt x="385" y="463"/>
                    </a:lnTo>
                    <a:lnTo>
                      <a:pt x="384" y="461"/>
                    </a:lnTo>
                    <a:lnTo>
                      <a:pt x="384" y="460"/>
                    </a:lnTo>
                    <a:lnTo>
                      <a:pt x="385" y="462"/>
                    </a:lnTo>
                    <a:lnTo>
                      <a:pt x="386" y="461"/>
                    </a:lnTo>
                    <a:lnTo>
                      <a:pt x="386" y="459"/>
                    </a:lnTo>
                    <a:lnTo>
                      <a:pt x="387" y="459"/>
                    </a:lnTo>
                    <a:lnTo>
                      <a:pt x="387" y="457"/>
                    </a:lnTo>
                    <a:lnTo>
                      <a:pt x="388" y="456"/>
                    </a:lnTo>
                    <a:lnTo>
                      <a:pt x="388" y="454"/>
                    </a:lnTo>
                    <a:lnTo>
                      <a:pt x="389" y="453"/>
                    </a:lnTo>
                    <a:lnTo>
                      <a:pt x="390" y="454"/>
                    </a:lnTo>
                    <a:lnTo>
                      <a:pt x="391" y="454"/>
                    </a:lnTo>
                    <a:lnTo>
                      <a:pt x="392" y="452"/>
                    </a:lnTo>
                    <a:lnTo>
                      <a:pt x="393" y="454"/>
                    </a:lnTo>
                    <a:lnTo>
                      <a:pt x="394" y="452"/>
                    </a:lnTo>
                    <a:lnTo>
                      <a:pt x="392" y="452"/>
                    </a:lnTo>
                    <a:lnTo>
                      <a:pt x="393" y="451"/>
                    </a:lnTo>
                    <a:lnTo>
                      <a:pt x="392" y="450"/>
                    </a:lnTo>
                    <a:lnTo>
                      <a:pt x="396" y="450"/>
                    </a:lnTo>
                    <a:lnTo>
                      <a:pt x="394" y="448"/>
                    </a:lnTo>
                    <a:lnTo>
                      <a:pt x="395" y="447"/>
                    </a:lnTo>
                    <a:lnTo>
                      <a:pt x="394" y="448"/>
                    </a:lnTo>
                    <a:lnTo>
                      <a:pt x="393" y="447"/>
                    </a:lnTo>
                    <a:lnTo>
                      <a:pt x="394" y="446"/>
                    </a:lnTo>
                    <a:lnTo>
                      <a:pt x="395" y="446"/>
                    </a:lnTo>
                    <a:lnTo>
                      <a:pt x="394" y="446"/>
                    </a:lnTo>
                    <a:lnTo>
                      <a:pt x="395" y="444"/>
                    </a:lnTo>
                    <a:lnTo>
                      <a:pt x="396" y="444"/>
                    </a:lnTo>
                    <a:lnTo>
                      <a:pt x="395" y="443"/>
                    </a:lnTo>
                    <a:lnTo>
                      <a:pt x="395" y="441"/>
                    </a:lnTo>
                    <a:lnTo>
                      <a:pt x="397" y="440"/>
                    </a:lnTo>
                    <a:lnTo>
                      <a:pt x="395" y="440"/>
                    </a:lnTo>
                    <a:lnTo>
                      <a:pt x="395" y="439"/>
                    </a:lnTo>
                    <a:lnTo>
                      <a:pt x="394" y="439"/>
                    </a:lnTo>
                    <a:lnTo>
                      <a:pt x="396" y="437"/>
                    </a:lnTo>
                    <a:lnTo>
                      <a:pt x="397" y="438"/>
                    </a:lnTo>
                    <a:lnTo>
                      <a:pt x="397" y="437"/>
                    </a:lnTo>
                    <a:lnTo>
                      <a:pt x="398" y="437"/>
                    </a:lnTo>
                    <a:lnTo>
                      <a:pt x="399" y="436"/>
                    </a:lnTo>
                    <a:lnTo>
                      <a:pt x="400" y="434"/>
                    </a:lnTo>
                    <a:lnTo>
                      <a:pt x="400" y="435"/>
                    </a:lnTo>
                    <a:lnTo>
                      <a:pt x="400" y="433"/>
                    </a:lnTo>
                    <a:lnTo>
                      <a:pt x="403" y="433"/>
                    </a:lnTo>
                    <a:lnTo>
                      <a:pt x="403" y="430"/>
                    </a:lnTo>
                    <a:lnTo>
                      <a:pt x="404" y="427"/>
                    </a:lnTo>
                    <a:lnTo>
                      <a:pt x="406" y="426"/>
                    </a:lnTo>
                    <a:lnTo>
                      <a:pt x="408" y="424"/>
                    </a:lnTo>
                    <a:lnTo>
                      <a:pt x="409" y="423"/>
                    </a:lnTo>
                    <a:lnTo>
                      <a:pt x="409" y="422"/>
                    </a:lnTo>
                    <a:lnTo>
                      <a:pt x="408" y="423"/>
                    </a:lnTo>
                    <a:lnTo>
                      <a:pt x="409" y="418"/>
                    </a:lnTo>
                    <a:lnTo>
                      <a:pt x="411" y="419"/>
                    </a:lnTo>
                    <a:lnTo>
                      <a:pt x="412" y="418"/>
                    </a:lnTo>
                    <a:lnTo>
                      <a:pt x="413" y="418"/>
                    </a:lnTo>
                    <a:lnTo>
                      <a:pt x="413" y="417"/>
                    </a:lnTo>
                    <a:lnTo>
                      <a:pt x="414" y="418"/>
                    </a:lnTo>
                    <a:lnTo>
                      <a:pt x="416" y="417"/>
                    </a:lnTo>
                    <a:lnTo>
                      <a:pt x="414" y="416"/>
                    </a:lnTo>
                    <a:lnTo>
                      <a:pt x="414" y="415"/>
                    </a:lnTo>
                    <a:lnTo>
                      <a:pt x="414" y="416"/>
                    </a:lnTo>
                    <a:lnTo>
                      <a:pt x="416" y="416"/>
                    </a:lnTo>
                    <a:lnTo>
                      <a:pt x="416" y="414"/>
                    </a:lnTo>
                    <a:lnTo>
                      <a:pt x="417" y="414"/>
                    </a:lnTo>
                    <a:lnTo>
                      <a:pt x="417" y="413"/>
                    </a:lnTo>
                    <a:lnTo>
                      <a:pt x="418" y="413"/>
                    </a:lnTo>
                    <a:lnTo>
                      <a:pt x="420" y="412"/>
                    </a:lnTo>
                    <a:lnTo>
                      <a:pt x="421" y="413"/>
                    </a:lnTo>
                    <a:lnTo>
                      <a:pt x="424" y="410"/>
                    </a:lnTo>
                    <a:lnTo>
                      <a:pt x="422" y="409"/>
                    </a:lnTo>
                    <a:lnTo>
                      <a:pt x="423" y="406"/>
                    </a:lnTo>
                    <a:lnTo>
                      <a:pt x="424" y="405"/>
                    </a:lnTo>
                    <a:lnTo>
                      <a:pt x="425" y="405"/>
                    </a:lnTo>
                    <a:lnTo>
                      <a:pt x="424" y="404"/>
                    </a:lnTo>
                    <a:lnTo>
                      <a:pt x="425" y="404"/>
                    </a:lnTo>
                    <a:lnTo>
                      <a:pt x="425" y="403"/>
                    </a:lnTo>
                    <a:lnTo>
                      <a:pt x="427" y="403"/>
                    </a:lnTo>
                    <a:lnTo>
                      <a:pt x="427" y="401"/>
                    </a:lnTo>
                    <a:lnTo>
                      <a:pt x="428" y="400"/>
                    </a:lnTo>
                    <a:lnTo>
                      <a:pt x="429" y="398"/>
                    </a:lnTo>
                    <a:lnTo>
                      <a:pt x="428" y="395"/>
                    </a:lnTo>
                    <a:lnTo>
                      <a:pt x="429" y="392"/>
                    </a:lnTo>
                    <a:lnTo>
                      <a:pt x="429" y="391"/>
                    </a:lnTo>
                    <a:lnTo>
                      <a:pt x="430" y="389"/>
                    </a:lnTo>
                    <a:lnTo>
                      <a:pt x="430" y="388"/>
                    </a:lnTo>
                    <a:lnTo>
                      <a:pt x="431" y="388"/>
                    </a:lnTo>
                    <a:lnTo>
                      <a:pt x="432" y="386"/>
                    </a:lnTo>
                    <a:lnTo>
                      <a:pt x="437" y="389"/>
                    </a:lnTo>
                    <a:lnTo>
                      <a:pt x="440" y="389"/>
                    </a:lnTo>
                    <a:lnTo>
                      <a:pt x="441" y="389"/>
                    </a:lnTo>
                    <a:lnTo>
                      <a:pt x="442" y="387"/>
                    </a:lnTo>
                    <a:lnTo>
                      <a:pt x="443" y="386"/>
                    </a:lnTo>
                    <a:lnTo>
                      <a:pt x="442" y="386"/>
                    </a:lnTo>
                    <a:lnTo>
                      <a:pt x="442" y="384"/>
                    </a:lnTo>
                    <a:lnTo>
                      <a:pt x="443" y="385"/>
                    </a:lnTo>
                    <a:lnTo>
                      <a:pt x="445" y="384"/>
                    </a:lnTo>
                    <a:lnTo>
                      <a:pt x="444" y="383"/>
                    </a:lnTo>
                    <a:lnTo>
                      <a:pt x="446" y="384"/>
                    </a:lnTo>
                    <a:lnTo>
                      <a:pt x="446" y="383"/>
                    </a:lnTo>
                    <a:lnTo>
                      <a:pt x="445" y="382"/>
                    </a:lnTo>
                    <a:lnTo>
                      <a:pt x="447" y="382"/>
                    </a:lnTo>
                    <a:lnTo>
                      <a:pt x="448" y="381"/>
                    </a:lnTo>
                    <a:lnTo>
                      <a:pt x="447" y="380"/>
                    </a:lnTo>
                    <a:lnTo>
                      <a:pt x="449" y="379"/>
                    </a:lnTo>
                    <a:lnTo>
                      <a:pt x="449" y="381"/>
                    </a:lnTo>
                    <a:lnTo>
                      <a:pt x="450" y="381"/>
                    </a:lnTo>
                    <a:lnTo>
                      <a:pt x="450" y="380"/>
                    </a:lnTo>
                    <a:lnTo>
                      <a:pt x="449" y="378"/>
                    </a:lnTo>
                    <a:lnTo>
                      <a:pt x="449" y="376"/>
                    </a:lnTo>
                    <a:lnTo>
                      <a:pt x="450" y="376"/>
                    </a:lnTo>
                    <a:lnTo>
                      <a:pt x="452" y="377"/>
                    </a:lnTo>
                    <a:lnTo>
                      <a:pt x="452" y="375"/>
                    </a:lnTo>
                    <a:lnTo>
                      <a:pt x="455" y="373"/>
                    </a:lnTo>
                    <a:lnTo>
                      <a:pt x="456" y="373"/>
                    </a:lnTo>
                    <a:lnTo>
                      <a:pt x="457" y="373"/>
                    </a:lnTo>
                    <a:lnTo>
                      <a:pt x="458" y="373"/>
                    </a:lnTo>
                    <a:lnTo>
                      <a:pt x="458" y="374"/>
                    </a:lnTo>
                    <a:lnTo>
                      <a:pt x="458" y="375"/>
                    </a:lnTo>
                    <a:lnTo>
                      <a:pt x="459" y="374"/>
                    </a:lnTo>
                    <a:lnTo>
                      <a:pt x="461" y="375"/>
                    </a:lnTo>
                    <a:lnTo>
                      <a:pt x="463" y="374"/>
                    </a:lnTo>
                    <a:lnTo>
                      <a:pt x="463" y="376"/>
                    </a:lnTo>
                    <a:lnTo>
                      <a:pt x="465" y="376"/>
                    </a:lnTo>
                    <a:lnTo>
                      <a:pt x="466" y="378"/>
                    </a:lnTo>
                    <a:lnTo>
                      <a:pt x="469" y="378"/>
                    </a:lnTo>
                    <a:lnTo>
                      <a:pt x="470" y="380"/>
                    </a:lnTo>
                    <a:lnTo>
                      <a:pt x="473" y="382"/>
                    </a:lnTo>
                    <a:lnTo>
                      <a:pt x="475" y="382"/>
                    </a:lnTo>
                    <a:lnTo>
                      <a:pt x="478" y="382"/>
                    </a:lnTo>
                    <a:lnTo>
                      <a:pt x="478" y="385"/>
                    </a:lnTo>
                    <a:lnTo>
                      <a:pt x="482" y="388"/>
                    </a:lnTo>
                    <a:lnTo>
                      <a:pt x="484" y="391"/>
                    </a:lnTo>
                    <a:lnTo>
                      <a:pt x="486" y="392"/>
                    </a:lnTo>
                    <a:lnTo>
                      <a:pt x="488" y="391"/>
                    </a:lnTo>
                    <a:lnTo>
                      <a:pt x="489" y="392"/>
                    </a:lnTo>
                    <a:lnTo>
                      <a:pt x="490" y="394"/>
                    </a:lnTo>
                    <a:lnTo>
                      <a:pt x="491" y="397"/>
                    </a:lnTo>
                    <a:lnTo>
                      <a:pt x="495" y="401"/>
                    </a:lnTo>
                    <a:lnTo>
                      <a:pt x="496" y="403"/>
                    </a:lnTo>
                    <a:lnTo>
                      <a:pt x="497" y="403"/>
                    </a:lnTo>
                    <a:lnTo>
                      <a:pt x="499" y="407"/>
                    </a:lnTo>
                    <a:lnTo>
                      <a:pt x="504" y="405"/>
                    </a:lnTo>
                    <a:lnTo>
                      <a:pt x="506" y="406"/>
                    </a:lnTo>
                    <a:lnTo>
                      <a:pt x="507" y="406"/>
                    </a:lnTo>
                    <a:lnTo>
                      <a:pt x="508" y="408"/>
                    </a:lnTo>
                    <a:lnTo>
                      <a:pt x="510" y="405"/>
                    </a:lnTo>
                    <a:lnTo>
                      <a:pt x="514" y="403"/>
                    </a:lnTo>
                    <a:lnTo>
                      <a:pt x="515" y="402"/>
                    </a:lnTo>
                    <a:lnTo>
                      <a:pt x="517" y="403"/>
                    </a:lnTo>
                    <a:lnTo>
                      <a:pt x="518" y="401"/>
                    </a:lnTo>
                    <a:lnTo>
                      <a:pt x="520" y="397"/>
                    </a:lnTo>
                    <a:lnTo>
                      <a:pt x="522" y="399"/>
                    </a:lnTo>
                    <a:lnTo>
                      <a:pt x="522" y="397"/>
                    </a:lnTo>
                    <a:lnTo>
                      <a:pt x="525" y="394"/>
                    </a:lnTo>
                    <a:lnTo>
                      <a:pt x="531" y="397"/>
                    </a:lnTo>
                    <a:lnTo>
                      <a:pt x="533" y="399"/>
                    </a:lnTo>
                    <a:lnTo>
                      <a:pt x="536" y="404"/>
                    </a:lnTo>
                    <a:lnTo>
                      <a:pt x="539" y="409"/>
                    </a:lnTo>
                    <a:lnTo>
                      <a:pt x="539" y="410"/>
                    </a:lnTo>
                    <a:lnTo>
                      <a:pt x="542" y="412"/>
                    </a:lnTo>
                    <a:lnTo>
                      <a:pt x="545" y="412"/>
                    </a:lnTo>
                    <a:lnTo>
                      <a:pt x="548" y="410"/>
                    </a:lnTo>
                    <a:lnTo>
                      <a:pt x="551" y="411"/>
                    </a:lnTo>
                    <a:lnTo>
                      <a:pt x="554" y="407"/>
                    </a:lnTo>
                    <a:lnTo>
                      <a:pt x="557" y="409"/>
                    </a:lnTo>
                    <a:lnTo>
                      <a:pt x="559" y="408"/>
                    </a:lnTo>
                    <a:lnTo>
                      <a:pt x="562" y="409"/>
                    </a:lnTo>
                    <a:lnTo>
                      <a:pt x="564" y="407"/>
                    </a:lnTo>
                    <a:lnTo>
                      <a:pt x="565" y="403"/>
                    </a:lnTo>
                    <a:lnTo>
                      <a:pt x="566" y="401"/>
                    </a:lnTo>
                    <a:lnTo>
                      <a:pt x="571" y="401"/>
                    </a:lnTo>
                    <a:lnTo>
                      <a:pt x="572" y="399"/>
                    </a:lnTo>
                    <a:lnTo>
                      <a:pt x="574" y="396"/>
                    </a:lnTo>
                    <a:lnTo>
                      <a:pt x="577" y="396"/>
                    </a:lnTo>
                    <a:lnTo>
                      <a:pt x="579" y="397"/>
                    </a:lnTo>
                    <a:lnTo>
                      <a:pt x="577" y="389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43" name="Group 125">
              <a:extLst>
                <a:ext uri="{FF2B5EF4-FFF2-40B4-BE49-F238E27FC236}">
                  <a16:creationId xmlns:a16="http://schemas.microsoft.com/office/drawing/2014/main" id="{8573532D-EA6E-D355-2F62-C09FDF1F15C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81" y="2725"/>
              <a:ext cx="335" cy="268"/>
              <a:chOff x="1081" y="2725"/>
              <a:chExt cx="335" cy="268"/>
            </a:xfrm>
          </p:grpSpPr>
          <p:sp>
            <p:nvSpPr>
              <p:cNvPr id="144" name="Freeform 123">
                <a:extLst>
                  <a:ext uri="{FF2B5EF4-FFF2-40B4-BE49-F238E27FC236}">
                    <a16:creationId xmlns:a16="http://schemas.microsoft.com/office/drawing/2014/main" id="{88EB293A-9650-4C89-F0BB-2018A4A455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1" y="2725"/>
                <a:ext cx="335" cy="268"/>
              </a:xfrm>
              <a:custGeom>
                <a:avLst/>
                <a:gdLst>
                  <a:gd name="T0" fmla="*/ 328 w 335"/>
                  <a:gd name="T1" fmla="*/ 238 h 268"/>
                  <a:gd name="T2" fmla="*/ 328 w 335"/>
                  <a:gd name="T3" fmla="*/ 207 h 268"/>
                  <a:gd name="T4" fmla="*/ 325 w 335"/>
                  <a:gd name="T5" fmla="*/ 172 h 268"/>
                  <a:gd name="T6" fmla="*/ 319 w 335"/>
                  <a:gd name="T7" fmla="*/ 134 h 268"/>
                  <a:gd name="T8" fmla="*/ 289 w 335"/>
                  <a:gd name="T9" fmla="*/ 125 h 268"/>
                  <a:gd name="T10" fmla="*/ 278 w 335"/>
                  <a:gd name="T11" fmla="*/ 116 h 268"/>
                  <a:gd name="T12" fmla="*/ 276 w 335"/>
                  <a:gd name="T13" fmla="*/ 91 h 268"/>
                  <a:gd name="T14" fmla="*/ 262 w 335"/>
                  <a:gd name="T15" fmla="*/ 77 h 268"/>
                  <a:gd name="T16" fmla="*/ 266 w 335"/>
                  <a:gd name="T17" fmla="*/ 43 h 268"/>
                  <a:gd name="T18" fmla="*/ 254 w 335"/>
                  <a:gd name="T19" fmla="*/ 21 h 268"/>
                  <a:gd name="T20" fmla="*/ 238 w 335"/>
                  <a:gd name="T21" fmla="*/ 22 h 268"/>
                  <a:gd name="T22" fmla="*/ 229 w 335"/>
                  <a:gd name="T23" fmla="*/ 20 h 268"/>
                  <a:gd name="T24" fmla="*/ 213 w 335"/>
                  <a:gd name="T25" fmla="*/ 7 h 268"/>
                  <a:gd name="T26" fmla="*/ 202 w 335"/>
                  <a:gd name="T27" fmla="*/ 1 h 268"/>
                  <a:gd name="T28" fmla="*/ 188 w 335"/>
                  <a:gd name="T29" fmla="*/ 20 h 268"/>
                  <a:gd name="T30" fmla="*/ 188 w 335"/>
                  <a:gd name="T31" fmla="*/ 43 h 268"/>
                  <a:gd name="T32" fmla="*/ 186 w 335"/>
                  <a:gd name="T33" fmla="*/ 68 h 268"/>
                  <a:gd name="T34" fmla="*/ 150 w 335"/>
                  <a:gd name="T35" fmla="*/ 62 h 268"/>
                  <a:gd name="T36" fmla="*/ 130 w 335"/>
                  <a:gd name="T37" fmla="*/ 84 h 268"/>
                  <a:gd name="T38" fmla="*/ 113 w 335"/>
                  <a:gd name="T39" fmla="*/ 79 h 268"/>
                  <a:gd name="T40" fmla="*/ 87 w 335"/>
                  <a:gd name="T41" fmla="*/ 63 h 268"/>
                  <a:gd name="T42" fmla="*/ 66 w 335"/>
                  <a:gd name="T43" fmla="*/ 79 h 268"/>
                  <a:gd name="T44" fmla="*/ 51 w 335"/>
                  <a:gd name="T45" fmla="*/ 81 h 268"/>
                  <a:gd name="T46" fmla="*/ 39 w 335"/>
                  <a:gd name="T47" fmla="*/ 78 h 268"/>
                  <a:gd name="T48" fmla="*/ 36 w 335"/>
                  <a:gd name="T49" fmla="*/ 82 h 268"/>
                  <a:gd name="T50" fmla="*/ 32 w 335"/>
                  <a:gd name="T51" fmla="*/ 94 h 268"/>
                  <a:gd name="T52" fmla="*/ 23 w 335"/>
                  <a:gd name="T53" fmla="*/ 112 h 268"/>
                  <a:gd name="T54" fmla="*/ 8 w 335"/>
                  <a:gd name="T55" fmla="*/ 126 h 268"/>
                  <a:gd name="T56" fmla="*/ 3 w 335"/>
                  <a:gd name="T57" fmla="*/ 148 h 268"/>
                  <a:gd name="T58" fmla="*/ 8 w 335"/>
                  <a:gd name="T59" fmla="*/ 172 h 268"/>
                  <a:gd name="T60" fmla="*/ 14 w 335"/>
                  <a:gd name="T61" fmla="*/ 188 h 268"/>
                  <a:gd name="T62" fmla="*/ 18 w 335"/>
                  <a:gd name="T63" fmla="*/ 202 h 268"/>
                  <a:gd name="T64" fmla="*/ 23 w 335"/>
                  <a:gd name="T65" fmla="*/ 209 h 268"/>
                  <a:gd name="T66" fmla="*/ 29 w 335"/>
                  <a:gd name="T67" fmla="*/ 224 h 268"/>
                  <a:gd name="T68" fmla="*/ 41 w 335"/>
                  <a:gd name="T69" fmla="*/ 226 h 268"/>
                  <a:gd name="T70" fmla="*/ 54 w 335"/>
                  <a:gd name="T71" fmla="*/ 222 h 268"/>
                  <a:gd name="T72" fmla="*/ 55 w 335"/>
                  <a:gd name="T73" fmla="*/ 238 h 268"/>
                  <a:gd name="T74" fmla="*/ 63 w 335"/>
                  <a:gd name="T75" fmla="*/ 236 h 268"/>
                  <a:gd name="T76" fmla="*/ 78 w 335"/>
                  <a:gd name="T77" fmla="*/ 237 h 268"/>
                  <a:gd name="T78" fmla="*/ 93 w 335"/>
                  <a:gd name="T79" fmla="*/ 224 h 268"/>
                  <a:gd name="T80" fmla="*/ 131 w 335"/>
                  <a:gd name="T81" fmla="*/ 211 h 268"/>
                  <a:gd name="T82" fmla="*/ 140 w 335"/>
                  <a:gd name="T83" fmla="*/ 202 h 268"/>
                  <a:gd name="T84" fmla="*/ 148 w 335"/>
                  <a:gd name="T85" fmla="*/ 190 h 268"/>
                  <a:gd name="T86" fmla="*/ 155 w 335"/>
                  <a:gd name="T87" fmla="*/ 191 h 268"/>
                  <a:gd name="T88" fmla="*/ 165 w 335"/>
                  <a:gd name="T89" fmla="*/ 193 h 268"/>
                  <a:gd name="T90" fmla="*/ 173 w 335"/>
                  <a:gd name="T91" fmla="*/ 198 h 268"/>
                  <a:gd name="T92" fmla="*/ 180 w 335"/>
                  <a:gd name="T93" fmla="*/ 214 h 268"/>
                  <a:gd name="T94" fmla="*/ 192 w 335"/>
                  <a:gd name="T95" fmla="*/ 224 h 268"/>
                  <a:gd name="T96" fmla="*/ 202 w 335"/>
                  <a:gd name="T97" fmla="*/ 234 h 268"/>
                  <a:gd name="T98" fmla="*/ 213 w 335"/>
                  <a:gd name="T99" fmla="*/ 246 h 268"/>
                  <a:gd name="T100" fmla="*/ 231 w 335"/>
                  <a:gd name="T101" fmla="*/ 249 h 268"/>
                  <a:gd name="T102" fmla="*/ 242 w 335"/>
                  <a:gd name="T103" fmla="*/ 243 h 268"/>
                  <a:gd name="T104" fmla="*/ 256 w 335"/>
                  <a:gd name="T105" fmla="*/ 250 h 268"/>
                  <a:gd name="T106" fmla="*/ 268 w 335"/>
                  <a:gd name="T107" fmla="*/ 259 h 268"/>
                  <a:gd name="T108" fmla="*/ 268 w 335"/>
                  <a:gd name="T109" fmla="*/ 267 h 268"/>
                  <a:gd name="T110" fmla="*/ 279 w 335"/>
                  <a:gd name="T111" fmla="*/ 263 h 268"/>
                  <a:gd name="T112" fmla="*/ 282 w 335"/>
                  <a:gd name="T113" fmla="*/ 252 h 268"/>
                  <a:gd name="T114" fmla="*/ 295 w 335"/>
                  <a:gd name="T115" fmla="*/ 241 h 268"/>
                  <a:gd name="T116" fmla="*/ 305 w 335"/>
                  <a:gd name="T117" fmla="*/ 255 h 268"/>
                  <a:gd name="T118" fmla="*/ 319 w 335"/>
                  <a:gd name="T119" fmla="*/ 253 h 268"/>
                  <a:gd name="T120" fmla="*/ 326 w 335"/>
                  <a:gd name="T121" fmla="*/ 256 h 26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35"/>
                  <a:gd name="T184" fmla="*/ 0 h 268"/>
                  <a:gd name="T185" fmla="*/ 335 w 335"/>
                  <a:gd name="T186" fmla="*/ 268 h 26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35" h="268">
                    <a:moveTo>
                      <a:pt x="334" y="252"/>
                    </a:moveTo>
                    <a:lnTo>
                      <a:pt x="334" y="249"/>
                    </a:lnTo>
                    <a:lnTo>
                      <a:pt x="333" y="249"/>
                    </a:lnTo>
                    <a:lnTo>
                      <a:pt x="332" y="246"/>
                    </a:lnTo>
                    <a:lnTo>
                      <a:pt x="331" y="245"/>
                    </a:lnTo>
                    <a:lnTo>
                      <a:pt x="331" y="244"/>
                    </a:lnTo>
                    <a:lnTo>
                      <a:pt x="329" y="242"/>
                    </a:lnTo>
                    <a:lnTo>
                      <a:pt x="328" y="239"/>
                    </a:lnTo>
                    <a:lnTo>
                      <a:pt x="326" y="238"/>
                    </a:lnTo>
                    <a:lnTo>
                      <a:pt x="328" y="238"/>
                    </a:lnTo>
                    <a:lnTo>
                      <a:pt x="324" y="233"/>
                    </a:lnTo>
                    <a:lnTo>
                      <a:pt x="326" y="232"/>
                    </a:lnTo>
                    <a:lnTo>
                      <a:pt x="327" y="231"/>
                    </a:lnTo>
                    <a:lnTo>
                      <a:pt x="323" y="230"/>
                    </a:lnTo>
                    <a:lnTo>
                      <a:pt x="321" y="228"/>
                    </a:lnTo>
                    <a:lnTo>
                      <a:pt x="326" y="220"/>
                    </a:lnTo>
                    <a:lnTo>
                      <a:pt x="325" y="218"/>
                    </a:lnTo>
                    <a:lnTo>
                      <a:pt x="328" y="214"/>
                    </a:lnTo>
                    <a:lnTo>
                      <a:pt x="331" y="212"/>
                    </a:lnTo>
                    <a:lnTo>
                      <a:pt x="328" y="210"/>
                    </a:lnTo>
                    <a:lnTo>
                      <a:pt x="328" y="207"/>
                    </a:lnTo>
                    <a:lnTo>
                      <a:pt x="327" y="204"/>
                    </a:lnTo>
                    <a:lnTo>
                      <a:pt x="323" y="201"/>
                    </a:lnTo>
                    <a:lnTo>
                      <a:pt x="323" y="200"/>
                    </a:lnTo>
                    <a:lnTo>
                      <a:pt x="325" y="196"/>
                    </a:lnTo>
                    <a:lnTo>
                      <a:pt x="328" y="194"/>
                    </a:lnTo>
                    <a:lnTo>
                      <a:pt x="326" y="191"/>
                    </a:lnTo>
                    <a:lnTo>
                      <a:pt x="325" y="180"/>
                    </a:lnTo>
                    <a:lnTo>
                      <a:pt x="324" y="180"/>
                    </a:lnTo>
                    <a:lnTo>
                      <a:pt x="324" y="178"/>
                    </a:lnTo>
                    <a:lnTo>
                      <a:pt x="326" y="174"/>
                    </a:lnTo>
                    <a:lnTo>
                      <a:pt x="325" y="172"/>
                    </a:lnTo>
                    <a:lnTo>
                      <a:pt x="327" y="167"/>
                    </a:lnTo>
                    <a:lnTo>
                      <a:pt x="324" y="165"/>
                    </a:lnTo>
                    <a:lnTo>
                      <a:pt x="325" y="164"/>
                    </a:lnTo>
                    <a:lnTo>
                      <a:pt x="328" y="158"/>
                    </a:lnTo>
                    <a:lnTo>
                      <a:pt x="330" y="155"/>
                    </a:lnTo>
                    <a:lnTo>
                      <a:pt x="328" y="150"/>
                    </a:lnTo>
                    <a:lnTo>
                      <a:pt x="323" y="145"/>
                    </a:lnTo>
                    <a:lnTo>
                      <a:pt x="322" y="142"/>
                    </a:lnTo>
                    <a:lnTo>
                      <a:pt x="322" y="139"/>
                    </a:lnTo>
                    <a:lnTo>
                      <a:pt x="322" y="133"/>
                    </a:lnTo>
                    <a:lnTo>
                      <a:pt x="319" y="134"/>
                    </a:lnTo>
                    <a:lnTo>
                      <a:pt x="316" y="127"/>
                    </a:lnTo>
                    <a:lnTo>
                      <a:pt x="313" y="127"/>
                    </a:lnTo>
                    <a:lnTo>
                      <a:pt x="308" y="125"/>
                    </a:lnTo>
                    <a:lnTo>
                      <a:pt x="306" y="123"/>
                    </a:lnTo>
                    <a:lnTo>
                      <a:pt x="304" y="120"/>
                    </a:lnTo>
                    <a:lnTo>
                      <a:pt x="301" y="119"/>
                    </a:lnTo>
                    <a:lnTo>
                      <a:pt x="300" y="117"/>
                    </a:lnTo>
                    <a:lnTo>
                      <a:pt x="298" y="116"/>
                    </a:lnTo>
                    <a:lnTo>
                      <a:pt x="296" y="116"/>
                    </a:lnTo>
                    <a:lnTo>
                      <a:pt x="294" y="116"/>
                    </a:lnTo>
                    <a:lnTo>
                      <a:pt x="289" y="125"/>
                    </a:lnTo>
                    <a:lnTo>
                      <a:pt x="284" y="129"/>
                    </a:lnTo>
                    <a:lnTo>
                      <a:pt x="282" y="129"/>
                    </a:lnTo>
                    <a:lnTo>
                      <a:pt x="281" y="128"/>
                    </a:lnTo>
                    <a:lnTo>
                      <a:pt x="279" y="128"/>
                    </a:lnTo>
                    <a:lnTo>
                      <a:pt x="278" y="126"/>
                    </a:lnTo>
                    <a:lnTo>
                      <a:pt x="279" y="125"/>
                    </a:lnTo>
                    <a:lnTo>
                      <a:pt x="279" y="124"/>
                    </a:lnTo>
                    <a:lnTo>
                      <a:pt x="280" y="122"/>
                    </a:lnTo>
                    <a:lnTo>
                      <a:pt x="279" y="121"/>
                    </a:lnTo>
                    <a:lnTo>
                      <a:pt x="279" y="120"/>
                    </a:lnTo>
                    <a:lnTo>
                      <a:pt x="278" y="116"/>
                    </a:lnTo>
                    <a:lnTo>
                      <a:pt x="281" y="114"/>
                    </a:lnTo>
                    <a:lnTo>
                      <a:pt x="280" y="113"/>
                    </a:lnTo>
                    <a:lnTo>
                      <a:pt x="281" y="112"/>
                    </a:lnTo>
                    <a:lnTo>
                      <a:pt x="280" y="110"/>
                    </a:lnTo>
                    <a:lnTo>
                      <a:pt x="282" y="107"/>
                    </a:lnTo>
                    <a:lnTo>
                      <a:pt x="281" y="107"/>
                    </a:lnTo>
                    <a:lnTo>
                      <a:pt x="281" y="99"/>
                    </a:lnTo>
                    <a:lnTo>
                      <a:pt x="279" y="96"/>
                    </a:lnTo>
                    <a:lnTo>
                      <a:pt x="278" y="92"/>
                    </a:lnTo>
                    <a:lnTo>
                      <a:pt x="277" y="92"/>
                    </a:lnTo>
                    <a:lnTo>
                      <a:pt x="276" y="91"/>
                    </a:lnTo>
                    <a:lnTo>
                      <a:pt x="275" y="91"/>
                    </a:lnTo>
                    <a:lnTo>
                      <a:pt x="275" y="90"/>
                    </a:lnTo>
                    <a:lnTo>
                      <a:pt x="274" y="91"/>
                    </a:lnTo>
                    <a:lnTo>
                      <a:pt x="274" y="90"/>
                    </a:lnTo>
                    <a:lnTo>
                      <a:pt x="271" y="90"/>
                    </a:lnTo>
                    <a:lnTo>
                      <a:pt x="271" y="88"/>
                    </a:lnTo>
                    <a:lnTo>
                      <a:pt x="268" y="87"/>
                    </a:lnTo>
                    <a:lnTo>
                      <a:pt x="266" y="86"/>
                    </a:lnTo>
                    <a:lnTo>
                      <a:pt x="262" y="79"/>
                    </a:lnTo>
                    <a:lnTo>
                      <a:pt x="262" y="77"/>
                    </a:lnTo>
                    <a:lnTo>
                      <a:pt x="260" y="73"/>
                    </a:lnTo>
                    <a:lnTo>
                      <a:pt x="259" y="71"/>
                    </a:lnTo>
                    <a:lnTo>
                      <a:pt x="259" y="60"/>
                    </a:lnTo>
                    <a:lnTo>
                      <a:pt x="258" y="57"/>
                    </a:lnTo>
                    <a:lnTo>
                      <a:pt x="259" y="54"/>
                    </a:lnTo>
                    <a:lnTo>
                      <a:pt x="259" y="52"/>
                    </a:lnTo>
                    <a:lnTo>
                      <a:pt x="260" y="50"/>
                    </a:lnTo>
                    <a:lnTo>
                      <a:pt x="262" y="49"/>
                    </a:lnTo>
                    <a:lnTo>
                      <a:pt x="262" y="48"/>
                    </a:lnTo>
                    <a:lnTo>
                      <a:pt x="266" y="46"/>
                    </a:lnTo>
                    <a:lnTo>
                      <a:pt x="266" y="43"/>
                    </a:lnTo>
                    <a:lnTo>
                      <a:pt x="265" y="39"/>
                    </a:lnTo>
                    <a:lnTo>
                      <a:pt x="262" y="38"/>
                    </a:lnTo>
                    <a:lnTo>
                      <a:pt x="264" y="33"/>
                    </a:lnTo>
                    <a:lnTo>
                      <a:pt x="264" y="30"/>
                    </a:lnTo>
                    <a:lnTo>
                      <a:pt x="258" y="28"/>
                    </a:lnTo>
                    <a:lnTo>
                      <a:pt x="257" y="28"/>
                    </a:lnTo>
                    <a:lnTo>
                      <a:pt x="256" y="29"/>
                    </a:lnTo>
                    <a:lnTo>
                      <a:pt x="254" y="26"/>
                    </a:lnTo>
                    <a:lnTo>
                      <a:pt x="256" y="25"/>
                    </a:lnTo>
                    <a:lnTo>
                      <a:pt x="255" y="23"/>
                    </a:lnTo>
                    <a:lnTo>
                      <a:pt x="254" y="21"/>
                    </a:lnTo>
                    <a:lnTo>
                      <a:pt x="256" y="20"/>
                    </a:lnTo>
                    <a:lnTo>
                      <a:pt x="255" y="20"/>
                    </a:lnTo>
                    <a:lnTo>
                      <a:pt x="250" y="20"/>
                    </a:lnTo>
                    <a:lnTo>
                      <a:pt x="247" y="22"/>
                    </a:lnTo>
                    <a:lnTo>
                      <a:pt x="245" y="21"/>
                    </a:lnTo>
                    <a:lnTo>
                      <a:pt x="243" y="23"/>
                    </a:lnTo>
                    <a:lnTo>
                      <a:pt x="243" y="26"/>
                    </a:lnTo>
                    <a:lnTo>
                      <a:pt x="241" y="26"/>
                    </a:lnTo>
                    <a:lnTo>
                      <a:pt x="238" y="23"/>
                    </a:lnTo>
                    <a:lnTo>
                      <a:pt x="237" y="23"/>
                    </a:lnTo>
                    <a:lnTo>
                      <a:pt x="238" y="22"/>
                    </a:lnTo>
                    <a:lnTo>
                      <a:pt x="238" y="20"/>
                    </a:lnTo>
                    <a:lnTo>
                      <a:pt x="238" y="18"/>
                    </a:lnTo>
                    <a:lnTo>
                      <a:pt x="239" y="12"/>
                    </a:lnTo>
                    <a:lnTo>
                      <a:pt x="238" y="7"/>
                    </a:lnTo>
                    <a:lnTo>
                      <a:pt x="234" y="9"/>
                    </a:lnTo>
                    <a:lnTo>
                      <a:pt x="230" y="9"/>
                    </a:lnTo>
                    <a:lnTo>
                      <a:pt x="230" y="12"/>
                    </a:lnTo>
                    <a:lnTo>
                      <a:pt x="227" y="15"/>
                    </a:lnTo>
                    <a:lnTo>
                      <a:pt x="227" y="18"/>
                    </a:lnTo>
                    <a:lnTo>
                      <a:pt x="228" y="18"/>
                    </a:lnTo>
                    <a:lnTo>
                      <a:pt x="229" y="20"/>
                    </a:lnTo>
                    <a:lnTo>
                      <a:pt x="227" y="19"/>
                    </a:lnTo>
                    <a:lnTo>
                      <a:pt x="225" y="20"/>
                    </a:lnTo>
                    <a:lnTo>
                      <a:pt x="224" y="18"/>
                    </a:lnTo>
                    <a:lnTo>
                      <a:pt x="221" y="18"/>
                    </a:lnTo>
                    <a:lnTo>
                      <a:pt x="219" y="18"/>
                    </a:lnTo>
                    <a:lnTo>
                      <a:pt x="218" y="14"/>
                    </a:lnTo>
                    <a:lnTo>
                      <a:pt x="218" y="13"/>
                    </a:lnTo>
                    <a:lnTo>
                      <a:pt x="221" y="10"/>
                    </a:lnTo>
                    <a:lnTo>
                      <a:pt x="220" y="8"/>
                    </a:lnTo>
                    <a:lnTo>
                      <a:pt x="215" y="7"/>
                    </a:lnTo>
                    <a:lnTo>
                      <a:pt x="213" y="7"/>
                    </a:lnTo>
                    <a:lnTo>
                      <a:pt x="213" y="5"/>
                    </a:lnTo>
                    <a:lnTo>
                      <a:pt x="211" y="4"/>
                    </a:lnTo>
                    <a:lnTo>
                      <a:pt x="211" y="3"/>
                    </a:lnTo>
                    <a:lnTo>
                      <a:pt x="209" y="1"/>
                    </a:lnTo>
                    <a:lnTo>
                      <a:pt x="208" y="6"/>
                    </a:lnTo>
                    <a:lnTo>
                      <a:pt x="205" y="7"/>
                    </a:lnTo>
                    <a:lnTo>
                      <a:pt x="202" y="5"/>
                    </a:lnTo>
                    <a:lnTo>
                      <a:pt x="202" y="4"/>
                    </a:lnTo>
                    <a:lnTo>
                      <a:pt x="202" y="3"/>
                    </a:lnTo>
                    <a:lnTo>
                      <a:pt x="202" y="1"/>
                    </a:lnTo>
                    <a:lnTo>
                      <a:pt x="199" y="0"/>
                    </a:lnTo>
                    <a:lnTo>
                      <a:pt x="197" y="0"/>
                    </a:lnTo>
                    <a:lnTo>
                      <a:pt x="197" y="3"/>
                    </a:lnTo>
                    <a:lnTo>
                      <a:pt x="196" y="3"/>
                    </a:lnTo>
                    <a:lnTo>
                      <a:pt x="193" y="5"/>
                    </a:lnTo>
                    <a:lnTo>
                      <a:pt x="191" y="5"/>
                    </a:lnTo>
                    <a:lnTo>
                      <a:pt x="189" y="5"/>
                    </a:lnTo>
                    <a:lnTo>
                      <a:pt x="188" y="7"/>
                    </a:lnTo>
                    <a:lnTo>
                      <a:pt x="183" y="13"/>
                    </a:lnTo>
                    <a:lnTo>
                      <a:pt x="185" y="15"/>
                    </a:lnTo>
                    <a:lnTo>
                      <a:pt x="188" y="20"/>
                    </a:lnTo>
                    <a:lnTo>
                      <a:pt x="189" y="18"/>
                    </a:lnTo>
                    <a:lnTo>
                      <a:pt x="193" y="17"/>
                    </a:lnTo>
                    <a:lnTo>
                      <a:pt x="193" y="18"/>
                    </a:lnTo>
                    <a:lnTo>
                      <a:pt x="194" y="23"/>
                    </a:lnTo>
                    <a:lnTo>
                      <a:pt x="196" y="27"/>
                    </a:lnTo>
                    <a:lnTo>
                      <a:pt x="195" y="26"/>
                    </a:lnTo>
                    <a:lnTo>
                      <a:pt x="193" y="28"/>
                    </a:lnTo>
                    <a:lnTo>
                      <a:pt x="193" y="34"/>
                    </a:lnTo>
                    <a:lnTo>
                      <a:pt x="192" y="37"/>
                    </a:lnTo>
                    <a:lnTo>
                      <a:pt x="193" y="38"/>
                    </a:lnTo>
                    <a:lnTo>
                      <a:pt x="188" y="43"/>
                    </a:lnTo>
                    <a:lnTo>
                      <a:pt x="187" y="44"/>
                    </a:lnTo>
                    <a:lnTo>
                      <a:pt x="185" y="46"/>
                    </a:lnTo>
                    <a:lnTo>
                      <a:pt x="186" y="48"/>
                    </a:lnTo>
                    <a:lnTo>
                      <a:pt x="187" y="51"/>
                    </a:lnTo>
                    <a:lnTo>
                      <a:pt x="187" y="54"/>
                    </a:lnTo>
                    <a:lnTo>
                      <a:pt x="189" y="54"/>
                    </a:lnTo>
                    <a:lnTo>
                      <a:pt x="186" y="56"/>
                    </a:lnTo>
                    <a:lnTo>
                      <a:pt x="186" y="59"/>
                    </a:lnTo>
                    <a:lnTo>
                      <a:pt x="185" y="60"/>
                    </a:lnTo>
                    <a:lnTo>
                      <a:pt x="186" y="61"/>
                    </a:lnTo>
                    <a:lnTo>
                      <a:pt x="186" y="68"/>
                    </a:lnTo>
                    <a:lnTo>
                      <a:pt x="186" y="71"/>
                    </a:lnTo>
                    <a:lnTo>
                      <a:pt x="185" y="71"/>
                    </a:lnTo>
                    <a:lnTo>
                      <a:pt x="179" y="71"/>
                    </a:lnTo>
                    <a:lnTo>
                      <a:pt x="177" y="73"/>
                    </a:lnTo>
                    <a:lnTo>
                      <a:pt x="174" y="73"/>
                    </a:lnTo>
                    <a:lnTo>
                      <a:pt x="171" y="71"/>
                    </a:lnTo>
                    <a:lnTo>
                      <a:pt x="169" y="69"/>
                    </a:lnTo>
                    <a:lnTo>
                      <a:pt x="159" y="64"/>
                    </a:lnTo>
                    <a:lnTo>
                      <a:pt x="158" y="68"/>
                    </a:lnTo>
                    <a:lnTo>
                      <a:pt x="152" y="62"/>
                    </a:lnTo>
                    <a:lnTo>
                      <a:pt x="150" y="62"/>
                    </a:lnTo>
                    <a:lnTo>
                      <a:pt x="149" y="65"/>
                    </a:lnTo>
                    <a:lnTo>
                      <a:pt x="147" y="65"/>
                    </a:lnTo>
                    <a:lnTo>
                      <a:pt x="145" y="65"/>
                    </a:lnTo>
                    <a:lnTo>
                      <a:pt x="143" y="65"/>
                    </a:lnTo>
                    <a:lnTo>
                      <a:pt x="140" y="63"/>
                    </a:lnTo>
                    <a:lnTo>
                      <a:pt x="139" y="63"/>
                    </a:lnTo>
                    <a:lnTo>
                      <a:pt x="139" y="65"/>
                    </a:lnTo>
                    <a:lnTo>
                      <a:pt x="137" y="69"/>
                    </a:lnTo>
                    <a:lnTo>
                      <a:pt x="134" y="72"/>
                    </a:lnTo>
                    <a:lnTo>
                      <a:pt x="131" y="78"/>
                    </a:lnTo>
                    <a:lnTo>
                      <a:pt x="130" y="84"/>
                    </a:lnTo>
                    <a:lnTo>
                      <a:pt x="128" y="86"/>
                    </a:lnTo>
                    <a:lnTo>
                      <a:pt x="128" y="84"/>
                    </a:lnTo>
                    <a:lnTo>
                      <a:pt x="124" y="86"/>
                    </a:lnTo>
                    <a:lnTo>
                      <a:pt x="121" y="85"/>
                    </a:lnTo>
                    <a:lnTo>
                      <a:pt x="121" y="84"/>
                    </a:lnTo>
                    <a:lnTo>
                      <a:pt x="120" y="84"/>
                    </a:lnTo>
                    <a:lnTo>
                      <a:pt x="119" y="82"/>
                    </a:lnTo>
                    <a:lnTo>
                      <a:pt x="117" y="82"/>
                    </a:lnTo>
                    <a:lnTo>
                      <a:pt x="115" y="80"/>
                    </a:lnTo>
                    <a:lnTo>
                      <a:pt x="113" y="79"/>
                    </a:lnTo>
                    <a:lnTo>
                      <a:pt x="112" y="81"/>
                    </a:lnTo>
                    <a:lnTo>
                      <a:pt x="109" y="82"/>
                    </a:lnTo>
                    <a:lnTo>
                      <a:pt x="107" y="81"/>
                    </a:lnTo>
                    <a:lnTo>
                      <a:pt x="107" y="80"/>
                    </a:lnTo>
                    <a:lnTo>
                      <a:pt x="109" y="77"/>
                    </a:lnTo>
                    <a:lnTo>
                      <a:pt x="106" y="73"/>
                    </a:lnTo>
                    <a:lnTo>
                      <a:pt x="101" y="73"/>
                    </a:lnTo>
                    <a:lnTo>
                      <a:pt x="99" y="71"/>
                    </a:lnTo>
                    <a:lnTo>
                      <a:pt x="95" y="67"/>
                    </a:lnTo>
                    <a:lnTo>
                      <a:pt x="91" y="67"/>
                    </a:lnTo>
                    <a:lnTo>
                      <a:pt x="87" y="63"/>
                    </a:lnTo>
                    <a:lnTo>
                      <a:pt x="83" y="61"/>
                    </a:lnTo>
                    <a:lnTo>
                      <a:pt x="80" y="68"/>
                    </a:lnTo>
                    <a:lnTo>
                      <a:pt x="79" y="69"/>
                    </a:lnTo>
                    <a:lnTo>
                      <a:pt x="77" y="69"/>
                    </a:lnTo>
                    <a:lnTo>
                      <a:pt x="75" y="70"/>
                    </a:lnTo>
                    <a:lnTo>
                      <a:pt x="69" y="68"/>
                    </a:lnTo>
                    <a:lnTo>
                      <a:pt x="69" y="69"/>
                    </a:lnTo>
                    <a:lnTo>
                      <a:pt x="69" y="73"/>
                    </a:lnTo>
                    <a:lnTo>
                      <a:pt x="67" y="74"/>
                    </a:lnTo>
                    <a:lnTo>
                      <a:pt x="67" y="77"/>
                    </a:lnTo>
                    <a:lnTo>
                      <a:pt x="66" y="79"/>
                    </a:lnTo>
                    <a:lnTo>
                      <a:pt x="66" y="83"/>
                    </a:lnTo>
                    <a:lnTo>
                      <a:pt x="65" y="86"/>
                    </a:lnTo>
                    <a:lnTo>
                      <a:pt x="62" y="87"/>
                    </a:lnTo>
                    <a:lnTo>
                      <a:pt x="60" y="87"/>
                    </a:lnTo>
                    <a:lnTo>
                      <a:pt x="60" y="86"/>
                    </a:lnTo>
                    <a:lnTo>
                      <a:pt x="59" y="88"/>
                    </a:lnTo>
                    <a:lnTo>
                      <a:pt x="58" y="86"/>
                    </a:lnTo>
                    <a:lnTo>
                      <a:pt x="55" y="86"/>
                    </a:lnTo>
                    <a:lnTo>
                      <a:pt x="55" y="85"/>
                    </a:lnTo>
                    <a:lnTo>
                      <a:pt x="52" y="84"/>
                    </a:lnTo>
                    <a:lnTo>
                      <a:pt x="51" y="81"/>
                    </a:lnTo>
                    <a:lnTo>
                      <a:pt x="48" y="78"/>
                    </a:lnTo>
                    <a:lnTo>
                      <a:pt x="47" y="78"/>
                    </a:lnTo>
                    <a:lnTo>
                      <a:pt x="46" y="79"/>
                    </a:lnTo>
                    <a:lnTo>
                      <a:pt x="46" y="78"/>
                    </a:lnTo>
                    <a:lnTo>
                      <a:pt x="44" y="79"/>
                    </a:lnTo>
                    <a:lnTo>
                      <a:pt x="45" y="78"/>
                    </a:lnTo>
                    <a:lnTo>
                      <a:pt x="46" y="76"/>
                    </a:lnTo>
                    <a:lnTo>
                      <a:pt x="44" y="76"/>
                    </a:lnTo>
                    <a:lnTo>
                      <a:pt x="44" y="75"/>
                    </a:lnTo>
                    <a:lnTo>
                      <a:pt x="41" y="76"/>
                    </a:lnTo>
                    <a:lnTo>
                      <a:pt x="39" y="78"/>
                    </a:lnTo>
                    <a:lnTo>
                      <a:pt x="37" y="75"/>
                    </a:lnTo>
                    <a:lnTo>
                      <a:pt x="34" y="76"/>
                    </a:lnTo>
                    <a:lnTo>
                      <a:pt x="36" y="78"/>
                    </a:lnTo>
                    <a:lnTo>
                      <a:pt x="35" y="78"/>
                    </a:lnTo>
                    <a:lnTo>
                      <a:pt x="36" y="79"/>
                    </a:lnTo>
                    <a:lnTo>
                      <a:pt x="37" y="78"/>
                    </a:lnTo>
                    <a:lnTo>
                      <a:pt x="38" y="79"/>
                    </a:lnTo>
                    <a:lnTo>
                      <a:pt x="38" y="80"/>
                    </a:lnTo>
                    <a:lnTo>
                      <a:pt x="37" y="79"/>
                    </a:lnTo>
                    <a:lnTo>
                      <a:pt x="36" y="81"/>
                    </a:lnTo>
                    <a:lnTo>
                      <a:pt x="36" y="82"/>
                    </a:lnTo>
                    <a:lnTo>
                      <a:pt x="36" y="84"/>
                    </a:lnTo>
                    <a:lnTo>
                      <a:pt x="37" y="84"/>
                    </a:lnTo>
                    <a:lnTo>
                      <a:pt x="38" y="85"/>
                    </a:lnTo>
                    <a:lnTo>
                      <a:pt x="38" y="86"/>
                    </a:lnTo>
                    <a:lnTo>
                      <a:pt x="35" y="87"/>
                    </a:lnTo>
                    <a:lnTo>
                      <a:pt x="34" y="89"/>
                    </a:lnTo>
                    <a:lnTo>
                      <a:pt x="36" y="91"/>
                    </a:lnTo>
                    <a:lnTo>
                      <a:pt x="34" y="95"/>
                    </a:lnTo>
                    <a:lnTo>
                      <a:pt x="32" y="94"/>
                    </a:lnTo>
                    <a:lnTo>
                      <a:pt x="30" y="94"/>
                    </a:lnTo>
                    <a:lnTo>
                      <a:pt x="28" y="97"/>
                    </a:lnTo>
                    <a:lnTo>
                      <a:pt x="26" y="102"/>
                    </a:lnTo>
                    <a:lnTo>
                      <a:pt x="26" y="104"/>
                    </a:lnTo>
                    <a:lnTo>
                      <a:pt x="25" y="104"/>
                    </a:lnTo>
                    <a:lnTo>
                      <a:pt x="24" y="107"/>
                    </a:lnTo>
                    <a:lnTo>
                      <a:pt x="27" y="110"/>
                    </a:lnTo>
                    <a:lnTo>
                      <a:pt x="26" y="112"/>
                    </a:lnTo>
                    <a:lnTo>
                      <a:pt x="23" y="112"/>
                    </a:lnTo>
                    <a:lnTo>
                      <a:pt x="23" y="110"/>
                    </a:lnTo>
                    <a:lnTo>
                      <a:pt x="23" y="108"/>
                    </a:lnTo>
                    <a:lnTo>
                      <a:pt x="22" y="110"/>
                    </a:lnTo>
                    <a:lnTo>
                      <a:pt x="20" y="114"/>
                    </a:lnTo>
                    <a:lnTo>
                      <a:pt x="16" y="115"/>
                    </a:lnTo>
                    <a:lnTo>
                      <a:pt x="12" y="116"/>
                    </a:lnTo>
                    <a:lnTo>
                      <a:pt x="10" y="118"/>
                    </a:lnTo>
                    <a:lnTo>
                      <a:pt x="10" y="121"/>
                    </a:lnTo>
                    <a:lnTo>
                      <a:pt x="9" y="123"/>
                    </a:lnTo>
                    <a:lnTo>
                      <a:pt x="8" y="126"/>
                    </a:lnTo>
                    <a:lnTo>
                      <a:pt x="10" y="128"/>
                    </a:lnTo>
                    <a:lnTo>
                      <a:pt x="10" y="130"/>
                    </a:lnTo>
                    <a:lnTo>
                      <a:pt x="4" y="135"/>
                    </a:lnTo>
                    <a:lnTo>
                      <a:pt x="3" y="134"/>
                    </a:lnTo>
                    <a:lnTo>
                      <a:pt x="0" y="139"/>
                    </a:lnTo>
                    <a:lnTo>
                      <a:pt x="0" y="144"/>
                    </a:lnTo>
                    <a:lnTo>
                      <a:pt x="2" y="144"/>
                    </a:lnTo>
                    <a:lnTo>
                      <a:pt x="3" y="144"/>
                    </a:lnTo>
                    <a:lnTo>
                      <a:pt x="4" y="144"/>
                    </a:lnTo>
                    <a:lnTo>
                      <a:pt x="3" y="147"/>
                    </a:lnTo>
                    <a:lnTo>
                      <a:pt x="3" y="148"/>
                    </a:lnTo>
                    <a:lnTo>
                      <a:pt x="3" y="149"/>
                    </a:lnTo>
                    <a:lnTo>
                      <a:pt x="4" y="153"/>
                    </a:lnTo>
                    <a:lnTo>
                      <a:pt x="4" y="154"/>
                    </a:lnTo>
                    <a:lnTo>
                      <a:pt x="2" y="158"/>
                    </a:lnTo>
                    <a:lnTo>
                      <a:pt x="5" y="161"/>
                    </a:lnTo>
                    <a:lnTo>
                      <a:pt x="4" y="161"/>
                    </a:lnTo>
                    <a:lnTo>
                      <a:pt x="4" y="163"/>
                    </a:lnTo>
                    <a:lnTo>
                      <a:pt x="6" y="165"/>
                    </a:lnTo>
                    <a:lnTo>
                      <a:pt x="7" y="170"/>
                    </a:lnTo>
                    <a:lnTo>
                      <a:pt x="6" y="172"/>
                    </a:lnTo>
                    <a:lnTo>
                      <a:pt x="8" y="172"/>
                    </a:lnTo>
                    <a:lnTo>
                      <a:pt x="9" y="175"/>
                    </a:lnTo>
                    <a:lnTo>
                      <a:pt x="9" y="176"/>
                    </a:lnTo>
                    <a:lnTo>
                      <a:pt x="12" y="178"/>
                    </a:lnTo>
                    <a:lnTo>
                      <a:pt x="12" y="181"/>
                    </a:lnTo>
                    <a:lnTo>
                      <a:pt x="12" y="182"/>
                    </a:lnTo>
                    <a:lnTo>
                      <a:pt x="13" y="182"/>
                    </a:lnTo>
                    <a:lnTo>
                      <a:pt x="13" y="185"/>
                    </a:lnTo>
                    <a:lnTo>
                      <a:pt x="14" y="185"/>
                    </a:lnTo>
                    <a:lnTo>
                      <a:pt x="14" y="187"/>
                    </a:lnTo>
                    <a:lnTo>
                      <a:pt x="14" y="188"/>
                    </a:lnTo>
                    <a:lnTo>
                      <a:pt x="14" y="192"/>
                    </a:lnTo>
                    <a:lnTo>
                      <a:pt x="14" y="194"/>
                    </a:lnTo>
                    <a:lnTo>
                      <a:pt x="16" y="195"/>
                    </a:lnTo>
                    <a:lnTo>
                      <a:pt x="17" y="199"/>
                    </a:lnTo>
                    <a:lnTo>
                      <a:pt x="18" y="199"/>
                    </a:lnTo>
                    <a:lnTo>
                      <a:pt x="17" y="201"/>
                    </a:lnTo>
                    <a:lnTo>
                      <a:pt x="18" y="201"/>
                    </a:lnTo>
                    <a:lnTo>
                      <a:pt x="17" y="202"/>
                    </a:lnTo>
                    <a:lnTo>
                      <a:pt x="18" y="202"/>
                    </a:lnTo>
                    <a:lnTo>
                      <a:pt x="18" y="205"/>
                    </a:lnTo>
                    <a:lnTo>
                      <a:pt x="18" y="206"/>
                    </a:lnTo>
                    <a:lnTo>
                      <a:pt x="19" y="205"/>
                    </a:lnTo>
                    <a:lnTo>
                      <a:pt x="18" y="208"/>
                    </a:lnTo>
                    <a:lnTo>
                      <a:pt x="22" y="209"/>
                    </a:lnTo>
                    <a:lnTo>
                      <a:pt x="22" y="208"/>
                    </a:lnTo>
                    <a:lnTo>
                      <a:pt x="22" y="209"/>
                    </a:lnTo>
                    <a:lnTo>
                      <a:pt x="23" y="210"/>
                    </a:lnTo>
                    <a:lnTo>
                      <a:pt x="23" y="209"/>
                    </a:lnTo>
                    <a:lnTo>
                      <a:pt x="25" y="210"/>
                    </a:lnTo>
                    <a:lnTo>
                      <a:pt x="26" y="210"/>
                    </a:lnTo>
                    <a:lnTo>
                      <a:pt x="26" y="211"/>
                    </a:lnTo>
                    <a:lnTo>
                      <a:pt x="25" y="211"/>
                    </a:lnTo>
                    <a:lnTo>
                      <a:pt x="27" y="212"/>
                    </a:lnTo>
                    <a:lnTo>
                      <a:pt x="26" y="215"/>
                    </a:lnTo>
                    <a:lnTo>
                      <a:pt x="28" y="216"/>
                    </a:lnTo>
                    <a:lnTo>
                      <a:pt x="28" y="218"/>
                    </a:lnTo>
                    <a:lnTo>
                      <a:pt x="29" y="221"/>
                    </a:lnTo>
                    <a:lnTo>
                      <a:pt x="30" y="221"/>
                    </a:lnTo>
                    <a:lnTo>
                      <a:pt x="29" y="224"/>
                    </a:lnTo>
                    <a:lnTo>
                      <a:pt x="31" y="224"/>
                    </a:lnTo>
                    <a:lnTo>
                      <a:pt x="31" y="225"/>
                    </a:lnTo>
                    <a:lnTo>
                      <a:pt x="32" y="227"/>
                    </a:lnTo>
                    <a:lnTo>
                      <a:pt x="33" y="224"/>
                    </a:lnTo>
                    <a:lnTo>
                      <a:pt x="35" y="219"/>
                    </a:lnTo>
                    <a:lnTo>
                      <a:pt x="39" y="219"/>
                    </a:lnTo>
                    <a:lnTo>
                      <a:pt x="38" y="220"/>
                    </a:lnTo>
                    <a:lnTo>
                      <a:pt x="39" y="222"/>
                    </a:lnTo>
                    <a:lnTo>
                      <a:pt x="40" y="225"/>
                    </a:lnTo>
                    <a:lnTo>
                      <a:pt x="41" y="226"/>
                    </a:lnTo>
                    <a:lnTo>
                      <a:pt x="44" y="228"/>
                    </a:lnTo>
                    <a:lnTo>
                      <a:pt x="46" y="228"/>
                    </a:lnTo>
                    <a:lnTo>
                      <a:pt x="47" y="226"/>
                    </a:lnTo>
                    <a:lnTo>
                      <a:pt x="45" y="224"/>
                    </a:lnTo>
                    <a:lnTo>
                      <a:pt x="45" y="223"/>
                    </a:lnTo>
                    <a:lnTo>
                      <a:pt x="49" y="224"/>
                    </a:lnTo>
                    <a:lnTo>
                      <a:pt x="49" y="223"/>
                    </a:lnTo>
                    <a:lnTo>
                      <a:pt x="51" y="221"/>
                    </a:lnTo>
                    <a:lnTo>
                      <a:pt x="53" y="221"/>
                    </a:lnTo>
                    <a:lnTo>
                      <a:pt x="54" y="221"/>
                    </a:lnTo>
                    <a:lnTo>
                      <a:pt x="54" y="222"/>
                    </a:lnTo>
                    <a:lnTo>
                      <a:pt x="53" y="223"/>
                    </a:lnTo>
                    <a:lnTo>
                      <a:pt x="53" y="225"/>
                    </a:lnTo>
                    <a:lnTo>
                      <a:pt x="52" y="225"/>
                    </a:lnTo>
                    <a:lnTo>
                      <a:pt x="54" y="228"/>
                    </a:lnTo>
                    <a:lnTo>
                      <a:pt x="52" y="229"/>
                    </a:lnTo>
                    <a:lnTo>
                      <a:pt x="52" y="231"/>
                    </a:lnTo>
                    <a:lnTo>
                      <a:pt x="52" y="236"/>
                    </a:lnTo>
                    <a:lnTo>
                      <a:pt x="54" y="238"/>
                    </a:lnTo>
                    <a:lnTo>
                      <a:pt x="55" y="238"/>
                    </a:lnTo>
                    <a:lnTo>
                      <a:pt x="55" y="236"/>
                    </a:lnTo>
                    <a:lnTo>
                      <a:pt x="56" y="238"/>
                    </a:lnTo>
                    <a:lnTo>
                      <a:pt x="57" y="237"/>
                    </a:lnTo>
                    <a:lnTo>
                      <a:pt x="57" y="238"/>
                    </a:lnTo>
                    <a:lnTo>
                      <a:pt x="58" y="238"/>
                    </a:lnTo>
                    <a:lnTo>
                      <a:pt x="57" y="238"/>
                    </a:lnTo>
                    <a:lnTo>
                      <a:pt x="59" y="240"/>
                    </a:lnTo>
                    <a:lnTo>
                      <a:pt x="60" y="241"/>
                    </a:lnTo>
                    <a:lnTo>
                      <a:pt x="61" y="240"/>
                    </a:lnTo>
                    <a:lnTo>
                      <a:pt x="61" y="238"/>
                    </a:lnTo>
                    <a:lnTo>
                      <a:pt x="63" y="236"/>
                    </a:lnTo>
                    <a:lnTo>
                      <a:pt x="63" y="237"/>
                    </a:lnTo>
                    <a:lnTo>
                      <a:pt x="65" y="238"/>
                    </a:lnTo>
                    <a:lnTo>
                      <a:pt x="66" y="238"/>
                    </a:lnTo>
                    <a:lnTo>
                      <a:pt x="66" y="235"/>
                    </a:lnTo>
                    <a:lnTo>
                      <a:pt x="68" y="236"/>
                    </a:lnTo>
                    <a:lnTo>
                      <a:pt x="69" y="238"/>
                    </a:lnTo>
                    <a:lnTo>
                      <a:pt x="71" y="238"/>
                    </a:lnTo>
                    <a:lnTo>
                      <a:pt x="71" y="236"/>
                    </a:lnTo>
                    <a:lnTo>
                      <a:pt x="75" y="237"/>
                    </a:lnTo>
                    <a:lnTo>
                      <a:pt x="78" y="237"/>
                    </a:lnTo>
                    <a:lnTo>
                      <a:pt x="78" y="236"/>
                    </a:lnTo>
                    <a:lnTo>
                      <a:pt x="82" y="240"/>
                    </a:lnTo>
                    <a:lnTo>
                      <a:pt x="82" y="239"/>
                    </a:lnTo>
                    <a:lnTo>
                      <a:pt x="82" y="235"/>
                    </a:lnTo>
                    <a:lnTo>
                      <a:pt x="84" y="234"/>
                    </a:lnTo>
                    <a:lnTo>
                      <a:pt x="84" y="233"/>
                    </a:lnTo>
                    <a:lnTo>
                      <a:pt x="88" y="234"/>
                    </a:lnTo>
                    <a:lnTo>
                      <a:pt x="89" y="232"/>
                    </a:lnTo>
                    <a:lnTo>
                      <a:pt x="90" y="233"/>
                    </a:lnTo>
                    <a:lnTo>
                      <a:pt x="93" y="225"/>
                    </a:lnTo>
                    <a:lnTo>
                      <a:pt x="93" y="224"/>
                    </a:lnTo>
                    <a:lnTo>
                      <a:pt x="100" y="226"/>
                    </a:lnTo>
                    <a:lnTo>
                      <a:pt x="101" y="225"/>
                    </a:lnTo>
                    <a:lnTo>
                      <a:pt x="102" y="221"/>
                    </a:lnTo>
                    <a:lnTo>
                      <a:pt x="101" y="212"/>
                    </a:lnTo>
                    <a:lnTo>
                      <a:pt x="101" y="207"/>
                    </a:lnTo>
                    <a:lnTo>
                      <a:pt x="115" y="212"/>
                    </a:lnTo>
                    <a:lnTo>
                      <a:pt x="121" y="218"/>
                    </a:lnTo>
                    <a:lnTo>
                      <a:pt x="128" y="213"/>
                    </a:lnTo>
                    <a:lnTo>
                      <a:pt x="129" y="213"/>
                    </a:lnTo>
                    <a:lnTo>
                      <a:pt x="130" y="212"/>
                    </a:lnTo>
                    <a:lnTo>
                      <a:pt x="131" y="211"/>
                    </a:lnTo>
                    <a:lnTo>
                      <a:pt x="130" y="209"/>
                    </a:lnTo>
                    <a:lnTo>
                      <a:pt x="128" y="207"/>
                    </a:lnTo>
                    <a:lnTo>
                      <a:pt x="129" y="205"/>
                    </a:lnTo>
                    <a:lnTo>
                      <a:pt x="128" y="204"/>
                    </a:lnTo>
                    <a:lnTo>
                      <a:pt x="133" y="203"/>
                    </a:lnTo>
                    <a:lnTo>
                      <a:pt x="133" y="202"/>
                    </a:lnTo>
                    <a:lnTo>
                      <a:pt x="136" y="201"/>
                    </a:lnTo>
                    <a:lnTo>
                      <a:pt x="138" y="201"/>
                    </a:lnTo>
                    <a:lnTo>
                      <a:pt x="139" y="201"/>
                    </a:lnTo>
                    <a:lnTo>
                      <a:pt x="140" y="200"/>
                    </a:lnTo>
                    <a:lnTo>
                      <a:pt x="140" y="202"/>
                    </a:lnTo>
                    <a:lnTo>
                      <a:pt x="143" y="200"/>
                    </a:lnTo>
                    <a:lnTo>
                      <a:pt x="145" y="199"/>
                    </a:lnTo>
                    <a:lnTo>
                      <a:pt x="144" y="195"/>
                    </a:lnTo>
                    <a:lnTo>
                      <a:pt x="145" y="195"/>
                    </a:lnTo>
                    <a:lnTo>
                      <a:pt x="144" y="191"/>
                    </a:lnTo>
                    <a:lnTo>
                      <a:pt x="142" y="191"/>
                    </a:lnTo>
                    <a:lnTo>
                      <a:pt x="145" y="191"/>
                    </a:lnTo>
                    <a:lnTo>
                      <a:pt x="145" y="190"/>
                    </a:lnTo>
                    <a:lnTo>
                      <a:pt x="147" y="191"/>
                    </a:lnTo>
                    <a:lnTo>
                      <a:pt x="147" y="190"/>
                    </a:lnTo>
                    <a:lnTo>
                      <a:pt x="148" y="190"/>
                    </a:lnTo>
                    <a:lnTo>
                      <a:pt x="148" y="191"/>
                    </a:lnTo>
                    <a:lnTo>
                      <a:pt x="147" y="185"/>
                    </a:lnTo>
                    <a:lnTo>
                      <a:pt x="148" y="184"/>
                    </a:lnTo>
                    <a:lnTo>
                      <a:pt x="153" y="185"/>
                    </a:lnTo>
                    <a:lnTo>
                      <a:pt x="153" y="186"/>
                    </a:lnTo>
                    <a:lnTo>
                      <a:pt x="153" y="189"/>
                    </a:lnTo>
                    <a:lnTo>
                      <a:pt x="152" y="189"/>
                    </a:lnTo>
                    <a:lnTo>
                      <a:pt x="153" y="191"/>
                    </a:lnTo>
                    <a:lnTo>
                      <a:pt x="154" y="191"/>
                    </a:lnTo>
                    <a:lnTo>
                      <a:pt x="155" y="192"/>
                    </a:lnTo>
                    <a:lnTo>
                      <a:pt x="155" y="191"/>
                    </a:lnTo>
                    <a:lnTo>
                      <a:pt x="157" y="191"/>
                    </a:lnTo>
                    <a:lnTo>
                      <a:pt x="158" y="195"/>
                    </a:lnTo>
                    <a:lnTo>
                      <a:pt x="156" y="195"/>
                    </a:lnTo>
                    <a:lnTo>
                      <a:pt x="158" y="196"/>
                    </a:lnTo>
                    <a:lnTo>
                      <a:pt x="158" y="197"/>
                    </a:lnTo>
                    <a:lnTo>
                      <a:pt x="161" y="197"/>
                    </a:lnTo>
                    <a:lnTo>
                      <a:pt x="162" y="199"/>
                    </a:lnTo>
                    <a:lnTo>
                      <a:pt x="162" y="196"/>
                    </a:lnTo>
                    <a:lnTo>
                      <a:pt x="164" y="196"/>
                    </a:lnTo>
                    <a:lnTo>
                      <a:pt x="164" y="194"/>
                    </a:lnTo>
                    <a:lnTo>
                      <a:pt x="165" y="193"/>
                    </a:lnTo>
                    <a:lnTo>
                      <a:pt x="166" y="194"/>
                    </a:lnTo>
                    <a:lnTo>
                      <a:pt x="165" y="194"/>
                    </a:lnTo>
                    <a:lnTo>
                      <a:pt x="165" y="195"/>
                    </a:lnTo>
                    <a:lnTo>
                      <a:pt x="167" y="195"/>
                    </a:lnTo>
                    <a:lnTo>
                      <a:pt x="167" y="196"/>
                    </a:lnTo>
                    <a:lnTo>
                      <a:pt x="169" y="196"/>
                    </a:lnTo>
                    <a:lnTo>
                      <a:pt x="170" y="196"/>
                    </a:lnTo>
                    <a:lnTo>
                      <a:pt x="173" y="195"/>
                    </a:lnTo>
                    <a:lnTo>
                      <a:pt x="173" y="196"/>
                    </a:lnTo>
                    <a:lnTo>
                      <a:pt x="172" y="197"/>
                    </a:lnTo>
                    <a:lnTo>
                      <a:pt x="173" y="198"/>
                    </a:lnTo>
                    <a:lnTo>
                      <a:pt x="175" y="204"/>
                    </a:lnTo>
                    <a:lnTo>
                      <a:pt x="176" y="204"/>
                    </a:lnTo>
                    <a:lnTo>
                      <a:pt x="178" y="205"/>
                    </a:lnTo>
                    <a:lnTo>
                      <a:pt x="178" y="208"/>
                    </a:lnTo>
                    <a:lnTo>
                      <a:pt x="178" y="207"/>
                    </a:lnTo>
                    <a:lnTo>
                      <a:pt x="180" y="207"/>
                    </a:lnTo>
                    <a:lnTo>
                      <a:pt x="180" y="208"/>
                    </a:lnTo>
                    <a:lnTo>
                      <a:pt x="179" y="210"/>
                    </a:lnTo>
                    <a:lnTo>
                      <a:pt x="180" y="212"/>
                    </a:lnTo>
                    <a:lnTo>
                      <a:pt x="180" y="214"/>
                    </a:lnTo>
                    <a:lnTo>
                      <a:pt x="181" y="212"/>
                    </a:lnTo>
                    <a:lnTo>
                      <a:pt x="182" y="213"/>
                    </a:lnTo>
                    <a:lnTo>
                      <a:pt x="184" y="212"/>
                    </a:lnTo>
                    <a:lnTo>
                      <a:pt x="186" y="212"/>
                    </a:lnTo>
                    <a:lnTo>
                      <a:pt x="187" y="216"/>
                    </a:lnTo>
                    <a:lnTo>
                      <a:pt x="189" y="217"/>
                    </a:lnTo>
                    <a:lnTo>
                      <a:pt x="188" y="218"/>
                    </a:lnTo>
                    <a:lnTo>
                      <a:pt x="190" y="218"/>
                    </a:lnTo>
                    <a:lnTo>
                      <a:pt x="193" y="221"/>
                    </a:lnTo>
                    <a:lnTo>
                      <a:pt x="192" y="223"/>
                    </a:lnTo>
                    <a:lnTo>
                      <a:pt x="192" y="224"/>
                    </a:lnTo>
                    <a:lnTo>
                      <a:pt x="193" y="223"/>
                    </a:lnTo>
                    <a:lnTo>
                      <a:pt x="193" y="225"/>
                    </a:lnTo>
                    <a:lnTo>
                      <a:pt x="193" y="231"/>
                    </a:lnTo>
                    <a:lnTo>
                      <a:pt x="194" y="231"/>
                    </a:lnTo>
                    <a:lnTo>
                      <a:pt x="194" y="232"/>
                    </a:lnTo>
                    <a:lnTo>
                      <a:pt x="197" y="232"/>
                    </a:lnTo>
                    <a:lnTo>
                      <a:pt x="197" y="233"/>
                    </a:lnTo>
                    <a:lnTo>
                      <a:pt x="198" y="233"/>
                    </a:lnTo>
                    <a:lnTo>
                      <a:pt x="198" y="234"/>
                    </a:lnTo>
                    <a:lnTo>
                      <a:pt x="200" y="233"/>
                    </a:lnTo>
                    <a:lnTo>
                      <a:pt x="202" y="234"/>
                    </a:lnTo>
                    <a:lnTo>
                      <a:pt x="204" y="236"/>
                    </a:lnTo>
                    <a:lnTo>
                      <a:pt x="203" y="236"/>
                    </a:lnTo>
                    <a:lnTo>
                      <a:pt x="204" y="236"/>
                    </a:lnTo>
                    <a:lnTo>
                      <a:pt x="204" y="238"/>
                    </a:lnTo>
                    <a:lnTo>
                      <a:pt x="205" y="238"/>
                    </a:lnTo>
                    <a:lnTo>
                      <a:pt x="205" y="239"/>
                    </a:lnTo>
                    <a:lnTo>
                      <a:pt x="205" y="241"/>
                    </a:lnTo>
                    <a:lnTo>
                      <a:pt x="207" y="242"/>
                    </a:lnTo>
                    <a:lnTo>
                      <a:pt x="208" y="241"/>
                    </a:lnTo>
                    <a:lnTo>
                      <a:pt x="212" y="244"/>
                    </a:lnTo>
                    <a:lnTo>
                      <a:pt x="213" y="246"/>
                    </a:lnTo>
                    <a:lnTo>
                      <a:pt x="215" y="248"/>
                    </a:lnTo>
                    <a:lnTo>
                      <a:pt x="218" y="249"/>
                    </a:lnTo>
                    <a:lnTo>
                      <a:pt x="221" y="251"/>
                    </a:lnTo>
                    <a:lnTo>
                      <a:pt x="224" y="255"/>
                    </a:lnTo>
                    <a:lnTo>
                      <a:pt x="226" y="254"/>
                    </a:lnTo>
                    <a:lnTo>
                      <a:pt x="227" y="254"/>
                    </a:lnTo>
                    <a:lnTo>
                      <a:pt x="229" y="254"/>
                    </a:lnTo>
                    <a:lnTo>
                      <a:pt x="229" y="253"/>
                    </a:lnTo>
                    <a:lnTo>
                      <a:pt x="230" y="250"/>
                    </a:lnTo>
                    <a:lnTo>
                      <a:pt x="229" y="249"/>
                    </a:lnTo>
                    <a:lnTo>
                      <a:pt x="231" y="249"/>
                    </a:lnTo>
                    <a:lnTo>
                      <a:pt x="231" y="247"/>
                    </a:lnTo>
                    <a:lnTo>
                      <a:pt x="234" y="246"/>
                    </a:lnTo>
                    <a:lnTo>
                      <a:pt x="235" y="244"/>
                    </a:lnTo>
                    <a:lnTo>
                      <a:pt x="236" y="243"/>
                    </a:lnTo>
                    <a:lnTo>
                      <a:pt x="237" y="243"/>
                    </a:lnTo>
                    <a:lnTo>
                      <a:pt x="238" y="242"/>
                    </a:lnTo>
                    <a:lnTo>
                      <a:pt x="239" y="244"/>
                    </a:lnTo>
                    <a:lnTo>
                      <a:pt x="240" y="243"/>
                    </a:lnTo>
                    <a:lnTo>
                      <a:pt x="242" y="243"/>
                    </a:lnTo>
                    <a:lnTo>
                      <a:pt x="243" y="244"/>
                    </a:lnTo>
                    <a:lnTo>
                      <a:pt x="246" y="246"/>
                    </a:lnTo>
                    <a:lnTo>
                      <a:pt x="246" y="248"/>
                    </a:lnTo>
                    <a:lnTo>
                      <a:pt x="249" y="249"/>
                    </a:lnTo>
                    <a:lnTo>
                      <a:pt x="250" y="250"/>
                    </a:lnTo>
                    <a:lnTo>
                      <a:pt x="251" y="248"/>
                    </a:lnTo>
                    <a:lnTo>
                      <a:pt x="252" y="250"/>
                    </a:lnTo>
                    <a:lnTo>
                      <a:pt x="253" y="250"/>
                    </a:lnTo>
                    <a:lnTo>
                      <a:pt x="253" y="249"/>
                    </a:lnTo>
                    <a:lnTo>
                      <a:pt x="256" y="250"/>
                    </a:lnTo>
                    <a:lnTo>
                      <a:pt x="256" y="252"/>
                    </a:lnTo>
                    <a:lnTo>
                      <a:pt x="257" y="255"/>
                    </a:lnTo>
                    <a:lnTo>
                      <a:pt x="258" y="255"/>
                    </a:lnTo>
                    <a:lnTo>
                      <a:pt x="260" y="256"/>
                    </a:lnTo>
                    <a:lnTo>
                      <a:pt x="261" y="258"/>
                    </a:lnTo>
                    <a:lnTo>
                      <a:pt x="263" y="260"/>
                    </a:lnTo>
                    <a:lnTo>
                      <a:pt x="264" y="255"/>
                    </a:lnTo>
                    <a:lnTo>
                      <a:pt x="266" y="254"/>
                    </a:lnTo>
                    <a:lnTo>
                      <a:pt x="268" y="255"/>
                    </a:lnTo>
                    <a:lnTo>
                      <a:pt x="267" y="256"/>
                    </a:lnTo>
                    <a:lnTo>
                      <a:pt x="268" y="259"/>
                    </a:lnTo>
                    <a:lnTo>
                      <a:pt x="267" y="259"/>
                    </a:lnTo>
                    <a:lnTo>
                      <a:pt x="268" y="261"/>
                    </a:lnTo>
                    <a:lnTo>
                      <a:pt x="269" y="262"/>
                    </a:lnTo>
                    <a:lnTo>
                      <a:pt x="269" y="263"/>
                    </a:lnTo>
                    <a:lnTo>
                      <a:pt x="266" y="262"/>
                    </a:lnTo>
                    <a:lnTo>
                      <a:pt x="266" y="263"/>
                    </a:lnTo>
                    <a:lnTo>
                      <a:pt x="268" y="263"/>
                    </a:lnTo>
                    <a:lnTo>
                      <a:pt x="268" y="265"/>
                    </a:lnTo>
                    <a:lnTo>
                      <a:pt x="267" y="265"/>
                    </a:lnTo>
                    <a:lnTo>
                      <a:pt x="268" y="265"/>
                    </a:lnTo>
                    <a:lnTo>
                      <a:pt x="268" y="267"/>
                    </a:lnTo>
                    <a:lnTo>
                      <a:pt x="271" y="268"/>
                    </a:lnTo>
                    <a:lnTo>
                      <a:pt x="273" y="267"/>
                    </a:lnTo>
                    <a:lnTo>
                      <a:pt x="274" y="268"/>
                    </a:lnTo>
                    <a:lnTo>
                      <a:pt x="275" y="266"/>
                    </a:lnTo>
                    <a:lnTo>
                      <a:pt x="277" y="268"/>
                    </a:lnTo>
                    <a:lnTo>
                      <a:pt x="277" y="267"/>
                    </a:lnTo>
                    <a:lnTo>
                      <a:pt x="278" y="268"/>
                    </a:lnTo>
                    <a:lnTo>
                      <a:pt x="278" y="267"/>
                    </a:lnTo>
                    <a:lnTo>
                      <a:pt x="277" y="265"/>
                    </a:lnTo>
                    <a:lnTo>
                      <a:pt x="278" y="264"/>
                    </a:lnTo>
                    <a:lnTo>
                      <a:pt x="279" y="263"/>
                    </a:lnTo>
                    <a:lnTo>
                      <a:pt x="280" y="266"/>
                    </a:lnTo>
                    <a:lnTo>
                      <a:pt x="282" y="266"/>
                    </a:lnTo>
                    <a:lnTo>
                      <a:pt x="282" y="265"/>
                    </a:lnTo>
                    <a:lnTo>
                      <a:pt x="284" y="263"/>
                    </a:lnTo>
                    <a:lnTo>
                      <a:pt x="283" y="262"/>
                    </a:lnTo>
                    <a:lnTo>
                      <a:pt x="285" y="262"/>
                    </a:lnTo>
                    <a:lnTo>
                      <a:pt x="286" y="260"/>
                    </a:lnTo>
                    <a:lnTo>
                      <a:pt x="283" y="258"/>
                    </a:lnTo>
                    <a:lnTo>
                      <a:pt x="283" y="254"/>
                    </a:lnTo>
                    <a:lnTo>
                      <a:pt x="282" y="252"/>
                    </a:lnTo>
                    <a:lnTo>
                      <a:pt x="283" y="249"/>
                    </a:lnTo>
                    <a:lnTo>
                      <a:pt x="287" y="249"/>
                    </a:lnTo>
                    <a:lnTo>
                      <a:pt x="290" y="249"/>
                    </a:lnTo>
                    <a:lnTo>
                      <a:pt x="291" y="244"/>
                    </a:lnTo>
                    <a:lnTo>
                      <a:pt x="293" y="246"/>
                    </a:lnTo>
                    <a:lnTo>
                      <a:pt x="294" y="246"/>
                    </a:lnTo>
                    <a:lnTo>
                      <a:pt x="295" y="244"/>
                    </a:lnTo>
                    <a:lnTo>
                      <a:pt x="294" y="242"/>
                    </a:lnTo>
                    <a:lnTo>
                      <a:pt x="295" y="241"/>
                    </a:lnTo>
                    <a:lnTo>
                      <a:pt x="294" y="241"/>
                    </a:lnTo>
                    <a:lnTo>
                      <a:pt x="294" y="239"/>
                    </a:lnTo>
                    <a:lnTo>
                      <a:pt x="299" y="242"/>
                    </a:lnTo>
                    <a:lnTo>
                      <a:pt x="300" y="243"/>
                    </a:lnTo>
                    <a:lnTo>
                      <a:pt x="300" y="244"/>
                    </a:lnTo>
                    <a:lnTo>
                      <a:pt x="299" y="244"/>
                    </a:lnTo>
                    <a:lnTo>
                      <a:pt x="298" y="246"/>
                    </a:lnTo>
                    <a:lnTo>
                      <a:pt x="302" y="252"/>
                    </a:lnTo>
                    <a:lnTo>
                      <a:pt x="302" y="254"/>
                    </a:lnTo>
                    <a:lnTo>
                      <a:pt x="305" y="254"/>
                    </a:lnTo>
                    <a:lnTo>
                      <a:pt x="305" y="255"/>
                    </a:lnTo>
                    <a:lnTo>
                      <a:pt x="307" y="255"/>
                    </a:lnTo>
                    <a:lnTo>
                      <a:pt x="308" y="257"/>
                    </a:lnTo>
                    <a:lnTo>
                      <a:pt x="311" y="257"/>
                    </a:lnTo>
                    <a:lnTo>
                      <a:pt x="311" y="253"/>
                    </a:lnTo>
                    <a:lnTo>
                      <a:pt x="312" y="254"/>
                    </a:lnTo>
                    <a:lnTo>
                      <a:pt x="314" y="253"/>
                    </a:lnTo>
                    <a:lnTo>
                      <a:pt x="315" y="253"/>
                    </a:lnTo>
                    <a:lnTo>
                      <a:pt x="317" y="252"/>
                    </a:lnTo>
                    <a:lnTo>
                      <a:pt x="318" y="252"/>
                    </a:lnTo>
                    <a:lnTo>
                      <a:pt x="318" y="253"/>
                    </a:lnTo>
                    <a:lnTo>
                      <a:pt x="319" y="253"/>
                    </a:lnTo>
                    <a:lnTo>
                      <a:pt x="319" y="254"/>
                    </a:lnTo>
                    <a:lnTo>
                      <a:pt x="320" y="255"/>
                    </a:lnTo>
                    <a:lnTo>
                      <a:pt x="320" y="254"/>
                    </a:lnTo>
                    <a:lnTo>
                      <a:pt x="321" y="254"/>
                    </a:lnTo>
                    <a:lnTo>
                      <a:pt x="321" y="258"/>
                    </a:lnTo>
                    <a:lnTo>
                      <a:pt x="322" y="258"/>
                    </a:lnTo>
                    <a:lnTo>
                      <a:pt x="322" y="257"/>
                    </a:lnTo>
                    <a:lnTo>
                      <a:pt x="323" y="255"/>
                    </a:lnTo>
                    <a:lnTo>
                      <a:pt x="323" y="258"/>
                    </a:lnTo>
                    <a:lnTo>
                      <a:pt x="324" y="257"/>
                    </a:lnTo>
                    <a:lnTo>
                      <a:pt x="326" y="256"/>
                    </a:lnTo>
                    <a:lnTo>
                      <a:pt x="335" y="256"/>
                    </a:lnTo>
                    <a:lnTo>
                      <a:pt x="335" y="255"/>
                    </a:lnTo>
                    <a:lnTo>
                      <a:pt x="334" y="25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5" name="Freeform 124">
                <a:extLst>
                  <a:ext uri="{FF2B5EF4-FFF2-40B4-BE49-F238E27FC236}">
                    <a16:creationId xmlns:a16="http://schemas.microsoft.com/office/drawing/2014/main" id="{78337524-2D46-33CE-26E2-D332F66394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1" y="2725"/>
                <a:ext cx="335" cy="268"/>
              </a:xfrm>
              <a:custGeom>
                <a:avLst/>
                <a:gdLst>
                  <a:gd name="T0" fmla="*/ 328 w 335"/>
                  <a:gd name="T1" fmla="*/ 238 h 268"/>
                  <a:gd name="T2" fmla="*/ 328 w 335"/>
                  <a:gd name="T3" fmla="*/ 207 h 268"/>
                  <a:gd name="T4" fmla="*/ 325 w 335"/>
                  <a:gd name="T5" fmla="*/ 172 h 268"/>
                  <a:gd name="T6" fmla="*/ 319 w 335"/>
                  <a:gd name="T7" fmla="*/ 134 h 268"/>
                  <a:gd name="T8" fmla="*/ 289 w 335"/>
                  <a:gd name="T9" fmla="*/ 125 h 268"/>
                  <a:gd name="T10" fmla="*/ 278 w 335"/>
                  <a:gd name="T11" fmla="*/ 116 h 268"/>
                  <a:gd name="T12" fmla="*/ 276 w 335"/>
                  <a:gd name="T13" fmla="*/ 91 h 268"/>
                  <a:gd name="T14" fmla="*/ 262 w 335"/>
                  <a:gd name="T15" fmla="*/ 77 h 268"/>
                  <a:gd name="T16" fmla="*/ 266 w 335"/>
                  <a:gd name="T17" fmla="*/ 43 h 268"/>
                  <a:gd name="T18" fmla="*/ 254 w 335"/>
                  <a:gd name="T19" fmla="*/ 21 h 268"/>
                  <a:gd name="T20" fmla="*/ 238 w 335"/>
                  <a:gd name="T21" fmla="*/ 22 h 268"/>
                  <a:gd name="T22" fmla="*/ 229 w 335"/>
                  <a:gd name="T23" fmla="*/ 20 h 268"/>
                  <a:gd name="T24" fmla="*/ 213 w 335"/>
                  <a:gd name="T25" fmla="*/ 7 h 268"/>
                  <a:gd name="T26" fmla="*/ 202 w 335"/>
                  <a:gd name="T27" fmla="*/ 1 h 268"/>
                  <a:gd name="T28" fmla="*/ 188 w 335"/>
                  <a:gd name="T29" fmla="*/ 20 h 268"/>
                  <a:gd name="T30" fmla="*/ 188 w 335"/>
                  <a:gd name="T31" fmla="*/ 43 h 268"/>
                  <a:gd name="T32" fmla="*/ 186 w 335"/>
                  <a:gd name="T33" fmla="*/ 68 h 268"/>
                  <a:gd name="T34" fmla="*/ 150 w 335"/>
                  <a:gd name="T35" fmla="*/ 62 h 268"/>
                  <a:gd name="T36" fmla="*/ 130 w 335"/>
                  <a:gd name="T37" fmla="*/ 84 h 268"/>
                  <a:gd name="T38" fmla="*/ 113 w 335"/>
                  <a:gd name="T39" fmla="*/ 79 h 268"/>
                  <a:gd name="T40" fmla="*/ 87 w 335"/>
                  <a:gd name="T41" fmla="*/ 63 h 268"/>
                  <a:gd name="T42" fmla="*/ 66 w 335"/>
                  <a:gd name="T43" fmla="*/ 79 h 268"/>
                  <a:gd name="T44" fmla="*/ 51 w 335"/>
                  <a:gd name="T45" fmla="*/ 81 h 268"/>
                  <a:gd name="T46" fmla="*/ 39 w 335"/>
                  <a:gd name="T47" fmla="*/ 78 h 268"/>
                  <a:gd name="T48" fmla="*/ 36 w 335"/>
                  <a:gd name="T49" fmla="*/ 82 h 268"/>
                  <a:gd name="T50" fmla="*/ 32 w 335"/>
                  <a:gd name="T51" fmla="*/ 94 h 268"/>
                  <a:gd name="T52" fmla="*/ 23 w 335"/>
                  <a:gd name="T53" fmla="*/ 112 h 268"/>
                  <a:gd name="T54" fmla="*/ 8 w 335"/>
                  <a:gd name="T55" fmla="*/ 126 h 268"/>
                  <a:gd name="T56" fmla="*/ 3 w 335"/>
                  <a:gd name="T57" fmla="*/ 148 h 268"/>
                  <a:gd name="T58" fmla="*/ 8 w 335"/>
                  <a:gd name="T59" fmla="*/ 172 h 268"/>
                  <a:gd name="T60" fmla="*/ 14 w 335"/>
                  <a:gd name="T61" fmla="*/ 188 h 268"/>
                  <a:gd name="T62" fmla="*/ 18 w 335"/>
                  <a:gd name="T63" fmla="*/ 202 h 268"/>
                  <a:gd name="T64" fmla="*/ 23 w 335"/>
                  <a:gd name="T65" fmla="*/ 209 h 268"/>
                  <a:gd name="T66" fmla="*/ 29 w 335"/>
                  <a:gd name="T67" fmla="*/ 224 h 268"/>
                  <a:gd name="T68" fmla="*/ 41 w 335"/>
                  <a:gd name="T69" fmla="*/ 226 h 268"/>
                  <a:gd name="T70" fmla="*/ 54 w 335"/>
                  <a:gd name="T71" fmla="*/ 222 h 268"/>
                  <a:gd name="T72" fmla="*/ 55 w 335"/>
                  <a:gd name="T73" fmla="*/ 238 h 268"/>
                  <a:gd name="T74" fmla="*/ 63 w 335"/>
                  <a:gd name="T75" fmla="*/ 236 h 268"/>
                  <a:gd name="T76" fmla="*/ 78 w 335"/>
                  <a:gd name="T77" fmla="*/ 237 h 268"/>
                  <a:gd name="T78" fmla="*/ 93 w 335"/>
                  <a:gd name="T79" fmla="*/ 224 h 268"/>
                  <a:gd name="T80" fmla="*/ 131 w 335"/>
                  <a:gd name="T81" fmla="*/ 211 h 268"/>
                  <a:gd name="T82" fmla="*/ 140 w 335"/>
                  <a:gd name="T83" fmla="*/ 202 h 268"/>
                  <a:gd name="T84" fmla="*/ 148 w 335"/>
                  <a:gd name="T85" fmla="*/ 190 h 268"/>
                  <a:gd name="T86" fmla="*/ 155 w 335"/>
                  <a:gd name="T87" fmla="*/ 191 h 268"/>
                  <a:gd name="T88" fmla="*/ 165 w 335"/>
                  <a:gd name="T89" fmla="*/ 193 h 268"/>
                  <a:gd name="T90" fmla="*/ 173 w 335"/>
                  <a:gd name="T91" fmla="*/ 198 h 268"/>
                  <a:gd name="T92" fmla="*/ 180 w 335"/>
                  <a:gd name="T93" fmla="*/ 214 h 268"/>
                  <a:gd name="T94" fmla="*/ 192 w 335"/>
                  <a:gd name="T95" fmla="*/ 224 h 268"/>
                  <a:gd name="T96" fmla="*/ 202 w 335"/>
                  <a:gd name="T97" fmla="*/ 234 h 268"/>
                  <a:gd name="T98" fmla="*/ 213 w 335"/>
                  <a:gd name="T99" fmla="*/ 246 h 268"/>
                  <a:gd name="T100" fmla="*/ 231 w 335"/>
                  <a:gd name="T101" fmla="*/ 249 h 268"/>
                  <a:gd name="T102" fmla="*/ 242 w 335"/>
                  <a:gd name="T103" fmla="*/ 243 h 268"/>
                  <a:gd name="T104" fmla="*/ 256 w 335"/>
                  <a:gd name="T105" fmla="*/ 250 h 268"/>
                  <a:gd name="T106" fmla="*/ 268 w 335"/>
                  <a:gd name="T107" fmla="*/ 259 h 268"/>
                  <a:gd name="T108" fmla="*/ 268 w 335"/>
                  <a:gd name="T109" fmla="*/ 267 h 268"/>
                  <a:gd name="T110" fmla="*/ 279 w 335"/>
                  <a:gd name="T111" fmla="*/ 263 h 268"/>
                  <a:gd name="T112" fmla="*/ 282 w 335"/>
                  <a:gd name="T113" fmla="*/ 252 h 268"/>
                  <a:gd name="T114" fmla="*/ 295 w 335"/>
                  <a:gd name="T115" fmla="*/ 241 h 268"/>
                  <a:gd name="T116" fmla="*/ 305 w 335"/>
                  <a:gd name="T117" fmla="*/ 255 h 268"/>
                  <a:gd name="T118" fmla="*/ 319 w 335"/>
                  <a:gd name="T119" fmla="*/ 253 h 268"/>
                  <a:gd name="T120" fmla="*/ 326 w 335"/>
                  <a:gd name="T121" fmla="*/ 256 h 26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35"/>
                  <a:gd name="T184" fmla="*/ 0 h 268"/>
                  <a:gd name="T185" fmla="*/ 335 w 335"/>
                  <a:gd name="T186" fmla="*/ 268 h 26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35" h="268">
                    <a:moveTo>
                      <a:pt x="334" y="252"/>
                    </a:moveTo>
                    <a:lnTo>
                      <a:pt x="334" y="249"/>
                    </a:lnTo>
                    <a:lnTo>
                      <a:pt x="333" y="249"/>
                    </a:lnTo>
                    <a:lnTo>
                      <a:pt x="332" y="246"/>
                    </a:lnTo>
                    <a:lnTo>
                      <a:pt x="331" y="245"/>
                    </a:lnTo>
                    <a:lnTo>
                      <a:pt x="331" y="244"/>
                    </a:lnTo>
                    <a:lnTo>
                      <a:pt x="329" y="242"/>
                    </a:lnTo>
                    <a:lnTo>
                      <a:pt x="328" y="239"/>
                    </a:lnTo>
                    <a:lnTo>
                      <a:pt x="326" y="238"/>
                    </a:lnTo>
                    <a:lnTo>
                      <a:pt x="328" y="238"/>
                    </a:lnTo>
                    <a:lnTo>
                      <a:pt x="324" y="233"/>
                    </a:lnTo>
                    <a:lnTo>
                      <a:pt x="326" y="232"/>
                    </a:lnTo>
                    <a:lnTo>
                      <a:pt x="327" y="231"/>
                    </a:lnTo>
                    <a:lnTo>
                      <a:pt x="323" y="230"/>
                    </a:lnTo>
                    <a:lnTo>
                      <a:pt x="321" y="228"/>
                    </a:lnTo>
                    <a:lnTo>
                      <a:pt x="326" y="220"/>
                    </a:lnTo>
                    <a:lnTo>
                      <a:pt x="325" y="218"/>
                    </a:lnTo>
                    <a:lnTo>
                      <a:pt x="328" y="214"/>
                    </a:lnTo>
                    <a:lnTo>
                      <a:pt x="331" y="212"/>
                    </a:lnTo>
                    <a:lnTo>
                      <a:pt x="328" y="210"/>
                    </a:lnTo>
                    <a:lnTo>
                      <a:pt x="328" y="207"/>
                    </a:lnTo>
                    <a:lnTo>
                      <a:pt x="327" y="204"/>
                    </a:lnTo>
                    <a:lnTo>
                      <a:pt x="323" y="201"/>
                    </a:lnTo>
                    <a:lnTo>
                      <a:pt x="323" y="200"/>
                    </a:lnTo>
                    <a:lnTo>
                      <a:pt x="325" y="196"/>
                    </a:lnTo>
                    <a:lnTo>
                      <a:pt x="328" y="194"/>
                    </a:lnTo>
                    <a:lnTo>
                      <a:pt x="326" y="191"/>
                    </a:lnTo>
                    <a:lnTo>
                      <a:pt x="325" y="180"/>
                    </a:lnTo>
                    <a:lnTo>
                      <a:pt x="324" y="180"/>
                    </a:lnTo>
                    <a:lnTo>
                      <a:pt x="324" y="178"/>
                    </a:lnTo>
                    <a:lnTo>
                      <a:pt x="326" y="174"/>
                    </a:lnTo>
                    <a:lnTo>
                      <a:pt x="325" y="172"/>
                    </a:lnTo>
                    <a:lnTo>
                      <a:pt x="327" y="167"/>
                    </a:lnTo>
                    <a:lnTo>
                      <a:pt x="324" y="165"/>
                    </a:lnTo>
                    <a:lnTo>
                      <a:pt x="325" y="164"/>
                    </a:lnTo>
                    <a:lnTo>
                      <a:pt x="328" y="158"/>
                    </a:lnTo>
                    <a:lnTo>
                      <a:pt x="330" y="155"/>
                    </a:lnTo>
                    <a:lnTo>
                      <a:pt x="328" y="150"/>
                    </a:lnTo>
                    <a:lnTo>
                      <a:pt x="323" y="145"/>
                    </a:lnTo>
                    <a:lnTo>
                      <a:pt x="322" y="142"/>
                    </a:lnTo>
                    <a:lnTo>
                      <a:pt x="322" y="139"/>
                    </a:lnTo>
                    <a:lnTo>
                      <a:pt x="322" y="133"/>
                    </a:lnTo>
                    <a:lnTo>
                      <a:pt x="319" y="134"/>
                    </a:lnTo>
                    <a:lnTo>
                      <a:pt x="316" y="127"/>
                    </a:lnTo>
                    <a:lnTo>
                      <a:pt x="313" y="127"/>
                    </a:lnTo>
                    <a:lnTo>
                      <a:pt x="308" y="125"/>
                    </a:lnTo>
                    <a:lnTo>
                      <a:pt x="306" y="123"/>
                    </a:lnTo>
                    <a:lnTo>
                      <a:pt x="304" y="120"/>
                    </a:lnTo>
                    <a:lnTo>
                      <a:pt x="301" y="119"/>
                    </a:lnTo>
                    <a:lnTo>
                      <a:pt x="300" y="117"/>
                    </a:lnTo>
                    <a:lnTo>
                      <a:pt x="298" y="116"/>
                    </a:lnTo>
                    <a:lnTo>
                      <a:pt x="296" y="116"/>
                    </a:lnTo>
                    <a:lnTo>
                      <a:pt x="294" y="116"/>
                    </a:lnTo>
                    <a:lnTo>
                      <a:pt x="289" y="125"/>
                    </a:lnTo>
                    <a:lnTo>
                      <a:pt x="284" y="129"/>
                    </a:lnTo>
                    <a:lnTo>
                      <a:pt x="282" y="129"/>
                    </a:lnTo>
                    <a:lnTo>
                      <a:pt x="281" y="128"/>
                    </a:lnTo>
                    <a:lnTo>
                      <a:pt x="279" y="128"/>
                    </a:lnTo>
                    <a:lnTo>
                      <a:pt x="278" y="126"/>
                    </a:lnTo>
                    <a:lnTo>
                      <a:pt x="279" y="125"/>
                    </a:lnTo>
                    <a:lnTo>
                      <a:pt x="279" y="124"/>
                    </a:lnTo>
                    <a:lnTo>
                      <a:pt x="280" y="122"/>
                    </a:lnTo>
                    <a:lnTo>
                      <a:pt x="279" y="121"/>
                    </a:lnTo>
                    <a:lnTo>
                      <a:pt x="279" y="120"/>
                    </a:lnTo>
                    <a:lnTo>
                      <a:pt x="278" y="116"/>
                    </a:lnTo>
                    <a:lnTo>
                      <a:pt x="281" y="114"/>
                    </a:lnTo>
                    <a:lnTo>
                      <a:pt x="280" y="113"/>
                    </a:lnTo>
                    <a:lnTo>
                      <a:pt x="281" y="112"/>
                    </a:lnTo>
                    <a:lnTo>
                      <a:pt x="280" y="110"/>
                    </a:lnTo>
                    <a:lnTo>
                      <a:pt x="282" y="107"/>
                    </a:lnTo>
                    <a:lnTo>
                      <a:pt x="281" y="107"/>
                    </a:lnTo>
                    <a:lnTo>
                      <a:pt x="281" y="99"/>
                    </a:lnTo>
                    <a:lnTo>
                      <a:pt x="279" y="96"/>
                    </a:lnTo>
                    <a:lnTo>
                      <a:pt x="278" y="92"/>
                    </a:lnTo>
                    <a:lnTo>
                      <a:pt x="277" y="92"/>
                    </a:lnTo>
                    <a:lnTo>
                      <a:pt x="276" y="91"/>
                    </a:lnTo>
                    <a:lnTo>
                      <a:pt x="275" y="91"/>
                    </a:lnTo>
                    <a:lnTo>
                      <a:pt x="275" y="90"/>
                    </a:lnTo>
                    <a:lnTo>
                      <a:pt x="274" y="91"/>
                    </a:lnTo>
                    <a:lnTo>
                      <a:pt x="274" y="90"/>
                    </a:lnTo>
                    <a:lnTo>
                      <a:pt x="271" y="90"/>
                    </a:lnTo>
                    <a:lnTo>
                      <a:pt x="271" y="88"/>
                    </a:lnTo>
                    <a:lnTo>
                      <a:pt x="268" y="87"/>
                    </a:lnTo>
                    <a:lnTo>
                      <a:pt x="266" y="86"/>
                    </a:lnTo>
                    <a:lnTo>
                      <a:pt x="262" y="79"/>
                    </a:lnTo>
                    <a:lnTo>
                      <a:pt x="262" y="77"/>
                    </a:lnTo>
                    <a:lnTo>
                      <a:pt x="260" y="73"/>
                    </a:lnTo>
                    <a:lnTo>
                      <a:pt x="259" y="71"/>
                    </a:lnTo>
                    <a:lnTo>
                      <a:pt x="259" y="60"/>
                    </a:lnTo>
                    <a:lnTo>
                      <a:pt x="258" y="57"/>
                    </a:lnTo>
                    <a:lnTo>
                      <a:pt x="259" y="54"/>
                    </a:lnTo>
                    <a:lnTo>
                      <a:pt x="259" y="52"/>
                    </a:lnTo>
                    <a:lnTo>
                      <a:pt x="260" y="50"/>
                    </a:lnTo>
                    <a:lnTo>
                      <a:pt x="262" y="49"/>
                    </a:lnTo>
                    <a:lnTo>
                      <a:pt x="262" y="48"/>
                    </a:lnTo>
                    <a:lnTo>
                      <a:pt x="266" y="46"/>
                    </a:lnTo>
                    <a:lnTo>
                      <a:pt x="266" y="43"/>
                    </a:lnTo>
                    <a:lnTo>
                      <a:pt x="265" y="39"/>
                    </a:lnTo>
                    <a:lnTo>
                      <a:pt x="262" y="38"/>
                    </a:lnTo>
                    <a:lnTo>
                      <a:pt x="264" y="33"/>
                    </a:lnTo>
                    <a:lnTo>
                      <a:pt x="264" y="30"/>
                    </a:lnTo>
                    <a:lnTo>
                      <a:pt x="258" y="28"/>
                    </a:lnTo>
                    <a:lnTo>
                      <a:pt x="257" y="28"/>
                    </a:lnTo>
                    <a:lnTo>
                      <a:pt x="256" y="29"/>
                    </a:lnTo>
                    <a:lnTo>
                      <a:pt x="254" y="26"/>
                    </a:lnTo>
                    <a:lnTo>
                      <a:pt x="256" y="25"/>
                    </a:lnTo>
                    <a:lnTo>
                      <a:pt x="255" y="23"/>
                    </a:lnTo>
                    <a:lnTo>
                      <a:pt x="254" y="21"/>
                    </a:lnTo>
                    <a:lnTo>
                      <a:pt x="256" y="20"/>
                    </a:lnTo>
                    <a:lnTo>
                      <a:pt x="255" y="20"/>
                    </a:lnTo>
                    <a:lnTo>
                      <a:pt x="250" y="20"/>
                    </a:lnTo>
                    <a:lnTo>
                      <a:pt x="247" y="22"/>
                    </a:lnTo>
                    <a:lnTo>
                      <a:pt x="245" y="21"/>
                    </a:lnTo>
                    <a:lnTo>
                      <a:pt x="243" y="23"/>
                    </a:lnTo>
                    <a:lnTo>
                      <a:pt x="243" y="26"/>
                    </a:lnTo>
                    <a:lnTo>
                      <a:pt x="241" y="26"/>
                    </a:lnTo>
                    <a:lnTo>
                      <a:pt x="238" y="23"/>
                    </a:lnTo>
                    <a:lnTo>
                      <a:pt x="237" y="23"/>
                    </a:lnTo>
                    <a:lnTo>
                      <a:pt x="238" y="22"/>
                    </a:lnTo>
                    <a:lnTo>
                      <a:pt x="238" y="20"/>
                    </a:lnTo>
                    <a:lnTo>
                      <a:pt x="238" y="18"/>
                    </a:lnTo>
                    <a:lnTo>
                      <a:pt x="239" y="12"/>
                    </a:lnTo>
                    <a:lnTo>
                      <a:pt x="238" y="7"/>
                    </a:lnTo>
                    <a:lnTo>
                      <a:pt x="234" y="9"/>
                    </a:lnTo>
                    <a:lnTo>
                      <a:pt x="230" y="9"/>
                    </a:lnTo>
                    <a:lnTo>
                      <a:pt x="230" y="12"/>
                    </a:lnTo>
                    <a:lnTo>
                      <a:pt x="227" y="15"/>
                    </a:lnTo>
                    <a:lnTo>
                      <a:pt x="227" y="18"/>
                    </a:lnTo>
                    <a:lnTo>
                      <a:pt x="228" y="18"/>
                    </a:lnTo>
                    <a:lnTo>
                      <a:pt x="229" y="20"/>
                    </a:lnTo>
                    <a:lnTo>
                      <a:pt x="227" y="19"/>
                    </a:lnTo>
                    <a:lnTo>
                      <a:pt x="225" y="20"/>
                    </a:lnTo>
                    <a:lnTo>
                      <a:pt x="224" y="18"/>
                    </a:lnTo>
                    <a:lnTo>
                      <a:pt x="221" y="18"/>
                    </a:lnTo>
                    <a:lnTo>
                      <a:pt x="219" y="18"/>
                    </a:lnTo>
                    <a:lnTo>
                      <a:pt x="218" y="14"/>
                    </a:lnTo>
                    <a:lnTo>
                      <a:pt x="218" y="13"/>
                    </a:lnTo>
                    <a:lnTo>
                      <a:pt x="221" y="10"/>
                    </a:lnTo>
                    <a:lnTo>
                      <a:pt x="220" y="8"/>
                    </a:lnTo>
                    <a:lnTo>
                      <a:pt x="215" y="7"/>
                    </a:lnTo>
                    <a:lnTo>
                      <a:pt x="213" y="7"/>
                    </a:lnTo>
                    <a:lnTo>
                      <a:pt x="213" y="5"/>
                    </a:lnTo>
                    <a:lnTo>
                      <a:pt x="211" y="4"/>
                    </a:lnTo>
                    <a:lnTo>
                      <a:pt x="211" y="3"/>
                    </a:lnTo>
                    <a:lnTo>
                      <a:pt x="209" y="1"/>
                    </a:lnTo>
                    <a:lnTo>
                      <a:pt x="208" y="6"/>
                    </a:lnTo>
                    <a:lnTo>
                      <a:pt x="205" y="7"/>
                    </a:lnTo>
                    <a:lnTo>
                      <a:pt x="202" y="5"/>
                    </a:lnTo>
                    <a:lnTo>
                      <a:pt x="202" y="4"/>
                    </a:lnTo>
                    <a:lnTo>
                      <a:pt x="202" y="3"/>
                    </a:lnTo>
                    <a:lnTo>
                      <a:pt x="202" y="1"/>
                    </a:lnTo>
                    <a:lnTo>
                      <a:pt x="199" y="0"/>
                    </a:lnTo>
                    <a:lnTo>
                      <a:pt x="197" y="0"/>
                    </a:lnTo>
                    <a:lnTo>
                      <a:pt x="197" y="3"/>
                    </a:lnTo>
                    <a:lnTo>
                      <a:pt x="196" y="3"/>
                    </a:lnTo>
                    <a:lnTo>
                      <a:pt x="193" y="5"/>
                    </a:lnTo>
                    <a:lnTo>
                      <a:pt x="191" y="5"/>
                    </a:lnTo>
                    <a:lnTo>
                      <a:pt x="189" y="5"/>
                    </a:lnTo>
                    <a:lnTo>
                      <a:pt x="188" y="7"/>
                    </a:lnTo>
                    <a:lnTo>
                      <a:pt x="183" y="13"/>
                    </a:lnTo>
                    <a:lnTo>
                      <a:pt x="185" y="15"/>
                    </a:lnTo>
                    <a:lnTo>
                      <a:pt x="188" y="20"/>
                    </a:lnTo>
                    <a:lnTo>
                      <a:pt x="189" y="18"/>
                    </a:lnTo>
                    <a:lnTo>
                      <a:pt x="193" y="17"/>
                    </a:lnTo>
                    <a:lnTo>
                      <a:pt x="193" y="18"/>
                    </a:lnTo>
                    <a:lnTo>
                      <a:pt x="194" y="23"/>
                    </a:lnTo>
                    <a:lnTo>
                      <a:pt x="196" y="27"/>
                    </a:lnTo>
                    <a:lnTo>
                      <a:pt x="195" y="26"/>
                    </a:lnTo>
                    <a:lnTo>
                      <a:pt x="193" y="28"/>
                    </a:lnTo>
                    <a:lnTo>
                      <a:pt x="193" y="34"/>
                    </a:lnTo>
                    <a:lnTo>
                      <a:pt x="192" y="37"/>
                    </a:lnTo>
                    <a:lnTo>
                      <a:pt x="193" y="38"/>
                    </a:lnTo>
                    <a:lnTo>
                      <a:pt x="188" y="43"/>
                    </a:lnTo>
                    <a:lnTo>
                      <a:pt x="187" y="44"/>
                    </a:lnTo>
                    <a:lnTo>
                      <a:pt x="185" y="46"/>
                    </a:lnTo>
                    <a:lnTo>
                      <a:pt x="186" y="48"/>
                    </a:lnTo>
                    <a:lnTo>
                      <a:pt x="187" y="51"/>
                    </a:lnTo>
                    <a:lnTo>
                      <a:pt x="187" y="54"/>
                    </a:lnTo>
                    <a:lnTo>
                      <a:pt x="189" y="54"/>
                    </a:lnTo>
                    <a:lnTo>
                      <a:pt x="186" y="56"/>
                    </a:lnTo>
                    <a:lnTo>
                      <a:pt x="186" y="59"/>
                    </a:lnTo>
                    <a:lnTo>
                      <a:pt x="185" y="60"/>
                    </a:lnTo>
                    <a:lnTo>
                      <a:pt x="186" y="61"/>
                    </a:lnTo>
                    <a:lnTo>
                      <a:pt x="186" y="68"/>
                    </a:lnTo>
                    <a:lnTo>
                      <a:pt x="186" y="71"/>
                    </a:lnTo>
                    <a:lnTo>
                      <a:pt x="185" y="71"/>
                    </a:lnTo>
                    <a:lnTo>
                      <a:pt x="179" y="71"/>
                    </a:lnTo>
                    <a:lnTo>
                      <a:pt x="177" y="73"/>
                    </a:lnTo>
                    <a:lnTo>
                      <a:pt x="174" y="73"/>
                    </a:lnTo>
                    <a:lnTo>
                      <a:pt x="171" y="71"/>
                    </a:lnTo>
                    <a:lnTo>
                      <a:pt x="169" y="69"/>
                    </a:lnTo>
                    <a:lnTo>
                      <a:pt x="159" y="64"/>
                    </a:lnTo>
                    <a:lnTo>
                      <a:pt x="158" y="68"/>
                    </a:lnTo>
                    <a:lnTo>
                      <a:pt x="152" y="62"/>
                    </a:lnTo>
                    <a:lnTo>
                      <a:pt x="150" y="62"/>
                    </a:lnTo>
                    <a:lnTo>
                      <a:pt x="149" y="65"/>
                    </a:lnTo>
                    <a:lnTo>
                      <a:pt x="147" y="65"/>
                    </a:lnTo>
                    <a:lnTo>
                      <a:pt x="145" y="65"/>
                    </a:lnTo>
                    <a:lnTo>
                      <a:pt x="143" y="65"/>
                    </a:lnTo>
                    <a:lnTo>
                      <a:pt x="140" y="63"/>
                    </a:lnTo>
                    <a:lnTo>
                      <a:pt x="139" y="63"/>
                    </a:lnTo>
                    <a:lnTo>
                      <a:pt x="139" y="65"/>
                    </a:lnTo>
                    <a:lnTo>
                      <a:pt x="137" y="69"/>
                    </a:lnTo>
                    <a:lnTo>
                      <a:pt x="134" y="72"/>
                    </a:lnTo>
                    <a:lnTo>
                      <a:pt x="131" y="78"/>
                    </a:lnTo>
                    <a:lnTo>
                      <a:pt x="130" y="84"/>
                    </a:lnTo>
                    <a:lnTo>
                      <a:pt x="128" y="86"/>
                    </a:lnTo>
                    <a:lnTo>
                      <a:pt x="128" y="84"/>
                    </a:lnTo>
                    <a:lnTo>
                      <a:pt x="124" y="86"/>
                    </a:lnTo>
                    <a:lnTo>
                      <a:pt x="121" y="85"/>
                    </a:lnTo>
                    <a:lnTo>
                      <a:pt x="121" y="84"/>
                    </a:lnTo>
                    <a:lnTo>
                      <a:pt x="120" y="84"/>
                    </a:lnTo>
                    <a:lnTo>
                      <a:pt x="119" y="82"/>
                    </a:lnTo>
                    <a:lnTo>
                      <a:pt x="117" y="82"/>
                    </a:lnTo>
                    <a:lnTo>
                      <a:pt x="115" y="80"/>
                    </a:lnTo>
                    <a:lnTo>
                      <a:pt x="113" y="79"/>
                    </a:lnTo>
                    <a:lnTo>
                      <a:pt x="112" y="81"/>
                    </a:lnTo>
                    <a:lnTo>
                      <a:pt x="109" y="82"/>
                    </a:lnTo>
                    <a:lnTo>
                      <a:pt x="107" y="81"/>
                    </a:lnTo>
                    <a:lnTo>
                      <a:pt x="107" y="80"/>
                    </a:lnTo>
                    <a:lnTo>
                      <a:pt x="109" y="77"/>
                    </a:lnTo>
                    <a:lnTo>
                      <a:pt x="106" y="73"/>
                    </a:lnTo>
                    <a:lnTo>
                      <a:pt x="101" y="73"/>
                    </a:lnTo>
                    <a:lnTo>
                      <a:pt x="99" y="71"/>
                    </a:lnTo>
                    <a:lnTo>
                      <a:pt x="95" y="67"/>
                    </a:lnTo>
                    <a:lnTo>
                      <a:pt x="91" y="67"/>
                    </a:lnTo>
                    <a:lnTo>
                      <a:pt x="87" y="63"/>
                    </a:lnTo>
                    <a:lnTo>
                      <a:pt x="83" y="61"/>
                    </a:lnTo>
                    <a:lnTo>
                      <a:pt x="80" y="68"/>
                    </a:lnTo>
                    <a:lnTo>
                      <a:pt x="79" y="69"/>
                    </a:lnTo>
                    <a:lnTo>
                      <a:pt x="77" y="69"/>
                    </a:lnTo>
                    <a:lnTo>
                      <a:pt x="75" y="70"/>
                    </a:lnTo>
                    <a:lnTo>
                      <a:pt x="69" y="68"/>
                    </a:lnTo>
                    <a:lnTo>
                      <a:pt x="69" y="69"/>
                    </a:lnTo>
                    <a:lnTo>
                      <a:pt x="69" y="73"/>
                    </a:lnTo>
                    <a:lnTo>
                      <a:pt x="67" y="74"/>
                    </a:lnTo>
                    <a:lnTo>
                      <a:pt x="67" y="77"/>
                    </a:lnTo>
                    <a:lnTo>
                      <a:pt x="66" y="79"/>
                    </a:lnTo>
                    <a:lnTo>
                      <a:pt x="66" y="83"/>
                    </a:lnTo>
                    <a:lnTo>
                      <a:pt x="65" y="86"/>
                    </a:lnTo>
                    <a:lnTo>
                      <a:pt x="62" y="87"/>
                    </a:lnTo>
                    <a:lnTo>
                      <a:pt x="60" y="87"/>
                    </a:lnTo>
                    <a:lnTo>
                      <a:pt x="60" y="86"/>
                    </a:lnTo>
                    <a:lnTo>
                      <a:pt x="59" y="88"/>
                    </a:lnTo>
                    <a:lnTo>
                      <a:pt x="58" y="86"/>
                    </a:lnTo>
                    <a:lnTo>
                      <a:pt x="55" y="86"/>
                    </a:lnTo>
                    <a:lnTo>
                      <a:pt x="55" y="85"/>
                    </a:lnTo>
                    <a:lnTo>
                      <a:pt x="52" y="84"/>
                    </a:lnTo>
                    <a:lnTo>
                      <a:pt x="51" y="81"/>
                    </a:lnTo>
                    <a:lnTo>
                      <a:pt x="48" y="78"/>
                    </a:lnTo>
                    <a:lnTo>
                      <a:pt x="47" y="78"/>
                    </a:lnTo>
                    <a:lnTo>
                      <a:pt x="46" y="79"/>
                    </a:lnTo>
                    <a:lnTo>
                      <a:pt x="46" y="78"/>
                    </a:lnTo>
                    <a:lnTo>
                      <a:pt x="44" y="79"/>
                    </a:lnTo>
                    <a:lnTo>
                      <a:pt x="45" y="78"/>
                    </a:lnTo>
                    <a:lnTo>
                      <a:pt x="46" y="76"/>
                    </a:lnTo>
                    <a:lnTo>
                      <a:pt x="44" y="76"/>
                    </a:lnTo>
                    <a:lnTo>
                      <a:pt x="44" y="75"/>
                    </a:lnTo>
                    <a:lnTo>
                      <a:pt x="41" y="76"/>
                    </a:lnTo>
                    <a:lnTo>
                      <a:pt x="39" y="78"/>
                    </a:lnTo>
                    <a:lnTo>
                      <a:pt x="37" y="75"/>
                    </a:lnTo>
                    <a:lnTo>
                      <a:pt x="34" y="76"/>
                    </a:lnTo>
                    <a:lnTo>
                      <a:pt x="36" y="78"/>
                    </a:lnTo>
                    <a:lnTo>
                      <a:pt x="35" y="78"/>
                    </a:lnTo>
                    <a:lnTo>
                      <a:pt x="36" y="79"/>
                    </a:lnTo>
                    <a:lnTo>
                      <a:pt x="37" y="78"/>
                    </a:lnTo>
                    <a:lnTo>
                      <a:pt x="38" y="79"/>
                    </a:lnTo>
                    <a:lnTo>
                      <a:pt x="38" y="80"/>
                    </a:lnTo>
                    <a:lnTo>
                      <a:pt x="37" y="79"/>
                    </a:lnTo>
                    <a:lnTo>
                      <a:pt x="36" y="81"/>
                    </a:lnTo>
                    <a:lnTo>
                      <a:pt x="36" y="82"/>
                    </a:lnTo>
                    <a:lnTo>
                      <a:pt x="36" y="84"/>
                    </a:lnTo>
                    <a:lnTo>
                      <a:pt x="37" y="84"/>
                    </a:lnTo>
                    <a:lnTo>
                      <a:pt x="38" y="85"/>
                    </a:lnTo>
                    <a:lnTo>
                      <a:pt x="38" y="86"/>
                    </a:lnTo>
                    <a:lnTo>
                      <a:pt x="35" y="87"/>
                    </a:lnTo>
                    <a:lnTo>
                      <a:pt x="34" y="89"/>
                    </a:lnTo>
                    <a:lnTo>
                      <a:pt x="36" y="91"/>
                    </a:lnTo>
                    <a:lnTo>
                      <a:pt x="34" y="95"/>
                    </a:lnTo>
                    <a:lnTo>
                      <a:pt x="32" y="94"/>
                    </a:lnTo>
                    <a:lnTo>
                      <a:pt x="30" y="94"/>
                    </a:lnTo>
                    <a:lnTo>
                      <a:pt x="28" y="97"/>
                    </a:lnTo>
                    <a:lnTo>
                      <a:pt x="26" y="102"/>
                    </a:lnTo>
                    <a:lnTo>
                      <a:pt x="26" y="104"/>
                    </a:lnTo>
                    <a:lnTo>
                      <a:pt x="25" y="104"/>
                    </a:lnTo>
                    <a:lnTo>
                      <a:pt x="24" y="107"/>
                    </a:lnTo>
                    <a:lnTo>
                      <a:pt x="27" y="110"/>
                    </a:lnTo>
                    <a:lnTo>
                      <a:pt x="26" y="112"/>
                    </a:lnTo>
                    <a:lnTo>
                      <a:pt x="23" y="112"/>
                    </a:lnTo>
                    <a:lnTo>
                      <a:pt x="23" y="110"/>
                    </a:lnTo>
                    <a:lnTo>
                      <a:pt x="23" y="108"/>
                    </a:lnTo>
                    <a:lnTo>
                      <a:pt x="22" y="110"/>
                    </a:lnTo>
                    <a:lnTo>
                      <a:pt x="20" y="114"/>
                    </a:lnTo>
                    <a:lnTo>
                      <a:pt x="16" y="115"/>
                    </a:lnTo>
                    <a:lnTo>
                      <a:pt x="12" y="116"/>
                    </a:lnTo>
                    <a:lnTo>
                      <a:pt x="10" y="118"/>
                    </a:lnTo>
                    <a:lnTo>
                      <a:pt x="10" y="121"/>
                    </a:lnTo>
                    <a:lnTo>
                      <a:pt x="9" y="123"/>
                    </a:lnTo>
                    <a:lnTo>
                      <a:pt x="8" y="126"/>
                    </a:lnTo>
                    <a:lnTo>
                      <a:pt x="10" y="128"/>
                    </a:lnTo>
                    <a:lnTo>
                      <a:pt x="10" y="130"/>
                    </a:lnTo>
                    <a:lnTo>
                      <a:pt x="4" y="135"/>
                    </a:lnTo>
                    <a:lnTo>
                      <a:pt x="3" y="134"/>
                    </a:lnTo>
                    <a:lnTo>
                      <a:pt x="0" y="139"/>
                    </a:lnTo>
                    <a:lnTo>
                      <a:pt x="0" y="144"/>
                    </a:lnTo>
                    <a:lnTo>
                      <a:pt x="2" y="144"/>
                    </a:lnTo>
                    <a:lnTo>
                      <a:pt x="3" y="144"/>
                    </a:lnTo>
                    <a:lnTo>
                      <a:pt x="4" y="144"/>
                    </a:lnTo>
                    <a:lnTo>
                      <a:pt x="3" y="147"/>
                    </a:lnTo>
                    <a:lnTo>
                      <a:pt x="3" y="148"/>
                    </a:lnTo>
                    <a:lnTo>
                      <a:pt x="3" y="149"/>
                    </a:lnTo>
                    <a:lnTo>
                      <a:pt x="4" y="153"/>
                    </a:lnTo>
                    <a:lnTo>
                      <a:pt x="4" y="154"/>
                    </a:lnTo>
                    <a:lnTo>
                      <a:pt x="2" y="158"/>
                    </a:lnTo>
                    <a:lnTo>
                      <a:pt x="5" y="161"/>
                    </a:lnTo>
                    <a:lnTo>
                      <a:pt x="4" y="161"/>
                    </a:lnTo>
                    <a:lnTo>
                      <a:pt x="4" y="163"/>
                    </a:lnTo>
                    <a:lnTo>
                      <a:pt x="6" y="165"/>
                    </a:lnTo>
                    <a:lnTo>
                      <a:pt x="7" y="170"/>
                    </a:lnTo>
                    <a:lnTo>
                      <a:pt x="6" y="172"/>
                    </a:lnTo>
                    <a:lnTo>
                      <a:pt x="8" y="172"/>
                    </a:lnTo>
                    <a:lnTo>
                      <a:pt x="9" y="175"/>
                    </a:lnTo>
                    <a:lnTo>
                      <a:pt x="9" y="176"/>
                    </a:lnTo>
                    <a:lnTo>
                      <a:pt x="12" y="178"/>
                    </a:lnTo>
                    <a:lnTo>
                      <a:pt x="12" y="181"/>
                    </a:lnTo>
                    <a:lnTo>
                      <a:pt x="12" y="182"/>
                    </a:lnTo>
                    <a:lnTo>
                      <a:pt x="13" y="182"/>
                    </a:lnTo>
                    <a:lnTo>
                      <a:pt x="13" y="185"/>
                    </a:lnTo>
                    <a:lnTo>
                      <a:pt x="14" y="185"/>
                    </a:lnTo>
                    <a:lnTo>
                      <a:pt x="14" y="187"/>
                    </a:lnTo>
                    <a:lnTo>
                      <a:pt x="14" y="188"/>
                    </a:lnTo>
                    <a:lnTo>
                      <a:pt x="14" y="192"/>
                    </a:lnTo>
                    <a:lnTo>
                      <a:pt x="14" y="194"/>
                    </a:lnTo>
                    <a:lnTo>
                      <a:pt x="16" y="195"/>
                    </a:lnTo>
                    <a:lnTo>
                      <a:pt x="17" y="199"/>
                    </a:lnTo>
                    <a:lnTo>
                      <a:pt x="18" y="199"/>
                    </a:lnTo>
                    <a:lnTo>
                      <a:pt x="17" y="201"/>
                    </a:lnTo>
                    <a:lnTo>
                      <a:pt x="18" y="201"/>
                    </a:lnTo>
                    <a:lnTo>
                      <a:pt x="17" y="202"/>
                    </a:lnTo>
                    <a:lnTo>
                      <a:pt x="18" y="202"/>
                    </a:lnTo>
                    <a:lnTo>
                      <a:pt x="18" y="205"/>
                    </a:lnTo>
                    <a:lnTo>
                      <a:pt x="18" y="206"/>
                    </a:lnTo>
                    <a:lnTo>
                      <a:pt x="19" y="205"/>
                    </a:lnTo>
                    <a:lnTo>
                      <a:pt x="18" y="208"/>
                    </a:lnTo>
                    <a:lnTo>
                      <a:pt x="22" y="209"/>
                    </a:lnTo>
                    <a:lnTo>
                      <a:pt x="22" y="208"/>
                    </a:lnTo>
                    <a:lnTo>
                      <a:pt x="22" y="209"/>
                    </a:lnTo>
                    <a:lnTo>
                      <a:pt x="23" y="210"/>
                    </a:lnTo>
                    <a:lnTo>
                      <a:pt x="23" y="209"/>
                    </a:lnTo>
                    <a:lnTo>
                      <a:pt x="25" y="210"/>
                    </a:lnTo>
                    <a:lnTo>
                      <a:pt x="26" y="210"/>
                    </a:lnTo>
                    <a:lnTo>
                      <a:pt x="26" y="211"/>
                    </a:lnTo>
                    <a:lnTo>
                      <a:pt x="25" y="211"/>
                    </a:lnTo>
                    <a:lnTo>
                      <a:pt x="27" y="212"/>
                    </a:lnTo>
                    <a:lnTo>
                      <a:pt x="26" y="215"/>
                    </a:lnTo>
                    <a:lnTo>
                      <a:pt x="28" y="216"/>
                    </a:lnTo>
                    <a:lnTo>
                      <a:pt x="28" y="218"/>
                    </a:lnTo>
                    <a:lnTo>
                      <a:pt x="29" y="221"/>
                    </a:lnTo>
                    <a:lnTo>
                      <a:pt x="30" y="221"/>
                    </a:lnTo>
                    <a:lnTo>
                      <a:pt x="29" y="224"/>
                    </a:lnTo>
                    <a:lnTo>
                      <a:pt x="31" y="224"/>
                    </a:lnTo>
                    <a:lnTo>
                      <a:pt x="31" y="225"/>
                    </a:lnTo>
                    <a:lnTo>
                      <a:pt x="32" y="227"/>
                    </a:lnTo>
                    <a:lnTo>
                      <a:pt x="33" y="224"/>
                    </a:lnTo>
                    <a:lnTo>
                      <a:pt x="35" y="219"/>
                    </a:lnTo>
                    <a:lnTo>
                      <a:pt x="39" y="219"/>
                    </a:lnTo>
                    <a:lnTo>
                      <a:pt x="38" y="220"/>
                    </a:lnTo>
                    <a:lnTo>
                      <a:pt x="39" y="222"/>
                    </a:lnTo>
                    <a:lnTo>
                      <a:pt x="40" y="225"/>
                    </a:lnTo>
                    <a:lnTo>
                      <a:pt x="41" y="226"/>
                    </a:lnTo>
                    <a:lnTo>
                      <a:pt x="44" y="228"/>
                    </a:lnTo>
                    <a:lnTo>
                      <a:pt x="46" y="228"/>
                    </a:lnTo>
                    <a:lnTo>
                      <a:pt x="47" y="226"/>
                    </a:lnTo>
                    <a:lnTo>
                      <a:pt x="45" y="224"/>
                    </a:lnTo>
                    <a:lnTo>
                      <a:pt x="45" y="223"/>
                    </a:lnTo>
                    <a:lnTo>
                      <a:pt x="49" y="224"/>
                    </a:lnTo>
                    <a:lnTo>
                      <a:pt x="49" y="223"/>
                    </a:lnTo>
                    <a:lnTo>
                      <a:pt x="51" y="221"/>
                    </a:lnTo>
                    <a:lnTo>
                      <a:pt x="53" y="221"/>
                    </a:lnTo>
                    <a:lnTo>
                      <a:pt x="54" y="221"/>
                    </a:lnTo>
                    <a:lnTo>
                      <a:pt x="54" y="222"/>
                    </a:lnTo>
                    <a:lnTo>
                      <a:pt x="53" y="223"/>
                    </a:lnTo>
                    <a:lnTo>
                      <a:pt x="53" y="225"/>
                    </a:lnTo>
                    <a:lnTo>
                      <a:pt x="52" y="225"/>
                    </a:lnTo>
                    <a:lnTo>
                      <a:pt x="54" y="228"/>
                    </a:lnTo>
                    <a:lnTo>
                      <a:pt x="52" y="229"/>
                    </a:lnTo>
                    <a:lnTo>
                      <a:pt x="52" y="231"/>
                    </a:lnTo>
                    <a:lnTo>
                      <a:pt x="52" y="236"/>
                    </a:lnTo>
                    <a:lnTo>
                      <a:pt x="54" y="238"/>
                    </a:lnTo>
                    <a:lnTo>
                      <a:pt x="55" y="238"/>
                    </a:lnTo>
                    <a:lnTo>
                      <a:pt x="55" y="236"/>
                    </a:lnTo>
                    <a:lnTo>
                      <a:pt x="56" y="238"/>
                    </a:lnTo>
                    <a:lnTo>
                      <a:pt x="57" y="237"/>
                    </a:lnTo>
                    <a:lnTo>
                      <a:pt x="57" y="238"/>
                    </a:lnTo>
                    <a:lnTo>
                      <a:pt x="58" y="238"/>
                    </a:lnTo>
                    <a:lnTo>
                      <a:pt x="57" y="238"/>
                    </a:lnTo>
                    <a:lnTo>
                      <a:pt x="59" y="240"/>
                    </a:lnTo>
                    <a:lnTo>
                      <a:pt x="60" y="241"/>
                    </a:lnTo>
                    <a:lnTo>
                      <a:pt x="61" y="240"/>
                    </a:lnTo>
                    <a:lnTo>
                      <a:pt x="61" y="238"/>
                    </a:lnTo>
                    <a:lnTo>
                      <a:pt x="63" y="236"/>
                    </a:lnTo>
                    <a:lnTo>
                      <a:pt x="63" y="237"/>
                    </a:lnTo>
                    <a:lnTo>
                      <a:pt x="65" y="238"/>
                    </a:lnTo>
                    <a:lnTo>
                      <a:pt x="66" y="238"/>
                    </a:lnTo>
                    <a:lnTo>
                      <a:pt x="66" y="235"/>
                    </a:lnTo>
                    <a:lnTo>
                      <a:pt x="68" y="236"/>
                    </a:lnTo>
                    <a:lnTo>
                      <a:pt x="69" y="238"/>
                    </a:lnTo>
                    <a:lnTo>
                      <a:pt x="71" y="238"/>
                    </a:lnTo>
                    <a:lnTo>
                      <a:pt x="71" y="236"/>
                    </a:lnTo>
                    <a:lnTo>
                      <a:pt x="75" y="237"/>
                    </a:lnTo>
                    <a:lnTo>
                      <a:pt x="78" y="237"/>
                    </a:lnTo>
                    <a:lnTo>
                      <a:pt x="78" y="236"/>
                    </a:lnTo>
                    <a:lnTo>
                      <a:pt x="82" y="240"/>
                    </a:lnTo>
                    <a:lnTo>
                      <a:pt x="82" y="239"/>
                    </a:lnTo>
                    <a:lnTo>
                      <a:pt x="82" y="235"/>
                    </a:lnTo>
                    <a:lnTo>
                      <a:pt x="84" y="234"/>
                    </a:lnTo>
                    <a:lnTo>
                      <a:pt x="84" y="233"/>
                    </a:lnTo>
                    <a:lnTo>
                      <a:pt x="88" y="234"/>
                    </a:lnTo>
                    <a:lnTo>
                      <a:pt x="89" y="232"/>
                    </a:lnTo>
                    <a:lnTo>
                      <a:pt x="90" y="233"/>
                    </a:lnTo>
                    <a:lnTo>
                      <a:pt x="93" y="225"/>
                    </a:lnTo>
                    <a:lnTo>
                      <a:pt x="93" y="224"/>
                    </a:lnTo>
                    <a:lnTo>
                      <a:pt x="100" y="226"/>
                    </a:lnTo>
                    <a:lnTo>
                      <a:pt x="101" y="225"/>
                    </a:lnTo>
                    <a:lnTo>
                      <a:pt x="102" y="221"/>
                    </a:lnTo>
                    <a:lnTo>
                      <a:pt x="101" y="212"/>
                    </a:lnTo>
                    <a:lnTo>
                      <a:pt x="101" y="207"/>
                    </a:lnTo>
                    <a:lnTo>
                      <a:pt x="115" y="212"/>
                    </a:lnTo>
                    <a:lnTo>
                      <a:pt x="121" y="218"/>
                    </a:lnTo>
                    <a:lnTo>
                      <a:pt x="128" y="213"/>
                    </a:lnTo>
                    <a:lnTo>
                      <a:pt x="129" y="213"/>
                    </a:lnTo>
                    <a:lnTo>
                      <a:pt x="130" y="212"/>
                    </a:lnTo>
                    <a:lnTo>
                      <a:pt x="131" y="211"/>
                    </a:lnTo>
                    <a:lnTo>
                      <a:pt x="130" y="209"/>
                    </a:lnTo>
                    <a:lnTo>
                      <a:pt x="128" y="207"/>
                    </a:lnTo>
                    <a:lnTo>
                      <a:pt x="129" y="205"/>
                    </a:lnTo>
                    <a:lnTo>
                      <a:pt x="128" y="204"/>
                    </a:lnTo>
                    <a:lnTo>
                      <a:pt x="133" y="203"/>
                    </a:lnTo>
                    <a:lnTo>
                      <a:pt x="133" y="202"/>
                    </a:lnTo>
                    <a:lnTo>
                      <a:pt x="136" y="201"/>
                    </a:lnTo>
                    <a:lnTo>
                      <a:pt x="138" y="201"/>
                    </a:lnTo>
                    <a:lnTo>
                      <a:pt x="139" y="201"/>
                    </a:lnTo>
                    <a:lnTo>
                      <a:pt x="140" y="200"/>
                    </a:lnTo>
                    <a:lnTo>
                      <a:pt x="140" y="202"/>
                    </a:lnTo>
                    <a:lnTo>
                      <a:pt x="143" y="200"/>
                    </a:lnTo>
                    <a:lnTo>
                      <a:pt x="145" y="199"/>
                    </a:lnTo>
                    <a:lnTo>
                      <a:pt x="144" y="195"/>
                    </a:lnTo>
                    <a:lnTo>
                      <a:pt x="145" y="195"/>
                    </a:lnTo>
                    <a:lnTo>
                      <a:pt x="144" y="191"/>
                    </a:lnTo>
                    <a:lnTo>
                      <a:pt x="142" y="191"/>
                    </a:lnTo>
                    <a:lnTo>
                      <a:pt x="145" y="191"/>
                    </a:lnTo>
                    <a:lnTo>
                      <a:pt x="145" y="190"/>
                    </a:lnTo>
                    <a:lnTo>
                      <a:pt x="147" y="191"/>
                    </a:lnTo>
                    <a:lnTo>
                      <a:pt x="147" y="190"/>
                    </a:lnTo>
                    <a:lnTo>
                      <a:pt x="148" y="190"/>
                    </a:lnTo>
                    <a:lnTo>
                      <a:pt x="148" y="191"/>
                    </a:lnTo>
                    <a:lnTo>
                      <a:pt x="147" y="185"/>
                    </a:lnTo>
                    <a:lnTo>
                      <a:pt x="148" y="184"/>
                    </a:lnTo>
                    <a:lnTo>
                      <a:pt x="153" y="185"/>
                    </a:lnTo>
                    <a:lnTo>
                      <a:pt x="153" y="186"/>
                    </a:lnTo>
                    <a:lnTo>
                      <a:pt x="153" y="189"/>
                    </a:lnTo>
                    <a:lnTo>
                      <a:pt x="152" y="189"/>
                    </a:lnTo>
                    <a:lnTo>
                      <a:pt x="153" y="191"/>
                    </a:lnTo>
                    <a:lnTo>
                      <a:pt x="154" y="191"/>
                    </a:lnTo>
                    <a:lnTo>
                      <a:pt x="155" y="192"/>
                    </a:lnTo>
                    <a:lnTo>
                      <a:pt x="155" y="191"/>
                    </a:lnTo>
                    <a:lnTo>
                      <a:pt x="157" y="191"/>
                    </a:lnTo>
                    <a:lnTo>
                      <a:pt x="158" y="195"/>
                    </a:lnTo>
                    <a:lnTo>
                      <a:pt x="156" y="195"/>
                    </a:lnTo>
                    <a:lnTo>
                      <a:pt x="158" y="196"/>
                    </a:lnTo>
                    <a:lnTo>
                      <a:pt x="158" y="197"/>
                    </a:lnTo>
                    <a:lnTo>
                      <a:pt x="161" y="197"/>
                    </a:lnTo>
                    <a:lnTo>
                      <a:pt x="162" y="199"/>
                    </a:lnTo>
                    <a:lnTo>
                      <a:pt x="162" y="196"/>
                    </a:lnTo>
                    <a:lnTo>
                      <a:pt x="164" y="196"/>
                    </a:lnTo>
                    <a:lnTo>
                      <a:pt x="164" y="194"/>
                    </a:lnTo>
                    <a:lnTo>
                      <a:pt x="165" y="193"/>
                    </a:lnTo>
                    <a:lnTo>
                      <a:pt x="166" y="194"/>
                    </a:lnTo>
                    <a:lnTo>
                      <a:pt x="165" y="194"/>
                    </a:lnTo>
                    <a:lnTo>
                      <a:pt x="165" y="195"/>
                    </a:lnTo>
                    <a:lnTo>
                      <a:pt x="167" y="195"/>
                    </a:lnTo>
                    <a:lnTo>
                      <a:pt x="167" y="196"/>
                    </a:lnTo>
                    <a:lnTo>
                      <a:pt x="169" y="196"/>
                    </a:lnTo>
                    <a:lnTo>
                      <a:pt x="170" y="196"/>
                    </a:lnTo>
                    <a:lnTo>
                      <a:pt x="173" y="195"/>
                    </a:lnTo>
                    <a:lnTo>
                      <a:pt x="173" y="196"/>
                    </a:lnTo>
                    <a:lnTo>
                      <a:pt x="172" y="197"/>
                    </a:lnTo>
                    <a:lnTo>
                      <a:pt x="173" y="198"/>
                    </a:lnTo>
                    <a:lnTo>
                      <a:pt x="175" y="204"/>
                    </a:lnTo>
                    <a:lnTo>
                      <a:pt x="176" y="204"/>
                    </a:lnTo>
                    <a:lnTo>
                      <a:pt x="178" y="205"/>
                    </a:lnTo>
                    <a:lnTo>
                      <a:pt x="178" y="208"/>
                    </a:lnTo>
                    <a:lnTo>
                      <a:pt x="178" y="207"/>
                    </a:lnTo>
                    <a:lnTo>
                      <a:pt x="180" y="207"/>
                    </a:lnTo>
                    <a:lnTo>
                      <a:pt x="180" y="208"/>
                    </a:lnTo>
                    <a:lnTo>
                      <a:pt x="179" y="210"/>
                    </a:lnTo>
                    <a:lnTo>
                      <a:pt x="180" y="212"/>
                    </a:lnTo>
                    <a:lnTo>
                      <a:pt x="180" y="214"/>
                    </a:lnTo>
                    <a:lnTo>
                      <a:pt x="181" y="212"/>
                    </a:lnTo>
                    <a:lnTo>
                      <a:pt x="182" y="213"/>
                    </a:lnTo>
                    <a:lnTo>
                      <a:pt x="184" y="212"/>
                    </a:lnTo>
                    <a:lnTo>
                      <a:pt x="186" y="212"/>
                    </a:lnTo>
                    <a:lnTo>
                      <a:pt x="187" y="216"/>
                    </a:lnTo>
                    <a:lnTo>
                      <a:pt x="189" y="217"/>
                    </a:lnTo>
                    <a:lnTo>
                      <a:pt x="188" y="218"/>
                    </a:lnTo>
                    <a:lnTo>
                      <a:pt x="190" y="218"/>
                    </a:lnTo>
                    <a:lnTo>
                      <a:pt x="193" y="221"/>
                    </a:lnTo>
                    <a:lnTo>
                      <a:pt x="192" y="223"/>
                    </a:lnTo>
                    <a:lnTo>
                      <a:pt x="192" y="224"/>
                    </a:lnTo>
                    <a:lnTo>
                      <a:pt x="193" y="223"/>
                    </a:lnTo>
                    <a:lnTo>
                      <a:pt x="193" y="225"/>
                    </a:lnTo>
                    <a:lnTo>
                      <a:pt x="193" y="231"/>
                    </a:lnTo>
                    <a:lnTo>
                      <a:pt x="194" y="231"/>
                    </a:lnTo>
                    <a:lnTo>
                      <a:pt x="194" y="232"/>
                    </a:lnTo>
                    <a:lnTo>
                      <a:pt x="197" y="232"/>
                    </a:lnTo>
                    <a:lnTo>
                      <a:pt x="197" y="233"/>
                    </a:lnTo>
                    <a:lnTo>
                      <a:pt x="198" y="233"/>
                    </a:lnTo>
                    <a:lnTo>
                      <a:pt x="198" y="234"/>
                    </a:lnTo>
                    <a:lnTo>
                      <a:pt x="200" y="233"/>
                    </a:lnTo>
                    <a:lnTo>
                      <a:pt x="202" y="234"/>
                    </a:lnTo>
                    <a:lnTo>
                      <a:pt x="204" y="236"/>
                    </a:lnTo>
                    <a:lnTo>
                      <a:pt x="203" y="236"/>
                    </a:lnTo>
                    <a:lnTo>
                      <a:pt x="204" y="236"/>
                    </a:lnTo>
                    <a:lnTo>
                      <a:pt x="204" y="238"/>
                    </a:lnTo>
                    <a:lnTo>
                      <a:pt x="205" y="238"/>
                    </a:lnTo>
                    <a:lnTo>
                      <a:pt x="205" y="239"/>
                    </a:lnTo>
                    <a:lnTo>
                      <a:pt x="205" y="241"/>
                    </a:lnTo>
                    <a:lnTo>
                      <a:pt x="207" y="242"/>
                    </a:lnTo>
                    <a:lnTo>
                      <a:pt x="208" y="241"/>
                    </a:lnTo>
                    <a:lnTo>
                      <a:pt x="212" y="244"/>
                    </a:lnTo>
                    <a:lnTo>
                      <a:pt x="213" y="246"/>
                    </a:lnTo>
                    <a:lnTo>
                      <a:pt x="215" y="248"/>
                    </a:lnTo>
                    <a:lnTo>
                      <a:pt x="218" y="249"/>
                    </a:lnTo>
                    <a:lnTo>
                      <a:pt x="221" y="251"/>
                    </a:lnTo>
                    <a:lnTo>
                      <a:pt x="224" y="255"/>
                    </a:lnTo>
                    <a:lnTo>
                      <a:pt x="226" y="254"/>
                    </a:lnTo>
                    <a:lnTo>
                      <a:pt x="227" y="254"/>
                    </a:lnTo>
                    <a:lnTo>
                      <a:pt x="229" y="254"/>
                    </a:lnTo>
                    <a:lnTo>
                      <a:pt x="229" y="253"/>
                    </a:lnTo>
                    <a:lnTo>
                      <a:pt x="230" y="250"/>
                    </a:lnTo>
                    <a:lnTo>
                      <a:pt x="229" y="249"/>
                    </a:lnTo>
                    <a:lnTo>
                      <a:pt x="231" y="249"/>
                    </a:lnTo>
                    <a:lnTo>
                      <a:pt x="231" y="247"/>
                    </a:lnTo>
                    <a:lnTo>
                      <a:pt x="234" y="246"/>
                    </a:lnTo>
                    <a:lnTo>
                      <a:pt x="235" y="244"/>
                    </a:lnTo>
                    <a:lnTo>
                      <a:pt x="236" y="243"/>
                    </a:lnTo>
                    <a:lnTo>
                      <a:pt x="237" y="243"/>
                    </a:lnTo>
                    <a:lnTo>
                      <a:pt x="238" y="242"/>
                    </a:lnTo>
                    <a:lnTo>
                      <a:pt x="239" y="244"/>
                    </a:lnTo>
                    <a:lnTo>
                      <a:pt x="240" y="243"/>
                    </a:lnTo>
                    <a:lnTo>
                      <a:pt x="242" y="243"/>
                    </a:lnTo>
                    <a:lnTo>
                      <a:pt x="243" y="244"/>
                    </a:lnTo>
                    <a:lnTo>
                      <a:pt x="246" y="246"/>
                    </a:lnTo>
                    <a:lnTo>
                      <a:pt x="246" y="248"/>
                    </a:lnTo>
                    <a:lnTo>
                      <a:pt x="249" y="249"/>
                    </a:lnTo>
                    <a:lnTo>
                      <a:pt x="250" y="250"/>
                    </a:lnTo>
                    <a:lnTo>
                      <a:pt x="251" y="248"/>
                    </a:lnTo>
                    <a:lnTo>
                      <a:pt x="252" y="250"/>
                    </a:lnTo>
                    <a:lnTo>
                      <a:pt x="253" y="250"/>
                    </a:lnTo>
                    <a:lnTo>
                      <a:pt x="253" y="249"/>
                    </a:lnTo>
                    <a:lnTo>
                      <a:pt x="256" y="250"/>
                    </a:lnTo>
                    <a:lnTo>
                      <a:pt x="256" y="252"/>
                    </a:lnTo>
                    <a:lnTo>
                      <a:pt x="257" y="255"/>
                    </a:lnTo>
                    <a:lnTo>
                      <a:pt x="258" y="255"/>
                    </a:lnTo>
                    <a:lnTo>
                      <a:pt x="260" y="256"/>
                    </a:lnTo>
                    <a:lnTo>
                      <a:pt x="261" y="258"/>
                    </a:lnTo>
                    <a:lnTo>
                      <a:pt x="263" y="260"/>
                    </a:lnTo>
                    <a:lnTo>
                      <a:pt x="264" y="255"/>
                    </a:lnTo>
                    <a:lnTo>
                      <a:pt x="266" y="254"/>
                    </a:lnTo>
                    <a:lnTo>
                      <a:pt x="268" y="255"/>
                    </a:lnTo>
                    <a:lnTo>
                      <a:pt x="267" y="256"/>
                    </a:lnTo>
                    <a:lnTo>
                      <a:pt x="268" y="259"/>
                    </a:lnTo>
                    <a:lnTo>
                      <a:pt x="267" y="259"/>
                    </a:lnTo>
                    <a:lnTo>
                      <a:pt x="268" y="261"/>
                    </a:lnTo>
                    <a:lnTo>
                      <a:pt x="269" y="262"/>
                    </a:lnTo>
                    <a:lnTo>
                      <a:pt x="269" y="263"/>
                    </a:lnTo>
                    <a:lnTo>
                      <a:pt x="266" y="262"/>
                    </a:lnTo>
                    <a:lnTo>
                      <a:pt x="266" y="263"/>
                    </a:lnTo>
                    <a:lnTo>
                      <a:pt x="268" y="263"/>
                    </a:lnTo>
                    <a:lnTo>
                      <a:pt x="268" y="265"/>
                    </a:lnTo>
                    <a:lnTo>
                      <a:pt x="267" y="265"/>
                    </a:lnTo>
                    <a:lnTo>
                      <a:pt x="268" y="265"/>
                    </a:lnTo>
                    <a:lnTo>
                      <a:pt x="268" y="267"/>
                    </a:lnTo>
                    <a:lnTo>
                      <a:pt x="271" y="268"/>
                    </a:lnTo>
                    <a:lnTo>
                      <a:pt x="273" y="267"/>
                    </a:lnTo>
                    <a:lnTo>
                      <a:pt x="274" y="268"/>
                    </a:lnTo>
                    <a:lnTo>
                      <a:pt x="275" y="266"/>
                    </a:lnTo>
                    <a:lnTo>
                      <a:pt x="277" y="268"/>
                    </a:lnTo>
                    <a:lnTo>
                      <a:pt x="277" y="267"/>
                    </a:lnTo>
                    <a:lnTo>
                      <a:pt x="278" y="268"/>
                    </a:lnTo>
                    <a:lnTo>
                      <a:pt x="278" y="267"/>
                    </a:lnTo>
                    <a:lnTo>
                      <a:pt x="277" y="265"/>
                    </a:lnTo>
                    <a:lnTo>
                      <a:pt x="278" y="264"/>
                    </a:lnTo>
                    <a:lnTo>
                      <a:pt x="279" y="263"/>
                    </a:lnTo>
                    <a:lnTo>
                      <a:pt x="280" y="266"/>
                    </a:lnTo>
                    <a:lnTo>
                      <a:pt x="282" y="266"/>
                    </a:lnTo>
                    <a:lnTo>
                      <a:pt x="282" y="265"/>
                    </a:lnTo>
                    <a:lnTo>
                      <a:pt x="284" y="263"/>
                    </a:lnTo>
                    <a:lnTo>
                      <a:pt x="283" y="262"/>
                    </a:lnTo>
                    <a:lnTo>
                      <a:pt x="285" y="262"/>
                    </a:lnTo>
                    <a:lnTo>
                      <a:pt x="286" y="260"/>
                    </a:lnTo>
                    <a:lnTo>
                      <a:pt x="283" y="258"/>
                    </a:lnTo>
                    <a:lnTo>
                      <a:pt x="283" y="254"/>
                    </a:lnTo>
                    <a:lnTo>
                      <a:pt x="282" y="252"/>
                    </a:lnTo>
                    <a:lnTo>
                      <a:pt x="283" y="249"/>
                    </a:lnTo>
                    <a:lnTo>
                      <a:pt x="287" y="249"/>
                    </a:lnTo>
                    <a:lnTo>
                      <a:pt x="290" y="249"/>
                    </a:lnTo>
                    <a:lnTo>
                      <a:pt x="291" y="244"/>
                    </a:lnTo>
                    <a:lnTo>
                      <a:pt x="293" y="246"/>
                    </a:lnTo>
                    <a:lnTo>
                      <a:pt x="294" y="246"/>
                    </a:lnTo>
                    <a:lnTo>
                      <a:pt x="295" y="244"/>
                    </a:lnTo>
                    <a:lnTo>
                      <a:pt x="294" y="242"/>
                    </a:lnTo>
                    <a:lnTo>
                      <a:pt x="295" y="241"/>
                    </a:lnTo>
                    <a:lnTo>
                      <a:pt x="294" y="241"/>
                    </a:lnTo>
                    <a:lnTo>
                      <a:pt x="294" y="239"/>
                    </a:lnTo>
                    <a:lnTo>
                      <a:pt x="299" y="242"/>
                    </a:lnTo>
                    <a:lnTo>
                      <a:pt x="300" y="243"/>
                    </a:lnTo>
                    <a:lnTo>
                      <a:pt x="300" y="244"/>
                    </a:lnTo>
                    <a:lnTo>
                      <a:pt x="299" y="244"/>
                    </a:lnTo>
                    <a:lnTo>
                      <a:pt x="298" y="246"/>
                    </a:lnTo>
                    <a:lnTo>
                      <a:pt x="302" y="252"/>
                    </a:lnTo>
                    <a:lnTo>
                      <a:pt x="302" y="254"/>
                    </a:lnTo>
                    <a:lnTo>
                      <a:pt x="305" y="254"/>
                    </a:lnTo>
                    <a:lnTo>
                      <a:pt x="305" y="255"/>
                    </a:lnTo>
                    <a:lnTo>
                      <a:pt x="307" y="255"/>
                    </a:lnTo>
                    <a:lnTo>
                      <a:pt x="308" y="257"/>
                    </a:lnTo>
                    <a:lnTo>
                      <a:pt x="311" y="257"/>
                    </a:lnTo>
                    <a:lnTo>
                      <a:pt x="311" y="253"/>
                    </a:lnTo>
                    <a:lnTo>
                      <a:pt x="312" y="254"/>
                    </a:lnTo>
                    <a:lnTo>
                      <a:pt x="314" y="253"/>
                    </a:lnTo>
                    <a:lnTo>
                      <a:pt x="315" y="253"/>
                    </a:lnTo>
                    <a:lnTo>
                      <a:pt x="317" y="252"/>
                    </a:lnTo>
                    <a:lnTo>
                      <a:pt x="318" y="252"/>
                    </a:lnTo>
                    <a:lnTo>
                      <a:pt x="318" y="253"/>
                    </a:lnTo>
                    <a:lnTo>
                      <a:pt x="319" y="253"/>
                    </a:lnTo>
                    <a:lnTo>
                      <a:pt x="319" y="254"/>
                    </a:lnTo>
                    <a:lnTo>
                      <a:pt x="320" y="255"/>
                    </a:lnTo>
                    <a:lnTo>
                      <a:pt x="320" y="254"/>
                    </a:lnTo>
                    <a:lnTo>
                      <a:pt x="321" y="254"/>
                    </a:lnTo>
                    <a:lnTo>
                      <a:pt x="321" y="258"/>
                    </a:lnTo>
                    <a:lnTo>
                      <a:pt x="322" y="258"/>
                    </a:lnTo>
                    <a:lnTo>
                      <a:pt x="322" y="257"/>
                    </a:lnTo>
                    <a:lnTo>
                      <a:pt x="323" y="255"/>
                    </a:lnTo>
                    <a:lnTo>
                      <a:pt x="323" y="258"/>
                    </a:lnTo>
                    <a:lnTo>
                      <a:pt x="324" y="257"/>
                    </a:lnTo>
                    <a:lnTo>
                      <a:pt x="326" y="256"/>
                    </a:lnTo>
                    <a:lnTo>
                      <a:pt x="335" y="256"/>
                    </a:lnTo>
                    <a:lnTo>
                      <a:pt x="335" y="255"/>
                    </a:lnTo>
                    <a:lnTo>
                      <a:pt x="334" y="252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44" name="Group 128">
              <a:extLst>
                <a:ext uri="{FF2B5EF4-FFF2-40B4-BE49-F238E27FC236}">
                  <a16:creationId xmlns:a16="http://schemas.microsoft.com/office/drawing/2014/main" id="{6EEA3CE4-DCF8-4D70-48CF-A88F3666C74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91" y="2910"/>
              <a:ext cx="569" cy="509"/>
              <a:chOff x="791" y="2910"/>
              <a:chExt cx="569" cy="509"/>
            </a:xfrm>
          </p:grpSpPr>
          <p:sp>
            <p:nvSpPr>
              <p:cNvPr id="142" name="Freeform 126">
                <a:extLst>
                  <a:ext uri="{FF2B5EF4-FFF2-40B4-BE49-F238E27FC236}">
                    <a16:creationId xmlns:a16="http://schemas.microsoft.com/office/drawing/2014/main" id="{C6DBDD96-3B1F-6D65-7EAB-821B1D9757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1" y="2910"/>
                <a:ext cx="569" cy="509"/>
              </a:xfrm>
              <a:custGeom>
                <a:avLst/>
                <a:gdLst>
                  <a:gd name="T0" fmla="*/ 128 w 569"/>
                  <a:gd name="T1" fmla="*/ 470 h 509"/>
                  <a:gd name="T2" fmla="*/ 100 w 569"/>
                  <a:gd name="T3" fmla="*/ 473 h 509"/>
                  <a:gd name="T4" fmla="*/ 79 w 569"/>
                  <a:gd name="T5" fmla="*/ 467 h 509"/>
                  <a:gd name="T6" fmla="*/ 69 w 569"/>
                  <a:gd name="T7" fmla="*/ 420 h 509"/>
                  <a:gd name="T8" fmla="*/ 60 w 569"/>
                  <a:gd name="T9" fmla="*/ 397 h 509"/>
                  <a:gd name="T10" fmla="*/ 56 w 569"/>
                  <a:gd name="T11" fmla="*/ 386 h 509"/>
                  <a:gd name="T12" fmla="*/ 81 w 569"/>
                  <a:gd name="T13" fmla="*/ 368 h 509"/>
                  <a:gd name="T14" fmla="*/ 91 w 569"/>
                  <a:gd name="T15" fmla="*/ 338 h 509"/>
                  <a:gd name="T16" fmla="*/ 106 w 569"/>
                  <a:gd name="T17" fmla="*/ 306 h 509"/>
                  <a:gd name="T18" fmla="*/ 89 w 569"/>
                  <a:gd name="T19" fmla="*/ 267 h 509"/>
                  <a:gd name="T20" fmla="*/ 60 w 569"/>
                  <a:gd name="T21" fmla="*/ 236 h 509"/>
                  <a:gd name="T22" fmla="*/ 33 w 569"/>
                  <a:gd name="T23" fmla="*/ 210 h 509"/>
                  <a:gd name="T24" fmla="*/ 6 w 569"/>
                  <a:gd name="T25" fmla="*/ 198 h 509"/>
                  <a:gd name="T26" fmla="*/ 25 w 569"/>
                  <a:gd name="T27" fmla="*/ 175 h 509"/>
                  <a:gd name="T28" fmla="*/ 41 w 569"/>
                  <a:gd name="T29" fmla="*/ 146 h 509"/>
                  <a:gd name="T30" fmla="*/ 85 w 569"/>
                  <a:gd name="T31" fmla="*/ 126 h 509"/>
                  <a:gd name="T32" fmla="*/ 128 w 569"/>
                  <a:gd name="T33" fmla="*/ 122 h 509"/>
                  <a:gd name="T34" fmla="*/ 164 w 569"/>
                  <a:gd name="T35" fmla="*/ 107 h 509"/>
                  <a:gd name="T36" fmla="*/ 188 w 569"/>
                  <a:gd name="T37" fmla="*/ 92 h 509"/>
                  <a:gd name="T38" fmla="*/ 237 w 569"/>
                  <a:gd name="T39" fmla="*/ 103 h 509"/>
                  <a:gd name="T40" fmla="*/ 273 w 569"/>
                  <a:gd name="T41" fmla="*/ 101 h 509"/>
                  <a:gd name="T42" fmla="*/ 282 w 569"/>
                  <a:gd name="T43" fmla="*/ 78 h 509"/>
                  <a:gd name="T44" fmla="*/ 295 w 569"/>
                  <a:gd name="T45" fmla="*/ 68 h 509"/>
                  <a:gd name="T46" fmla="*/ 321 w 569"/>
                  <a:gd name="T47" fmla="*/ 39 h 509"/>
                  <a:gd name="T48" fmla="*/ 343 w 569"/>
                  <a:gd name="T49" fmla="*/ 44 h 509"/>
                  <a:gd name="T50" fmla="*/ 368 w 569"/>
                  <a:gd name="T51" fmla="*/ 52 h 509"/>
                  <a:gd name="T52" fmla="*/ 423 w 569"/>
                  <a:gd name="T53" fmla="*/ 18 h 509"/>
                  <a:gd name="T54" fmla="*/ 446 w 569"/>
                  <a:gd name="T55" fmla="*/ 7 h 509"/>
                  <a:gd name="T56" fmla="*/ 468 w 569"/>
                  <a:gd name="T57" fmla="*/ 20 h 509"/>
                  <a:gd name="T58" fmla="*/ 488 w 569"/>
                  <a:gd name="T59" fmla="*/ 49 h 509"/>
                  <a:gd name="T60" fmla="*/ 491 w 569"/>
                  <a:gd name="T61" fmla="*/ 77 h 509"/>
                  <a:gd name="T62" fmla="*/ 489 w 569"/>
                  <a:gd name="T63" fmla="*/ 109 h 509"/>
                  <a:gd name="T64" fmla="*/ 483 w 569"/>
                  <a:gd name="T65" fmla="*/ 137 h 509"/>
                  <a:gd name="T66" fmla="*/ 499 w 569"/>
                  <a:gd name="T67" fmla="*/ 161 h 509"/>
                  <a:gd name="T68" fmla="*/ 528 w 569"/>
                  <a:gd name="T69" fmla="*/ 171 h 509"/>
                  <a:gd name="T70" fmla="*/ 541 w 569"/>
                  <a:gd name="T71" fmla="*/ 189 h 509"/>
                  <a:gd name="T72" fmla="*/ 539 w 569"/>
                  <a:gd name="T73" fmla="*/ 225 h 509"/>
                  <a:gd name="T74" fmla="*/ 552 w 569"/>
                  <a:gd name="T75" fmla="*/ 249 h 509"/>
                  <a:gd name="T76" fmla="*/ 542 w 569"/>
                  <a:gd name="T77" fmla="*/ 279 h 509"/>
                  <a:gd name="T78" fmla="*/ 530 w 569"/>
                  <a:gd name="T79" fmla="*/ 288 h 509"/>
                  <a:gd name="T80" fmla="*/ 548 w 569"/>
                  <a:gd name="T81" fmla="*/ 306 h 509"/>
                  <a:gd name="T82" fmla="*/ 567 w 569"/>
                  <a:gd name="T83" fmla="*/ 330 h 509"/>
                  <a:gd name="T84" fmla="*/ 557 w 569"/>
                  <a:gd name="T85" fmla="*/ 360 h 509"/>
                  <a:gd name="T86" fmla="*/ 544 w 569"/>
                  <a:gd name="T87" fmla="*/ 384 h 509"/>
                  <a:gd name="T88" fmla="*/ 524 w 569"/>
                  <a:gd name="T89" fmla="*/ 401 h 509"/>
                  <a:gd name="T90" fmla="*/ 495 w 569"/>
                  <a:gd name="T91" fmla="*/ 412 h 509"/>
                  <a:gd name="T92" fmla="*/ 475 w 569"/>
                  <a:gd name="T93" fmla="*/ 420 h 509"/>
                  <a:gd name="T94" fmla="*/ 469 w 569"/>
                  <a:gd name="T95" fmla="*/ 456 h 509"/>
                  <a:gd name="T96" fmla="*/ 457 w 569"/>
                  <a:gd name="T97" fmla="*/ 480 h 509"/>
                  <a:gd name="T98" fmla="*/ 438 w 569"/>
                  <a:gd name="T99" fmla="*/ 480 h 509"/>
                  <a:gd name="T100" fmla="*/ 411 w 569"/>
                  <a:gd name="T101" fmla="*/ 478 h 509"/>
                  <a:gd name="T102" fmla="*/ 386 w 569"/>
                  <a:gd name="T103" fmla="*/ 495 h 509"/>
                  <a:gd name="T104" fmla="*/ 372 w 569"/>
                  <a:gd name="T105" fmla="*/ 480 h 509"/>
                  <a:gd name="T106" fmla="*/ 340 w 569"/>
                  <a:gd name="T107" fmla="*/ 465 h 509"/>
                  <a:gd name="T108" fmla="*/ 330 w 569"/>
                  <a:gd name="T109" fmla="*/ 486 h 509"/>
                  <a:gd name="T110" fmla="*/ 312 w 569"/>
                  <a:gd name="T111" fmla="*/ 499 h 509"/>
                  <a:gd name="T112" fmla="*/ 291 w 569"/>
                  <a:gd name="T113" fmla="*/ 488 h 509"/>
                  <a:gd name="T114" fmla="*/ 269 w 569"/>
                  <a:gd name="T115" fmla="*/ 484 h 509"/>
                  <a:gd name="T116" fmla="*/ 243 w 569"/>
                  <a:gd name="T117" fmla="*/ 476 h 509"/>
                  <a:gd name="T118" fmla="*/ 233 w 569"/>
                  <a:gd name="T119" fmla="*/ 484 h 509"/>
                  <a:gd name="T120" fmla="*/ 216 w 569"/>
                  <a:gd name="T121" fmla="*/ 473 h 509"/>
                  <a:gd name="T122" fmla="*/ 190 w 569"/>
                  <a:gd name="T123" fmla="*/ 474 h 509"/>
                  <a:gd name="T124" fmla="*/ 158 w 569"/>
                  <a:gd name="T125" fmla="*/ 475 h 50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569"/>
                  <a:gd name="T190" fmla="*/ 0 h 509"/>
                  <a:gd name="T191" fmla="*/ 569 w 569"/>
                  <a:gd name="T192" fmla="*/ 509 h 50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569" h="509">
                    <a:moveTo>
                      <a:pt x="144" y="458"/>
                    </a:moveTo>
                    <a:lnTo>
                      <a:pt x="142" y="460"/>
                    </a:lnTo>
                    <a:lnTo>
                      <a:pt x="142" y="459"/>
                    </a:lnTo>
                    <a:lnTo>
                      <a:pt x="139" y="461"/>
                    </a:lnTo>
                    <a:lnTo>
                      <a:pt x="138" y="461"/>
                    </a:lnTo>
                    <a:lnTo>
                      <a:pt x="136" y="460"/>
                    </a:lnTo>
                    <a:lnTo>
                      <a:pt x="135" y="463"/>
                    </a:lnTo>
                    <a:lnTo>
                      <a:pt x="136" y="465"/>
                    </a:lnTo>
                    <a:lnTo>
                      <a:pt x="135" y="467"/>
                    </a:lnTo>
                    <a:lnTo>
                      <a:pt x="135" y="465"/>
                    </a:lnTo>
                    <a:lnTo>
                      <a:pt x="134" y="468"/>
                    </a:lnTo>
                    <a:lnTo>
                      <a:pt x="134" y="469"/>
                    </a:lnTo>
                    <a:lnTo>
                      <a:pt x="134" y="470"/>
                    </a:lnTo>
                    <a:lnTo>
                      <a:pt x="133" y="470"/>
                    </a:lnTo>
                    <a:lnTo>
                      <a:pt x="133" y="471"/>
                    </a:lnTo>
                    <a:lnTo>
                      <a:pt x="132" y="469"/>
                    </a:lnTo>
                    <a:lnTo>
                      <a:pt x="131" y="469"/>
                    </a:lnTo>
                    <a:lnTo>
                      <a:pt x="131" y="471"/>
                    </a:lnTo>
                    <a:lnTo>
                      <a:pt x="132" y="473"/>
                    </a:lnTo>
                    <a:lnTo>
                      <a:pt x="131" y="473"/>
                    </a:lnTo>
                    <a:lnTo>
                      <a:pt x="131" y="475"/>
                    </a:lnTo>
                    <a:lnTo>
                      <a:pt x="130" y="475"/>
                    </a:lnTo>
                    <a:lnTo>
                      <a:pt x="130" y="472"/>
                    </a:lnTo>
                    <a:lnTo>
                      <a:pt x="128" y="472"/>
                    </a:lnTo>
                    <a:lnTo>
                      <a:pt x="128" y="470"/>
                    </a:lnTo>
                    <a:lnTo>
                      <a:pt x="126" y="472"/>
                    </a:lnTo>
                    <a:lnTo>
                      <a:pt x="126" y="473"/>
                    </a:lnTo>
                    <a:lnTo>
                      <a:pt x="125" y="475"/>
                    </a:lnTo>
                    <a:lnTo>
                      <a:pt x="125" y="476"/>
                    </a:lnTo>
                    <a:lnTo>
                      <a:pt x="125" y="477"/>
                    </a:lnTo>
                    <a:lnTo>
                      <a:pt x="121" y="476"/>
                    </a:lnTo>
                    <a:lnTo>
                      <a:pt x="118" y="475"/>
                    </a:lnTo>
                    <a:lnTo>
                      <a:pt x="118" y="473"/>
                    </a:lnTo>
                    <a:lnTo>
                      <a:pt x="117" y="472"/>
                    </a:lnTo>
                    <a:lnTo>
                      <a:pt x="114" y="475"/>
                    </a:lnTo>
                    <a:lnTo>
                      <a:pt x="114" y="478"/>
                    </a:lnTo>
                    <a:lnTo>
                      <a:pt x="113" y="478"/>
                    </a:lnTo>
                    <a:lnTo>
                      <a:pt x="111" y="480"/>
                    </a:lnTo>
                    <a:lnTo>
                      <a:pt x="111" y="478"/>
                    </a:lnTo>
                    <a:lnTo>
                      <a:pt x="107" y="479"/>
                    </a:lnTo>
                    <a:lnTo>
                      <a:pt x="107" y="478"/>
                    </a:lnTo>
                    <a:lnTo>
                      <a:pt x="105" y="478"/>
                    </a:lnTo>
                    <a:lnTo>
                      <a:pt x="105" y="476"/>
                    </a:lnTo>
                    <a:lnTo>
                      <a:pt x="104" y="475"/>
                    </a:lnTo>
                    <a:lnTo>
                      <a:pt x="103" y="476"/>
                    </a:lnTo>
                    <a:lnTo>
                      <a:pt x="100" y="476"/>
                    </a:lnTo>
                    <a:lnTo>
                      <a:pt x="102" y="475"/>
                    </a:lnTo>
                    <a:lnTo>
                      <a:pt x="102" y="473"/>
                    </a:lnTo>
                    <a:lnTo>
                      <a:pt x="104" y="472"/>
                    </a:lnTo>
                    <a:lnTo>
                      <a:pt x="100" y="472"/>
                    </a:lnTo>
                    <a:lnTo>
                      <a:pt x="100" y="473"/>
                    </a:lnTo>
                    <a:lnTo>
                      <a:pt x="98" y="472"/>
                    </a:lnTo>
                    <a:lnTo>
                      <a:pt x="98" y="470"/>
                    </a:lnTo>
                    <a:lnTo>
                      <a:pt x="98" y="468"/>
                    </a:lnTo>
                    <a:lnTo>
                      <a:pt x="95" y="465"/>
                    </a:lnTo>
                    <a:lnTo>
                      <a:pt x="93" y="466"/>
                    </a:lnTo>
                    <a:lnTo>
                      <a:pt x="93" y="467"/>
                    </a:lnTo>
                    <a:lnTo>
                      <a:pt x="94" y="468"/>
                    </a:lnTo>
                    <a:lnTo>
                      <a:pt x="92" y="468"/>
                    </a:lnTo>
                    <a:lnTo>
                      <a:pt x="90" y="471"/>
                    </a:lnTo>
                    <a:lnTo>
                      <a:pt x="89" y="471"/>
                    </a:lnTo>
                    <a:lnTo>
                      <a:pt x="87" y="472"/>
                    </a:lnTo>
                    <a:lnTo>
                      <a:pt x="87" y="471"/>
                    </a:lnTo>
                    <a:lnTo>
                      <a:pt x="87" y="470"/>
                    </a:lnTo>
                    <a:lnTo>
                      <a:pt x="86" y="471"/>
                    </a:lnTo>
                    <a:lnTo>
                      <a:pt x="85" y="471"/>
                    </a:lnTo>
                    <a:lnTo>
                      <a:pt x="85" y="467"/>
                    </a:lnTo>
                    <a:lnTo>
                      <a:pt x="85" y="468"/>
                    </a:lnTo>
                    <a:lnTo>
                      <a:pt x="84" y="467"/>
                    </a:lnTo>
                    <a:lnTo>
                      <a:pt x="84" y="463"/>
                    </a:lnTo>
                    <a:lnTo>
                      <a:pt x="82" y="463"/>
                    </a:lnTo>
                    <a:lnTo>
                      <a:pt x="83" y="464"/>
                    </a:lnTo>
                    <a:lnTo>
                      <a:pt x="81" y="464"/>
                    </a:lnTo>
                    <a:lnTo>
                      <a:pt x="81" y="467"/>
                    </a:lnTo>
                    <a:lnTo>
                      <a:pt x="79" y="467"/>
                    </a:lnTo>
                    <a:lnTo>
                      <a:pt x="79" y="468"/>
                    </a:lnTo>
                    <a:lnTo>
                      <a:pt x="76" y="466"/>
                    </a:lnTo>
                    <a:lnTo>
                      <a:pt x="74" y="465"/>
                    </a:lnTo>
                    <a:lnTo>
                      <a:pt x="72" y="469"/>
                    </a:lnTo>
                    <a:lnTo>
                      <a:pt x="71" y="469"/>
                    </a:lnTo>
                    <a:lnTo>
                      <a:pt x="68" y="468"/>
                    </a:lnTo>
                    <a:lnTo>
                      <a:pt x="67" y="468"/>
                    </a:lnTo>
                    <a:lnTo>
                      <a:pt x="68" y="465"/>
                    </a:lnTo>
                    <a:lnTo>
                      <a:pt x="68" y="464"/>
                    </a:lnTo>
                    <a:lnTo>
                      <a:pt x="69" y="459"/>
                    </a:lnTo>
                    <a:lnTo>
                      <a:pt x="70" y="456"/>
                    </a:lnTo>
                    <a:lnTo>
                      <a:pt x="68" y="455"/>
                    </a:lnTo>
                    <a:lnTo>
                      <a:pt x="69" y="452"/>
                    </a:lnTo>
                    <a:lnTo>
                      <a:pt x="65" y="448"/>
                    </a:lnTo>
                    <a:lnTo>
                      <a:pt x="64" y="448"/>
                    </a:lnTo>
                    <a:lnTo>
                      <a:pt x="61" y="452"/>
                    </a:lnTo>
                    <a:lnTo>
                      <a:pt x="61" y="451"/>
                    </a:lnTo>
                    <a:lnTo>
                      <a:pt x="63" y="450"/>
                    </a:lnTo>
                    <a:lnTo>
                      <a:pt x="64" y="445"/>
                    </a:lnTo>
                    <a:lnTo>
                      <a:pt x="63" y="444"/>
                    </a:lnTo>
                    <a:lnTo>
                      <a:pt x="63" y="443"/>
                    </a:lnTo>
                    <a:lnTo>
                      <a:pt x="65" y="437"/>
                    </a:lnTo>
                    <a:lnTo>
                      <a:pt x="64" y="433"/>
                    </a:lnTo>
                    <a:lnTo>
                      <a:pt x="66" y="431"/>
                    </a:lnTo>
                    <a:lnTo>
                      <a:pt x="68" y="428"/>
                    </a:lnTo>
                    <a:lnTo>
                      <a:pt x="68" y="421"/>
                    </a:lnTo>
                    <a:lnTo>
                      <a:pt x="69" y="420"/>
                    </a:lnTo>
                    <a:lnTo>
                      <a:pt x="70" y="417"/>
                    </a:lnTo>
                    <a:lnTo>
                      <a:pt x="69" y="415"/>
                    </a:lnTo>
                    <a:lnTo>
                      <a:pt x="67" y="416"/>
                    </a:lnTo>
                    <a:lnTo>
                      <a:pt x="65" y="414"/>
                    </a:lnTo>
                    <a:lnTo>
                      <a:pt x="65" y="412"/>
                    </a:lnTo>
                    <a:lnTo>
                      <a:pt x="63" y="411"/>
                    </a:lnTo>
                    <a:lnTo>
                      <a:pt x="61" y="412"/>
                    </a:lnTo>
                    <a:lnTo>
                      <a:pt x="58" y="411"/>
                    </a:lnTo>
                    <a:lnTo>
                      <a:pt x="58" y="409"/>
                    </a:lnTo>
                    <a:lnTo>
                      <a:pt x="60" y="409"/>
                    </a:lnTo>
                    <a:lnTo>
                      <a:pt x="60" y="408"/>
                    </a:lnTo>
                    <a:lnTo>
                      <a:pt x="57" y="407"/>
                    </a:lnTo>
                    <a:lnTo>
                      <a:pt x="57" y="406"/>
                    </a:lnTo>
                    <a:lnTo>
                      <a:pt x="55" y="406"/>
                    </a:lnTo>
                    <a:lnTo>
                      <a:pt x="53" y="405"/>
                    </a:lnTo>
                    <a:lnTo>
                      <a:pt x="52" y="405"/>
                    </a:lnTo>
                    <a:lnTo>
                      <a:pt x="52" y="402"/>
                    </a:lnTo>
                    <a:lnTo>
                      <a:pt x="50" y="401"/>
                    </a:lnTo>
                    <a:lnTo>
                      <a:pt x="53" y="402"/>
                    </a:lnTo>
                    <a:lnTo>
                      <a:pt x="56" y="405"/>
                    </a:lnTo>
                    <a:lnTo>
                      <a:pt x="59" y="405"/>
                    </a:lnTo>
                    <a:lnTo>
                      <a:pt x="60" y="404"/>
                    </a:lnTo>
                    <a:lnTo>
                      <a:pt x="61" y="404"/>
                    </a:lnTo>
                    <a:lnTo>
                      <a:pt x="63" y="403"/>
                    </a:lnTo>
                    <a:lnTo>
                      <a:pt x="61" y="403"/>
                    </a:lnTo>
                    <a:lnTo>
                      <a:pt x="60" y="397"/>
                    </a:lnTo>
                    <a:lnTo>
                      <a:pt x="56" y="396"/>
                    </a:lnTo>
                    <a:lnTo>
                      <a:pt x="55" y="394"/>
                    </a:lnTo>
                    <a:lnTo>
                      <a:pt x="56" y="392"/>
                    </a:lnTo>
                    <a:lnTo>
                      <a:pt x="55" y="391"/>
                    </a:lnTo>
                    <a:lnTo>
                      <a:pt x="56" y="390"/>
                    </a:lnTo>
                    <a:lnTo>
                      <a:pt x="57" y="391"/>
                    </a:lnTo>
                    <a:lnTo>
                      <a:pt x="57" y="392"/>
                    </a:lnTo>
                    <a:lnTo>
                      <a:pt x="58" y="391"/>
                    </a:lnTo>
                    <a:lnTo>
                      <a:pt x="59" y="391"/>
                    </a:lnTo>
                    <a:lnTo>
                      <a:pt x="60" y="391"/>
                    </a:lnTo>
                    <a:lnTo>
                      <a:pt x="63" y="390"/>
                    </a:lnTo>
                    <a:lnTo>
                      <a:pt x="64" y="391"/>
                    </a:lnTo>
                    <a:lnTo>
                      <a:pt x="67" y="388"/>
                    </a:lnTo>
                    <a:lnTo>
                      <a:pt x="65" y="388"/>
                    </a:lnTo>
                    <a:lnTo>
                      <a:pt x="65" y="386"/>
                    </a:lnTo>
                    <a:lnTo>
                      <a:pt x="63" y="386"/>
                    </a:lnTo>
                    <a:lnTo>
                      <a:pt x="62" y="385"/>
                    </a:lnTo>
                    <a:lnTo>
                      <a:pt x="60" y="386"/>
                    </a:lnTo>
                    <a:lnTo>
                      <a:pt x="61" y="384"/>
                    </a:lnTo>
                    <a:lnTo>
                      <a:pt x="60" y="384"/>
                    </a:lnTo>
                    <a:lnTo>
                      <a:pt x="58" y="385"/>
                    </a:lnTo>
                    <a:lnTo>
                      <a:pt x="58" y="384"/>
                    </a:lnTo>
                    <a:lnTo>
                      <a:pt x="57" y="384"/>
                    </a:lnTo>
                    <a:lnTo>
                      <a:pt x="56" y="386"/>
                    </a:lnTo>
                    <a:lnTo>
                      <a:pt x="55" y="386"/>
                    </a:lnTo>
                    <a:lnTo>
                      <a:pt x="55" y="388"/>
                    </a:lnTo>
                    <a:lnTo>
                      <a:pt x="53" y="387"/>
                    </a:lnTo>
                    <a:lnTo>
                      <a:pt x="52" y="383"/>
                    </a:lnTo>
                    <a:lnTo>
                      <a:pt x="53" y="384"/>
                    </a:lnTo>
                    <a:lnTo>
                      <a:pt x="53" y="383"/>
                    </a:lnTo>
                    <a:lnTo>
                      <a:pt x="52" y="382"/>
                    </a:lnTo>
                    <a:lnTo>
                      <a:pt x="54" y="380"/>
                    </a:lnTo>
                    <a:lnTo>
                      <a:pt x="53" y="378"/>
                    </a:lnTo>
                    <a:lnTo>
                      <a:pt x="54" y="376"/>
                    </a:lnTo>
                    <a:lnTo>
                      <a:pt x="58" y="374"/>
                    </a:lnTo>
                    <a:lnTo>
                      <a:pt x="61" y="368"/>
                    </a:lnTo>
                    <a:lnTo>
                      <a:pt x="71" y="365"/>
                    </a:lnTo>
                    <a:lnTo>
                      <a:pt x="73" y="364"/>
                    </a:lnTo>
                    <a:lnTo>
                      <a:pt x="75" y="364"/>
                    </a:lnTo>
                    <a:lnTo>
                      <a:pt x="74" y="364"/>
                    </a:lnTo>
                    <a:lnTo>
                      <a:pt x="74" y="367"/>
                    </a:lnTo>
                    <a:lnTo>
                      <a:pt x="76" y="368"/>
                    </a:lnTo>
                    <a:lnTo>
                      <a:pt x="77" y="370"/>
                    </a:lnTo>
                    <a:lnTo>
                      <a:pt x="77" y="371"/>
                    </a:lnTo>
                    <a:lnTo>
                      <a:pt x="79" y="371"/>
                    </a:lnTo>
                    <a:lnTo>
                      <a:pt x="80" y="371"/>
                    </a:lnTo>
                    <a:lnTo>
                      <a:pt x="81" y="369"/>
                    </a:lnTo>
                    <a:lnTo>
                      <a:pt x="81" y="368"/>
                    </a:lnTo>
                    <a:lnTo>
                      <a:pt x="82" y="367"/>
                    </a:lnTo>
                    <a:lnTo>
                      <a:pt x="82" y="365"/>
                    </a:lnTo>
                    <a:lnTo>
                      <a:pt x="84" y="364"/>
                    </a:lnTo>
                    <a:lnTo>
                      <a:pt x="85" y="361"/>
                    </a:lnTo>
                    <a:lnTo>
                      <a:pt x="86" y="361"/>
                    </a:lnTo>
                    <a:lnTo>
                      <a:pt x="89" y="361"/>
                    </a:lnTo>
                    <a:lnTo>
                      <a:pt x="89" y="360"/>
                    </a:lnTo>
                    <a:lnTo>
                      <a:pt x="90" y="360"/>
                    </a:lnTo>
                    <a:lnTo>
                      <a:pt x="91" y="360"/>
                    </a:lnTo>
                    <a:lnTo>
                      <a:pt x="93" y="358"/>
                    </a:lnTo>
                    <a:lnTo>
                      <a:pt x="93" y="359"/>
                    </a:lnTo>
                    <a:lnTo>
                      <a:pt x="95" y="356"/>
                    </a:lnTo>
                    <a:lnTo>
                      <a:pt x="95" y="354"/>
                    </a:lnTo>
                    <a:lnTo>
                      <a:pt x="93" y="353"/>
                    </a:lnTo>
                    <a:lnTo>
                      <a:pt x="92" y="352"/>
                    </a:lnTo>
                    <a:lnTo>
                      <a:pt x="91" y="351"/>
                    </a:lnTo>
                    <a:lnTo>
                      <a:pt x="90" y="352"/>
                    </a:lnTo>
                    <a:lnTo>
                      <a:pt x="89" y="352"/>
                    </a:lnTo>
                    <a:lnTo>
                      <a:pt x="87" y="354"/>
                    </a:lnTo>
                    <a:lnTo>
                      <a:pt x="86" y="353"/>
                    </a:lnTo>
                    <a:lnTo>
                      <a:pt x="87" y="350"/>
                    </a:lnTo>
                    <a:lnTo>
                      <a:pt x="90" y="349"/>
                    </a:lnTo>
                    <a:lnTo>
                      <a:pt x="92" y="344"/>
                    </a:lnTo>
                    <a:lnTo>
                      <a:pt x="92" y="341"/>
                    </a:lnTo>
                    <a:lnTo>
                      <a:pt x="91" y="339"/>
                    </a:lnTo>
                    <a:lnTo>
                      <a:pt x="91" y="338"/>
                    </a:lnTo>
                    <a:lnTo>
                      <a:pt x="90" y="335"/>
                    </a:lnTo>
                    <a:lnTo>
                      <a:pt x="91" y="333"/>
                    </a:lnTo>
                    <a:lnTo>
                      <a:pt x="95" y="333"/>
                    </a:lnTo>
                    <a:lnTo>
                      <a:pt x="95" y="331"/>
                    </a:lnTo>
                    <a:lnTo>
                      <a:pt x="97" y="330"/>
                    </a:lnTo>
                    <a:lnTo>
                      <a:pt x="96" y="330"/>
                    </a:lnTo>
                    <a:lnTo>
                      <a:pt x="97" y="326"/>
                    </a:lnTo>
                    <a:lnTo>
                      <a:pt x="95" y="324"/>
                    </a:lnTo>
                    <a:lnTo>
                      <a:pt x="95" y="321"/>
                    </a:lnTo>
                    <a:lnTo>
                      <a:pt x="98" y="318"/>
                    </a:lnTo>
                    <a:lnTo>
                      <a:pt x="97" y="316"/>
                    </a:lnTo>
                    <a:lnTo>
                      <a:pt x="96" y="314"/>
                    </a:lnTo>
                    <a:lnTo>
                      <a:pt x="97" y="313"/>
                    </a:lnTo>
                    <a:lnTo>
                      <a:pt x="98" y="314"/>
                    </a:lnTo>
                    <a:lnTo>
                      <a:pt x="100" y="310"/>
                    </a:lnTo>
                    <a:lnTo>
                      <a:pt x="99" y="308"/>
                    </a:lnTo>
                    <a:lnTo>
                      <a:pt x="100" y="308"/>
                    </a:lnTo>
                    <a:lnTo>
                      <a:pt x="100" y="304"/>
                    </a:lnTo>
                    <a:lnTo>
                      <a:pt x="101" y="304"/>
                    </a:lnTo>
                    <a:lnTo>
                      <a:pt x="102" y="304"/>
                    </a:lnTo>
                    <a:lnTo>
                      <a:pt x="103" y="304"/>
                    </a:lnTo>
                    <a:lnTo>
                      <a:pt x="104" y="304"/>
                    </a:lnTo>
                    <a:lnTo>
                      <a:pt x="105" y="304"/>
                    </a:lnTo>
                    <a:lnTo>
                      <a:pt x="106" y="304"/>
                    </a:lnTo>
                    <a:lnTo>
                      <a:pt x="106" y="306"/>
                    </a:lnTo>
                    <a:lnTo>
                      <a:pt x="107" y="305"/>
                    </a:lnTo>
                    <a:lnTo>
                      <a:pt x="107" y="299"/>
                    </a:lnTo>
                    <a:lnTo>
                      <a:pt x="107" y="293"/>
                    </a:lnTo>
                    <a:lnTo>
                      <a:pt x="106" y="291"/>
                    </a:lnTo>
                    <a:lnTo>
                      <a:pt x="107" y="289"/>
                    </a:lnTo>
                    <a:lnTo>
                      <a:pt x="107" y="287"/>
                    </a:lnTo>
                    <a:lnTo>
                      <a:pt x="106" y="287"/>
                    </a:lnTo>
                    <a:lnTo>
                      <a:pt x="105" y="286"/>
                    </a:lnTo>
                    <a:lnTo>
                      <a:pt x="106" y="284"/>
                    </a:lnTo>
                    <a:lnTo>
                      <a:pt x="107" y="283"/>
                    </a:lnTo>
                    <a:lnTo>
                      <a:pt x="107" y="280"/>
                    </a:lnTo>
                    <a:lnTo>
                      <a:pt x="106" y="280"/>
                    </a:lnTo>
                    <a:lnTo>
                      <a:pt x="107" y="278"/>
                    </a:lnTo>
                    <a:lnTo>
                      <a:pt x="110" y="277"/>
                    </a:lnTo>
                    <a:lnTo>
                      <a:pt x="106" y="277"/>
                    </a:lnTo>
                    <a:lnTo>
                      <a:pt x="104" y="276"/>
                    </a:lnTo>
                    <a:lnTo>
                      <a:pt x="100" y="272"/>
                    </a:lnTo>
                    <a:lnTo>
                      <a:pt x="98" y="269"/>
                    </a:lnTo>
                    <a:lnTo>
                      <a:pt x="93" y="268"/>
                    </a:lnTo>
                    <a:lnTo>
                      <a:pt x="92" y="267"/>
                    </a:lnTo>
                    <a:lnTo>
                      <a:pt x="89" y="268"/>
                    </a:lnTo>
                    <a:lnTo>
                      <a:pt x="87" y="267"/>
                    </a:lnTo>
                    <a:lnTo>
                      <a:pt x="87" y="266"/>
                    </a:lnTo>
                    <a:lnTo>
                      <a:pt x="89" y="267"/>
                    </a:lnTo>
                    <a:lnTo>
                      <a:pt x="90" y="262"/>
                    </a:lnTo>
                    <a:lnTo>
                      <a:pt x="90" y="260"/>
                    </a:lnTo>
                    <a:lnTo>
                      <a:pt x="90" y="259"/>
                    </a:lnTo>
                    <a:lnTo>
                      <a:pt x="90" y="256"/>
                    </a:lnTo>
                    <a:lnTo>
                      <a:pt x="87" y="256"/>
                    </a:lnTo>
                    <a:lnTo>
                      <a:pt x="85" y="255"/>
                    </a:lnTo>
                    <a:lnTo>
                      <a:pt x="83" y="254"/>
                    </a:lnTo>
                    <a:lnTo>
                      <a:pt x="79" y="254"/>
                    </a:lnTo>
                    <a:lnTo>
                      <a:pt x="77" y="255"/>
                    </a:lnTo>
                    <a:lnTo>
                      <a:pt x="77" y="252"/>
                    </a:lnTo>
                    <a:lnTo>
                      <a:pt x="76" y="248"/>
                    </a:lnTo>
                    <a:lnTo>
                      <a:pt x="74" y="247"/>
                    </a:lnTo>
                    <a:lnTo>
                      <a:pt x="73" y="248"/>
                    </a:lnTo>
                    <a:lnTo>
                      <a:pt x="73" y="247"/>
                    </a:lnTo>
                    <a:lnTo>
                      <a:pt x="71" y="244"/>
                    </a:lnTo>
                    <a:lnTo>
                      <a:pt x="70" y="244"/>
                    </a:lnTo>
                    <a:lnTo>
                      <a:pt x="70" y="238"/>
                    </a:lnTo>
                    <a:lnTo>
                      <a:pt x="68" y="237"/>
                    </a:lnTo>
                    <a:lnTo>
                      <a:pt x="67" y="235"/>
                    </a:lnTo>
                    <a:lnTo>
                      <a:pt x="66" y="235"/>
                    </a:lnTo>
                    <a:lnTo>
                      <a:pt x="65" y="234"/>
                    </a:lnTo>
                    <a:lnTo>
                      <a:pt x="63" y="236"/>
                    </a:lnTo>
                    <a:lnTo>
                      <a:pt x="62" y="236"/>
                    </a:lnTo>
                    <a:lnTo>
                      <a:pt x="61" y="235"/>
                    </a:lnTo>
                    <a:lnTo>
                      <a:pt x="60" y="236"/>
                    </a:lnTo>
                    <a:lnTo>
                      <a:pt x="61" y="237"/>
                    </a:lnTo>
                    <a:lnTo>
                      <a:pt x="53" y="237"/>
                    </a:lnTo>
                    <a:lnTo>
                      <a:pt x="52" y="236"/>
                    </a:lnTo>
                    <a:lnTo>
                      <a:pt x="43" y="234"/>
                    </a:lnTo>
                    <a:lnTo>
                      <a:pt x="43" y="233"/>
                    </a:lnTo>
                    <a:lnTo>
                      <a:pt x="42" y="232"/>
                    </a:lnTo>
                    <a:lnTo>
                      <a:pt x="42" y="231"/>
                    </a:lnTo>
                    <a:lnTo>
                      <a:pt x="40" y="229"/>
                    </a:lnTo>
                    <a:lnTo>
                      <a:pt x="41" y="228"/>
                    </a:lnTo>
                    <a:lnTo>
                      <a:pt x="40" y="227"/>
                    </a:lnTo>
                    <a:lnTo>
                      <a:pt x="38" y="226"/>
                    </a:lnTo>
                    <a:lnTo>
                      <a:pt x="37" y="224"/>
                    </a:lnTo>
                    <a:lnTo>
                      <a:pt x="36" y="224"/>
                    </a:lnTo>
                    <a:lnTo>
                      <a:pt x="35" y="223"/>
                    </a:lnTo>
                    <a:lnTo>
                      <a:pt x="32" y="223"/>
                    </a:lnTo>
                    <a:lnTo>
                      <a:pt x="31" y="220"/>
                    </a:lnTo>
                    <a:lnTo>
                      <a:pt x="29" y="220"/>
                    </a:lnTo>
                    <a:lnTo>
                      <a:pt x="27" y="219"/>
                    </a:lnTo>
                    <a:lnTo>
                      <a:pt x="28" y="215"/>
                    </a:lnTo>
                    <a:lnTo>
                      <a:pt x="29" y="216"/>
                    </a:lnTo>
                    <a:lnTo>
                      <a:pt x="30" y="215"/>
                    </a:lnTo>
                    <a:lnTo>
                      <a:pt x="34" y="215"/>
                    </a:lnTo>
                    <a:lnTo>
                      <a:pt x="37" y="217"/>
                    </a:lnTo>
                    <a:lnTo>
                      <a:pt x="37" y="216"/>
                    </a:lnTo>
                    <a:lnTo>
                      <a:pt x="35" y="215"/>
                    </a:lnTo>
                    <a:lnTo>
                      <a:pt x="34" y="215"/>
                    </a:lnTo>
                    <a:lnTo>
                      <a:pt x="33" y="210"/>
                    </a:lnTo>
                    <a:lnTo>
                      <a:pt x="32" y="210"/>
                    </a:lnTo>
                    <a:lnTo>
                      <a:pt x="27" y="210"/>
                    </a:lnTo>
                    <a:lnTo>
                      <a:pt x="25" y="212"/>
                    </a:lnTo>
                    <a:lnTo>
                      <a:pt x="23" y="212"/>
                    </a:lnTo>
                    <a:lnTo>
                      <a:pt x="22" y="211"/>
                    </a:lnTo>
                    <a:lnTo>
                      <a:pt x="22" y="210"/>
                    </a:lnTo>
                    <a:lnTo>
                      <a:pt x="22" y="209"/>
                    </a:lnTo>
                    <a:lnTo>
                      <a:pt x="21" y="209"/>
                    </a:lnTo>
                    <a:lnTo>
                      <a:pt x="20" y="207"/>
                    </a:lnTo>
                    <a:lnTo>
                      <a:pt x="19" y="209"/>
                    </a:lnTo>
                    <a:lnTo>
                      <a:pt x="13" y="207"/>
                    </a:lnTo>
                    <a:lnTo>
                      <a:pt x="12" y="210"/>
                    </a:lnTo>
                    <a:lnTo>
                      <a:pt x="11" y="210"/>
                    </a:lnTo>
                    <a:lnTo>
                      <a:pt x="9" y="212"/>
                    </a:lnTo>
                    <a:lnTo>
                      <a:pt x="7" y="212"/>
                    </a:lnTo>
                    <a:lnTo>
                      <a:pt x="7" y="209"/>
                    </a:lnTo>
                    <a:lnTo>
                      <a:pt x="3" y="209"/>
                    </a:lnTo>
                    <a:lnTo>
                      <a:pt x="1" y="209"/>
                    </a:lnTo>
                    <a:lnTo>
                      <a:pt x="0" y="209"/>
                    </a:lnTo>
                    <a:lnTo>
                      <a:pt x="0" y="207"/>
                    </a:lnTo>
                    <a:lnTo>
                      <a:pt x="2" y="205"/>
                    </a:lnTo>
                    <a:lnTo>
                      <a:pt x="2" y="203"/>
                    </a:lnTo>
                    <a:lnTo>
                      <a:pt x="4" y="202"/>
                    </a:lnTo>
                    <a:lnTo>
                      <a:pt x="5" y="202"/>
                    </a:lnTo>
                    <a:lnTo>
                      <a:pt x="4" y="200"/>
                    </a:lnTo>
                    <a:lnTo>
                      <a:pt x="6" y="198"/>
                    </a:lnTo>
                    <a:lnTo>
                      <a:pt x="6" y="196"/>
                    </a:lnTo>
                    <a:lnTo>
                      <a:pt x="8" y="197"/>
                    </a:lnTo>
                    <a:lnTo>
                      <a:pt x="11" y="197"/>
                    </a:lnTo>
                    <a:lnTo>
                      <a:pt x="11" y="193"/>
                    </a:lnTo>
                    <a:lnTo>
                      <a:pt x="11" y="190"/>
                    </a:lnTo>
                    <a:lnTo>
                      <a:pt x="9" y="189"/>
                    </a:lnTo>
                    <a:lnTo>
                      <a:pt x="8" y="186"/>
                    </a:lnTo>
                    <a:lnTo>
                      <a:pt x="6" y="188"/>
                    </a:lnTo>
                    <a:lnTo>
                      <a:pt x="6" y="186"/>
                    </a:lnTo>
                    <a:lnTo>
                      <a:pt x="6" y="183"/>
                    </a:lnTo>
                    <a:lnTo>
                      <a:pt x="7" y="180"/>
                    </a:lnTo>
                    <a:lnTo>
                      <a:pt x="6" y="179"/>
                    </a:lnTo>
                    <a:lnTo>
                      <a:pt x="8" y="178"/>
                    </a:lnTo>
                    <a:lnTo>
                      <a:pt x="9" y="179"/>
                    </a:lnTo>
                    <a:lnTo>
                      <a:pt x="11" y="177"/>
                    </a:lnTo>
                    <a:lnTo>
                      <a:pt x="12" y="177"/>
                    </a:lnTo>
                    <a:lnTo>
                      <a:pt x="12" y="175"/>
                    </a:lnTo>
                    <a:lnTo>
                      <a:pt x="16" y="175"/>
                    </a:lnTo>
                    <a:lnTo>
                      <a:pt x="16" y="176"/>
                    </a:lnTo>
                    <a:lnTo>
                      <a:pt x="20" y="178"/>
                    </a:lnTo>
                    <a:lnTo>
                      <a:pt x="22" y="178"/>
                    </a:lnTo>
                    <a:lnTo>
                      <a:pt x="22" y="176"/>
                    </a:lnTo>
                    <a:lnTo>
                      <a:pt x="22" y="175"/>
                    </a:lnTo>
                    <a:lnTo>
                      <a:pt x="22" y="174"/>
                    </a:lnTo>
                    <a:lnTo>
                      <a:pt x="23" y="175"/>
                    </a:lnTo>
                    <a:lnTo>
                      <a:pt x="25" y="175"/>
                    </a:lnTo>
                    <a:lnTo>
                      <a:pt x="25" y="171"/>
                    </a:lnTo>
                    <a:lnTo>
                      <a:pt x="25" y="170"/>
                    </a:lnTo>
                    <a:lnTo>
                      <a:pt x="25" y="166"/>
                    </a:lnTo>
                    <a:lnTo>
                      <a:pt x="25" y="167"/>
                    </a:lnTo>
                    <a:lnTo>
                      <a:pt x="26" y="167"/>
                    </a:lnTo>
                    <a:lnTo>
                      <a:pt x="27" y="169"/>
                    </a:lnTo>
                    <a:lnTo>
                      <a:pt x="28" y="169"/>
                    </a:lnTo>
                    <a:lnTo>
                      <a:pt x="30" y="170"/>
                    </a:lnTo>
                    <a:lnTo>
                      <a:pt x="31" y="168"/>
                    </a:lnTo>
                    <a:lnTo>
                      <a:pt x="31" y="165"/>
                    </a:lnTo>
                    <a:lnTo>
                      <a:pt x="31" y="163"/>
                    </a:lnTo>
                    <a:lnTo>
                      <a:pt x="29" y="162"/>
                    </a:lnTo>
                    <a:lnTo>
                      <a:pt x="33" y="162"/>
                    </a:lnTo>
                    <a:lnTo>
                      <a:pt x="33" y="159"/>
                    </a:lnTo>
                    <a:lnTo>
                      <a:pt x="32" y="155"/>
                    </a:lnTo>
                    <a:lnTo>
                      <a:pt x="33" y="154"/>
                    </a:lnTo>
                    <a:lnTo>
                      <a:pt x="33" y="150"/>
                    </a:lnTo>
                    <a:lnTo>
                      <a:pt x="34" y="152"/>
                    </a:lnTo>
                    <a:lnTo>
                      <a:pt x="37" y="152"/>
                    </a:lnTo>
                    <a:lnTo>
                      <a:pt x="38" y="151"/>
                    </a:lnTo>
                    <a:lnTo>
                      <a:pt x="38" y="150"/>
                    </a:lnTo>
                    <a:lnTo>
                      <a:pt x="40" y="150"/>
                    </a:lnTo>
                    <a:lnTo>
                      <a:pt x="40" y="149"/>
                    </a:lnTo>
                    <a:lnTo>
                      <a:pt x="41" y="149"/>
                    </a:lnTo>
                    <a:lnTo>
                      <a:pt x="41" y="148"/>
                    </a:lnTo>
                    <a:lnTo>
                      <a:pt x="41" y="146"/>
                    </a:lnTo>
                    <a:lnTo>
                      <a:pt x="43" y="146"/>
                    </a:lnTo>
                    <a:lnTo>
                      <a:pt x="43" y="145"/>
                    </a:lnTo>
                    <a:lnTo>
                      <a:pt x="46" y="145"/>
                    </a:lnTo>
                    <a:lnTo>
                      <a:pt x="47" y="142"/>
                    </a:lnTo>
                    <a:lnTo>
                      <a:pt x="50" y="142"/>
                    </a:lnTo>
                    <a:lnTo>
                      <a:pt x="52" y="142"/>
                    </a:lnTo>
                    <a:lnTo>
                      <a:pt x="52" y="141"/>
                    </a:lnTo>
                    <a:lnTo>
                      <a:pt x="53" y="141"/>
                    </a:lnTo>
                    <a:lnTo>
                      <a:pt x="55" y="145"/>
                    </a:lnTo>
                    <a:lnTo>
                      <a:pt x="57" y="146"/>
                    </a:lnTo>
                    <a:lnTo>
                      <a:pt x="58" y="145"/>
                    </a:lnTo>
                    <a:lnTo>
                      <a:pt x="61" y="145"/>
                    </a:lnTo>
                    <a:lnTo>
                      <a:pt x="64" y="142"/>
                    </a:lnTo>
                    <a:lnTo>
                      <a:pt x="66" y="144"/>
                    </a:lnTo>
                    <a:lnTo>
                      <a:pt x="66" y="142"/>
                    </a:lnTo>
                    <a:lnTo>
                      <a:pt x="71" y="140"/>
                    </a:lnTo>
                    <a:lnTo>
                      <a:pt x="70" y="137"/>
                    </a:lnTo>
                    <a:lnTo>
                      <a:pt x="73" y="138"/>
                    </a:lnTo>
                    <a:lnTo>
                      <a:pt x="74" y="137"/>
                    </a:lnTo>
                    <a:lnTo>
                      <a:pt x="76" y="134"/>
                    </a:lnTo>
                    <a:lnTo>
                      <a:pt x="76" y="133"/>
                    </a:lnTo>
                    <a:lnTo>
                      <a:pt x="78" y="133"/>
                    </a:lnTo>
                    <a:lnTo>
                      <a:pt x="80" y="132"/>
                    </a:lnTo>
                    <a:lnTo>
                      <a:pt x="85" y="126"/>
                    </a:lnTo>
                    <a:lnTo>
                      <a:pt x="86" y="127"/>
                    </a:lnTo>
                    <a:lnTo>
                      <a:pt x="85" y="128"/>
                    </a:lnTo>
                    <a:lnTo>
                      <a:pt x="85" y="133"/>
                    </a:lnTo>
                    <a:lnTo>
                      <a:pt x="89" y="132"/>
                    </a:lnTo>
                    <a:lnTo>
                      <a:pt x="90" y="133"/>
                    </a:lnTo>
                    <a:lnTo>
                      <a:pt x="92" y="135"/>
                    </a:lnTo>
                    <a:lnTo>
                      <a:pt x="93" y="135"/>
                    </a:lnTo>
                    <a:lnTo>
                      <a:pt x="97" y="133"/>
                    </a:lnTo>
                    <a:lnTo>
                      <a:pt x="104" y="135"/>
                    </a:lnTo>
                    <a:lnTo>
                      <a:pt x="106" y="136"/>
                    </a:lnTo>
                    <a:lnTo>
                      <a:pt x="107" y="133"/>
                    </a:lnTo>
                    <a:lnTo>
                      <a:pt x="108" y="131"/>
                    </a:lnTo>
                    <a:lnTo>
                      <a:pt x="109" y="132"/>
                    </a:lnTo>
                    <a:lnTo>
                      <a:pt x="110" y="129"/>
                    </a:lnTo>
                    <a:lnTo>
                      <a:pt x="111" y="130"/>
                    </a:lnTo>
                    <a:lnTo>
                      <a:pt x="110" y="133"/>
                    </a:lnTo>
                    <a:lnTo>
                      <a:pt x="112" y="133"/>
                    </a:lnTo>
                    <a:lnTo>
                      <a:pt x="113" y="131"/>
                    </a:lnTo>
                    <a:lnTo>
                      <a:pt x="114" y="131"/>
                    </a:lnTo>
                    <a:lnTo>
                      <a:pt x="118" y="127"/>
                    </a:lnTo>
                    <a:lnTo>
                      <a:pt x="120" y="124"/>
                    </a:lnTo>
                    <a:lnTo>
                      <a:pt x="122" y="122"/>
                    </a:lnTo>
                    <a:lnTo>
                      <a:pt x="123" y="122"/>
                    </a:lnTo>
                    <a:lnTo>
                      <a:pt x="125" y="120"/>
                    </a:lnTo>
                    <a:lnTo>
                      <a:pt x="126" y="120"/>
                    </a:lnTo>
                    <a:lnTo>
                      <a:pt x="128" y="123"/>
                    </a:lnTo>
                    <a:lnTo>
                      <a:pt x="128" y="122"/>
                    </a:lnTo>
                    <a:lnTo>
                      <a:pt x="129" y="122"/>
                    </a:lnTo>
                    <a:lnTo>
                      <a:pt x="131" y="128"/>
                    </a:lnTo>
                    <a:lnTo>
                      <a:pt x="130" y="131"/>
                    </a:lnTo>
                    <a:lnTo>
                      <a:pt x="131" y="132"/>
                    </a:lnTo>
                    <a:lnTo>
                      <a:pt x="138" y="132"/>
                    </a:lnTo>
                    <a:lnTo>
                      <a:pt x="138" y="128"/>
                    </a:lnTo>
                    <a:lnTo>
                      <a:pt x="139" y="127"/>
                    </a:lnTo>
                    <a:lnTo>
                      <a:pt x="139" y="124"/>
                    </a:lnTo>
                    <a:lnTo>
                      <a:pt x="141" y="122"/>
                    </a:lnTo>
                    <a:lnTo>
                      <a:pt x="143" y="120"/>
                    </a:lnTo>
                    <a:lnTo>
                      <a:pt x="146" y="120"/>
                    </a:lnTo>
                    <a:lnTo>
                      <a:pt x="152" y="119"/>
                    </a:lnTo>
                    <a:lnTo>
                      <a:pt x="153" y="119"/>
                    </a:lnTo>
                    <a:lnTo>
                      <a:pt x="152" y="120"/>
                    </a:lnTo>
                    <a:lnTo>
                      <a:pt x="156" y="119"/>
                    </a:lnTo>
                    <a:lnTo>
                      <a:pt x="157" y="118"/>
                    </a:lnTo>
                    <a:lnTo>
                      <a:pt x="158" y="118"/>
                    </a:lnTo>
                    <a:lnTo>
                      <a:pt x="161" y="117"/>
                    </a:lnTo>
                    <a:lnTo>
                      <a:pt x="161" y="115"/>
                    </a:lnTo>
                    <a:lnTo>
                      <a:pt x="162" y="115"/>
                    </a:lnTo>
                    <a:lnTo>
                      <a:pt x="162" y="114"/>
                    </a:lnTo>
                    <a:lnTo>
                      <a:pt x="164" y="115"/>
                    </a:lnTo>
                    <a:lnTo>
                      <a:pt x="165" y="113"/>
                    </a:lnTo>
                    <a:lnTo>
                      <a:pt x="166" y="112"/>
                    </a:lnTo>
                    <a:lnTo>
                      <a:pt x="166" y="108"/>
                    </a:lnTo>
                    <a:lnTo>
                      <a:pt x="166" y="107"/>
                    </a:lnTo>
                    <a:lnTo>
                      <a:pt x="164" y="107"/>
                    </a:lnTo>
                    <a:lnTo>
                      <a:pt x="165" y="107"/>
                    </a:lnTo>
                    <a:lnTo>
                      <a:pt x="165" y="106"/>
                    </a:lnTo>
                    <a:lnTo>
                      <a:pt x="167" y="107"/>
                    </a:lnTo>
                    <a:lnTo>
                      <a:pt x="170" y="107"/>
                    </a:lnTo>
                    <a:lnTo>
                      <a:pt x="170" y="109"/>
                    </a:lnTo>
                    <a:lnTo>
                      <a:pt x="175" y="109"/>
                    </a:lnTo>
                    <a:lnTo>
                      <a:pt x="176" y="109"/>
                    </a:lnTo>
                    <a:lnTo>
                      <a:pt x="175" y="107"/>
                    </a:lnTo>
                    <a:lnTo>
                      <a:pt x="176" y="107"/>
                    </a:lnTo>
                    <a:lnTo>
                      <a:pt x="175" y="106"/>
                    </a:lnTo>
                    <a:lnTo>
                      <a:pt x="177" y="103"/>
                    </a:lnTo>
                    <a:lnTo>
                      <a:pt x="175" y="101"/>
                    </a:lnTo>
                    <a:lnTo>
                      <a:pt x="174" y="101"/>
                    </a:lnTo>
                    <a:lnTo>
                      <a:pt x="174" y="95"/>
                    </a:lnTo>
                    <a:lnTo>
                      <a:pt x="177" y="94"/>
                    </a:lnTo>
                    <a:lnTo>
                      <a:pt x="178" y="94"/>
                    </a:lnTo>
                    <a:lnTo>
                      <a:pt x="180" y="92"/>
                    </a:lnTo>
                    <a:lnTo>
                      <a:pt x="181" y="92"/>
                    </a:lnTo>
                    <a:lnTo>
                      <a:pt x="182" y="90"/>
                    </a:lnTo>
                    <a:lnTo>
                      <a:pt x="185" y="90"/>
                    </a:lnTo>
                    <a:lnTo>
                      <a:pt x="187" y="93"/>
                    </a:lnTo>
                    <a:lnTo>
                      <a:pt x="188" y="94"/>
                    </a:lnTo>
                    <a:lnTo>
                      <a:pt x="188" y="92"/>
                    </a:lnTo>
                    <a:lnTo>
                      <a:pt x="190" y="92"/>
                    </a:lnTo>
                    <a:lnTo>
                      <a:pt x="190" y="91"/>
                    </a:lnTo>
                    <a:lnTo>
                      <a:pt x="194" y="94"/>
                    </a:lnTo>
                    <a:lnTo>
                      <a:pt x="198" y="95"/>
                    </a:lnTo>
                    <a:lnTo>
                      <a:pt x="198" y="97"/>
                    </a:lnTo>
                    <a:lnTo>
                      <a:pt x="199" y="97"/>
                    </a:lnTo>
                    <a:lnTo>
                      <a:pt x="199" y="98"/>
                    </a:lnTo>
                    <a:lnTo>
                      <a:pt x="200" y="98"/>
                    </a:lnTo>
                    <a:lnTo>
                      <a:pt x="205" y="99"/>
                    </a:lnTo>
                    <a:lnTo>
                      <a:pt x="211" y="99"/>
                    </a:lnTo>
                    <a:lnTo>
                      <a:pt x="211" y="101"/>
                    </a:lnTo>
                    <a:lnTo>
                      <a:pt x="213" y="101"/>
                    </a:lnTo>
                    <a:lnTo>
                      <a:pt x="217" y="102"/>
                    </a:lnTo>
                    <a:lnTo>
                      <a:pt x="218" y="103"/>
                    </a:lnTo>
                    <a:lnTo>
                      <a:pt x="218" y="102"/>
                    </a:lnTo>
                    <a:lnTo>
                      <a:pt x="224" y="102"/>
                    </a:lnTo>
                    <a:lnTo>
                      <a:pt x="225" y="101"/>
                    </a:lnTo>
                    <a:lnTo>
                      <a:pt x="228" y="103"/>
                    </a:lnTo>
                    <a:lnTo>
                      <a:pt x="229" y="100"/>
                    </a:lnTo>
                    <a:lnTo>
                      <a:pt x="229" y="98"/>
                    </a:lnTo>
                    <a:lnTo>
                      <a:pt x="232" y="100"/>
                    </a:lnTo>
                    <a:lnTo>
                      <a:pt x="232" y="101"/>
                    </a:lnTo>
                    <a:lnTo>
                      <a:pt x="233" y="103"/>
                    </a:lnTo>
                    <a:lnTo>
                      <a:pt x="234" y="102"/>
                    </a:lnTo>
                    <a:lnTo>
                      <a:pt x="236" y="104"/>
                    </a:lnTo>
                    <a:lnTo>
                      <a:pt x="236" y="103"/>
                    </a:lnTo>
                    <a:lnTo>
                      <a:pt x="237" y="103"/>
                    </a:lnTo>
                    <a:lnTo>
                      <a:pt x="238" y="101"/>
                    </a:lnTo>
                    <a:lnTo>
                      <a:pt x="243" y="106"/>
                    </a:lnTo>
                    <a:lnTo>
                      <a:pt x="245" y="107"/>
                    </a:lnTo>
                    <a:lnTo>
                      <a:pt x="245" y="108"/>
                    </a:lnTo>
                    <a:lnTo>
                      <a:pt x="246" y="109"/>
                    </a:lnTo>
                    <a:lnTo>
                      <a:pt x="248" y="105"/>
                    </a:lnTo>
                    <a:lnTo>
                      <a:pt x="250" y="103"/>
                    </a:lnTo>
                    <a:lnTo>
                      <a:pt x="250" y="102"/>
                    </a:lnTo>
                    <a:lnTo>
                      <a:pt x="252" y="99"/>
                    </a:lnTo>
                    <a:lnTo>
                      <a:pt x="253" y="99"/>
                    </a:lnTo>
                    <a:lnTo>
                      <a:pt x="255" y="98"/>
                    </a:lnTo>
                    <a:lnTo>
                      <a:pt x="257" y="100"/>
                    </a:lnTo>
                    <a:lnTo>
                      <a:pt x="259" y="101"/>
                    </a:lnTo>
                    <a:lnTo>
                      <a:pt x="260" y="100"/>
                    </a:lnTo>
                    <a:lnTo>
                      <a:pt x="260" y="99"/>
                    </a:lnTo>
                    <a:lnTo>
                      <a:pt x="261" y="101"/>
                    </a:lnTo>
                    <a:lnTo>
                      <a:pt x="263" y="101"/>
                    </a:lnTo>
                    <a:lnTo>
                      <a:pt x="263" y="99"/>
                    </a:lnTo>
                    <a:lnTo>
                      <a:pt x="267" y="100"/>
                    </a:lnTo>
                    <a:lnTo>
                      <a:pt x="267" y="98"/>
                    </a:lnTo>
                    <a:lnTo>
                      <a:pt x="268" y="99"/>
                    </a:lnTo>
                    <a:lnTo>
                      <a:pt x="269" y="98"/>
                    </a:lnTo>
                    <a:lnTo>
                      <a:pt x="272" y="99"/>
                    </a:lnTo>
                    <a:lnTo>
                      <a:pt x="273" y="100"/>
                    </a:lnTo>
                    <a:lnTo>
                      <a:pt x="273" y="101"/>
                    </a:lnTo>
                    <a:lnTo>
                      <a:pt x="274" y="101"/>
                    </a:lnTo>
                    <a:lnTo>
                      <a:pt x="274" y="103"/>
                    </a:lnTo>
                    <a:lnTo>
                      <a:pt x="275" y="102"/>
                    </a:lnTo>
                    <a:lnTo>
                      <a:pt x="276" y="103"/>
                    </a:lnTo>
                    <a:lnTo>
                      <a:pt x="275" y="101"/>
                    </a:lnTo>
                    <a:lnTo>
                      <a:pt x="276" y="101"/>
                    </a:lnTo>
                    <a:lnTo>
                      <a:pt x="276" y="102"/>
                    </a:lnTo>
                    <a:lnTo>
                      <a:pt x="276" y="103"/>
                    </a:lnTo>
                    <a:lnTo>
                      <a:pt x="278" y="102"/>
                    </a:lnTo>
                    <a:lnTo>
                      <a:pt x="281" y="98"/>
                    </a:lnTo>
                    <a:lnTo>
                      <a:pt x="280" y="98"/>
                    </a:lnTo>
                    <a:lnTo>
                      <a:pt x="281" y="96"/>
                    </a:lnTo>
                    <a:lnTo>
                      <a:pt x="280" y="96"/>
                    </a:lnTo>
                    <a:lnTo>
                      <a:pt x="281" y="95"/>
                    </a:lnTo>
                    <a:lnTo>
                      <a:pt x="280" y="95"/>
                    </a:lnTo>
                    <a:lnTo>
                      <a:pt x="280" y="94"/>
                    </a:lnTo>
                    <a:lnTo>
                      <a:pt x="280" y="90"/>
                    </a:lnTo>
                    <a:lnTo>
                      <a:pt x="283" y="92"/>
                    </a:lnTo>
                    <a:lnTo>
                      <a:pt x="283" y="86"/>
                    </a:lnTo>
                    <a:lnTo>
                      <a:pt x="283" y="84"/>
                    </a:lnTo>
                    <a:lnTo>
                      <a:pt x="284" y="84"/>
                    </a:lnTo>
                    <a:lnTo>
                      <a:pt x="284" y="82"/>
                    </a:lnTo>
                    <a:lnTo>
                      <a:pt x="283" y="81"/>
                    </a:lnTo>
                    <a:lnTo>
                      <a:pt x="282" y="81"/>
                    </a:lnTo>
                    <a:lnTo>
                      <a:pt x="282" y="78"/>
                    </a:lnTo>
                    <a:lnTo>
                      <a:pt x="281" y="77"/>
                    </a:lnTo>
                    <a:lnTo>
                      <a:pt x="281" y="76"/>
                    </a:lnTo>
                    <a:lnTo>
                      <a:pt x="283" y="75"/>
                    </a:lnTo>
                    <a:lnTo>
                      <a:pt x="283" y="76"/>
                    </a:lnTo>
                    <a:lnTo>
                      <a:pt x="284" y="75"/>
                    </a:lnTo>
                    <a:lnTo>
                      <a:pt x="283" y="74"/>
                    </a:lnTo>
                    <a:lnTo>
                      <a:pt x="283" y="73"/>
                    </a:lnTo>
                    <a:lnTo>
                      <a:pt x="282" y="71"/>
                    </a:lnTo>
                    <a:lnTo>
                      <a:pt x="283" y="70"/>
                    </a:lnTo>
                    <a:lnTo>
                      <a:pt x="283" y="71"/>
                    </a:lnTo>
                    <a:lnTo>
                      <a:pt x="283" y="69"/>
                    </a:lnTo>
                    <a:lnTo>
                      <a:pt x="283" y="68"/>
                    </a:lnTo>
                    <a:lnTo>
                      <a:pt x="281" y="67"/>
                    </a:lnTo>
                    <a:lnTo>
                      <a:pt x="281" y="66"/>
                    </a:lnTo>
                    <a:lnTo>
                      <a:pt x="283" y="65"/>
                    </a:lnTo>
                    <a:lnTo>
                      <a:pt x="284" y="65"/>
                    </a:lnTo>
                    <a:lnTo>
                      <a:pt x="284" y="64"/>
                    </a:lnTo>
                    <a:lnTo>
                      <a:pt x="286" y="64"/>
                    </a:lnTo>
                    <a:lnTo>
                      <a:pt x="290" y="69"/>
                    </a:lnTo>
                    <a:lnTo>
                      <a:pt x="296" y="72"/>
                    </a:lnTo>
                    <a:lnTo>
                      <a:pt x="296" y="71"/>
                    </a:lnTo>
                    <a:lnTo>
                      <a:pt x="297" y="71"/>
                    </a:lnTo>
                    <a:lnTo>
                      <a:pt x="296" y="70"/>
                    </a:lnTo>
                    <a:lnTo>
                      <a:pt x="297" y="69"/>
                    </a:lnTo>
                    <a:lnTo>
                      <a:pt x="297" y="68"/>
                    </a:lnTo>
                    <a:lnTo>
                      <a:pt x="295" y="68"/>
                    </a:lnTo>
                    <a:lnTo>
                      <a:pt x="294" y="67"/>
                    </a:lnTo>
                    <a:lnTo>
                      <a:pt x="296" y="65"/>
                    </a:lnTo>
                    <a:lnTo>
                      <a:pt x="297" y="67"/>
                    </a:lnTo>
                    <a:lnTo>
                      <a:pt x="298" y="65"/>
                    </a:lnTo>
                    <a:lnTo>
                      <a:pt x="297" y="65"/>
                    </a:lnTo>
                    <a:lnTo>
                      <a:pt x="299" y="64"/>
                    </a:lnTo>
                    <a:lnTo>
                      <a:pt x="299" y="58"/>
                    </a:lnTo>
                    <a:lnTo>
                      <a:pt x="303" y="61"/>
                    </a:lnTo>
                    <a:lnTo>
                      <a:pt x="306" y="61"/>
                    </a:lnTo>
                    <a:lnTo>
                      <a:pt x="306" y="58"/>
                    </a:lnTo>
                    <a:lnTo>
                      <a:pt x="309" y="61"/>
                    </a:lnTo>
                    <a:lnTo>
                      <a:pt x="312" y="61"/>
                    </a:lnTo>
                    <a:lnTo>
                      <a:pt x="312" y="57"/>
                    </a:lnTo>
                    <a:lnTo>
                      <a:pt x="313" y="56"/>
                    </a:lnTo>
                    <a:lnTo>
                      <a:pt x="313" y="54"/>
                    </a:lnTo>
                    <a:lnTo>
                      <a:pt x="313" y="52"/>
                    </a:lnTo>
                    <a:lnTo>
                      <a:pt x="312" y="52"/>
                    </a:lnTo>
                    <a:lnTo>
                      <a:pt x="313" y="52"/>
                    </a:lnTo>
                    <a:lnTo>
                      <a:pt x="313" y="48"/>
                    </a:lnTo>
                    <a:lnTo>
                      <a:pt x="310" y="39"/>
                    </a:lnTo>
                    <a:lnTo>
                      <a:pt x="315" y="38"/>
                    </a:lnTo>
                    <a:lnTo>
                      <a:pt x="315" y="34"/>
                    </a:lnTo>
                    <a:lnTo>
                      <a:pt x="319" y="36"/>
                    </a:lnTo>
                    <a:lnTo>
                      <a:pt x="320" y="36"/>
                    </a:lnTo>
                    <a:lnTo>
                      <a:pt x="319" y="39"/>
                    </a:lnTo>
                    <a:lnTo>
                      <a:pt x="321" y="39"/>
                    </a:lnTo>
                    <a:lnTo>
                      <a:pt x="321" y="40"/>
                    </a:lnTo>
                    <a:lnTo>
                      <a:pt x="322" y="42"/>
                    </a:lnTo>
                    <a:lnTo>
                      <a:pt x="323" y="39"/>
                    </a:lnTo>
                    <a:lnTo>
                      <a:pt x="325" y="35"/>
                    </a:lnTo>
                    <a:lnTo>
                      <a:pt x="330" y="35"/>
                    </a:lnTo>
                    <a:lnTo>
                      <a:pt x="329" y="35"/>
                    </a:lnTo>
                    <a:lnTo>
                      <a:pt x="330" y="37"/>
                    </a:lnTo>
                    <a:lnTo>
                      <a:pt x="330" y="41"/>
                    </a:lnTo>
                    <a:lnTo>
                      <a:pt x="331" y="41"/>
                    </a:lnTo>
                    <a:lnTo>
                      <a:pt x="334" y="43"/>
                    </a:lnTo>
                    <a:lnTo>
                      <a:pt x="336" y="43"/>
                    </a:lnTo>
                    <a:lnTo>
                      <a:pt x="337" y="41"/>
                    </a:lnTo>
                    <a:lnTo>
                      <a:pt x="335" y="39"/>
                    </a:lnTo>
                    <a:lnTo>
                      <a:pt x="335" y="38"/>
                    </a:lnTo>
                    <a:lnTo>
                      <a:pt x="339" y="39"/>
                    </a:lnTo>
                    <a:lnTo>
                      <a:pt x="340" y="38"/>
                    </a:lnTo>
                    <a:lnTo>
                      <a:pt x="341" y="36"/>
                    </a:lnTo>
                    <a:lnTo>
                      <a:pt x="343" y="37"/>
                    </a:lnTo>
                    <a:lnTo>
                      <a:pt x="344" y="37"/>
                    </a:lnTo>
                    <a:lnTo>
                      <a:pt x="343" y="38"/>
                    </a:lnTo>
                    <a:lnTo>
                      <a:pt x="343" y="40"/>
                    </a:lnTo>
                    <a:lnTo>
                      <a:pt x="343" y="41"/>
                    </a:lnTo>
                    <a:lnTo>
                      <a:pt x="345" y="43"/>
                    </a:lnTo>
                    <a:lnTo>
                      <a:pt x="344" y="43"/>
                    </a:lnTo>
                    <a:lnTo>
                      <a:pt x="343" y="44"/>
                    </a:lnTo>
                    <a:lnTo>
                      <a:pt x="342" y="46"/>
                    </a:lnTo>
                    <a:lnTo>
                      <a:pt x="343" y="47"/>
                    </a:lnTo>
                    <a:lnTo>
                      <a:pt x="343" y="51"/>
                    </a:lnTo>
                    <a:lnTo>
                      <a:pt x="345" y="54"/>
                    </a:lnTo>
                    <a:lnTo>
                      <a:pt x="346" y="52"/>
                    </a:lnTo>
                    <a:lnTo>
                      <a:pt x="346" y="53"/>
                    </a:lnTo>
                    <a:lnTo>
                      <a:pt x="347" y="52"/>
                    </a:lnTo>
                    <a:lnTo>
                      <a:pt x="347" y="53"/>
                    </a:lnTo>
                    <a:lnTo>
                      <a:pt x="348" y="53"/>
                    </a:lnTo>
                    <a:lnTo>
                      <a:pt x="348" y="54"/>
                    </a:lnTo>
                    <a:lnTo>
                      <a:pt x="349" y="55"/>
                    </a:lnTo>
                    <a:lnTo>
                      <a:pt x="350" y="56"/>
                    </a:lnTo>
                    <a:lnTo>
                      <a:pt x="351" y="55"/>
                    </a:lnTo>
                    <a:lnTo>
                      <a:pt x="351" y="53"/>
                    </a:lnTo>
                    <a:lnTo>
                      <a:pt x="353" y="51"/>
                    </a:lnTo>
                    <a:lnTo>
                      <a:pt x="353" y="52"/>
                    </a:lnTo>
                    <a:lnTo>
                      <a:pt x="355" y="53"/>
                    </a:lnTo>
                    <a:lnTo>
                      <a:pt x="356" y="53"/>
                    </a:lnTo>
                    <a:lnTo>
                      <a:pt x="356" y="51"/>
                    </a:lnTo>
                    <a:lnTo>
                      <a:pt x="358" y="51"/>
                    </a:lnTo>
                    <a:lnTo>
                      <a:pt x="359" y="53"/>
                    </a:lnTo>
                    <a:lnTo>
                      <a:pt x="361" y="54"/>
                    </a:lnTo>
                    <a:lnTo>
                      <a:pt x="361" y="52"/>
                    </a:lnTo>
                    <a:lnTo>
                      <a:pt x="361" y="51"/>
                    </a:lnTo>
                    <a:lnTo>
                      <a:pt x="365" y="52"/>
                    </a:lnTo>
                    <a:lnTo>
                      <a:pt x="368" y="52"/>
                    </a:lnTo>
                    <a:lnTo>
                      <a:pt x="372" y="55"/>
                    </a:lnTo>
                    <a:lnTo>
                      <a:pt x="372" y="54"/>
                    </a:lnTo>
                    <a:lnTo>
                      <a:pt x="372" y="50"/>
                    </a:lnTo>
                    <a:lnTo>
                      <a:pt x="374" y="49"/>
                    </a:lnTo>
                    <a:lnTo>
                      <a:pt x="374" y="48"/>
                    </a:lnTo>
                    <a:lnTo>
                      <a:pt x="378" y="49"/>
                    </a:lnTo>
                    <a:lnTo>
                      <a:pt x="379" y="48"/>
                    </a:lnTo>
                    <a:lnTo>
                      <a:pt x="381" y="48"/>
                    </a:lnTo>
                    <a:lnTo>
                      <a:pt x="383" y="40"/>
                    </a:lnTo>
                    <a:lnTo>
                      <a:pt x="383" y="39"/>
                    </a:lnTo>
                    <a:lnTo>
                      <a:pt x="390" y="41"/>
                    </a:lnTo>
                    <a:lnTo>
                      <a:pt x="391" y="40"/>
                    </a:lnTo>
                    <a:lnTo>
                      <a:pt x="392" y="36"/>
                    </a:lnTo>
                    <a:lnTo>
                      <a:pt x="391" y="27"/>
                    </a:lnTo>
                    <a:lnTo>
                      <a:pt x="392" y="22"/>
                    </a:lnTo>
                    <a:lnTo>
                      <a:pt x="405" y="27"/>
                    </a:lnTo>
                    <a:lnTo>
                      <a:pt x="411" y="34"/>
                    </a:lnTo>
                    <a:lnTo>
                      <a:pt x="418" y="28"/>
                    </a:lnTo>
                    <a:lnTo>
                      <a:pt x="419" y="28"/>
                    </a:lnTo>
                    <a:lnTo>
                      <a:pt x="420" y="27"/>
                    </a:lnTo>
                    <a:lnTo>
                      <a:pt x="421" y="26"/>
                    </a:lnTo>
                    <a:lnTo>
                      <a:pt x="420" y="24"/>
                    </a:lnTo>
                    <a:lnTo>
                      <a:pt x="418" y="22"/>
                    </a:lnTo>
                    <a:lnTo>
                      <a:pt x="419" y="20"/>
                    </a:lnTo>
                    <a:lnTo>
                      <a:pt x="418" y="19"/>
                    </a:lnTo>
                    <a:lnTo>
                      <a:pt x="423" y="18"/>
                    </a:lnTo>
                    <a:lnTo>
                      <a:pt x="426" y="17"/>
                    </a:lnTo>
                    <a:lnTo>
                      <a:pt x="428" y="17"/>
                    </a:lnTo>
                    <a:lnTo>
                      <a:pt x="429" y="17"/>
                    </a:lnTo>
                    <a:lnTo>
                      <a:pt x="430" y="15"/>
                    </a:lnTo>
                    <a:lnTo>
                      <a:pt x="430" y="17"/>
                    </a:lnTo>
                    <a:lnTo>
                      <a:pt x="433" y="15"/>
                    </a:lnTo>
                    <a:lnTo>
                      <a:pt x="435" y="14"/>
                    </a:lnTo>
                    <a:lnTo>
                      <a:pt x="434" y="11"/>
                    </a:lnTo>
                    <a:lnTo>
                      <a:pt x="435" y="11"/>
                    </a:lnTo>
                    <a:lnTo>
                      <a:pt x="434" y="7"/>
                    </a:lnTo>
                    <a:lnTo>
                      <a:pt x="432" y="7"/>
                    </a:lnTo>
                    <a:lnTo>
                      <a:pt x="435" y="6"/>
                    </a:lnTo>
                    <a:lnTo>
                      <a:pt x="435" y="5"/>
                    </a:lnTo>
                    <a:lnTo>
                      <a:pt x="437" y="6"/>
                    </a:lnTo>
                    <a:lnTo>
                      <a:pt x="437" y="5"/>
                    </a:lnTo>
                    <a:lnTo>
                      <a:pt x="438" y="5"/>
                    </a:lnTo>
                    <a:lnTo>
                      <a:pt x="439" y="6"/>
                    </a:lnTo>
                    <a:lnTo>
                      <a:pt x="437" y="0"/>
                    </a:lnTo>
                    <a:lnTo>
                      <a:pt x="439" y="0"/>
                    </a:lnTo>
                    <a:lnTo>
                      <a:pt x="444" y="1"/>
                    </a:lnTo>
                    <a:lnTo>
                      <a:pt x="443" y="1"/>
                    </a:lnTo>
                    <a:lnTo>
                      <a:pt x="444" y="4"/>
                    </a:lnTo>
                    <a:lnTo>
                      <a:pt x="442" y="5"/>
                    </a:lnTo>
                    <a:lnTo>
                      <a:pt x="443" y="6"/>
                    </a:lnTo>
                    <a:lnTo>
                      <a:pt x="444" y="6"/>
                    </a:lnTo>
                    <a:lnTo>
                      <a:pt x="446" y="7"/>
                    </a:lnTo>
                    <a:lnTo>
                      <a:pt x="446" y="6"/>
                    </a:lnTo>
                    <a:lnTo>
                      <a:pt x="447" y="7"/>
                    </a:lnTo>
                    <a:lnTo>
                      <a:pt x="449" y="11"/>
                    </a:lnTo>
                    <a:lnTo>
                      <a:pt x="447" y="11"/>
                    </a:lnTo>
                    <a:lnTo>
                      <a:pt x="448" y="11"/>
                    </a:lnTo>
                    <a:lnTo>
                      <a:pt x="449" y="13"/>
                    </a:lnTo>
                    <a:lnTo>
                      <a:pt x="451" y="13"/>
                    </a:lnTo>
                    <a:lnTo>
                      <a:pt x="452" y="14"/>
                    </a:lnTo>
                    <a:lnTo>
                      <a:pt x="452" y="11"/>
                    </a:lnTo>
                    <a:lnTo>
                      <a:pt x="454" y="11"/>
                    </a:lnTo>
                    <a:lnTo>
                      <a:pt x="454" y="9"/>
                    </a:lnTo>
                    <a:lnTo>
                      <a:pt x="455" y="8"/>
                    </a:lnTo>
                    <a:lnTo>
                      <a:pt x="456" y="9"/>
                    </a:lnTo>
                    <a:lnTo>
                      <a:pt x="455" y="9"/>
                    </a:lnTo>
                    <a:lnTo>
                      <a:pt x="455" y="10"/>
                    </a:lnTo>
                    <a:lnTo>
                      <a:pt x="457" y="10"/>
                    </a:lnTo>
                    <a:lnTo>
                      <a:pt x="457" y="11"/>
                    </a:lnTo>
                    <a:lnTo>
                      <a:pt x="459" y="11"/>
                    </a:lnTo>
                    <a:lnTo>
                      <a:pt x="460" y="11"/>
                    </a:lnTo>
                    <a:lnTo>
                      <a:pt x="463" y="10"/>
                    </a:lnTo>
                    <a:lnTo>
                      <a:pt x="463" y="11"/>
                    </a:lnTo>
                    <a:lnTo>
                      <a:pt x="462" y="13"/>
                    </a:lnTo>
                    <a:lnTo>
                      <a:pt x="463" y="13"/>
                    </a:lnTo>
                    <a:lnTo>
                      <a:pt x="465" y="19"/>
                    </a:lnTo>
                    <a:lnTo>
                      <a:pt x="466" y="19"/>
                    </a:lnTo>
                    <a:lnTo>
                      <a:pt x="468" y="20"/>
                    </a:lnTo>
                    <a:lnTo>
                      <a:pt x="468" y="23"/>
                    </a:lnTo>
                    <a:lnTo>
                      <a:pt x="468" y="22"/>
                    </a:lnTo>
                    <a:lnTo>
                      <a:pt x="470" y="22"/>
                    </a:lnTo>
                    <a:lnTo>
                      <a:pt x="470" y="23"/>
                    </a:lnTo>
                    <a:lnTo>
                      <a:pt x="469" y="25"/>
                    </a:lnTo>
                    <a:lnTo>
                      <a:pt x="470" y="27"/>
                    </a:lnTo>
                    <a:lnTo>
                      <a:pt x="470" y="29"/>
                    </a:lnTo>
                    <a:lnTo>
                      <a:pt x="471" y="28"/>
                    </a:lnTo>
                    <a:lnTo>
                      <a:pt x="472" y="28"/>
                    </a:lnTo>
                    <a:lnTo>
                      <a:pt x="474" y="28"/>
                    </a:lnTo>
                    <a:lnTo>
                      <a:pt x="476" y="28"/>
                    </a:lnTo>
                    <a:lnTo>
                      <a:pt x="477" y="31"/>
                    </a:lnTo>
                    <a:lnTo>
                      <a:pt x="479" y="32"/>
                    </a:lnTo>
                    <a:lnTo>
                      <a:pt x="478" y="34"/>
                    </a:lnTo>
                    <a:lnTo>
                      <a:pt x="480" y="34"/>
                    </a:lnTo>
                    <a:lnTo>
                      <a:pt x="483" y="37"/>
                    </a:lnTo>
                    <a:lnTo>
                      <a:pt x="482" y="38"/>
                    </a:lnTo>
                    <a:lnTo>
                      <a:pt x="482" y="39"/>
                    </a:lnTo>
                    <a:lnTo>
                      <a:pt x="483" y="38"/>
                    </a:lnTo>
                    <a:lnTo>
                      <a:pt x="483" y="40"/>
                    </a:lnTo>
                    <a:lnTo>
                      <a:pt x="483" y="46"/>
                    </a:lnTo>
                    <a:lnTo>
                      <a:pt x="484" y="47"/>
                    </a:lnTo>
                    <a:lnTo>
                      <a:pt x="484" y="48"/>
                    </a:lnTo>
                    <a:lnTo>
                      <a:pt x="487" y="47"/>
                    </a:lnTo>
                    <a:lnTo>
                      <a:pt x="487" y="48"/>
                    </a:lnTo>
                    <a:lnTo>
                      <a:pt x="488" y="48"/>
                    </a:lnTo>
                    <a:lnTo>
                      <a:pt x="488" y="49"/>
                    </a:lnTo>
                    <a:lnTo>
                      <a:pt x="490" y="48"/>
                    </a:lnTo>
                    <a:lnTo>
                      <a:pt x="492" y="49"/>
                    </a:lnTo>
                    <a:lnTo>
                      <a:pt x="494" y="51"/>
                    </a:lnTo>
                    <a:lnTo>
                      <a:pt x="493" y="52"/>
                    </a:lnTo>
                    <a:lnTo>
                      <a:pt x="494" y="52"/>
                    </a:lnTo>
                    <a:lnTo>
                      <a:pt x="494" y="53"/>
                    </a:lnTo>
                    <a:lnTo>
                      <a:pt x="495" y="53"/>
                    </a:lnTo>
                    <a:lnTo>
                      <a:pt x="495" y="54"/>
                    </a:lnTo>
                    <a:lnTo>
                      <a:pt x="494" y="54"/>
                    </a:lnTo>
                    <a:lnTo>
                      <a:pt x="494" y="56"/>
                    </a:lnTo>
                    <a:lnTo>
                      <a:pt x="493" y="56"/>
                    </a:lnTo>
                    <a:lnTo>
                      <a:pt x="493" y="58"/>
                    </a:lnTo>
                    <a:lnTo>
                      <a:pt x="491" y="57"/>
                    </a:lnTo>
                    <a:lnTo>
                      <a:pt x="491" y="58"/>
                    </a:lnTo>
                    <a:lnTo>
                      <a:pt x="487" y="58"/>
                    </a:lnTo>
                    <a:lnTo>
                      <a:pt x="486" y="60"/>
                    </a:lnTo>
                    <a:lnTo>
                      <a:pt x="486" y="63"/>
                    </a:lnTo>
                    <a:lnTo>
                      <a:pt x="486" y="64"/>
                    </a:lnTo>
                    <a:lnTo>
                      <a:pt x="487" y="65"/>
                    </a:lnTo>
                    <a:lnTo>
                      <a:pt x="490" y="69"/>
                    </a:lnTo>
                    <a:lnTo>
                      <a:pt x="490" y="71"/>
                    </a:lnTo>
                    <a:lnTo>
                      <a:pt x="489" y="72"/>
                    </a:lnTo>
                    <a:lnTo>
                      <a:pt x="489" y="73"/>
                    </a:lnTo>
                    <a:lnTo>
                      <a:pt x="490" y="73"/>
                    </a:lnTo>
                    <a:lnTo>
                      <a:pt x="492" y="75"/>
                    </a:lnTo>
                    <a:lnTo>
                      <a:pt x="491" y="76"/>
                    </a:lnTo>
                    <a:lnTo>
                      <a:pt x="491" y="77"/>
                    </a:lnTo>
                    <a:lnTo>
                      <a:pt x="490" y="77"/>
                    </a:lnTo>
                    <a:lnTo>
                      <a:pt x="489" y="77"/>
                    </a:lnTo>
                    <a:lnTo>
                      <a:pt x="490" y="77"/>
                    </a:lnTo>
                    <a:lnTo>
                      <a:pt x="490" y="78"/>
                    </a:lnTo>
                    <a:lnTo>
                      <a:pt x="489" y="80"/>
                    </a:lnTo>
                    <a:lnTo>
                      <a:pt x="490" y="80"/>
                    </a:lnTo>
                    <a:lnTo>
                      <a:pt x="489" y="82"/>
                    </a:lnTo>
                    <a:lnTo>
                      <a:pt x="489" y="84"/>
                    </a:lnTo>
                    <a:lnTo>
                      <a:pt x="487" y="86"/>
                    </a:lnTo>
                    <a:lnTo>
                      <a:pt x="487" y="88"/>
                    </a:lnTo>
                    <a:lnTo>
                      <a:pt x="489" y="88"/>
                    </a:lnTo>
                    <a:lnTo>
                      <a:pt x="489" y="89"/>
                    </a:lnTo>
                    <a:lnTo>
                      <a:pt x="491" y="88"/>
                    </a:lnTo>
                    <a:lnTo>
                      <a:pt x="491" y="89"/>
                    </a:lnTo>
                    <a:lnTo>
                      <a:pt x="493" y="93"/>
                    </a:lnTo>
                    <a:lnTo>
                      <a:pt x="493" y="94"/>
                    </a:lnTo>
                    <a:lnTo>
                      <a:pt x="491" y="94"/>
                    </a:lnTo>
                    <a:lnTo>
                      <a:pt x="491" y="96"/>
                    </a:lnTo>
                    <a:lnTo>
                      <a:pt x="492" y="97"/>
                    </a:lnTo>
                    <a:lnTo>
                      <a:pt x="492" y="98"/>
                    </a:lnTo>
                    <a:lnTo>
                      <a:pt x="495" y="99"/>
                    </a:lnTo>
                    <a:lnTo>
                      <a:pt x="491" y="108"/>
                    </a:lnTo>
                    <a:lnTo>
                      <a:pt x="491" y="107"/>
                    </a:lnTo>
                    <a:lnTo>
                      <a:pt x="490" y="109"/>
                    </a:lnTo>
                    <a:lnTo>
                      <a:pt x="489" y="107"/>
                    </a:lnTo>
                    <a:lnTo>
                      <a:pt x="489" y="109"/>
                    </a:lnTo>
                    <a:lnTo>
                      <a:pt x="486" y="109"/>
                    </a:lnTo>
                    <a:lnTo>
                      <a:pt x="486" y="111"/>
                    </a:lnTo>
                    <a:lnTo>
                      <a:pt x="487" y="111"/>
                    </a:lnTo>
                    <a:lnTo>
                      <a:pt x="487" y="112"/>
                    </a:lnTo>
                    <a:lnTo>
                      <a:pt x="486" y="113"/>
                    </a:lnTo>
                    <a:lnTo>
                      <a:pt x="487" y="115"/>
                    </a:lnTo>
                    <a:lnTo>
                      <a:pt x="487" y="116"/>
                    </a:lnTo>
                    <a:lnTo>
                      <a:pt x="486" y="116"/>
                    </a:lnTo>
                    <a:lnTo>
                      <a:pt x="485" y="117"/>
                    </a:lnTo>
                    <a:lnTo>
                      <a:pt x="484" y="117"/>
                    </a:lnTo>
                    <a:lnTo>
                      <a:pt x="485" y="116"/>
                    </a:lnTo>
                    <a:lnTo>
                      <a:pt x="484" y="116"/>
                    </a:lnTo>
                    <a:lnTo>
                      <a:pt x="483" y="116"/>
                    </a:lnTo>
                    <a:lnTo>
                      <a:pt x="482" y="116"/>
                    </a:lnTo>
                    <a:lnTo>
                      <a:pt x="481" y="115"/>
                    </a:lnTo>
                    <a:lnTo>
                      <a:pt x="479" y="117"/>
                    </a:lnTo>
                    <a:lnTo>
                      <a:pt x="476" y="120"/>
                    </a:lnTo>
                    <a:lnTo>
                      <a:pt x="478" y="123"/>
                    </a:lnTo>
                    <a:lnTo>
                      <a:pt x="479" y="126"/>
                    </a:lnTo>
                    <a:lnTo>
                      <a:pt x="481" y="126"/>
                    </a:lnTo>
                    <a:lnTo>
                      <a:pt x="483" y="128"/>
                    </a:lnTo>
                    <a:lnTo>
                      <a:pt x="482" y="128"/>
                    </a:lnTo>
                    <a:lnTo>
                      <a:pt x="480" y="129"/>
                    </a:lnTo>
                    <a:lnTo>
                      <a:pt x="481" y="133"/>
                    </a:lnTo>
                    <a:lnTo>
                      <a:pt x="481" y="135"/>
                    </a:lnTo>
                    <a:lnTo>
                      <a:pt x="483" y="137"/>
                    </a:lnTo>
                    <a:lnTo>
                      <a:pt x="485" y="139"/>
                    </a:lnTo>
                    <a:lnTo>
                      <a:pt x="487" y="140"/>
                    </a:lnTo>
                    <a:lnTo>
                      <a:pt x="489" y="139"/>
                    </a:lnTo>
                    <a:lnTo>
                      <a:pt x="491" y="136"/>
                    </a:lnTo>
                    <a:lnTo>
                      <a:pt x="492" y="139"/>
                    </a:lnTo>
                    <a:lnTo>
                      <a:pt x="496" y="141"/>
                    </a:lnTo>
                    <a:lnTo>
                      <a:pt x="497" y="141"/>
                    </a:lnTo>
                    <a:lnTo>
                      <a:pt x="496" y="142"/>
                    </a:lnTo>
                    <a:lnTo>
                      <a:pt x="495" y="142"/>
                    </a:lnTo>
                    <a:lnTo>
                      <a:pt x="495" y="146"/>
                    </a:lnTo>
                    <a:lnTo>
                      <a:pt x="496" y="146"/>
                    </a:lnTo>
                    <a:lnTo>
                      <a:pt x="498" y="145"/>
                    </a:lnTo>
                    <a:lnTo>
                      <a:pt x="498" y="146"/>
                    </a:lnTo>
                    <a:lnTo>
                      <a:pt x="499" y="148"/>
                    </a:lnTo>
                    <a:lnTo>
                      <a:pt x="500" y="148"/>
                    </a:lnTo>
                    <a:lnTo>
                      <a:pt x="501" y="150"/>
                    </a:lnTo>
                    <a:lnTo>
                      <a:pt x="502" y="150"/>
                    </a:lnTo>
                    <a:lnTo>
                      <a:pt x="503" y="152"/>
                    </a:lnTo>
                    <a:lnTo>
                      <a:pt x="503" y="154"/>
                    </a:lnTo>
                    <a:lnTo>
                      <a:pt x="502" y="153"/>
                    </a:lnTo>
                    <a:lnTo>
                      <a:pt x="499" y="155"/>
                    </a:lnTo>
                    <a:lnTo>
                      <a:pt x="499" y="156"/>
                    </a:lnTo>
                    <a:lnTo>
                      <a:pt x="501" y="157"/>
                    </a:lnTo>
                    <a:lnTo>
                      <a:pt x="501" y="159"/>
                    </a:lnTo>
                    <a:lnTo>
                      <a:pt x="499" y="161"/>
                    </a:lnTo>
                    <a:lnTo>
                      <a:pt x="501" y="162"/>
                    </a:lnTo>
                    <a:lnTo>
                      <a:pt x="504" y="165"/>
                    </a:lnTo>
                    <a:lnTo>
                      <a:pt x="504" y="166"/>
                    </a:lnTo>
                    <a:lnTo>
                      <a:pt x="505" y="167"/>
                    </a:lnTo>
                    <a:lnTo>
                      <a:pt x="506" y="165"/>
                    </a:lnTo>
                    <a:lnTo>
                      <a:pt x="506" y="167"/>
                    </a:lnTo>
                    <a:lnTo>
                      <a:pt x="507" y="167"/>
                    </a:lnTo>
                    <a:lnTo>
                      <a:pt x="508" y="167"/>
                    </a:lnTo>
                    <a:lnTo>
                      <a:pt x="508" y="165"/>
                    </a:lnTo>
                    <a:lnTo>
                      <a:pt x="512" y="166"/>
                    </a:lnTo>
                    <a:lnTo>
                      <a:pt x="514" y="164"/>
                    </a:lnTo>
                    <a:lnTo>
                      <a:pt x="515" y="164"/>
                    </a:lnTo>
                    <a:lnTo>
                      <a:pt x="515" y="165"/>
                    </a:lnTo>
                    <a:lnTo>
                      <a:pt x="517" y="167"/>
                    </a:lnTo>
                    <a:lnTo>
                      <a:pt x="518" y="167"/>
                    </a:lnTo>
                    <a:lnTo>
                      <a:pt x="519" y="168"/>
                    </a:lnTo>
                    <a:lnTo>
                      <a:pt x="520" y="167"/>
                    </a:lnTo>
                    <a:lnTo>
                      <a:pt x="522" y="169"/>
                    </a:lnTo>
                    <a:lnTo>
                      <a:pt x="525" y="171"/>
                    </a:lnTo>
                    <a:lnTo>
                      <a:pt x="524" y="171"/>
                    </a:lnTo>
                    <a:lnTo>
                      <a:pt x="525" y="173"/>
                    </a:lnTo>
                    <a:lnTo>
                      <a:pt x="526" y="172"/>
                    </a:lnTo>
                    <a:lnTo>
                      <a:pt x="528" y="171"/>
                    </a:lnTo>
                    <a:lnTo>
                      <a:pt x="529" y="168"/>
                    </a:lnTo>
                    <a:lnTo>
                      <a:pt x="532" y="169"/>
                    </a:lnTo>
                    <a:lnTo>
                      <a:pt x="533" y="167"/>
                    </a:lnTo>
                    <a:lnTo>
                      <a:pt x="535" y="167"/>
                    </a:lnTo>
                    <a:lnTo>
                      <a:pt x="536" y="167"/>
                    </a:lnTo>
                    <a:lnTo>
                      <a:pt x="538" y="167"/>
                    </a:lnTo>
                    <a:lnTo>
                      <a:pt x="538" y="165"/>
                    </a:lnTo>
                    <a:lnTo>
                      <a:pt x="538" y="167"/>
                    </a:lnTo>
                    <a:lnTo>
                      <a:pt x="539" y="167"/>
                    </a:lnTo>
                    <a:lnTo>
                      <a:pt x="539" y="170"/>
                    </a:lnTo>
                    <a:lnTo>
                      <a:pt x="540" y="170"/>
                    </a:lnTo>
                    <a:lnTo>
                      <a:pt x="540" y="171"/>
                    </a:lnTo>
                    <a:lnTo>
                      <a:pt x="541" y="171"/>
                    </a:lnTo>
                    <a:lnTo>
                      <a:pt x="543" y="172"/>
                    </a:lnTo>
                    <a:lnTo>
                      <a:pt x="543" y="173"/>
                    </a:lnTo>
                    <a:lnTo>
                      <a:pt x="544" y="173"/>
                    </a:lnTo>
                    <a:lnTo>
                      <a:pt x="545" y="175"/>
                    </a:lnTo>
                    <a:lnTo>
                      <a:pt x="543" y="176"/>
                    </a:lnTo>
                    <a:lnTo>
                      <a:pt x="544" y="178"/>
                    </a:lnTo>
                    <a:lnTo>
                      <a:pt x="544" y="179"/>
                    </a:lnTo>
                    <a:lnTo>
                      <a:pt x="543" y="179"/>
                    </a:lnTo>
                    <a:lnTo>
                      <a:pt x="544" y="182"/>
                    </a:lnTo>
                    <a:lnTo>
                      <a:pt x="543" y="185"/>
                    </a:lnTo>
                    <a:lnTo>
                      <a:pt x="544" y="185"/>
                    </a:lnTo>
                    <a:lnTo>
                      <a:pt x="545" y="188"/>
                    </a:lnTo>
                    <a:lnTo>
                      <a:pt x="543" y="189"/>
                    </a:lnTo>
                    <a:lnTo>
                      <a:pt x="541" y="189"/>
                    </a:lnTo>
                    <a:lnTo>
                      <a:pt x="540" y="190"/>
                    </a:lnTo>
                    <a:lnTo>
                      <a:pt x="541" y="191"/>
                    </a:lnTo>
                    <a:lnTo>
                      <a:pt x="541" y="197"/>
                    </a:lnTo>
                    <a:lnTo>
                      <a:pt x="540" y="200"/>
                    </a:lnTo>
                    <a:lnTo>
                      <a:pt x="542" y="201"/>
                    </a:lnTo>
                    <a:lnTo>
                      <a:pt x="542" y="203"/>
                    </a:lnTo>
                    <a:lnTo>
                      <a:pt x="543" y="203"/>
                    </a:lnTo>
                    <a:lnTo>
                      <a:pt x="545" y="205"/>
                    </a:lnTo>
                    <a:lnTo>
                      <a:pt x="544" y="209"/>
                    </a:lnTo>
                    <a:lnTo>
                      <a:pt x="545" y="207"/>
                    </a:lnTo>
                    <a:lnTo>
                      <a:pt x="545" y="209"/>
                    </a:lnTo>
                    <a:lnTo>
                      <a:pt x="546" y="209"/>
                    </a:lnTo>
                    <a:lnTo>
                      <a:pt x="544" y="211"/>
                    </a:lnTo>
                    <a:lnTo>
                      <a:pt x="547" y="210"/>
                    </a:lnTo>
                    <a:lnTo>
                      <a:pt x="545" y="212"/>
                    </a:lnTo>
                    <a:lnTo>
                      <a:pt x="545" y="215"/>
                    </a:lnTo>
                    <a:lnTo>
                      <a:pt x="544" y="217"/>
                    </a:lnTo>
                    <a:lnTo>
                      <a:pt x="543" y="216"/>
                    </a:lnTo>
                    <a:lnTo>
                      <a:pt x="542" y="218"/>
                    </a:lnTo>
                    <a:lnTo>
                      <a:pt x="543" y="219"/>
                    </a:lnTo>
                    <a:lnTo>
                      <a:pt x="543" y="220"/>
                    </a:lnTo>
                    <a:lnTo>
                      <a:pt x="542" y="222"/>
                    </a:lnTo>
                    <a:lnTo>
                      <a:pt x="541" y="221"/>
                    </a:lnTo>
                    <a:lnTo>
                      <a:pt x="541" y="222"/>
                    </a:lnTo>
                    <a:lnTo>
                      <a:pt x="540" y="223"/>
                    </a:lnTo>
                    <a:lnTo>
                      <a:pt x="539" y="225"/>
                    </a:lnTo>
                    <a:lnTo>
                      <a:pt x="537" y="224"/>
                    </a:lnTo>
                    <a:lnTo>
                      <a:pt x="536" y="227"/>
                    </a:lnTo>
                    <a:lnTo>
                      <a:pt x="536" y="226"/>
                    </a:lnTo>
                    <a:lnTo>
                      <a:pt x="535" y="226"/>
                    </a:lnTo>
                    <a:lnTo>
                      <a:pt x="535" y="228"/>
                    </a:lnTo>
                    <a:lnTo>
                      <a:pt x="534" y="228"/>
                    </a:lnTo>
                    <a:lnTo>
                      <a:pt x="533" y="227"/>
                    </a:lnTo>
                    <a:lnTo>
                      <a:pt x="532" y="229"/>
                    </a:lnTo>
                    <a:lnTo>
                      <a:pt x="534" y="229"/>
                    </a:lnTo>
                    <a:lnTo>
                      <a:pt x="537" y="232"/>
                    </a:lnTo>
                    <a:lnTo>
                      <a:pt x="537" y="233"/>
                    </a:lnTo>
                    <a:lnTo>
                      <a:pt x="533" y="236"/>
                    </a:lnTo>
                    <a:lnTo>
                      <a:pt x="530" y="237"/>
                    </a:lnTo>
                    <a:lnTo>
                      <a:pt x="534" y="239"/>
                    </a:lnTo>
                    <a:lnTo>
                      <a:pt x="538" y="238"/>
                    </a:lnTo>
                    <a:lnTo>
                      <a:pt x="540" y="241"/>
                    </a:lnTo>
                    <a:lnTo>
                      <a:pt x="541" y="243"/>
                    </a:lnTo>
                    <a:lnTo>
                      <a:pt x="543" y="244"/>
                    </a:lnTo>
                    <a:lnTo>
                      <a:pt x="544" y="243"/>
                    </a:lnTo>
                    <a:lnTo>
                      <a:pt x="544" y="241"/>
                    </a:lnTo>
                    <a:lnTo>
                      <a:pt x="545" y="243"/>
                    </a:lnTo>
                    <a:lnTo>
                      <a:pt x="546" y="243"/>
                    </a:lnTo>
                    <a:lnTo>
                      <a:pt x="546" y="244"/>
                    </a:lnTo>
                    <a:lnTo>
                      <a:pt x="550" y="248"/>
                    </a:lnTo>
                    <a:lnTo>
                      <a:pt x="552" y="249"/>
                    </a:lnTo>
                    <a:lnTo>
                      <a:pt x="553" y="249"/>
                    </a:lnTo>
                    <a:lnTo>
                      <a:pt x="555" y="250"/>
                    </a:lnTo>
                    <a:lnTo>
                      <a:pt x="552" y="254"/>
                    </a:lnTo>
                    <a:lnTo>
                      <a:pt x="552" y="257"/>
                    </a:lnTo>
                    <a:lnTo>
                      <a:pt x="551" y="256"/>
                    </a:lnTo>
                    <a:lnTo>
                      <a:pt x="550" y="256"/>
                    </a:lnTo>
                    <a:lnTo>
                      <a:pt x="551" y="260"/>
                    </a:lnTo>
                    <a:lnTo>
                      <a:pt x="548" y="262"/>
                    </a:lnTo>
                    <a:lnTo>
                      <a:pt x="546" y="260"/>
                    </a:lnTo>
                    <a:lnTo>
                      <a:pt x="546" y="258"/>
                    </a:lnTo>
                    <a:lnTo>
                      <a:pt x="545" y="257"/>
                    </a:lnTo>
                    <a:lnTo>
                      <a:pt x="543" y="258"/>
                    </a:lnTo>
                    <a:lnTo>
                      <a:pt x="541" y="262"/>
                    </a:lnTo>
                    <a:lnTo>
                      <a:pt x="543" y="265"/>
                    </a:lnTo>
                    <a:lnTo>
                      <a:pt x="545" y="263"/>
                    </a:lnTo>
                    <a:lnTo>
                      <a:pt x="546" y="267"/>
                    </a:lnTo>
                    <a:lnTo>
                      <a:pt x="548" y="267"/>
                    </a:lnTo>
                    <a:lnTo>
                      <a:pt x="546" y="267"/>
                    </a:lnTo>
                    <a:lnTo>
                      <a:pt x="544" y="266"/>
                    </a:lnTo>
                    <a:lnTo>
                      <a:pt x="543" y="267"/>
                    </a:lnTo>
                    <a:lnTo>
                      <a:pt x="542" y="267"/>
                    </a:lnTo>
                    <a:lnTo>
                      <a:pt x="541" y="267"/>
                    </a:lnTo>
                    <a:lnTo>
                      <a:pt x="542" y="271"/>
                    </a:lnTo>
                    <a:lnTo>
                      <a:pt x="543" y="273"/>
                    </a:lnTo>
                    <a:lnTo>
                      <a:pt x="542" y="279"/>
                    </a:lnTo>
                    <a:lnTo>
                      <a:pt x="540" y="278"/>
                    </a:lnTo>
                    <a:lnTo>
                      <a:pt x="538" y="279"/>
                    </a:lnTo>
                    <a:lnTo>
                      <a:pt x="537" y="278"/>
                    </a:lnTo>
                    <a:lnTo>
                      <a:pt x="537" y="279"/>
                    </a:lnTo>
                    <a:lnTo>
                      <a:pt x="536" y="279"/>
                    </a:lnTo>
                    <a:lnTo>
                      <a:pt x="535" y="279"/>
                    </a:lnTo>
                    <a:lnTo>
                      <a:pt x="534" y="278"/>
                    </a:lnTo>
                    <a:lnTo>
                      <a:pt x="533" y="279"/>
                    </a:lnTo>
                    <a:lnTo>
                      <a:pt x="532" y="280"/>
                    </a:lnTo>
                    <a:lnTo>
                      <a:pt x="533" y="282"/>
                    </a:lnTo>
                    <a:lnTo>
                      <a:pt x="538" y="283"/>
                    </a:lnTo>
                    <a:lnTo>
                      <a:pt x="537" y="284"/>
                    </a:lnTo>
                    <a:lnTo>
                      <a:pt x="539" y="283"/>
                    </a:lnTo>
                    <a:lnTo>
                      <a:pt x="539" y="285"/>
                    </a:lnTo>
                    <a:lnTo>
                      <a:pt x="538" y="286"/>
                    </a:lnTo>
                    <a:lnTo>
                      <a:pt x="538" y="285"/>
                    </a:lnTo>
                    <a:lnTo>
                      <a:pt x="537" y="286"/>
                    </a:lnTo>
                    <a:lnTo>
                      <a:pt x="535" y="284"/>
                    </a:lnTo>
                    <a:lnTo>
                      <a:pt x="535" y="285"/>
                    </a:lnTo>
                    <a:lnTo>
                      <a:pt x="536" y="286"/>
                    </a:lnTo>
                    <a:lnTo>
                      <a:pt x="534" y="284"/>
                    </a:lnTo>
                    <a:lnTo>
                      <a:pt x="533" y="284"/>
                    </a:lnTo>
                    <a:lnTo>
                      <a:pt x="530" y="286"/>
                    </a:lnTo>
                    <a:lnTo>
                      <a:pt x="528" y="286"/>
                    </a:lnTo>
                    <a:lnTo>
                      <a:pt x="530" y="288"/>
                    </a:lnTo>
                    <a:lnTo>
                      <a:pt x="530" y="290"/>
                    </a:lnTo>
                    <a:lnTo>
                      <a:pt x="530" y="292"/>
                    </a:lnTo>
                    <a:lnTo>
                      <a:pt x="532" y="293"/>
                    </a:lnTo>
                    <a:lnTo>
                      <a:pt x="532" y="294"/>
                    </a:lnTo>
                    <a:lnTo>
                      <a:pt x="533" y="294"/>
                    </a:lnTo>
                    <a:lnTo>
                      <a:pt x="533" y="296"/>
                    </a:lnTo>
                    <a:lnTo>
                      <a:pt x="535" y="297"/>
                    </a:lnTo>
                    <a:lnTo>
                      <a:pt x="536" y="298"/>
                    </a:lnTo>
                    <a:lnTo>
                      <a:pt x="537" y="299"/>
                    </a:lnTo>
                    <a:lnTo>
                      <a:pt x="539" y="297"/>
                    </a:lnTo>
                    <a:lnTo>
                      <a:pt x="542" y="298"/>
                    </a:lnTo>
                    <a:lnTo>
                      <a:pt x="541" y="299"/>
                    </a:lnTo>
                    <a:lnTo>
                      <a:pt x="541" y="298"/>
                    </a:lnTo>
                    <a:lnTo>
                      <a:pt x="542" y="300"/>
                    </a:lnTo>
                    <a:lnTo>
                      <a:pt x="543" y="300"/>
                    </a:lnTo>
                    <a:lnTo>
                      <a:pt x="545" y="301"/>
                    </a:lnTo>
                    <a:lnTo>
                      <a:pt x="543" y="302"/>
                    </a:lnTo>
                    <a:lnTo>
                      <a:pt x="542" y="302"/>
                    </a:lnTo>
                    <a:lnTo>
                      <a:pt x="543" y="303"/>
                    </a:lnTo>
                    <a:lnTo>
                      <a:pt x="544" y="304"/>
                    </a:lnTo>
                    <a:lnTo>
                      <a:pt x="545" y="304"/>
                    </a:lnTo>
                    <a:lnTo>
                      <a:pt x="546" y="304"/>
                    </a:lnTo>
                    <a:lnTo>
                      <a:pt x="548" y="306"/>
                    </a:lnTo>
                    <a:lnTo>
                      <a:pt x="552" y="304"/>
                    </a:lnTo>
                    <a:lnTo>
                      <a:pt x="552" y="306"/>
                    </a:lnTo>
                    <a:lnTo>
                      <a:pt x="553" y="307"/>
                    </a:lnTo>
                    <a:lnTo>
                      <a:pt x="552" y="307"/>
                    </a:lnTo>
                    <a:lnTo>
                      <a:pt x="552" y="310"/>
                    </a:lnTo>
                    <a:lnTo>
                      <a:pt x="553" y="310"/>
                    </a:lnTo>
                    <a:lnTo>
                      <a:pt x="555" y="306"/>
                    </a:lnTo>
                    <a:lnTo>
                      <a:pt x="555" y="307"/>
                    </a:lnTo>
                    <a:lnTo>
                      <a:pt x="555" y="309"/>
                    </a:lnTo>
                    <a:lnTo>
                      <a:pt x="556" y="309"/>
                    </a:lnTo>
                    <a:lnTo>
                      <a:pt x="555" y="310"/>
                    </a:lnTo>
                    <a:lnTo>
                      <a:pt x="555" y="313"/>
                    </a:lnTo>
                    <a:lnTo>
                      <a:pt x="552" y="314"/>
                    </a:lnTo>
                    <a:lnTo>
                      <a:pt x="552" y="315"/>
                    </a:lnTo>
                    <a:lnTo>
                      <a:pt x="552" y="316"/>
                    </a:lnTo>
                    <a:lnTo>
                      <a:pt x="555" y="319"/>
                    </a:lnTo>
                    <a:lnTo>
                      <a:pt x="562" y="326"/>
                    </a:lnTo>
                    <a:lnTo>
                      <a:pt x="563" y="325"/>
                    </a:lnTo>
                    <a:lnTo>
                      <a:pt x="564" y="325"/>
                    </a:lnTo>
                    <a:lnTo>
                      <a:pt x="564" y="327"/>
                    </a:lnTo>
                    <a:lnTo>
                      <a:pt x="565" y="326"/>
                    </a:lnTo>
                    <a:lnTo>
                      <a:pt x="566" y="327"/>
                    </a:lnTo>
                    <a:lnTo>
                      <a:pt x="566" y="329"/>
                    </a:lnTo>
                    <a:lnTo>
                      <a:pt x="567" y="330"/>
                    </a:lnTo>
                    <a:lnTo>
                      <a:pt x="568" y="328"/>
                    </a:lnTo>
                    <a:lnTo>
                      <a:pt x="569" y="331"/>
                    </a:lnTo>
                    <a:lnTo>
                      <a:pt x="568" y="333"/>
                    </a:lnTo>
                    <a:lnTo>
                      <a:pt x="569" y="333"/>
                    </a:lnTo>
                    <a:lnTo>
                      <a:pt x="568" y="335"/>
                    </a:lnTo>
                    <a:lnTo>
                      <a:pt x="569" y="337"/>
                    </a:lnTo>
                    <a:lnTo>
                      <a:pt x="568" y="336"/>
                    </a:lnTo>
                    <a:lnTo>
                      <a:pt x="566" y="337"/>
                    </a:lnTo>
                    <a:lnTo>
                      <a:pt x="564" y="339"/>
                    </a:lnTo>
                    <a:lnTo>
                      <a:pt x="567" y="344"/>
                    </a:lnTo>
                    <a:lnTo>
                      <a:pt x="568" y="344"/>
                    </a:lnTo>
                    <a:lnTo>
                      <a:pt x="568" y="345"/>
                    </a:lnTo>
                    <a:lnTo>
                      <a:pt x="568" y="347"/>
                    </a:lnTo>
                    <a:lnTo>
                      <a:pt x="568" y="348"/>
                    </a:lnTo>
                    <a:lnTo>
                      <a:pt x="567" y="348"/>
                    </a:lnTo>
                    <a:lnTo>
                      <a:pt x="566" y="347"/>
                    </a:lnTo>
                    <a:lnTo>
                      <a:pt x="566" y="350"/>
                    </a:lnTo>
                    <a:lnTo>
                      <a:pt x="565" y="350"/>
                    </a:lnTo>
                    <a:lnTo>
                      <a:pt x="564" y="352"/>
                    </a:lnTo>
                    <a:lnTo>
                      <a:pt x="564" y="353"/>
                    </a:lnTo>
                    <a:lnTo>
                      <a:pt x="561" y="356"/>
                    </a:lnTo>
                    <a:lnTo>
                      <a:pt x="563" y="357"/>
                    </a:lnTo>
                    <a:lnTo>
                      <a:pt x="561" y="358"/>
                    </a:lnTo>
                    <a:lnTo>
                      <a:pt x="558" y="359"/>
                    </a:lnTo>
                    <a:lnTo>
                      <a:pt x="557" y="359"/>
                    </a:lnTo>
                    <a:lnTo>
                      <a:pt x="557" y="360"/>
                    </a:lnTo>
                    <a:lnTo>
                      <a:pt x="556" y="361"/>
                    </a:lnTo>
                    <a:lnTo>
                      <a:pt x="558" y="363"/>
                    </a:lnTo>
                    <a:lnTo>
                      <a:pt x="558" y="365"/>
                    </a:lnTo>
                    <a:lnTo>
                      <a:pt x="557" y="367"/>
                    </a:lnTo>
                    <a:lnTo>
                      <a:pt x="558" y="368"/>
                    </a:lnTo>
                    <a:lnTo>
                      <a:pt x="557" y="371"/>
                    </a:lnTo>
                    <a:lnTo>
                      <a:pt x="556" y="371"/>
                    </a:lnTo>
                    <a:lnTo>
                      <a:pt x="556" y="369"/>
                    </a:lnTo>
                    <a:lnTo>
                      <a:pt x="555" y="371"/>
                    </a:lnTo>
                    <a:lnTo>
                      <a:pt x="556" y="373"/>
                    </a:lnTo>
                    <a:lnTo>
                      <a:pt x="556" y="375"/>
                    </a:lnTo>
                    <a:lnTo>
                      <a:pt x="555" y="375"/>
                    </a:lnTo>
                    <a:lnTo>
                      <a:pt x="554" y="376"/>
                    </a:lnTo>
                    <a:lnTo>
                      <a:pt x="554" y="378"/>
                    </a:lnTo>
                    <a:lnTo>
                      <a:pt x="552" y="380"/>
                    </a:lnTo>
                    <a:lnTo>
                      <a:pt x="551" y="378"/>
                    </a:lnTo>
                    <a:lnTo>
                      <a:pt x="548" y="379"/>
                    </a:lnTo>
                    <a:lnTo>
                      <a:pt x="548" y="380"/>
                    </a:lnTo>
                    <a:lnTo>
                      <a:pt x="548" y="382"/>
                    </a:lnTo>
                    <a:lnTo>
                      <a:pt x="546" y="383"/>
                    </a:lnTo>
                    <a:lnTo>
                      <a:pt x="544" y="383"/>
                    </a:lnTo>
                    <a:lnTo>
                      <a:pt x="544" y="384"/>
                    </a:lnTo>
                    <a:lnTo>
                      <a:pt x="543" y="382"/>
                    </a:lnTo>
                    <a:lnTo>
                      <a:pt x="541" y="380"/>
                    </a:lnTo>
                    <a:lnTo>
                      <a:pt x="540" y="381"/>
                    </a:lnTo>
                    <a:lnTo>
                      <a:pt x="535" y="385"/>
                    </a:lnTo>
                    <a:lnTo>
                      <a:pt x="535" y="386"/>
                    </a:lnTo>
                    <a:lnTo>
                      <a:pt x="533" y="386"/>
                    </a:lnTo>
                    <a:lnTo>
                      <a:pt x="532" y="388"/>
                    </a:lnTo>
                    <a:lnTo>
                      <a:pt x="530" y="390"/>
                    </a:lnTo>
                    <a:lnTo>
                      <a:pt x="530" y="392"/>
                    </a:lnTo>
                    <a:lnTo>
                      <a:pt x="531" y="394"/>
                    </a:lnTo>
                    <a:lnTo>
                      <a:pt x="533" y="394"/>
                    </a:lnTo>
                    <a:lnTo>
                      <a:pt x="534" y="394"/>
                    </a:lnTo>
                    <a:lnTo>
                      <a:pt x="533" y="395"/>
                    </a:lnTo>
                    <a:lnTo>
                      <a:pt x="535" y="397"/>
                    </a:lnTo>
                    <a:lnTo>
                      <a:pt x="534" y="399"/>
                    </a:lnTo>
                    <a:lnTo>
                      <a:pt x="536" y="400"/>
                    </a:lnTo>
                    <a:lnTo>
                      <a:pt x="535" y="401"/>
                    </a:lnTo>
                    <a:lnTo>
                      <a:pt x="535" y="402"/>
                    </a:lnTo>
                    <a:lnTo>
                      <a:pt x="533" y="403"/>
                    </a:lnTo>
                    <a:lnTo>
                      <a:pt x="532" y="403"/>
                    </a:lnTo>
                    <a:lnTo>
                      <a:pt x="531" y="405"/>
                    </a:lnTo>
                    <a:lnTo>
                      <a:pt x="530" y="404"/>
                    </a:lnTo>
                    <a:lnTo>
                      <a:pt x="529" y="404"/>
                    </a:lnTo>
                    <a:lnTo>
                      <a:pt x="528" y="403"/>
                    </a:lnTo>
                    <a:lnTo>
                      <a:pt x="527" y="404"/>
                    </a:lnTo>
                    <a:lnTo>
                      <a:pt x="524" y="401"/>
                    </a:lnTo>
                    <a:lnTo>
                      <a:pt x="524" y="403"/>
                    </a:lnTo>
                    <a:lnTo>
                      <a:pt x="523" y="403"/>
                    </a:lnTo>
                    <a:lnTo>
                      <a:pt x="522" y="402"/>
                    </a:lnTo>
                    <a:lnTo>
                      <a:pt x="522" y="399"/>
                    </a:lnTo>
                    <a:lnTo>
                      <a:pt x="521" y="400"/>
                    </a:lnTo>
                    <a:lnTo>
                      <a:pt x="520" y="399"/>
                    </a:lnTo>
                    <a:lnTo>
                      <a:pt x="519" y="402"/>
                    </a:lnTo>
                    <a:lnTo>
                      <a:pt x="517" y="404"/>
                    </a:lnTo>
                    <a:lnTo>
                      <a:pt x="516" y="407"/>
                    </a:lnTo>
                    <a:lnTo>
                      <a:pt x="517" y="407"/>
                    </a:lnTo>
                    <a:lnTo>
                      <a:pt x="515" y="408"/>
                    </a:lnTo>
                    <a:lnTo>
                      <a:pt x="515" y="411"/>
                    </a:lnTo>
                    <a:lnTo>
                      <a:pt x="515" y="409"/>
                    </a:lnTo>
                    <a:lnTo>
                      <a:pt x="513" y="408"/>
                    </a:lnTo>
                    <a:lnTo>
                      <a:pt x="510" y="412"/>
                    </a:lnTo>
                    <a:lnTo>
                      <a:pt x="507" y="409"/>
                    </a:lnTo>
                    <a:lnTo>
                      <a:pt x="504" y="411"/>
                    </a:lnTo>
                    <a:lnTo>
                      <a:pt x="501" y="413"/>
                    </a:lnTo>
                    <a:lnTo>
                      <a:pt x="500" y="412"/>
                    </a:lnTo>
                    <a:lnTo>
                      <a:pt x="499" y="413"/>
                    </a:lnTo>
                    <a:lnTo>
                      <a:pt x="498" y="412"/>
                    </a:lnTo>
                    <a:lnTo>
                      <a:pt x="496" y="412"/>
                    </a:lnTo>
                    <a:lnTo>
                      <a:pt x="496" y="411"/>
                    </a:lnTo>
                    <a:lnTo>
                      <a:pt x="496" y="413"/>
                    </a:lnTo>
                    <a:lnTo>
                      <a:pt x="496" y="412"/>
                    </a:lnTo>
                    <a:lnTo>
                      <a:pt x="495" y="412"/>
                    </a:lnTo>
                    <a:lnTo>
                      <a:pt x="492" y="412"/>
                    </a:lnTo>
                    <a:lnTo>
                      <a:pt x="492" y="415"/>
                    </a:lnTo>
                    <a:lnTo>
                      <a:pt x="491" y="414"/>
                    </a:lnTo>
                    <a:lnTo>
                      <a:pt x="490" y="414"/>
                    </a:lnTo>
                    <a:lnTo>
                      <a:pt x="491" y="416"/>
                    </a:lnTo>
                    <a:lnTo>
                      <a:pt x="487" y="417"/>
                    </a:lnTo>
                    <a:lnTo>
                      <a:pt x="487" y="416"/>
                    </a:lnTo>
                    <a:lnTo>
                      <a:pt x="486" y="418"/>
                    </a:lnTo>
                    <a:lnTo>
                      <a:pt x="486" y="416"/>
                    </a:lnTo>
                    <a:lnTo>
                      <a:pt x="484" y="417"/>
                    </a:lnTo>
                    <a:lnTo>
                      <a:pt x="484" y="416"/>
                    </a:lnTo>
                    <a:lnTo>
                      <a:pt x="482" y="416"/>
                    </a:lnTo>
                    <a:lnTo>
                      <a:pt x="484" y="413"/>
                    </a:lnTo>
                    <a:lnTo>
                      <a:pt x="484" y="412"/>
                    </a:lnTo>
                    <a:lnTo>
                      <a:pt x="483" y="412"/>
                    </a:lnTo>
                    <a:lnTo>
                      <a:pt x="481" y="413"/>
                    </a:lnTo>
                    <a:lnTo>
                      <a:pt x="480" y="412"/>
                    </a:lnTo>
                    <a:lnTo>
                      <a:pt x="479" y="414"/>
                    </a:lnTo>
                    <a:lnTo>
                      <a:pt x="477" y="414"/>
                    </a:lnTo>
                    <a:lnTo>
                      <a:pt x="476" y="414"/>
                    </a:lnTo>
                    <a:lnTo>
                      <a:pt x="475" y="416"/>
                    </a:lnTo>
                    <a:lnTo>
                      <a:pt x="474" y="416"/>
                    </a:lnTo>
                    <a:lnTo>
                      <a:pt x="474" y="418"/>
                    </a:lnTo>
                    <a:lnTo>
                      <a:pt x="475" y="418"/>
                    </a:lnTo>
                    <a:lnTo>
                      <a:pt x="475" y="419"/>
                    </a:lnTo>
                    <a:lnTo>
                      <a:pt x="475" y="420"/>
                    </a:lnTo>
                    <a:lnTo>
                      <a:pt x="472" y="421"/>
                    </a:lnTo>
                    <a:lnTo>
                      <a:pt x="472" y="425"/>
                    </a:lnTo>
                    <a:lnTo>
                      <a:pt x="472" y="428"/>
                    </a:lnTo>
                    <a:lnTo>
                      <a:pt x="467" y="429"/>
                    </a:lnTo>
                    <a:lnTo>
                      <a:pt x="467" y="431"/>
                    </a:lnTo>
                    <a:lnTo>
                      <a:pt x="465" y="434"/>
                    </a:lnTo>
                    <a:lnTo>
                      <a:pt x="464" y="434"/>
                    </a:lnTo>
                    <a:lnTo>
                      <a:pt x="464" y="433"/>
                    </a:lnTo>
                    <a:lnTo>
                      <a:pt x="463" y="433"/>
                    </a:lnTo>
                    <a:lnTo>
                      <a:pt x="462" y="433"/>
                    </a:lnTo>
                    <a:lnTo>
                      <a:pt x="463" y="434"/>
                    </a:lnTo>
                    <a:lnTo>
                      <a:pt x="462" y="434"/>
                    </a:lnTo>
                    <a:lnTo>
                      <a:pt x="462" y="435"/>
                    </a:lnTo>
                    <a:lnTo>
                      <a:pt x="461" y="437"/>
                    </a:lnTo>
                    <a:lnTo>
                      <a:pt x="460" y="438"/>
                    </a:lnTo>
                    <a:lnTo>
                      <a:pt x="460" y="440"/>
                    </a:lnTo>
                    <a:lnTo>
                      <a:pt x="460" y="442"/>
                    </a:lnTo>
                    <a:lnTo>
                      <a:pt x="459" y="446"/>
                    </a:lnTo>
                    <a:lnTo>
                      <a:pt x="460" y="448"/>
                    </a:lnTo>
                    <a:lnTo>
                      <a:pt x="459" y="450"/>
                    </a:lnTo>
                    <a:lnTo>
                      <a:pt x="460" y="451"/>
                    </a:lnTo>
                    <a:lnTo>
                      <a:pt x="460" y="454"/>
                    </a:lnTo>
                    <a:lnTo>
                      <a:pt x="462" y="454"/>
                    </a:lnTo>
                    <a:lnTo>
                      <a:pt x="463" y="452"/>
                    </a:lnTo>
                    <a:lnTo>
                      <a:pt x="466" y="457"/>
                    </a:lnTo>
                    <a:lnTo>
                      <a:pt x="469" y="456"/>
                    </a:lnTo>
                    <a:lnTo>
                      <a:pt x="473" y="457"/>
                    </a:lnTo>
                    <a:lnTo>
                      <a:pt x="473" y="459"/>
                    </a:lnTo>
                    <a:lnTo>
                      <a:pt x="474" y="463"/>
                    </a:lnTo>
                    <a:lnTo>
                      <a:pt x="476" y="468"/>
                    </a:lnTo>
                    <a:lnTo>
                      <a:pt x="476" y="469"/>
                    </a:lnTo>
                    <a:lnTo>
                      <a:pt x="475" y="470"/>
                    </a:lnTo>
                    <a:lnTo>
                      <a:pt x="475" y="471"/>
                    </a:lnTo>
                    <a:lnTo>
                      <a:pt x="476" y="473"/>
                    </a:lnTo>
                    <a:lnTo>
                      <a:pt x="474" y="476"/>
                    </a:lnTo>
                    <a:lnTo>
                      <a:pt x="473" y="475"/>
                    </a:lnTo>
                    <a:lnTo>
                      <a:pt x="473" y="477"/>
                    </a:lnTo>
                    <a:lnTo>
                      <a:pt x="472" y="476"/>
                    </a:lnTo>
                    <a:lnTo>
                      <a:pt x="472" y="477"/>
                    </a:lnTo>
                    <a:lnTo>
                      <a:pt x="471" y="477"/>
                    </a:lnTo>
                    <a:lnTo>
                      <a:pt x="470" y="478"/>
                    </a:lnTo>
                    <a:lnTo>
                      <a:pt x="470" y="480"/>
                    </a:lnTo>
                    <a:lnTo>
                      <a:pt x="467" y="481"/>
                    </a:lnTo>
                    <a:lnTo>
                      <a:pt x="467" y="480"/>
                    </a:lnTo>
                    <a:lnTo>
                      <a:pt x="466" y="480"/>
                    </a:lnTo>
                    <a:lnTo>
                      <a:pt x="464" y="481"/>
                    </a:lnTo>
                    <a:lnTo>
                      <a:pt x="463" y="480"/>
                    </a:lnTo>
                    <a:lnTo>
                      <a:pt x="462" y="481"/>
                    </a:lnTo>
                    <a:lnTo>
                      <a:pt x="462" y="478"/>
                    </a:lnTo>
                    <a:lnTo>
                      <a:pt x="459" y="476"/>
                    </a:lnTo>
                    <a:lnTo>
                      <a:pt x="459" y="478"/>
                    </a:lnTo>
                    <a:lnTo>
                      <a:pt x="457" y="477"/>
                    </a:lnTo>
                    <a:lnTo>
                      <a:pt x="457" y="480"/>
                    </a:lnTo>
                    <a:lnTo>
                      <a:pt x="455" y="481"/>
                    </a:lnTo>
                    <a:lnTo>
                      <a:pt x="454" y="480"/>
                    </a:lnTo>
                    <a:lnTo>
                      <a:pt x="455" y="478"/>
                    </a:lnTo>
                    <a:lnTo>
                      <a:pt x="453" y="478"/>
                    </a:lnTo>
                    <a:lnTo>
                      <a:pt x="453" y="480"/>
                    </a:lnTo>
                    <a:lnTo>
                      <a:pt x="454" y="481"/>
                    </a:lnTo>
                    <a:lnTo>
                      <a:pt x="454" y="483"/>
                    </a:lnTo>
                    <a:lnTo>
                      <a:pt x="452" y="483"/>
                    </a:lnTo>
                    <a:lnTo>
                      <a:pt x="452" y="484"/>
                    </a:lnTo>
                    <a:lnTo>
                      <a:pt x="451" y="485"/>
                    </a:lnTo>
                    <a:lnTo>
                      <a:pt x="451" y="486"/>
                    </a:lnTo>
                    <a:lnTo>
                      <a:pt x="451" y="488"/>
                    </a:lnTo>
                    <a:lnTo>
                      <a:pt x="451" y="489"/>
                    </a:lnTo>
                    <a:lnTo>
                      <a:pt x="447" y="488"/>
                    </a:lnTo>
                    <a:lnTo>
                      <a:pt x="447" y="486"/>
                    </a:lnTo>
                    <a:lnTo>
                      <a:pt x="447" y="484"/>
                    </a:lnTo>
                    <a:lnTo>
                      <a:pt x="444" y="482"/>
                    </a:lnTo>
                    <a:lnTo>
                      <a:pt x="444" y="483"/>
                    </a:lnTo>
                    <a:lnTo>
                      <a:pt x="444" y="482"/>
                    </a:lnTo>
                    <a:lnTo>
                      <a:pt x="444" y="483"/>
                    </a:lnTo>
                    <a:lnTo>
                      <a:pt x="442" y="483"/>
                    </a:lnTo>
                    <a:lnTo>
                      <a:pt x="441" y="483"/>
                    </a:lnTo>
                    <a:lnTo>
                      <a:pt x="440" y="482"/>
                    </a:lnTo>
                    <a:lnTo>
                      <a:pt x="439" y="481"/>
                    </a:lnTo>
                    <a:lnTo>
                      <a:pt x="439" y="480"/>
                    </a:lnTo>
                    <a:lnTo>
                      <a:pt x="438" y="480"/>
                    </a:lnTo>
                    <a:lnTo>
                      <a:pt x="438" y="478"/>
                    </a:lnTo>
                    <a:lnTo>
                      <a:pt x="439" y="478"/>
                    </a:lnTo>
                    <a:lnTo>
                      <a:pt x="438" y="478"/>
                    </a:lnTo>
                    <a:lnTo>
                      <a:pt x="437" y="479"/>
                    </a:lnTo>
                    <a:lnTo>
                      <a:pt x="436" y="478"/>
                    </a:lnTo>
                    <a:lnTo>
                      <a:pt x="435" y="478"/>
                    </a:lnTo>
                    <a:lnTo>
                      <a:pt x="435" y="482"/>
                    </a:lnTo>
                    <a:lnTo>
                      <a:pt x="433" y="480"/>
                    </a:lnTo>
                    <a:lnTo>
                      <a:pt x="430" y="481"/>
                    </a:lnTo>
                    <a:lnTo>
                      <a:pt x="429" y="481"/>
                    </a:lnTo>
                    <a:lnTo>
                      <a:pt x="429" y="482"/>
                    </a:lnTo>
                    <a:lnTo>
                      <a:pt x="428" y="482"/>
                    </a:lnTo>
                    <a:lnTo>
                      <a:pt x="427" y="481"/>
                    </a:lnTo>
                    <a:lnTo>
                      <a:pt x="426" y="482"/>
                    </a:lnTo>
                    <a:lnTo>
                      <a:pt x="425" y="482"/>
                    </a:lnTo>
                    <a:lnTo>
                      <a:pt x="424" y="482"/>
                    </a:lnTo>
                    <a:lnTo>
                      <a:pt x="421" y="483"/>
                    </a:lnTo>
                    <a:lnTo>
                      <a:pt x="419" y="480"/>
                    </a:lnTo>
                    <a:lnTo>
                      <a:pt x="417" y="480"/>
                    </a:lnTo>
                    <a:lnTo>
                      <a:pt x="416" y="478"/>
                    </a:lnTo>
                    <a:lnTo>
                      <a:pt x="414" y="479"/>
                    </a:lnTo>
                    <a:lnTo>
                      <a:pt x="413" y="480"/>
                    </a:lnTo>
                    <a:lnTo>
                      <a:pt x="412" y="480"/>
                    </a:lnTo>
                    <a:lnTo>
                      <a:pt x="411" y="478"/>
                    </a:lnTo>
                    <a:lnTo>
                      <a:pt x="411" y="479"/>
                    </a:lnTo>
                    <a:lnTo>
                      <a:pt x="409" y="478"/>
                    </a:lnTo>
                    <a:lnTo>
                      <a:pt x="410" y="477"/>
                    </a:lnTo>
                    <a:lnTo>
                      <a:pt x="408" y="475"/>
                    </a:lnTo>
                    <a:lnTo>
                      <a:pt x="403" y="475"/>
                    </a:lnTo>
                    <a:lnTo>
                      <a:pt x="400" y="475"/>
                    </a:lnTo>
                    <a:lnTo>
                      <a:pt x="398" y="479"/>
                    </a:lnTo>
                    <a:lnTo>
                      <a:pt x="399" y="480"/>
                    </a:lnTo>
                    <a:lnTo>
                      <a:pt x="401" y="481"/>
                    </a:lnTo>
                    <a:lnTo>
                      <a:pt x="402" y="484"/>
                    </a:lnTo>
                    <a:lnTo>
                      <a:pt x="402" y="486"/>
                    </a:lnTo>
                    <a:lnTo>
                      <a:pt x="402" y="487"/>
                    </a:lnTo>
                    <a:lnTo>
                      <a:pt x="399" y="488"/>
                    </a:lnTo>
                    <a:lnTo>
                      <a:pt x="395" y="486"/>
                    </a:lnTo>
                    <a:lnTo>
                      <a:pt x="394" y="488"/>
                    </a:lnTo>
                    <a:lnTo>
                      <a:pt x="391" y="486"/>
                    </a:lnTo>
                    <a:lnTo>
                      <a:pt x="389" y="486"/>
                    </a:lnTo>
                    <a:lnTo>
                      <a:pt x="388" y="487"/>
                    </a:lnTo>
                    <a:lnTo>
                      <a:pt x="388" y="489"/>
                    </a:lnTo>
                    <a:lnTo>
                      <a:pt x="387" y="490"/>
                    </a:lnTo>
                    <a:lnTo>
                      <a:pt x="387" y="491"/>
                    </a:lnTo>
                    <a:lnTo>
                      <a:pt x="388" y="492"/>
                    </a:lnTo>
                    <a:lnTo>
                      <a:pt x="389" y="495"/>
                    </a:lnTo>
                    <a:lnTo>
                      <a:pt x="388" y="495"/>
                    </a:lnTo>
                    <a:lnTo>
                      <a:pt x="386" y="495"/>
                    </a:lnTo>
                    <a:lnTo>
                      <a:pt x="386" y="496"/>
                    </a:lnTo>
                    <a:lnTo>
                      <a:pt x="386" y="499"/>
                    </a:lnTo>
                    <a:lnTo>
                      <a:pt x="384" y="499"/>
                    </a:lnTo>
                    <a:lnTo>
                      <a:pt x="383" y="501"/>
                    </a:lnTo>
                    <a:lnTo>
                      <a:pt x="382" y="501"/>
                    </a:lnTo>
                    <a:lnTo>
                      <a:pt x="381" y="499"/>
                    </a:lnTo>
                    <a:lnTo>
                      <a:pt x="379" y="501"/>
                    </a:lnTo>
                    <a:lnTo>
                      <a:pt x="377" y="501"/>
                    </a:lnTo>
                    <a:lnTo>
                      <a:pt x="377" y="498"/>
                    </a:lnTo>
                    <a:lnTo>
                      <a:pt x="374" y="495"/>
                    </a:lnTo>
                    <a:lnTo>
                      <a:pt x="376" y="494"/>
                    </a:lnTo>
                    <a:lnTo>
                      <a:pt x="374" y="493"/>
                    </a:lnTo>
                    <a:lnTo>
                      <a:pt x="373" y="492"/>
                    </a:lnTo>
                    <a:lnTo>
                      <a:pt x="374" y="491"/>
                    </a:lnTo>
                    <a:lnTo>
                      <a:pt x="373" y="490"/>
                    </a:lnTo>
                    <a:lnTo>
                      <a:pt x="373" y="489"/>
                    </a:lnTo>
                    <a:lnTo>
                      <a:pt x="373" y="485"/>
                    </a:lnTo>
                    <a:lnTo>
                      <a:pt x="371" y="486"/>
                    </a:lnTo>
                    <a:lnTo>
                      <a:pt x="372" y="485"/>
                    </a:lnTo>
                    <a:lnTo>
                      <a:pt x="372" y="484"/>
                    </a:lnTo>
                    <a:lnTo>
                      <a:pt x="371" y="484"/>
                    </a:lnTo>
                    <a:lnTo>
                      <a:pt x="372" y="483"/>
                    </a:lnTo>
                    <a:lnTo>
                      <a:pt x="372" y="481"/>
                    </a:lnTo>
                    <a:lnTo>
                      <a:pt x="370" y="480"/>
                    </a:lnTo>
                    <a:lnTo>
                      <a:pt x="371" y="480"/>
                    </a:lnTo>
                    <a:lnTo>
                      <a:pt x="372" y="480"/>
                    </a:lnTo>
                    <a:lnTo>
                      <a:pt x="370" y="478"/>
                    </a:lnTo>
                    <a:lnTo>
                      <a:pt x="370" y="477"/>
                    </a:lnTo>
                    <a:lnTo>
                      <a:pt x="369" y="479"/>
                    </a:lnTo>
                    <a:lnTo>
                      <a:pt x="368" y="479"/>
                    </a:lnTo>
                    <a:lnTo>
                      <a:pt x="367" y="478"/>
                    </a:lnTo>
                    <a:lnTo>
                      <a:pt x="366" y="478"/>
                    </a:lnTo>
                    <a:lnTo>
                      <a:pt x="364" y="482"/>
                    </a:lnTo>
                    <a:lnTo>
                      <a:pt x="365" y="483"/>
                    </a:lnTo>
                    <a:lnTo>
                      <a:pt x="364" y="484"/>
                    </a:lnTo>
                    <a:lnTo>
                      <a:pt x="363" y="483"/>
                    </a:lnTo>
                    <a:lnTo>
                      <a:pt x="363" y="481"/>
                    </a:lnTo>
                    <a:lnTo>
                      <a:pt x="362" y="479"/>
                    </a:lnTo>
                    <a:lnTo>
                      <a:pt x="361" y="479"/>
                    </a:lnTo>
                    <a:lnTo>
                      <a:pt x="359" y="478"/>
                    </a:lnTo>
                    <a:lnTo>
                      <a:pt x="357" y="475"/>
                    </a:lnTo>
                    <a:lnTo>
                      <a:pt x="356" y="470"/>
                    </a:lnTo>
                    <a:lnTo>
                      <a:pt x="355" y="470"/>
                    </a:lnTo>
                    <a:lnTo>
                      <a:pt x="354" y="470"/>
                    </a:lnTo>
                    <a:lnTo>
                      <a:pt x="348" y="468"/>
                    </a:lnTo>
                    <a:lnTo>
                      <a:pt x="347" y="465"/>
                    </a:lnTo>
                    <a:lnTo>
                      <a:pt x="344" y="460"/>
                    </a:lnTo>
                    <a:lnTo>
                      <a:pt x="345" y="459"/>
                    </a:lnTo>
                    <a:lnTo>
                      <a:pt x="344" y="459"/>
                    </a:lnTo>
                    <a:lnTo>
                      <a:pt x="343" y="461"/>
                    </a:lnTo>
                    <a:lnTo>
                      <a:pt x="343" y="464"/>
                    </a:lnTo>
                    <a:lnTo>
                      <a:pt x="340" y="464"/>
                    </a:lnTo>
                    <a:lnTo>
                      <a:pt x="340" y="465"/>
                    </a:lnTo>
                    <a:lnTo>
                      <a:pt x="338" y="465"/>
                    </a:lnTo>
                    <a:lnTo>
                      <a:pt x="338" y="466"/>
                    </a:lnTo>
                    <a:lnTo>
                      <a:pt x="338" y="465"/>
                    </a:lnTo>
                    <a:lnTo>
                      <a:pt x="337" y="467"/>
                    </a:lnTo>
                    <a:lnTo>
                      <a:pt x="337" y="468"/>
                    </a:lnTo>
                    <a:lnTo>
                      <a:pt x="338" y="468"/>
                    </a:lnTo>
                    <a:lnTo>
                      <a:pt x="337" y="471"/>
                    </a:lnTo>
                    <a:lnTo>
                      <a:pt x="333" y="469"/>
                    </a:lnTo>
                    <a:lnTo>
                      <a:pt x="333" y="470"/>
                    </a:lnTo>
                    <a:lnTo>
                      <a:pt x="333" y="471"/>
                    </a:lnTo>
                    <a:lnTo>
                      <a:pt x="332" y="471"/>
                    </a:lnTo>
                    <a:lnTo>
                      <a:pt x="333" y="472"/>
                    </a:lnTo>
                    <a:lnTo>
                      <a:pt x="332" y="472"/>
                    </a:lnTo>
                    <a:lnTo>
                      <a:pt x="333" y="473"/>
                    </a:lnTo>
                    <a:lnTo>
                      <a:pt x="332" y="475"/>
                    </a:lnTo>
                    <a:lnTo>
                      <a:pt x="333" y="476"/>
                    </a:lnTo>
                    <a:lnTo>
                      <a:pt x="332" y="476"/>
                    </a:lnTo>
                    <a:lnTo>
                      <a:pt x="331" y="477"/>
                    </a:lnTo>
                    <a:lnTo>
                      <a:pt x="330" y="477"/>
                    </a:lnTo>
                    <a:lnTo>
                      <a:pt x="330" y="480"/>
                    </a:lnTo>
                    <a:lnTo>
                      <a:pt x="329" y="480"/>
                    </a:lnTo>
                    <a:lnTo>
                      <a:pt x="329" y="481"/>
                    </a:lnTo>
                    <a:lnTo>
                      <a:pt x="329" y="482"/>
                    </a:lnTo>
                    <a:lnTo>
                      <a:pt x="331" y="483"/>
                    </a:lnTo>
                    <a:lnTo>
                      <a:pt x="330" y="486"/>
                    </a:lnTo>
                    <a:lnTo>
                      <a:pt x="330" y="487"/>
                    </a:lnTo>
                    <a:lnTo>
                      <a:pt x="332" y="486"/>
                    </a:lnTo>
                    <a:lnTo>
                      <a:pt x="332" y="488"/>
                    </a:lnTo>
                    <a:lnTo>
                      <a:pt x="331" y="488"/>
                    </a:lnTo>
                    <a:lnTo>
                      <a:pt x="333" y="489"/>
                    </a:lnTo>
                    <a:lnTo>
                      <a:pt x="333" y="490"/>
                    </a:lnTo>
                    <a:lnTo>
                      <a:pt x="331" y="491"/>
                    </a:lnTo>
                    <a:lnTo>
                      <a:pt x="333" y="491"/>
                    </a:lnTo>
                    <a:lnTo>
                      <a:pt x="332" y="492"/>
                    </a:lnTo>
                    <a:lnTo>
                      <a:pt x="330" y="492"/>
                    </a:lnTo>
                    <a:lnTo>
                      <a:pt x="329" y="492"/>
                    </a:lnTo>
                    <a:lnTo>
                      <a:pt x="329" y="493"/>
                    </a:lnTo>
                    <a:lnTo>
                      <a:pt x="325" y="493"/>
                    </a:lnTo>
                    <a:lnTo>
                      <a:pt x="325" y="494"/>
                    </a:lnTo>
                    <a:lnTo>
                      <a:pt x="324" y="494"/>
                    </a:lnTo>
                    <a:lnTo>
                      <a:pt x="324" y="493"/>
                    </a:lnTo>
                    <a:lnTo>
                      <a:pt x="321" y="493"/>
                    </a:lnTo>
                    <a:lnTo>
                      <a:pt x="320" y="492"/>
                    </a:lnTo>
                    <a:lnTo>
                      <a:pt x="320" y="493"/>
                    </a:lnTo>
                    <a:lnTo>
                      <a:pt x="320" y="494"/>
                    </a:lnTo>
                    <a:lnTo>
                      <a:pt x="318" y="494"/>
                    </a:lnTo>
                    <a:lnTo>
                      <a:pt x="317" y="494"/>
                    </a:lnTo>
                    <a:lnTo>
                      <a:pt x="316" y="496"/>
                    </a:lnTo>
                    <a:lnTo>
                      <a:pt x="313" y="499"/>
                    </a:lnTo>
                    <a:lnTo>
                      <a:pt x="312" y="498"/>
                    </a:lnTo>
                    <a:lnTo>
                      <a:pt x="312" y="499"/>
                    </a:lnTo>
                    <a:lnTo>
                      <a:pt x="310" y="499"/>
                    </a:lnTo>
                    <a:lnTo>
                      <a:pt x="308" y="500"/>
                    </a:lnTo>
                    <a:lnTo>
                      <a:pt x="308" y="501"/>
                    </a:lnTo>
                    <a:lnTo>
                      <a:pt x="307" y="501"/>
                    </a:lnTo>
                    <a:lnTo>
                      <a:pt x="308" y="505"/>
                    </a:lnTo>
                    <a:lnTo>
                      <a:pt x="307" y="506"/>
                    </a:lnTo>
                    <a:lnTo>
                      <a:pt x="307" y="509"/>
                    </a:lnTo>
                    <a:lnTo>
                      <a:pt x="306" y="509"/>
                    </a:lnTo>
                    <a:lnTo>
                      <a:pt x="304" y="509"/>
                    </a:lnTo>
                    <a:lnTo>
                      <a:pt x="303" y="507"/>
                    </a:lnTo>
                    <a:lnTo>
                      <a:pt x="304" y="506"/>
                    </a:lnTo>
                    <a:lnTo>
                      <a:pt x="303" y="502"/>
                    </a:lnTo>
                    <a:lnTo>
                      <a:pt x="301" y="501"/>
                    </a:lnTo>
                    <a:lnTo>
                      <a:pt x="296" y="498"/>
                    </a:lnTo>
                    <a:lnTo>
                      <a:pt x="291" y="499"/>
                    </a:lnTo>
                    <a:lnTo>
                      <a:pt x="289" y="499"/>
                    </a:lnTo>
                    <a:lnTo>
                      <a:pt x="289" y="498"/>
                    </a:lnTo>
                    <a:lnTo>
                      <a:pt x="287" y="498"/>
                    </a:lnTo>
                    <a:lnTo>
                      <a:pt x="287" y="496"/>
                    </a:lnTo>
                    <a:lnTo>
                      <a:pt x="288" y="495"/>
                    </a:lnTo>
                    <a:lnTo>
                      <a:pt x="289" y="495"/>
                    </a:lnTo>
                    <a:lnTo>
                      <a:pt x="290" y="493"/>
                    </a:lnTo>
                    <a:lnTo>
                      <a:pt x="291" y="492"/>
                    </a:lnTo>
                    <a:lnTo>
                      <a:pt x="292" y="489"/>
                    </a:lnTo>
                    <a:lnTo>
                      <a:pt x="292" y="488"/>
                    </a:lnTo>
                    <a:lnTo>
                      <a:pt x="291" y="488"/>
                    </a:lnTo>
                    <a:lnTo>
                      <a:pt x="290" y="490"/>
                    </a:lnTo>
                    <a:lnTo>
                      <a:pt x="289" y="491"/>
                    </a:lnTo>
                    <a:lnTo>
                      <a:pt x="287" y="490"/>
                    </a:lnTo>
                    <a:lnTo>
                      <a:pt x="287" y="492"/>
                    </a:lnTo>
                    <a:lnTo>
                      <a:pt x="286" y="492"/>
                    </a:lnTo>
                    <a:lnTo>
                      <a:pt x="286" y="489"/>
                    </a:lnTo>
                    <a:lnTo>
                      <a:pt x="284" y="493"/>
                    </a:lnTo>
                    <a:lnTo>
                      <a:pt x="282" y="492"/>
                    </a:lnTo>
                    <a:lnTo>
                      <a:pt x="283" y="492"/>
                    </a:lnTo>
                    <a:lnTo>
                      <a:pt x="282" y="492"/>
                    </a:lnTo>
                    <a:lnTo>
                      <a:pt x="281" y="492"/>
                    </a:lnTo>
                    <a:lnTo>
                      <a:pt x="281" y="491"/>
                    </a:lnTo>
                    <a:lnTo>
                      <a:pt x="280" y="492"/>
                    </a:lnTo>
                    <a:lnTo>
                      <a:pt x="280" y="491"/>
                    </a:lnTo>
                    <a:lnTo>
                      <a:pt x="278" y="490"/>
                    </a:lnTo>
                    <a:lnTo>
                      <a:pt x="277" y="489"/>
                    </a:lnTo>
                    <a:lnTo>
                      <a:pt x="276" y="489"/>
                    </a:lnTo>
                    <a:lnTo>
                      <a:pt x="275" y="491"/>
                    </a:lnTo>
                    <a:lnTo>
                      <a:pt x="274" y="489"/>
                    </a:lnTo>
                    <a:lnTo>
                      <a:pt x="273" y="489"/>
                    </a:lnTo>
                    <a:lnTo>
                      <a:pt x="273" y="488"/>
                    </a:lnTo>
                    <a:lnTo>
                      <a:pt x="272" y="489"/>
                    </a:lnTo>
                    <a:lnTo>
                      <a:pt x="272" y="488"/>
                    </a:lnTo>
                    <a:lnTo>
                      <a:pt x="270" y="488"/>
                    </a:lnTo>
                    <a:lnTo>
                      <a:pt x="272" y="485"/>
                    </a:lnTo>
                    <a:lnTo>
                      <a:pt x="271" y="484"/>
                    </a:lnTo>
                    <a:lnTo>
                      <a:pt x="269" y="484"/>
                    </a:lnTo>
                    <a:lnTo>
                      <a:pt x="268" y="486"/>
                    </a:lnTo>
                    <a:lnTo>
                      <a:pt x="266" y="485"/>
                    </a:lnTo>
                    <a:lnTo>
                      <a:pt x="263" y="482"/>
                    </a:lnTo>
                    <a:lnTo>
                      <a:pt x="261" y="482"/>
                    </a:lnTo>
                    <a:lnTo>
                      <a:pt x="261" y="483"/>
                    </a:lnTo>
                    <a:lnTo>
                      <a:pt x="260" y="486"/>
                    </a:lnTo>
                    <a:lnTo>
                      <a:pt x="258" y="486"/>
                    </a:lnTo>
                    <a:lnTo>
                      <a:pt x="258" y="488"/>
                    </a:lnTo>
                    <a:lnTo>
                      <a:pt x="260" y="488"/>
                    </a:lnTo>
                    <a:lnTo>
                      <a:pt x="259" y="488"/>
                    </a:lnTo>
                    <a:lnTo>
                      <a:pt x="258" y="488"/>
                    </a:lnTo>
                    <a:lnTo>
                      <a:pt x="257" y="486"/>
                    </a:lnTo>
                    <a:lnTo>
                      <a:pt x="256" y="488"/>
                    </a:lnTo>
                    <a:lnTo>
                      <a:pt x="255" y="486"/>
                    </a:lnTo>
                    <a:lnTo>
                      <a:pt x="255" y="485"/>
                    </a:lnTo>
                    <a:lnTo>
                      <a:pt x="254" y="483"/>
                    </a:lnTo>
                    <a:lnTo>
                      <a:pt x="252" y="483"/>
                    </a:lnTo>
                    <a:lnTo>
                      <a:pt x="252" y="480"/>
                    </a:lnTo>
                    <a:lnTo>
                      <a:pt x="250" y="480"/>
                    </a:lnTo>
                    <a:lnTo>
                      <a:pt x="249" y="481"/>
                    </a:lnTo>
                    <a:lnTo>
                      <a:pt x="248" y="481"/>
                    </a:lnTo>
                    <a:lnTo>
                      <a:pt x="245" y="475"/>
                    </a:lnTo>
                    <a:lnTo>
                      <a:pt x="244" y="475"/>
                    </a:lnTo>
                    <a:lnTo>
                      <a:pt x="243" y="473"/>
                    </a:lnTo>
                    <a:lnTo>
                      <a:pt x="243" y="476"/>
                    </a:lnTo>
                    <a:lnTo>
                      <a:pt x="242" y="475"/>
                    </a:lnTo>
                    <a:lnTo>
                      <a:pt x="241" y="475"/>
                    </a:lnTo>
                    <a:lnTo>
                      <a:pt x="242" y="475"/>
                    </a:lnTo>
                    <a:lnTo>
                      <a:pt x="243" y="479"/>
                    </a:lnTo>
                    <a:lnTo>
                      <a:pt x="242" y="480"/>
                    </a:lnTo>
                    <a:lnTo>
                      <a:pt x="243" y="480"/>
                    </a:lnTo>
                    <a:lnTo>
                      <a:pt x="242" y="482"/>
                    </a:lnTo>
                    <a:lnTo>
                      <a:pt x="242" y="483"/>
                    </a:lnTo>
                    <a:lnTo>
                      <a:pt x="244" y="483"/>
                    </a:lnTo>
                    <a:lnTo>
                      <a:pt x="243" y="484"/>
                    </a:lnTo>
                    <a:lnTo>
                      <a:pt x="242" y="483"/>
                    </a:lnTo>
                    <a:lnTo>
                      <a:pt x="242" y="484"/>
                    </a:lnTo>
                    <a:lnTo>
                      <a:pt x="241" y="481"/>
                    </a:lnTo>
                    <a:lnTo>
                      <a:pt x="240" y="481"/>
                    </a:lnTo>
                    <a:lnTo>
                      <a:pt x="239" y="480"/>
                    </a:lnTo>
                    <a:lnTo>
                      <a:pt x="237" y="480"/>
                    </a:lnTo>
                    <a:lnTo>
                      <a:pt x="236" y="481"/>
                    </a:lnTo>
                    <a:lnTo>
                      <a:pt x="235" y="480"/>
                    </a:lnTo>
                    <a:lnTo>
                      <a:pt x="235" y="481"/>
                    </a:lnTo>
                    <a:lnTo>
                      <a:pt x="234" y="481"/>
                    </a:lnTo>
                    <a:lnTo>
                      <a:pt x="235" y="482"/>
                    </a:lnTo>
                    <a:lnTo>
                      <a:pt x="234" y="482"/>
                    </a:lnTo>
                    <a:lnTo>
                      <a:pt x="234" y="483"/>
                    </a:lnTo>
                    <a:lnTo>
                      <a:pt x="234" y="482"/>
                    </a:lnTo>
                    <a:lnTo>
                      <a:pt x="234" y="483"/>
                    </a:lnTo>
                    <a:lnTo>
                      <a:pt x="233" y="484"/>
                    </a:lnTo>
                    <a:lnTo>
                      <a:pt x="232" y="482"/>
                    </a:lnTo>
                    <a:lnTo>
                      <a:pt x="232" y="483"/>
                    </a:lnTo>
                    <a:lnTo>
                      <a:pt x="231" y="486"/>
                    </a:lnTo>
                    <a:lnTo>
                      <a:pt x="230" y="486"/>
                    </a:lnTo>
                    <a:lnTo>
                      <a:pt x="231" y="484"/>
                    </a:lnTo>
                    <a:lnTo>
                      <a:pt x="229" y="484"/>
                    </a:lnTo>
                    <a:lnTo>
                      <a:pt x="228" y="485"/>
                    </a:lnTo>
                    <a:lnTo>
                      <a:pt x="227" y="487"/>
                    </a:lnTo>
                    <a:lnTo>
                      <a:pt x="227" y="485"/>
                    </a:lnTo>
                    <a:lnTo>
                      <a:pt x="226" y="485"/>
                    </a:lnTo>
                    <a:lnTo>
                      <a:pt x="226" y="484"/>
                    </a:lnTo>
                    <a:lnTo>
                      <a:pt x="224" y="483"/>
                    </a:lnTo>
                    <a:lnTo>
                      <a:pt x="221" y="485"/>
                    </a:lnTo>
                    <a:lnTo>
                      <a:pt x="220" y="484"/>
                    </a:lnTo>
                    <a:lnTo>
                      <a:pt x="219" y="484"/>
                    </a:lnTo>
                    <a:lnTo>
                      <a:pt x="221" y="484"/>
                    </a:lnTo>
                    <a:lnTo>
                      <a:pt x="221" y="483"/>
                    </a:lnTo>
                    <a:lnTo>
                      <a:pt x="221" y="481"/>
                    </a:lnTo>
                    <a:lnTo>
                      <a:pt x="222" y="480"/>
                    </a:lnTo>
                    <a:lnTo>
                      <a:pt x="222" y="478"/>
                    </a:lnTo>
                    <a:lnTo>
                      <a:pt x="221" y="478"/>
                    </a:lnTo>
                    <a:lnTo>
                      <a:pt x="220" y="478"/>
                    </a:lnTo>
                    <a:lnTo>
                      <a:pt x="219" y="477"/>
                    </a:lnTo>
                    <a:lnTo>
                      <a:pt x="219" y="475"/>
                    </a:lnTo>
                    <a:lnTo>
                      <a:pt x="218" y="476"/>
                    </a:lnTo>
                    <a:lnTo>
                      <a:pt x="216" y="473"/>
                    </a:lnTo>
                    <a:lnTo>
                      <a:pt x="213" y="475"/>
                    </a:lnTo>
                    <a:lnTo>
                      <a:pt x="212" y="473"/>
                    </a:lnTo>
                    <a:lnTo>
                      <a:pt x="212" y="474"/>
                    </a:lnTo>
                    <a:lnTo>
                      <a:pt x="212" y="473"/>
                    </a:lnTo>
                    <a:lnTo>
                      <a:pt x="211" y="472"/>
                    </a:lnTo>
                    <a:lnTo>
                      <a:pt x="212" y="469"/>
                    </a:lnTo>
                    <a:lnTo>
                      <a:pt x="211" y="467"/>
                    </a:lnTo>
                    <a:lnTo>
                      <a:pt x="208" y="466"/>
                    </a:lnTo>
                    <a:lnTo>
                      <a:pt x="208" y="465"/>
                    </a:lnTo>
                    <a:lnTo>
                      <a:pt x="206" y="465"/>
                    </a:lnTo>
                    <a:lnTo>
                      <a:pt x="206" y="463"/>
                    </a:lnTo>
                    <a:lnTo>
                      <a:pt x="203" y="465"/>
                    </a:lnTo>
                    <a:lnTo>
                      <a:pt x="202" y="465"/>
                    </a:lnTo>
                    <a:lnTo>
                      <a:pt x="198" y="465"/>
                    </a:lnTo>
                    <a:lnTo>
                      <a:pt x="197" y="463"/>
                    </a:lnTo>
                    <a:lnTo>
                      <a:pt x="196" y="465"/>
                    </a:lnTo>
                    <a:lnTo>
                      <a:pt x="195" y="465"/>
                    </a:lnTo>
                    <a:lnTo>
                      <a:pt x="194" y="465"/>
                    </a:lnTo>
                    <a:lnTo>
                      <a:pt x="194" y="467"/>
                    </a:lnTo>
                    <a:lnTo>
                      <a:pt x="194" y="470"/>
                    </a:lnTo>
                    <a:lnTo>
                      <a:pt x="192" y="471"/>
                    </a:lnTo>
                    <a:lnTo>
                      <a:pt x="192" y="472"/>
                    </a:lnTo>
                    <a:lnTo>
                      <a:pt x="190" y="473"/>
                    </a:lnTo>
                    <a:lnTo>
                      <a:pt x="189" y="473"/>
                    </a:lnTo>
                    <a:lnTo>
                      <a:pt x="189" y="475"/>
                    </a:lnTo>
                    <a:lnTo>
                      <a:pt x="190" y="474"/>
                    </a:lnTo>
                    <a:lnTo>
                      <a:pt x="188" y="476"/>
                    </a:lnTo>
                    <a:lnTo>
                      <a:pt x="188" y="478"/>
                    </a:lnTo>
                    <a:lnTo>
                      <a:pt x="186" y="477"/>
                    </a:lnTo>
                    <a:lnTo>
                      <a:pt x="186" y="476"/>
                    </a:lnTo>
                    <a:lnTo>
                      <a:pt x="187" y="475"/>
                    </a:lnTo>
                    <a:lnTo>
                      <a:pt x="184" y="475"/>
                    </a:lnTo>
                    <a:lnTo>
                      <a:pt x="181" y="475"/>
                    </a:lnTo>
                    <a:lnTo>
                      <a:pt x="180" y="476"/>
                    </a:lnTo>
                    <a:lnTo>
                      <a:pt x="178" y="475"/>
                    </a:lnTo>
                    <a:lnTo>
                      <a:pt x="177" y="475"/>
                    </a:lnTo>
                    <a:lnTo>
                      <a:pt x="174" y="475"/>
                    </a:lnTo>
                    <a:lnTo>
                      <a:pt x="173" y="475"/>
                    </a:lnTo>
                    <a:lnTo>
                      <a:pt x="172" y="476"/>
                    </a:lnTo>
                    <a:lnTo>
                      <a:pt x="170" y="473"/>
                    </a:lnTo>
                    <a:lnTo>
                      <a:pt x="168" y="473"/>
                    </a:lnTo>
                    <a:lnTo>
                      <a:pt x="165" y="472"/>
                    </a:lnTo>
                    <a:lnTo>
                      <a:pt x="165" y="476"/>
                    </a:lnTo>
                    <a:lnTo>
                      <a:pt x="163" y="475"/>
                    </a:lnTo>
                    <a:lnTo>
                      <a:pt x="161" y="475"/>
                    </a:lnTo>
                    <a:lnTo>
                      <a:pt x="161" y="473"/>
                    </a:lnTo>
                    <a:lnTo>
                      <a:pt x="161" y="472"/>
                    </a:lnTo>
                    <a:lnTo>
                      <a:pt x="161" y="471"/>
                    </a:lnTo>
                    <a:lnTo>
                      <a:pt x="159" y="471"/>
                    </a:lnTo>
                    <a:lnTo>
                      <a:pt x="159" y="473"/>
                    </a:lnTo>
                    <a:lnTo>
                      <a:pt x="158" y="475"/>
                    </a:lnTo>
                    <a:lnTo>
                      <a:pt x="156" y="474"/>
                    </a:lnTo>
                    <a:lnTo>
                      <a:pt x="155" y="475"/>
                    </a:lnTo>
                    <a:lnTo>
                      <a:pt x="155" y="473"/>
                    </a:lnTo>
                    <a:lnTo>
                      <a:pt x="152" y="473"/>
                    </a:lnTo>
                    <a:lnTo>
                      <a:pt x="152" y="472"/>
                    </a:lnTo>
                    <a:lnTo>
                      <a:pt x="151" y="473"/>
                    </a:lnTo>
                    <a:lnTo>
                      <a:pt x="150" y="472"/>
                    </a:lnTo>
                    <a:lnTo>
                      <a:pt x="149" y="469"/>
                    </a:lnTo>
                    <a:lnTo>
                      <a:pt x="150" y="468"/>
                    </a:lnTo>
                    <a:lnTo>
                      <a:pt x="150" y="467"/>
                    </a:lnTo>
                    <a:lnTo>
                      <a:pt x="150" y="464"/>
                    </a:lnTo>
                    <a:lnTo>
                      <a:pt x="150" y="463"/>
                    </a:lnTo>
                    <a:lnTo>
                      <a:pt x="151" y="462"/>
                    </a:lnTo>
                    <a:lnTo>
                      <a:pt x="151" y="461"/>
                    </a:lnTo>
                    <a:lnTo>
                      <a:pt x="153" y="461"/>
                    </a:lnTo>
                    <a:lnTo>
                      <a:pt x="151" y="460"/>
                    </a:lnTo>
                    <a:lnTo>
                      <a:pt x="149" y="458"/>
                    </a:lnTo>
                    <a:lnTo>
                      <a:pt x="145" y="458"/>
                    </a:lnTo>
                    <a:lnTo>
                      <a:pt x="144" y="45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3" name="Freeform 127">
                <a:extLst>
                  <a:ext uri="{FF2B5EF4-FFF2-40B4-BE49-F238E27FC236}">
                    <a16:creationId xmlns:a16="http://schemas.microsoft.com/office/drawing/2014/main" id="{9C0620AD-8CF4-FF36-9BFF-7A35213AE0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1" y="2910"/>
                <a:ext cx="569" cy="509"/>
              </a:xfrm>
              <a:custGeom>
                <a:avLst/>
                <a:gdLst>
                  <a:gd name="T0" fmla="*/ 128 w 569"/>
                  <a:gd name="T1" fmla="*/ 470 h 509"/>
                  <a:gd name="T2" fmla="*/ 100 w 569"/>
                  <a:gd name="T3" fmla="*/ 473 h 509"/>
                  <a:gd name="T4" fmla="*/ 79 w 569"/>
                  <a:gd name="T5" fmla="*/ 467 h 509"/>
                  <a:gd name="T6" fmla="*/ 69 w 569"/>
                  <a:gd name="T7" fmla="*/ 420 h 509"/>
                  <a:gd name="T8" fmla="*/ 60 w 569"/>
                  <a:gd name="T9" fmla="*/ 397 h 509"/>
                  <a:gd name="T10" fmla="*/ 56 w 569"/>
                  <a:gd name="T11" fmla="*/ 386 h 509"/>
                  <a:gd name="T12" fmla="*/ 81 w 569"/>
                  <a:gd name="T13" fmla="*/ 368 h 509"/>
                  <a:gd name="T14" fmla="*/ 91 w 569"/>
                  <a:gd name="T15" fmla="*/ 338 h 509"/>
                  <a:gd name="T16" fmla="*/ 106 w 569"/>
                  <a:gd name="T17" fmla="*/ 306 h 509"/>
                  <a:gd name="T18" fmla="*/ 89 w 569"/>
                  <a:gd name="T19" fmla="*/ 267 h 509"/>
                  <a:gd name="T20" fmla="*/ 60 w 569"/>
                  <a:gd name="T21" fmla="*/ 236 h 509"/>
                  <a:gd name="T22" fmla="*/ 33 w 569"/>
                  <a:gd name="T23" fmla="*/ 210 h 509"/>
                  <a:gd name="T24" fmla="*/ 6 w 569"/>
                  <a:gd name="T25" fmla="*/ 198 h 509"/>
                  <a:gd name="T26" fmla="*/ 25 w 569"/>
                  <a:gd name="T27" fmla="*/ 175 h 509"/>
                  <a:gd name="T28" fmla="*/ 41 w 569"/>
                  <a:gd name="T29" fmla="*/ 146 h 509"/>
                  <a:gd name="T30" fmla="*/ 85 w 569"/>
                  <a:gd name="T31" fmla="*/ 126 h 509"/>
                  <a:gd name="T32" fmla="*/ 128 w 569"/>
                  <a:gd name="T33" fmla="*/ 122 h 509"/>
                  <a:gd name="T34" fmla="*/ 164 w 569"/>
                  <a:gd name="T35" fmla="*/ 107 h 509"/>
                  <a:gd name="T36" fmla="*/ 188 w 569"/>
                  <a:gd name="T37" fmla="*/ 92 h 509"/>
                  <a:gd name="T38" fmla="*/ 237 w 569"/>
                  <a:gd name="T39" fmla="*/ 103 h 509"/>
                  <a:gd name="T40" fmla="*/ 273 w 569"/>
                  <a:gd name="T41" fmla="*/ 101 h 509"/>
                  <a:gd name="T42" fmla="*/ 282 w 569"/>
                  <a:gd name="T43" fmla="*/ 78 h 509"/>
                  <a:gd name="T44" fmla="*/ 295 w 569"/>
                  <a:gd name="T45" fmla="*/ 68 h 509"/>
                  <a:gd name="T46" fmla="*/ 321 w 569"/>
                  <a:gd name="T47" fmla="*/ 39 h 509"/>
                  <a:gd name="T48" fmla="*/ 343 w 569"/>
                  <a:gd name="T49" fmla="*/ 44 h 509"/>
                  <a:gd name="T50" fmla="*/ 368 w 569"/>
                  <a:gd name="T51" fmla="*/ 52 h 509"/>
                  <a:gd name="T52" fmla="*/ 423 w 569"/>
                  <a:gd name="T53" fmla="*/ 18 h 509"/>
                  <a:gd name="T54" fmla="*/ 446 w 569"/>
                  <a:gd name="T55" fmla="*/ 7 h 509"/>
                  <a:gd name="T56" fmla="*/ 468 w 569"/>
                  <a:gd name="T57" fmla="*/ 20 h 509"/>
                  <a:gd name="T58" fmla="*/ 488 w 569"/>
                  <a:gd name="T59" fmla="*/ 49 h 509"/>
                  <a:gd name="T60" fmla="*/ 491 w 569"/>
                  <a:gd name="T61" fmla="*/ 77 h 509"/>
                  <a:gd name="T62" fmla="*/ 489 w 569"/>
                  <a:gd name="T63" fmla="*/ 109 h 509"/>
                  <a:gd name="T64" fmla="*/ 483 w 569"/>
                  <a:gd name="T65" fmla="*/ 137 h 509"/>
                  <a:gd name="T66" fmla="*/ 499 w 569"/>
                  <a:gd name="T67" fmla="*/ 161 h 509"/>
                  <a:gd name="T68" fmla="*/ 528 w 569"/>
                  <a:gd name="T69" fmla="*/ 171 h 509"/>
                  <a:gd name="T70" fmla="*/ 541 w 569"/>
                  <a:gd name="T71" fmla="*/ 189 h 509"/>
                  <a:gd name="T72" fmla="*/ 539 w 569"/>
                  <a:gd name="T73" fmla="*/ 225 h 509"/>
                  <a:gd name="T74" fmla="*/ 552 w 569"/>
                  <a:gd name="T75" fmla="*/ 249 h 509"/>
                  <a:gd name="T76" fmla="*/ 542 w 569"/>
                  <a:gd name="T77" fmla="*/ 279 h 509"/>
                  <a:gd name="T78" fmla="*/ 530 w 569"/>
                  <a:gd name="T79" fmla="*/ 288 h 509"/>
                  <a:gd name="T80" fmla="*/ 548 w 569"/>
                  <a:gd name="T81" fmla="*/ 306 h 509"/>
                  <a:gd name="T82" fmla="*/ 567 w 569"/>
                  <a:gd name="T83" fmla="*/ 330 h 509"/>
                  <a:gd name="T84" fmla="*/ 557 w 569"/>
                  <a:gd name="T85" fmla="*/ 360 h 509"/>
                  <a:gd name="T86" fmla="*/ 544 w 569"/>
                  <a:gd name="T87" fmla="*/ 384 h 509"/>
                  <a:gd name="T88" fmla="*/ 524 w 569"/>
                  <a:gd name="T89" fmla="*/ 401 h 509"/>
                  <a:gd name="T90" fmla="*/ 495 w 569"/>
                  <a:gd name="T91" fmla="*/ 412 h 509"/>
                  <a:gd name="T92" fmla="*/ 475 w 569"/>
                  <a:gd name="T93" fmla="*/ 420 h 509"/>
                  <a:gd name="T94" fmla="*/ 469 w 569"/>
                  <a:gd name="T95" fmla="*/ 456 h 509"/>
                  <a:gd name="T96" fmla="*/ 457 w 569"/>
                  <a:gd name="T97" fmla="*/ 480 h 509"/>
                  <a:gd name="T98" fmla="*/ 438 w 569"/>
                  <a:gd name="T99" fmla="*/ 480 h 509"/>
                  <a:gd name="T100" fmla="*/ 411 w 569"/>
                  <a:gd name="T101" fmla="*/ 478 h 509"/>
                  <a:gd name="T102" fmla="*/ 386 w 569"/>
                  <a:gd name="T103" fmla="*/ 495 h 509"/>
                  <a:gd name="T104" fmla="*/ 372 w 569"/>
                  <a:gd name="T105" fmla="*/ 480 h 509"/>
                  <a:gd name="T106" fmla="*/ 340 w 569"/>
                  <a:gd name="T107" fmla="*/ 465 h 509"/>
                  <a:gd name="T108" fmla="*/ 330 w 569"/>
                  <a:gd name="T109" fmla="*/ 486 h 509"/>
                  <a:gd name="T110" fmla="*/ 312 w 569"/>
                  <a:gd name="T111" fmla="*/ 499 h 509"/>
                  <a:gd name="T112" fmla="*/ 291 w 569"/>
                  <a:gd name="T113" fmla="*/ 488 h 509"/>
                  <a:gd name="T114" fmla="*/ 269 w 569"/>
                  <a:gd name="T115" fmla="*/ 484 h 509"/>
                  <a:gd name="T116" fmla="*/ 243 w 569"/>
                  <a:gd name="T117" fmla="*/ 476 h 509"/>
                  <a:gd name="T118" fmla="*/ 233 w 569"/>
                  <a:gd name="T119" fmla="*/ 484 h 509"/>
                  <a:gd name="T120" fmla="*/ 216 w 569"/>
                  <a:gd name="T121" fmla="*/ 473 h 509"/>
                  <a:gd name="T122" fmla="*/ 190 w 569"/>
                  <a:gd name="T123" fmla="*/ 474 h 509"/>
                  <a:gd name="T124" fmla="*/ 158 w 569"/>
                  <a:gd name="T125" fmla="*/ 475 h 50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569"/>
                  <a:gd name="T190" fmla="*/ 0 h 509"/>
                  <a:gd name="T191" fmla="*/ 569 w 569"/>
                  <a:gd name="T192" fmla="*/ 509 h 50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569" h="509">
                    <a:moveTo>
                      <a:pt x="144" y="458"/>
                    </a:moveTo>
                    <a:lnTo>
                      <a:pt x="142" y="460"/>
                    </a:lnTo>
                    <a:lnTo>
                      <a:pt x="142" y="459"/>
                    </a:lnTo>
                    <a:lnTo>
                      <a:pt x="139" y="461"/>
                    </a:lnTo>
                    <a:lnTo>
                      <a:pt x="138" y="461"/>
                    </a:lnTo>
                    <a:lnTo>
                      <a:pt x="136" y="460"/>
                    </a:lnTo>
                    <a:lnTo>
                      <a:pt x="135" y="463"/>
                    </a:lnTo>
                    <a:lnTo>
                      <a:pt x="136" y="465"/>
                    </a:lnTo>
                    <a:lnTo>
                      <a:pt x="135" y="467"/>
                    </a:lnTo>
                    <a:lnTo>
                      <a:pt x="135" y="465"/>
                    </a:lnTo>
                    <a:lnTo>
                      <a:pt x="134" y="468"/>
                    </a:lnTo>
                    <a:lnTo>
                      <a:pt x="134" y="469"/>
                    </a:lnTo>
                    <a:lnTo>
                      <a:pt x="134" y="470"/>
                    </a:lnTo>
                    <a:lnTo>
                      <a:pt x="133" y="470"/>
                    </a:lnTo>
                    <a:lnTo>
                      <a:pt x="133" y="471"/>
                    </a:lnTo>
                    <a:lnTo>
                      <a:pt x="132" y="469"/>
                    </a:lnTo>
                    <a:lnTo>
                      <a:pt x="131" y="469"/>
                    </a:lnTo>
                    <a:lnTo>
                      <a:pt x="131" y="471"/>
                    </a:lnTo>
                    <a:lnTo>
                      <a:pt x="132" y="473"/>
                    </a:lnTo>
                    <a:lnTo>
                      <a:pt x="131" y="473"/>
                    </a:lnTo>
                    <a:lnTo>
                      <a:pt x="131" y="475"/>
                    </a:lnTo>
                    <a:lnTo>
                      <a:pt x="130" y="475"/>
                    </a:lnTo>
                    <a:lnTo>
                      <a:pt x="130" y="472"/>
                    </a:lnTo>
                    <a:lnTo>
                      <a:pt x="128" y="472"/>
                    </a:lnTo>
                    <a:lnTo>
                      <a:pt x="128" y="470"/>
                    </a:lnTo>
                    <a:lnTo>
                      <a:pt x="126" y="472"/>
                    </a:lnTo>
                    <a:lnTo>
                      <a:pt x="126" y="473"/>
                    </a:lnTo>
                    <a:lnTo>
                      <a:pt x="125" y="475"/>
                    </a:lnTo>
                    <a:lnTo>
                      <a:pt x="125" y="476"/>
                    </a:lnTo>
                    <a:lnTo>
                      <a:pt x="125" y="477"/>
                    </a:lnTo>
                    <a:lnTo>
                      <a:pt x="121" y="476"/>
                    </a:lnTo>
                    <a:lnTo>
                      <a:pt x="118" y="475"/>
                    </a:lnTo>
                    <a:lnTo>
                      <a:pt x="118" y="473"/>
                    </a:lnTo>
                    <a:lnTo>
                      <a:pt x="117" y="472"/>
                    </a:lnTo>
                    <a:lnTo>
                      <a:pt x="114" y="475"/>
                    </a:lnTo>
                    <a:lnTo>
                      <a:pt x="114" y="478"/>
                    </a:lnTo>
                    <a:lnTo>
                      <a:pt x="113" y="478"/>
                    </a:lnTo>
                    <a:lnTo>
                      <a:pt x="111" y="480"/>
                    </a:lnTo>
                    <a:lnTo>
                      <a:pt x="111" y="478"/>
                    </a:lnTo>
                    <a:lnTo>
                      <a:pt x="107" y="479"/>
                    </a:lnTo>
                    <a:lnTo>
                      <a:pt x="107" y="478"/>
                    </a:lnTo>
                    <a:lnTo>
                      <a:pt x="105" y="478"/>
                    </a:lnTo>
                    <a:lnTo>
                      <a:pt x="105" y="476"/>
                    </a:lnTo>
                    <a:lnTo>
                      <a:pt x="104" y="475"/>
                    </a:lnTo>
                    <a:lnTo>
                      <a:pt x="103" y="476"/>
                    </a:lnTo>
                    <a:lnTo>
                      <a:pt x="100" y="476"/>
                    </a:lnTo>
                    <a:lnTo>
                      <a:pt x="102" y="475"/>
                    </a:lnTo>
                    <a:lnTo>
                      <a:pt x="102" y="473"/>
                    </a:lnTo>
                    <a:lnTo>
                      <a:pt x="104" y="472"/>
                    </a:lnTo>
                    <a:lnTo>
                      <a:pt x="100" y="472"/>
                    </a:lnTo>
                    <a:lnTo>
                      <a:pt x="100" y="473"/>
                    </a:lnTo>
                    <a:lnTo>
                      <a:pt x="98" y="472"/>
                    </a:lnTo>
                    <a:lnTo>
                      <a:pt x="98" y="470"/>
                    </a:lnTo>
                    <a:lnTo>
                      <a:pt x="98" y="468"/>
                    </a:lnTo>
                    <a:lnTo>
                      <a:pt x="95" y="465"/>
                    </a:lnTo>
                    <a:lnTo>
                      <a:pt x="93" y="466"/>
                    </a:lnTo>
                    <a:lnTo>
                      <a:pt x="93" y="467"/>
                    </a:lnTo>
                    <a:lnTo>
                      <a:pt x="94" y="468"/>
                    </a:lnTo>
                    <a:lnTo>
                      <a:pt x="92" y="468"/>
                    </a:lnTo>
                    <a:lnTo>
                      <a:pt x="90" y="471"/>
                    </a:lnTo>
                    <a:lnTo>
                      <a:pt x="89" y="471"/>
                    </a:lnTo>
                    <a:lnTo>
                      <a:pt x="87" y="472"/>
                    </a:lnTo>
                    <a:lnTo>
                      <a:pt x="87" y="471"/>
                    </a:lnTo>
                    <a:lnTo>
                      <a:pt x="87" y="470"/>
                    </a:lnTo>
                    <a:lnTo>
                      <a:pt x="86" y="471"/>
                    </a:lnTo>
                    <a:lnTo>
                      <a:pt x="85" y="471"/>
                    </a:lnTo>
                    <a:lnTo>
                      <a:pt x="85" y="467"/>
                    </a:lnTo>
                    <a:lnTo>
                      <a:pt x="85" y="468"/>
                    </a:lnTo>
                    <a:lnTo>
                      <a:pt x="84" y="467"/>
                    </a:lnTo>
                    <a:lnTo>
                      <a:pt x="84" y="463"/>
                    </a:lnTo>
                    <a:lnTo>
                      <a:pt x="82" y="463"/>
                    </a:lnTo>
                    <a:lnTo>
                      <a:pt x="83" y="464"/>
                    </a:lnTo>
                    <a:lnTo>
                      <a:pt x="81" y="464"/>
                    </a:lnTo>
                    <a:lnTo>
                      <a:pt x="81" y="467"/>
                    </a:lnTo>
                    <a:lnTo>
                      <a:pt x="79" y="467"/>
                    </a:lnTo>
                    <a:lnTo>
                      <a:pt x="79" y="468"/>
                    </a:lnTo>
                    <a:lnTo>
                      <a:pt x="76" y="466"/>
                    </a:lnTo>
                    <a:lnTo>
                      <a:pt x="74" y="465"/>
                    </a:lnTo>
                    <a:lnTo>
                      <a:pt x="72" y="469"/>
                    </a:lnTo>
                    <a:lnTo>
                      <a:pt x="71" y="469"/>
                    </a:lnTo>
                    <a:lnTo>
                      <a:pt x="68" y="468"/>
                    </a:lnTo>
                    <a:lnTo>
                      <a:pt x="67" y="468"/>
                    </a:lnTo>
                    <a:lnTo>
                      <a:pt x="68" y="465"/>
                    </a:lnTo>
                    <a:lnTo>
                      <a:pt x="68" y="464"/>
                    </a:lnTo>
                    <a:lnTo>
                      <a:pt x="69" y="459"/>
                    </a:lnTo>
                    <a:lnTo>
                      <a:pt x="70" y="456"/>
                    </a:lnTo>
                    <a:lnTo>
                      <a:pt x="68" y="455"/>
                    </a:lnTo>
                    <a:lnTo>
                      <a:pt x="69" y="452"/>
                    </a:lnTo>
                    <a:lnTo>
                      <a:pt x="65" y="448"/>
                    </a:lnTo>
                    <a:lnTo>
                      <a:pt x="64" y="448"/>
                    </a:lnTo>
                    <a:lnTo>
                      <a:pt x="61" y="452"/>
                    </a:lnTo>
                    <a:lnTo>
                      <a:pt x="61" y="451"/>
                    </a:lnTo>
                    <a:lnTo>
                      <a:pt x="63" y="450"/>
                    </a:lnTo>
                    <a:lnTo>
                      <a:pt x="64" y="445"/>
                    </a:lnTo>
                    <a:lnTo>
                      <a:pt x="63" y="444"/>
                    </a:lnTo>
                    <a:lnTo>
                      <a:pt x="63" y="443"/>
                    </a:lnTo>
                    <a:lnTo>
                      <a:pt x="65" y="437"/>
                    </a:lnTo>
                    <a:lnTo>
                      <a:pt x="64" y="433"/>
                    </a:lnTo>
                    <a:lnTo>
                      <a:pt x="66" y="431"/>
                    </a:lnTo>
                    <a:lnTo>
                      <a:pt x="68" y="428"/>
                    </a:lnTo>
                    <a:lnTo>
                      <a:pt x="68" y="421"/>
                    </a:lnTo>
                    <a:lnTo>
                      <a:pt x="69" y="420"/>
                    </a:lnTo>
                    <a:lnTo>
                      <a:pt x="70" y="417"/>
                    </a:lnTo>
                    <a:lnTo>
                      <a:pt x="69" y="415"/>
                    </a:lnTo>
                    <a:lnTo>
                      <a:pt x="67" y="416"/>
                    </a:lnTo>
                    <a:lnTo>
                      <a:pt x="65" y="414"/>
                    </a:lnTo>
                    <a:lnTo>
                      <a:pt x="65" y="412"/>
                    </a:lnTo>
                    <a:lnTo>
                      <a:pt x="63" y="411"/>
                    </a:lnTo>
                    <a:lnTo>
                      <a:pt x="61" y="412"/>
                    </a:lnTo>
                    <a:lnTo>
                      <a:pt x="58" y="411"/>
                    </a:lnTo>
                    <a:lnTo>
                      <a:pt x="58" y="409"/>
                    </a:lnTo>
                    <a:lnTo>
                      <a:pt x="60" y="409"/>
                    </a:lnTo>
                    <a:lnTo>
                      <a:pt x="60" y="408"/>
                    </a:lnTo>
                    <a:lnTo>
                      <a:pt x="57" y="407"/>
                    </a:lnTo>
                    <a:lnTo>
                      <a:pt x="57" y="406"/>
                    </a:lnTo>
                    <a:lnTo>
                      <a:pt x="55" y="406"/>
                    </a:lnTo>
                    <a:lnTo>
                      <a:pt x="53" y="405"/>
                    </a:lnTo>
                    <a:lnTo>
                      <a:pt x="52" y="405"/>
                    </a:lnTo>
                    <a:lnTo>
                      <a:pt x="52" y="402"/>
                    </a:lnTo>
                    <a:lnTo>
                      <a:pt x="50" y="401"/>
                    </a:lnTo>
                    <a:lnTo>
                      <a:pt x="53" y="402"/>
                    </a:lnTo>
                    <a:lnTo>
                      <a:pt x="56" y="405"/>
                    </a:lnTo>
                    <a:lnTo>
                      <a:pt x="59" y="405"/>
                    </a:lnTo>
                    <a:lnTo>
                      <a:pt x="60" y="404"/>
                    </a:lnTo>
                    <a:lnTo>
                      <a:pt x="61" y="404"/>
                    </a:lnTo>
                    <a:lnTo>
                      <a:pt x="63" y="403"/>
                    </a:lnTo>
                    <a:lnTo>
                      <a:pt x="61" y="403"/>
                    </a:lnTo>
                    <a:lnTo>
                      <a:pt x="60" y="397"/>
                    </a:lnTo>
                    <a:lnTo>
                      <a:pt x="56" y="396"/>
                    </a:lnTo>
                    <a:lnTo>
                      <a:pt x="55" y="394"/>
                    </a:lnTo>
                    <a:lnTo>
                      <a:pt x="56" y="392"/>
                    </a:lnTo>
                    <a:lnTo>
                      <a:pt x="55" y="391"/>
                    </a:lnTo>
                    <a:lnTo>
                      <a:pt x="56" y="390"/>
                    </a:lnTo>
                    <a:lnTo>
                      <a:pt x="57" y="391"/>
                    </a:lnTo>
                    <a:lnTo>
                      <a:pt x="57" y="392"/>
                    </a:lnTo>
                    <a:lnTo>
                      <a:pt x="58" y="391"/>
                    </a:lnTo>
                    <a:lnTo>
                      <a:pt x="59" y="391"/>
                    </a:lnTo>
                    <a:lnTo>
                      <a:pt x="60" y="391"/>
                    </a:lnTo>
                    <a:lnTo>
                      <a:pt x="63" y="390"/>
                    </a:lnTo>
                    <a:lnTo>
                      <a:pt x="64" y="391"/>
                    </a:lnTo>
                    <a:lnTo>
                      <a:pt x="67" y="388"/>
                    </a:lnTo>
                    <a:lnTo>
                      <a:pt x="65" y="388"/>
                    </a:lnTo>
                    <a:lnTo>
                      <a:pt x="65" y="386"/>
                    </a:lnTo>
                    <a:lnTo>
                      <a:pt x="63" y="386"/>
                    </a:lnTo>
                    <a:lnTo>
                      <a:pt x="62" y="385"/>
                    </a:lnTo>
                    <a:lnTo>
                      <a:pt x="60" y="386"/>
                    </a:lnTo>
                    <a:lnTo>
                      <a:pt x="61" y="384"/>
                    </a:lnTo>
                    <a:lnTo>
                      <a:pt x="60" y="384"/>
                    </a:lnTo>
                    <a:lnTo>
                      <a:pt x="58" y="385"/>
                    </a:lnTo>
                    <a:lnTo>
                      <a:pt x="58" y="384"/>
                    </a:lnTo>
                    <a:lnTo>
                      <a:pt x="57" y="384"/>
                    </a:lnTo>
                    <a:lnTo>
                      <a:pt x="56" y="386"/>
                    </a:lnTo>
                    <a:lnTo>
                      <a:pt x="55" y="386"/>
                    </a:lnTo>
                    <a:lnTo>
                      <a:pt x="55" y="388"/>
                    </a:lnTo>
                    <a:lnTo>
                      <a:pt x="53" y="387"/>
                    </a:lnTo>
                    <a:lnTo>
                      <a:pt x="52" y="383"/>
                    </a:lnTo>
                    <a:lnTo>
                      <a:pt x="53" y="384"/>
                    </a:lnTo>
                    <a:lnTo>
                      <a:pt x="53" y="383"/>
                    </a:lnTo>
                    <a:lnTo>
                      <a:pt x="52" y="382"/>
                    </a:lnTo>
                    <a:lnTo>
                      <a:pt x="54" y="380"/>
                    </a:lnTo>
                    <a:lnTo>
                      <a:pt x="53" y="378"/>
                    </a:lnTo>
                    <a:lnTo>
                      <a:pt x="54" y="376"/>
                    </a:lnTo>
                    <a:lnTo>
                      <a:pt x="58" y="374"/>
                    </a:lnTo>
                    <a:lnTo>
                      <a:pt x="61" y="368"/>
                    </a:lnTo>
                    <a:lnTo>
                      <a:pt x="71" y="365"/>
                    </a:lnTo>
                    <a:lnTo>
                      <a:pt x="73" y="364"/>
                    </a:lnTo>
                    <a:lnTo>
                      <a:pt x="75" y="364"/>
                    </a:lnTo>
                    <a:lnTo>
                      <a:pt x="74" y="364"/>
                    </a:lnTo>
                    <a:lnTo>
                      <a:pt x="74" y="367"/>
                    </a:lnTo>
                    <a:lnTo>
                      <a:pt x="76" y="368"/>
                    </a:lnTo>
                    <a:lnTo>
                      <a:pt x="77" y="370"/>
                    </a:lnTo>
                    <a:lnTo>
                      <a:pt x="77" y="371"/>
                    </a:lnTo>
                    <a:lnTo>
                      <a:pt x="79" y="371"/>
                    </a:lnTo>
                    <a:lnTo>
                      <a:pt x="80" y="371"/>
                    </a:lnTo>
                    <a:lnTo>
                      <a:pt x="81" y="369"/>
                    </a:lnTo>
                    <a:lnTo>
                      <a:pt x="81" y="368"/>
                    </a:lnTo>
                    <a:lnTo>
                      <a:pt x="82" y="367"/>
                    </a:lnTo>
                    <a:lnTo>
                      <a:pt x="82" y="365"/>
                    </a:lnTo>
                    <a:lnTo>
                      <a:pt x="84" y="364"/>
                    </a:lnTo>
                    <a:lnTo>
                      <a:pt x="85" y="361"/>
                    </a:lnTo>
                    <a:lnTo>
                      <a:pt x="86" y="361"/>
                    </a:lnTo>
                    <a:lnTo>
                      <a:pt x="89" y="361"/>
                    </a:lnTo>
                    <a:lnTo>
                      <a:pt x="89" y="360"/>
                    </a:lnTo>
                    <a:lnTo>
                      <a:pt x="90" y="360"/>
                    </a:lnTo>
                    <a:lnTo>
                      <a:pt x="91" y="360"/>
                    </a:lnTo>
                    <a:lnTo>
                      <a:pt x="93" y="358"/>
                    </a:lnTo>
                    <a:lnTo>
                      <a:pt x="93" y="359"/>
                    </a:lnTo>
                    <a:lnTo>
                      <a:pt x="95" y="356"/>
                    </a:lnTo>
                    <a:lnTo>
                      <a:pt x="95" y="354"/>
                    </a:lnTo>
                    <a:lnTo>
                      <a:pt x="93" y="353"/>
                    </a:lnTo>
                    <a:lnTo>
                      <a:pt x="92" y="352"/>
                    </a:lnTo>
                    <a:lnTo>
                      <a:pt x="91" y="351"/>
                    </a:lnTo>
                    <a:lnTo>
                      <a:pt x="90" y="352"/>
                    </a:lnTo>
                    <a:lnTo>
                      <a:pt x="89" y="352"/>
                    </a:lnTo>
                    <a:lnTo>
                      <a:pt x="87" y="354"/>
                    </a:lnTo>
                    <a:lnTo>
                      <a:pt x="86" y="353"/>
                    </a:lnTo>
                    <a:lnTo>
                      <a:pt x="87" y="350"/>
                    </a:lnTo>
                    <a:lnTo>
                      <a:pt x="90" y="349"/>
                    </a:lnTo>
                    <a:lnTo>
                      <a:pt x="92" y="344"/>
                    </a:lnTo>
                    <a:lnTo>
                      <a:pt x="92" y="341"/>
                    </a:lnTo>
                    <a:lnTo>
                      <a:pt x="91" y="339"/>
                    </a:lnTo>
                    <a:lnTo>
                      <a:pt x="91" y="338"/>
                    </a:lnTo>
                    <a:lnTo>
                      <a:pt x="90" y="335"/>
                    </a:lnTo>
                    <a:lnTo>
                      <a:pt x="91" y="333"/>
                    </a:lnTo>
                    <a:lnTo>
                      <a:pt x="95" y="333"/>
                    </a:lnTo>
                    <a:lnTo>
                      <a:pt x="95" y="331"/>
                    </a:lnTo>
                    <a:lnTo>
                      <a:pt x="97" y="330"/>
                    </a:lnTo>
                    <a:lnTo>
                      <a:pt x="96" y="330"/>
                    </a:lnTo>
                    <a:lnTo>
                      <a:pt x="97" y="326"/>
                    </a:lnTo>
                    <a:lnTo>
                      <a:pt x="95" y="324"/>
                    </a:lnTo>
                    <a:lnTo>
                      <a:pt x="95" y="321"/>
                    </a:lnTo>
                    <a:lnTo>
                      <a:pt x="98" y="318"/>
                    </a:lnTo>
                    <a:lnTo>
                      <a:pt x="97" y="316"/>
                    </a:lnTo>
                    <a:lnTo>
                      <a:pt x="96" y="314"/>
                    </a:lnTo>
                    <a:lnTo>
                      <a:pt x="97" y="313"/>
                    </a:lnTo>
                    <a:lnTo>
                      <a:pt x="98" y="314"/>
                    </a:lnTo>
                    <a:lnTo>
                      <a:pt x="100" y="310"/>
                    </a:lnTo>
                    <a:lnTo>
                      <a:pt x="99" y="308"/>
                    </a:lnTo>
                    <a:lnTo>
                      <a:pt x="100" y="308"/>
                    </a:lnTo>
                    <a:lnTo>
                      <a:pt x="100" y="304"/>
                    </a:lnTo>
                    <a:lnTo>
                      <a:pt x="101" y="304"/>
                    </a:lnTo>
                    <a:lnTo>
                      <a:pt x="102" y="304"/>
                    </a:lnTo>
                    <a:lnTo>
                      <a:pt x="103" y="304"/>
                    </a:lnTo>
                    <a:lnTo>
                      <a:pt x="104" y="304"/>
                    </a:lnTo>
                    <a:lnTo>
                      <a:pt x="105" y="304"/>
                    </a:lnTo>
                    <a:lnTo>
                      <a:pt x="106" y="304"/>
                    </a:lnTo>
                    <a:lnTo>
                      <a:pt x="106" y="306"/>
                    </a:lnTo>
                    <a:lnTo>
                      <a:pt x="107" y="305"/>
                    </a:lnTo>
                    <a:lnTo>
                      <a:pt x="107" y="299"/>
                    </a:lnTo>
                    <a:lnTo>
                      <a:pt x="107" y="293"/>
                    </a:lnTo>
                    <a:lnTo>
                      <a:pt x="106" y="291"/>
                    </a:lnTo>
                    <a:lnTo>
                      <a:pt x="107" y="289"/>
                    </a:lnTo>
                    <a:lnTo>
                      <a:pt x="107" y="287"/>
                    </a:lnTo>
                    <a:lnTo>
                      <a:pt x="106" y="287"/>
                    </a:lnTo>
                    <a:lnTo>
                      <a:pt x="105" y="286"/>
                    </a:lnTo>
                    <a:lnTo>
                      <a:pt x="106" y="284"/>
                    </a:lnTo>
                    <a:lnTo>
                      <a:pt x="107" y="283"/>
                    </a:lnTo>
                    <a:lnTo>
                      <a:pt x="107" y="280"/>
                    </a:lnTo>
                    <a:lnTo>
                      <a:pt x="106" y="280"/>
                    </a:lnTo>
                    <a:lnTo>
                      <a:pt x="107" y="278"/>
                    </a:lnTo>
                    <a:lnTo>
                      <a:pt x="110" y="277"/>
                    </a:lnTo>
                    <a:lnTo>
                      <a:pt x="106" y="277"/>
                    </a:lnTo>
                    <a:lnTo>
                      <a:pt x="104" y="276"/>
                    </a:lnTo>
                    <a:lnTo>
                      <a:pt x="100" y="272"/>
                    </a:lnTo>
                    <a:lnTo>
                      <a:pt x="98" y="269"/>
                    </a:lnTo>
                    <a:lnTo>
                      <a:pt x="93" y="268"/>
                    </a:lnTo>
                    <a:lnTo>
                      <a:pt x="92" y="267"/>
                    </a:lnTo>
                    <a:lnTo>
                      <a:pt x="89" y="268"/>
                    </a:lnTo>
                    <a:lnTo>
                      <a:pt x="87" y="267"/>
                    </a:lnTo>
                    <a:lnTo>
                      <a:pt x="87" y="266"/>
                    </a:lnTo>
                    <a:lnTo>
                      <a:pt x="89" y="267"/>
                    </a:lnTo>
                    <a:lnTo>
                      <a:pt x="90" y="262"/>
                    </a:lnTo>
                    <a:lnTo>
                      <a:pt x="90" y="260"/>
                    </a:lnTo>
                    <a:lnTo>
                      <a:pt x="90" y="259"/>
                    </a:lnTo>
                    <a:lnTo>
                      <a:pt x="90" y="256"/>
                    </a:lnTo>
                    <a:lnTo>
                      <a:pt x="87" y="256"/>
                    </a:lnTo>
                    <a:lnTo>
                      <a:pt x="85" y="255"/>
                    </a:lnTo>
                    <a:lnTo>
                      <a:pt x="83" y="254"/>
                    </a:lnTo>
                    <a:lnTo>
                      <a:pt x="79" y="254"/>
                    </a:lnTo>
                    <a:lnTo>
                      <a:pt x="77" y="255"/>
                    </a:lnTo>
                    <a:lnTo>
                      <a:pt x="77" y="252"/>
                    </a:lnTo>
                    <a:lnTo>
                      <a:pt x="76" y="248"/>
                    </a:lnTo>
                    <a:lnTo>
                      <a:pt x="74" y="247"/>
                    </a:lnTo>
                    <a:lnTo>
                      <a:pt x="73" y="248"/>
                    </a:lnTo>
                    <a:lnTo>
                      <a:pt x="73" y="247"/>
                    </a:lnTo>
                    <a:lnTo>
                      <a:pt x="71" y="244"/>
                    </a:lnTo>
                    <a:lnTo>
                      <a:pt x="70" y="244"/>
                    </a:lnTo>
                    <a:lnTo>
                      <a:pt x="70" y="238"/>
                    </a:lnTo>
                    <a:lnTo>
                      <a:pt x="68" y="237"/>
                    </a:lnTo>
                    <a:lnTo>
                      <a:pt x="67" y="235"/>
                    </a:lnTo>
                    <a:lnTo>
                      <a:pt x="66" y="235"/>
                    </a:lnTo>
                    <a:lnTo>
                      <a:pt x="65" y="234"/>
                    </a:lnTo>
                    <a:lnTo>
                      <a:pt x="63" y="236"/>
                    </a:lnTo>
                    <a:lnTo>
                      <a:pt x="62" y="236"/>
                    </a:lnTo>
                    <a:lnTo>
                      <a:pt x="61" y="235"/>
                    </a:lnTo>
                    <a:lnTo>
                      <a:pt x="60" y="236"/>
                    </a:lnTo>
                    <a:lnTo>
                      <a:pt x="61" y="237"/>
                    </a:lnTo>
                    <a:lnTo>
                      <a:pt x="53" y="237"/>
                    </a:lnTo>
                    <a:lnTo>
                      <a:pt x="52" y="236"/>
                    </a:lnTo>
                    <a:lnTo>
                      <a:pt x="43" y="234"/>
                    </a:lnTo>
                    <a:lnTo>
                      <a:pt x="43" y="233"/>
                    </a:lnTo>
                    <a:lnTo>
                      <a:pt x="42" y="232"/>
                    </a:lnTo>
                    <a:lnTo>
                      <a:pt x="42" y="231"/>
                    </a:lnTo>
                    <a:lnTo>
                      <a:pt x="40" y="229"/>
                    </a:lnTo>
                    <a:lnTo>
                      <a:pt x="41" y="228"/>
                    </a:lnTo>
                    <a:lnTo>
                      <a:pt x="40" y="227"/>
                    </a:lnTo>
                    <a:lnTo>
                      <a:pt x="38" y="226"/>
                    </a:lnTo>
                    <a:lnTo>
                      <a:pt x="37" y="224"/>
                    </a:lnTo>
                    <a:lnTo>
                      <a:pt x="36" y="224"/>
                    </a:lnTo>
                    <a:lnTo>
                      <a:pt x="35" y="223"/>
                    </a:lnTo>
                    <a:lnTo>
                      <a:pt x="32" y="223"/>
                    </a:lnTo>
                    <a:lnTo>
                      <a:pt x="31" y="220"/>
                    </a:lnTo>
                    <a:lnTo>
                      <a:pt x="29" y="220"/>
                    </a:lnTo>
                    <a:lnTo>
                      <a:pt x="27" y="219"/>
                    </a:lnTo>
                    <a:lnTo>
                      <a:pt x="28" y="215"/>
                    </a:lnTo>
                    <a:lnTo>
                      <a:pt x="29" y="216"/>
                    </a:lnTo>
                    <a:lnTo>
                      <a:pt x="30" y="215"/>
                    </a:lnTo>
                    <a:lnTo>
                      <a:pt x="34" y="215"/>
                    </a:lnTo>
                    <a:lnTo>
                      <a:pt x="37" y="217"/>
                    </a:lnTo>
                    <a:lnTo>
                      <a:pt x="37" y="216"/>
                    </a:lnTo>
                    <a:lnTo>
                      <a:pt x="35" y="215"/>
                    </a:lnTo>
                    <a:lnTo>
                      <a:pt x="34" y="215"/>
                    </a:lnTo>
                    <a:lnTo>
                      <a:pt x="33" y="210"/>
                    </a:lnTo>
                    <a:lnTo>
                      <a:pt x="32" y="210"/>
                    </a:lnTo>
                    <a:lnTo>
                      <a:pt x="27" y="210"/>
                    </a:lnTo>
                    <a:lnTo>
                      <a:pt x="25" y="212"/>
                    </a:lnTo>
                    <a:lnTo>
                      <a:pt x="23" y="212"/>
                    </a:lnTo>
                    <a:lnTo>
                      <a:pt x="22" y="211"/>
                    </a:lnTo>
                    <a:lnTo>
                      <a:pt x="22" y="210"/>
                    </a:lnTo>
                    <a:lnTo>
                      <a:pt x="22" y="209"/>
                    </a:lnTo>
                    <a:lnTo>
                      <a:pt x="21" y="209"/>
                    </a:lnTo>
                    <a:lnTo>
                      <a:pt x="20" y="207"/>
                    </a:lnTo>
                    <a:lnTo>
                      <a:pt x="19" y="209"/>
                    </a:lnTo>
                    <a:lnTo>
                      <a:pt x="13" y="207"/>
                    </a:lnTo>
                    <a:lnTo>
                      <a:pt x="12" y="210"/>
                    </a:lnTo>
                    <a:lnTo>
                      <a:pt x="11" y="210"/>
                    </a:lnTo>
                    <a:lnTo>
                      <a:pt x="9" y="212"/>
                    </a:lnTo>
                    <a:lnTo>
                      <a:pt x="7" y="212"/>
                    </a:lnTo>
                    <a:lnTo>
                      <a:pt x="7" y="209"/>
                    </a:lnTo>
                    <a:lnTo>
                      <a:pt x="3" y="209"/>
                    </a:lnTo>
                    <a:lnTo>
                      <a:pt x="1" y="209"/>
                    </a:lnTo>
                    <a:lnTo>
                      <a:pt x="0" y="209"/>
                    </a:lnTo>
                    <a:lnTo>
                      <a:pt x="0" y="207"/>
                    </a:lnTo>
                    <a:lnTo>
                      <a:pt x="2" y="205"/>
                    </a:lnTo>
                    <a:lnTo>
                      <a:pt x="2" y="203"/>
                    </a:lnTo>
                    <a:lnTo>
                      <a:pt x="4" y="202"/>
                    </a:lnTo>
                    <a:lnTo>
                      <a:pt x="5" y="202"/>
                    </a:lnTo>
                    <a:lnTo>
                      <a:pt x="4" y="200"/>
                    </a:lnTo>
                    <a:lnTo>
                      <a:pt x="6" y="198"/>
                    </a:lnTo>
                    <a:lnTo>
                      <a:pt x="6" y="196"/>
                    </a:lnTo>
                    <a:lnTo>
                      <a:pt x="8" y="197"/>
                    </a:lnTo>
                    <a:lnTo>
                      <a:pt x="11" y="197"/>
                    </a:lnTo>
                    <a:lnTo>
                      <a:pt x="11" y="193"/>
                    </a:lnTo>
                    <a:lnTo>
                      <a:pt x="11" y="190"/>
                    </a:lnTo>
                    <a:lnTo>
                      <a:pt x="9" y="189"/>
                    </a:lnTo>
                    <a:lnTo>
                      <a:pt x="8" y="186"/>
                    </a:lnTo>
                    <a:lnTo>
                      <a:pt x="6" y="188"/>
                    </a:lnTo>
                    <a:lnTo>
                      <a:pt x="6" y="186"/>
                    </a:lnTo>
                    <a:lnTo>
                      <a:pt x="6" y="183"/>
                    </a:lnTo>
                    <a:lnTo>
                      <a:pt x="7" y="180"/>
                    </a:lnTo>
                    <a:lnTo>
                      <a:pt x="6" y="179"/>
                    </a:lnTo>
                    <a:lnTo>
                      <a:pt x="8" y="178"/>
                    </a:lnTo>
                    <a:lnTo>
                      <a:pt x="9" y="179"/>
                    </a:lnTo>
                    <a:lnTo>
                      <a:pt x="11" y="177"/>
                    </a:lnTo>
                    <a:lnTo>
                      <a:pt x="12" y="177"/>
                    </a:lnTo>
                    <a:lnTo>
                      <a:pt x="12" y="175"/>
                    </a:lnTo>
                    <a:lnTo>
                      <a:pt x="16" y="175"/>
                    </a:lnTo>
                    <a:lnTo>
                      <a:pt x="16" y="176"/>
                    </a:lnTo>
                    <a:lnTo>
                      <a:pt x="20" y="178"/>
                    </a:lnTo>
                    <a:lnTo>
                      <a:pt x="22" y="178"/>
                    </a:lnTo>
                    <a:lnTo>
                      <a:pt x="22" y="176"/>
                    </a:lnTo>
                    <a:lnTo>
                      <a:pt x="22" y="175"/>
                    </a:lnTo>
                    <a:lnTo>
                      <a:pt x="22" y="174"/>
                    </a:lnTo>
                    <a:lnTo>
                      <a:pt x="23" y="175"/>
                    </a:lnTo>
                    <a:lnTo>
                      <a:pt x="25" y="175"/>
                    </a:lnTo>
                    <a:lnTo>
                      <a:pt x="25" y="171"/>
                    </a:lnTo>
                    <a:lnTo>
                      <a:pt x="25" y="170"/>
                    </a:lnTo>
                    <a:lnTo>
                      <a:pt x="25" y="166"/>
                    </a:lnTo>
                    <a:lnTo>
                      <a:pt x="25" y="167"/>
                    </a:lnTo>
                    <a:lnTo>
                      <a:pt x="26" y="167"/>
                    </a:lnTo>
                    <a:lnTo>
                      <a:pt x="27" y="169"/>
                    </a:lnTo>
                    <a:lnTo>
                      <a:pt x="28" y="169"/>
                    </a:lnTo>
                    <a:lnTo>
                      <a:pt x="30" y="170"/>
                    </a:lnTo>
                    <a:lnTo>
                      <a:pt x="31" y="168"/>
                    </a:lnTo>
                    <a:lnTo>
                      <a:pt x="31" y="165"/>
                    </a:lnTo>
                    <a:lnTo>
                      <a:pt x="31" y="163"/>
                    </a:lnTo>
                    <a:lnTo>
                      <a:pt x="29" y="162"/>
                    </a:lnTo>
                    <a:lnTo>
                      <a:pt x="33" y="162"/>
                    </a:lnTo>
                    <a:lnTo>
                      <a:pt x="33" y="159"/>
                    </a:lnTo>
                    <a:lnTo>
                      <a:pt x="32" y="155"/>
                    </a:lnTo>
                    <a:lnTo>
                      <a:pt x="33" y="154"/>
                    </a:lnTo>
                    <a:lnTo>
                      <a:pt x="33" y="150"/>
                    </a:lnTo>
                    <a:lnTo>
                      <a:pt x="34" y="152"/>
                    </a:lnTo>
                    <a:lnTo>
                      <a:pt x="37" y="152"/>
                    </a:lnTo>
                    <a:lnTo>
                      <a:pt x="38" y="151"/>
                    </a:lnTo>
                    <a:lnTo>
                      <a:pt x="38" y="150"/>
                    </a:lnTo>
                    <a:lnTo>
                      <a:pt x="40" y="150"/>
                    </a:lnTo>
                    <a:lnTo>
                      <a:pt x="40" y="149"/>
                    </a:lnTo>
                    <a:lnTo>
                      <a:pt x="41" y="149"/>
                    </a:lnTo>
                    <a:lnTo>
                      <a:pt x="41" y="148"/>
                    </a:lnTo>
                    <a:lnTo>
                      <a:pt x="41" y="146"/>
                    </a:lnTo>
                    <a:lnTo>
                      <a:pt x="43" y="146"/>
                    </a:lnTo>
                    <a:lnTo>
                      <a:pt x="43" y="145"/>
                    </a:lnTo>
                    <a:lnTo>
                      <a:pt x="46" y="145"/>
                    </a:lnTo>
                    <a:lnTo>
                      <a:pt x="47" y="142"/>
                    </a:lnTo>
                    <a:lnTo>
                      <a:pt x="50" y="142"/>
                    </a:lnTo>
                    <a:lnTo>
                      <a:pt x="52" y="142"/>
                    </a:lnTo>
                    <a:lnTo>
                      <a:pt x="52" y="141"/>
                    </a:lnTo>
                    <a:lnTo>
                      <a:pt x="53" y="141"/>
                    </a:lnTo>
                    <a:lnTo>
                      <a:pt x="55" y="145"/>
                    </a:lnTo>
                    <a:lnTo>
                      <a:pt x="57" y="146"/>
                    </a:lnTo>
                    <a:lnTo>
                      <a:pt x="58" y="145"/>
                    </a:lnTo>
                    <a:lnTo>
                      <a:pt x="61" y="145"/>
                    </a:lnTo>
                    <a:lnTo>
                      <a:pt x="64" y="142"/>
                    </a:lnTo>
                    <a:lnTo>
                      <a:pt x="66" y="144"/>
                    </a:lnTo>
                    <a:lnTo>
                      <a:pt x="66" y="142"/>
                    </a:lnTo>
                    <a:lnTo>
                      <a:pt x="71" y="140"/>
                    </a:lnTo>
                    <a:lnTo>
                      <a:pt x="70" y="137"/>
                    </a:lnTo>
                    <a:lnTo>
                      <a:pt x="73" y="138"/>
                    </a:lnTo>
                    <a:lnTo>
                      <a:pt x="74" y="137"/>
                    </a:lnTo>
                    <a:lnTo>
                      <a:pt x="76" y="134"/>
                    </a:lnTo>
                    <a:lnTo>
                      <a:pt x="76" y="133"/>
                    </a:lnTo>
                    <a:lnTo>
                      <a:pt x="78" y="133"/>
                    </a:lnTo>
                    <a:lnTo>
                      <a:pt x="80" y="132"/>
                    </a:lnTo>
                    <a:lnTo>
                      <a:pt x="85" y="126"/>
                    </a:lnTo>
                    <a:lnTo>
                      <a:pt x="86" y="127"/>
                    </a:lnTo>
                    <a:lnTo>
                      <a:pt x="85" y="128"/>
                    </a:lnTo>
                    <a:lnTo>
                      <a:pt x="85" y="133"/>
                    </a:lnTo>
                    <a:lnTo>
                      <a:pt x="89" y="132"/>
                    </a:lnTo>
                    <a:lnTo>
                      <a:pt x="90" y="133"/>
                    </a:lnTo>
                    <a:lnTo>
                      <a:pt x="92" y="135"/>
                    </a:lnTo>
                    <a:lnTo>
                      <a:pt x="93" y="135"/>
                    </a:lnTo>
                    <a:lnTo>
                      <a:pt x="97" y="133"/>
                    </a:lnTo>
                    <a:lnTo>
                      <a:pt x="104" y="135"/>
                    </a:lnTo>
                    <a:lnTo>
                      <a:pt x="106" y="136"/>
                    </a:lnTo>
                    <a:lnTo>
                      <a:pt x="107" y="133"/>
                    </a:lnTo>
                    <a:lnTo>
                      <a:pt x="108" y="131"/>
                    </a:lnTo>
                    <a:lnTo>
                      <a:pt x="109" y="132"/>
                    </a:lnTo>
                    <a:lnTo>
                      <a:pt x="110" y="129"/>
                    </a:lnTo>
                    <a:lnTo>
                      <a:pt x="111" y="130"/>
                    </a:lnTo>
                    <a:lnTo>
                      <a:pt x="110" y="133"/>
                    </a:lnTo>
                    <a:lnTo>
                      <a:pt x="112" y="133"/>
                    </a:lnTo>
                    <a:lnTo>
                      <a:pt x="113" y="131"/>
                    </a:lnTo>
                    <a:lnTo>
                      <a:pt x="114" y="131"/>
                    </a:lnTo>
                    <a:lnTo>
                      <a:pt x="118" y="127"/>
                    </a:lnTo>
                    <a:lnTo>
                      <a:pt x="120" y="124"/>
                    </a:lnTo>
                    <a:lnTo>
                      <a:pt x="122" y="122"/>
                    </a:lnTo>
                    <a:lnTo>
                      <a:pt x="123" y="122"/>
                    </a:lnTo>
                    <a:lnTo>
                      <a:pt x="125" y="120"/>
                    </a:lnTo>
                    <a:lnTo>
                      <a:pt x="126" y="120"/>
                    </a:lnTo>
                    <a:lnTo>
                      <a:pt x="128" y="123"/>
                    </a:lnTo>
                    <a:lnTo>
                      <a:pt x="128" y="122"/>
                    </a:lnTo>
                    <a:lnTo>
                      <a:pt x="129" y="122"/>
                    </a:lnTo>
                    <a:lnTo>
                      <a:pt x="131" y="128"/>
                    </a:lnTo>
                    <a:lnTo>
                      <a:pt x="130" y="131"/>
                    </a:lnTo>
                    <a:lnTo>
                      <a:pt x="131" y="132"/>
                    </a:lnTo>
                    <a:lnTo>
                      <a:pt x="138" y="132"/>
                    </a:lnTo>
                    <a:lnTo>
                      <a:pt x="138" y="128"/>
                    </a:lnTo>
                    <a:lnTo>
                      <a:pt x="139" y="127"/>
                    </a:lnTo>
                    <a:lnTo>
                      <a:pt x="139" y="124"/>
                    </a:lnTo>
                    <a:lnTo>
                      <a:pt x="141" y="122"/>
                    </a:lnTo>
                    <a:lnTo>
                      <a:pt x="143" y="120"/>
                    </a:lnTo>
                    <a:lnTo>
                      <a:pt x="146" y="120"/>
                    </a:lnTo>
                    <a:lnTo>
                      <a:pt x="152" y="119"/>
                    </a:lnTo>
                    <a:lnTo>
                      <a:pt x="153" y="119"/>
                    </a:lnTo>
                    <a:lnTo>
                      <a:pt x="152" y="120"/>
                    </a:lnTo>
                    <a:lnTo>
                      <a:pt x="156" y="119"/>
                    </a:lnTo>
                    <a:lnTo>
                      <a:pt x="157" y="118"/>
                    </a:lnTo>
                    <a:lnTo>
                      <a:pt x="158" y="118"/>
                    </a:lnTo>
                    <a:lnTo>
                      <a:pt x="161" y="117"/>
                    </a:lnTo>
                    <a:lnTo>
                      <a:pt x="161" y="115"/>
                    </a:lnTo>
                    <a:lnTo>
                      <a:pt x="162" y="115"/>
                    </a:lnTo>
                    <a:lnTo>
                      <a:pt x="162" y="114"/>
                    </a:lnTo>
                    <a:lnTo>
                      <a:pt x="164" y="115"/>
                    </a:lnTo>
                    <a:lnTo>
                      <a:pt x="165" y="113"/>
                    </a:lnTo>
                    <a:lnTo>
                      <a:pt x="166" y="112"/>
                    </a:lnTo>
                    <a:lnTo>
                      <a:pt x="166" y="108"/>
                    </a:lnTo>
                    <a:lnTo>
                      <a:pt x="166" y="107"/>
                    </a:lnTo>
                    <a:lnTo>
                      <a:pt x="164" y="107"/>
                    </a:lnTo>
                    <a:lnTo>
                      <a:pt x="165" y="107"/>
                    </a:lnTo>
                    <a:lnTo>
                      <a:pt x="165" y="106"/>
                    </a:lnTo>
                    <a:lnTo>
                      <a:pt x="167" y="107"/>
                    </a:lnTo>
                    <a:lnTo>
                      <a:pt x="170" y="107"/>
                    </a:lnTo>
                    <a:lnTo>
                      <a:pt x="170" y="109"/>
                    </a:lnTo>
                    <a:lnTo>
                      <a:pt x="175" y="109"/>
                    </a:lnTo>
                    <a:lnTo>
                      <a:pt x="176" y="109"/>
                    </a:lnTo>
                    <a:lnTo>
                      <a:pt x="175" y="107"/>
                    </a:lnTo>
                    <a:lnTo>
                      <a:pt x="176" y="107"/>
                    </a:lnTo>
                    <a:lnTo>
                      <a:pt x="175" y="106"/>
                    </a:lnTo>
                    <a:lnTo>
                      <a:pt x="177" y="103"/>
                    </a:lnTo>
                    <a:lnTo>
                      <a:pt x="175" y="101"/>
                    </a:lnTo>
                    <a:lnTo>
                      <a:pt x="174" y="101"/>
                    </a:lnTo>
                    <a:lnTo>
                      <a:pt x="174" y="95"/>
                    </a:lnTo>
                    <a:lnTo>
                      <a:pt x="177" y="94"/>
                    </a:lnTo>
                    <a:lnTo>
                      <a:pt x="178" y="94"/>
                    </a:lnTo>
                    <a:lnTo>
                      <a:pt x="180" y="92"/>
                    </a:lnTo>
                    <a:lnTo>
                      <a:pt x="181" y="92"/>
                    </a:lnTo>
                    <a:lnTo>
                      <a:pt x="182" y="90"/>
                    </a:lnTo>
                    <a:lnTo>
                      <a:pt x="185" y="90"/>
                    </a:lnTo>
                    <a:lnTo>
                      <a:pt x="187" y="93"/>
                    </a:lnTo>
                    <a:lnTo>
                      <a:pt x="188" y="94"/>
                    </a:lnTo>
                    <a:lnTo>
                      <a:pt x="188" y="92"/>
                    </a:lnTo>
                    <a:lnTo>
                      <a:pt x="190" y="92"/>
                    </a:lnTo>
                    <a:lnTo>
                      <a:pt x="190" y="91"/>
                    </a:lnTo>
                    <a:lnTo>
                      <a:pt x="194" y="94"/>
                    </a:lnTo>
                    <a:lnTo>
                      <a:pt x="198" y="95"/>
                    </a:lnTo>
                    <a:lnTo>
                      <a:pt x="198" y="97"/>
                    </a:lnTo>
                    <a:lnTo>
                      <a:pt x="199" y="97"/>
                    </a:lnTo>
                    <a:lnTo>
                      <a:pt x="199" y="98"/>
                    </a:lnTo>
                    <a:lnTo>
                      <a:pt x="200" y="98"/>
                    </a:lnTo>
                    <a:lnTo>
                      <a:pt x="205" y="99"/>
                    </a:lnTo>
                    <a:lnTo>
                      <a:pt x="211" y="99"/>
                    </a:lnTo>
                    <a:lnTo>
                      <a:pt x="211" y="101"/>
                    </a:lnTo>
                    <a:lnTo>
                      <a:pt x="213" y="101"/>
                    </a:lnTo>
                    <a:lnTo>
                      <a:pt x="217" y="102"/>
                    </a:lnTo>
                    <a:lnTo>
                      <a:pt x="218" y="103"/>
                    </a:lnTo>
                    <a:lnTo>
                      <a:pt x="218" y="102"/>
                    </a:lnTo>
                    <a:lnTo>
                      <a:pt x="224" y="102"/>
                    </a:lnTo>
                    <a:lnTo>
                      <a:pt x="225" y="101"/>
                    </a:lnTo>
                    <a:lnTo>
                      <a:pt x="228" y="103"/>
                    </a:lnTo>
                    <a:lnTo>
                      <a:pt x="229" y="100"/>
                    </a:lnTo>
                    <a:lnTo>
                      <a:pt x="229" y="98"/>
                    </a:lnTo>
                    <a:lnTo>
                      <a:pt x="232" y="100"/>
                    </a:lnTo>
                    <a:lnTo>
                      <a:pt x="232" y="101"/>
                    </a:lnTo>
                    <a:lnTo>
                      <a:pt x="233" y="103"/>
                    </a:lnTo>
                    <a:lnTo>
                      <a:pt x="234" y="102"/>
                    </a:lnTo>
                    <a:lnTo>
                      <a:pt x="236" y="104"/>
                    </a:lnTo>
                    <a:lnTo>
                      <a:pt x="236" y="103"/>
                    </a:lnTo>
                    <a:lnTo>
                      <a:pt x="237" y="103"/>
                    </a:lnTo>
                    <a:lnTo>
                      <a:pt x="238" y="101"/>
                    </a:lnTo>
                    <a:lnTo>
                      <a:pt x="243" y="106"/>
                    </a:lnTo>
                    <a:lnTo>
                      <a:pt x="245" y="107"/>
                    </a:lnTo>
                    <a:lnTo>
                      <a:pt x="245" y="108"/>
                    </a:lnTo>
                    <a:lnTo>
                      <a:pt x="246" y="109"/>
                    </a:lnTo>
                    <a:lnTo>
                      <a:pt x="248" y="105"/>
                    </a:lnTo>
                    <a:lnTo>
                      <a:pt x="250" y="103"/>
                    </a:lnTo>
                    <a:lnTo>
                      <a:pt x="250" y="102"/>
                    </a:lnTo>
                    <a:lnTo>
                      <a:pt x="252" y="99"/>
                    </a:lnTo>
                    <a:lnTo>
                      <a:pt x="253" y="99"/>
                    </a:lnTo>
                    <a:lnTo>
                      <a:pt x="255" y="98"/>
                    </a:lnTo>
                    <a:lnTo>
                      <a:pt x="257" y="100"/>
                    </a:lnTo>
                    <a:lnTo>
                      <a:pt x="259" y="101"/>
                    </a:lnTo>
                    <a:lnTo>
                      <a:pt x="260" y="100"/>
                    </a:lnTo>
                    <a:lnTo>
                      <a:pt x="260" y="99"/>
                    </a:lnTo>
                    <a:lnTo>
                      <a:pt x="261" y="101"/>
                    </a:lnTo>
                    <a:lnTo>
                      <a:pt x="263" y="101"/>
                    </a:lnTo>
                    <a:lnTo>
                      <a:pt x="263" y="99"/>
                    </a:lnTo>
                    <a:lnTo>
                      <a:pt x="267" y="100"/>
                    </a:lnTo>
                    <a:lnTo>
                      <a:pt x="267" y="98"/>
                    </a:lnTo>
                    <a:lnTo>
                      <a:pt x="268" y="99"/>
                    </a:lnTo>
                    <a:lnTo>
                      <a:pt x="269" y="98"/>
                    </a:lnTo>
                    <a:lnTo>
                      <a:pt x="272" y="99"/>
                    </a:lnTo>
                    <a:lnTo>
                      <a:pt x="273" y="100"/>
                    </a:lnTo>
                    <a:lnTo>
                      <a:pt x="273" y="101"/>
                    </a:lnTo>
                    <a:lnTo>
                      <a:pt x="274" y="101"/>
                    </a:lnTo>
                    <a:lnTo>
                      <a:pt x="274" y="103"/>
                    </a:lnTo>
                    <a:lnTo>
                      <a:pt x="275" y="102"/>
                    </a:lnTo>
                    <a:lnTo>
                      <a:pt x="276" y="103"/>
                    </a:lnTo>
                    <a:lnTo>
                      <a:pt x="275" y="101"/>
                    </a:lnTo>
                    <a:lnTo>
                      <a:pt x="276" y="101"/>
                    </a:lnTo>
                    <a:lnTo>
                      <a:pt x="276" y="102"/>
                    </a:lnTo>
                    <a:lnTo>
                      <a:pt x="276" y="103"/>
                    </a:lnTo>
                    <a:lnTo>
                      <a:pt x="278" y="102"/>
                    </a:lnTo>
                    <a:lnTo>
                      <a:pt x="281" y="98"/>
                    </a:lnTo>
                    <a:lnTo>
                      <a:pt x="280" y="98"/>
                    </a:lnTo>
                    <a:lnTo>
                      <a:pt x="281" y="96"/>
                    </a:lnTo>
                    <a:lnTo>
                      <a:pt x="280" y="96"/>
                    </a:lnTo>
                    <a:lnTo>
                      <a:pt x="281" y="95"/>
                    </a:lnTo>
                    <a:lnTo>
                      <a:pt x="280" y="95"/>
                    </a:lnTo>
                    <a:lnTo>
                      <a:pt x="280" y="94"/>
                    </a:lnTo>
                    <a:lnTo>
                      <a:pt x="280" y="90"/>
                    </a:lnTo>
                    <a:lnTo>
                      <a:pt x="283" y="92"/>
                    </a:lnTo>
                    <a:lnTo>
                      <a:pt x="283" y="86"/>
                    </a:lnTo>
                    <a:lnTo>
                      <a:pt x="283" y="84"/>
                    </a:lnTo>
                    <a:lnTo>
                      <a:pt x="284" y="84"/>
                    </a:lnTo>
                    <a:lnTo>
                      <a:pt x="284" y="82"/>
                    </a:lnTo>
                    <a:lnTo>
                      <a:pt x="283" y="81"/>
                    </a:lnTo>
                    <a:lnTo>
                      <a:pt x="282" y="81"/>
                    </a:lnTo>
                    <a:lnTo>
                      <a:pt x="282" y="78"/>
                    </a:lnTo>
                    <a:lnTo>
                      <a:pt x="281" y="77"/>
                    </a:lnTo>
                    <a:lnTo>
                      <a:pt x="281" y="76"/>
                    </a:lnTo>
                    <a:lnTo>
                      <a:pt x="283" y="75"/>
                    </a:lnTo>
                    <a:lnTo>
                      <a:pt x="283" y="76"/>
                    </a:lnTo>
                    <a:lnTo>
                      <a:pt x="284" y="75"/>
                    </a:lnTo>
                    <a:lnTo>
                      <a:pt x="283" y="74"/>
                    </a:lnTo>
                    <a:lnTo>
                      <a:pt x="283" y="73"/>
                    </a:lnTo>
                    <a:lnTo>
                      <a:pt x="282" y="71"/>
                    </a:lnTo>
                    <a:lnTo>
                      <a:pt x="283" y="70"/>
                    </a:lnTo>
                    <a:lnTo>
                      <a:pt x="283" y="71"/>
                    </a:lnTo>
                    <a:lnTo>
                      <a:pt x="283" y="69"/>
                    </a:lnTo>
                    <a:lnTo>
                      <a:pt x="283" y="68"/>
                    </a:lnTo>
                    <a:lnTo>
                      <a:pt x="281" y="67"/>
                    </a:lnTo>
                    <a:lnTo>
                      <a:pt x="281" y="66"/>
                    </a:lnTo>
                    <a:lnTo>
                      <a:pt x="283" y="65"/>
                    </a:lnTo>
                    <a:lnTo>
                      <a:pt x="284" y="65"/>
                    </a:lnTo>
                    <a:lnTo>
                      <a:pt x="284" y="64"/>
                    </a:lnTo>
                    <a:lnTo>
                      <a:pt x="286" y="64"/>
                    </a:lnTo>
                    <a:lnTo>
                      <a:pt x="290" y="69"/>
                    </a:lnTo>
                    <a:lnTo>
                      <a:pt x="296" y="72"/>
                    </a:lnTo>
                    <a:lnTo>
                      <a:pt x="296" y="71"/>
                    </a:lnTo>
                    <a:lnTo>
                      <a:pt x="297" y="71"/>
                    </a:lnTo>
                    <a:lnTo>
                      <a:pt x="296" y="70"/>
                    </a:lnTo>
                    <a:lnTo>
                      <a:pt x="297" y="69"/>
                    </a:lnTo>
                    <a:lnTo>
                      <a:pt x="297" y="68"/>
                    </a:lnTo>
                    <a:lnTo>
                      <a:pt x="295" y="68"/>
                    </a:lnTo>
                    <a:lnTo>
                      <a:pt x="294" y="67"/>
                    </a:lnTo>
                    <a:lnTo>
                      <a:pt x="296" y="65"/>
                    </a:lnTo>
                    <a:lnTo>
                      <a:pt x="297" y="67"/>
                    </a:lnTo>
                    <a:lnTo>
                      <a:pt x="298" y="65"/>
                    </a:lnTo>
                    <a:lnTo>
                      <a:pt x="297" y="65"/>
                    </a:lnTo>
                    <a:lnTo>
                      <a:pt x="299" y="64"/>
                    </a:lnTo>
                    <a:lnTo>
                      <a:pt x="299" y="58"/>
                    </a:lnTo>
                    <a:lnTo>
                      <a:pt x="303" y="61"/>
                    </a:lnTo>
                    <a:lnTo>
                      <a:pt x="306" y="61"/>
                    </a:lnTo>
                    <a:lnTo>
                      <a:pt x="306" y="58"/>
                    </a:lnTo>
                    <a:lnTo>
                      <a:pt x="309" y="61"/>
                    </a:lnTo>
                    <a:lnTo>
                      <a:pt x="312" y="61"/>
                    </a:lnTo>
                    <a:lnTo>
                      <a:pt x="312" y="57"/>
                    </a:lnTo>
                    <a:lnTo>
                      <a:pt x="313" y="56"/>
                    </a:lnTo>
                    <a:lnTo>
                      <a:pt x="313" y="54"/>
                    </a:lnTo>
                    <a:lnTo>
                      <a:pt x="313" y="52"/>
                    </a:lnTo>
                    <a:lnTo>
                      <a:pt x="312" y="52"/>
                    </a:lnTo>
                    <a:lnTo>
                      <a:pt x="313" y="52"/>
                    </a:lnTo>
                    <a:lnTo>
                      <a:pt x="313" y="48"/>
                    </a:lnTo>
                    <a:lnTo>
                      <a:pt x="310" y="39"/>
                    </a:lnTo>
                    <a:lnTo>
                      <a:pt x="315" y="38"/>
                    </a:lnTo>
                    <a:lnTo>
                      <a:pt x="315" y="34"/>
                    </a:lnTo>
                    <a:lnTo>
                      <a:pt x="319" y="36"/>
                    </a:lnTo>
                    <a:lnTo>
                      <a:pt x="320" y="36"/>
                    </a:lnTo>
                    <a:lnTo>
                      <a:pt x="319" y="39"/>
                    </a:lnTo>
                    <a:lnTo>
                      <a:pt x="321" y="39"/>
                    </a:lnTo>
                    <a:lnTo>
                      <a:pt x="321" y="40"/>
                    </a:lnTo>
                    <a:lnTo>
                      <a:pt x="322" y="42"/>
                    </a:lnTo>
                    <a:lnTo>
                      <a:pt x="323" y="39"/>
                    </a:lnTo>
                    <a:lnTo>
                      <a:pt x="325" y="35"/>
                    </a:lnTo>
                    <a:lnTo>
                      <a:pt x="330" y="35"/>
                    </a:lnTo>
                    <a:lnTo>
                      <a:pt x="329" y="35"/>
                    </a:lnTo>
                    <a:lnTo>
                      <a:pt x="330" y="37"/>
                    </a:lnTo>
                    <a:lnTo>
                      <a:pt x="330" y="41"/>
                    </a:lnTo>
                    <a:lnTo>
                      <a:pt x="331" y="41"/>
                    </a:lnTo>
                    <a:lnTo>
                      <a:pt x="334" y="43"/>
                    </a:lnTo>
                    <a:lnTo>
                      <a:pt x="336" y="43"/>
                    </a:lnTo>
                    <a:lnTo>
                      <a:pt x="337" y="41"/>
                    </a:lnTo>
                    <a:lnTo>
                      <a:pt x="335" y="39"/>
                    </a:lnTo>
                    <a:lnTo>
                      <a:pt x="335" y="38"/>
                    </a:lnTo>
                    <a:lnTo>
                      <a:pt x="339" y="39"/>
                    </a:lnTo>
                    <a:lnTo>
                      <a:pt x="340" y="38"/>
                    </a:lnTo>
                    <a:lnTo>
                      <a:pt x="341" y="36"/>
                    </a:lnTo>
                    <a:lnTo>
                      <a:pt x="343" y="37"/>
                    </a:lnTo>
                    <a:lnTo>
                      <a:pt x="344" y="37"/>
                    </a:lnTo>
                    <a:lnTo>
                      <a:pt x="343" y="38"/>
                    </a:lnTo>
                    <a:lnTo>
                      <a:pt x="343" y="40"/>
                    </a:lnTo>
                    <a:lnTo>
                      <a:pt x="343" y="41"/>
                    </a:lnTo>
                    <a:lnTo>
                      <a:pt x="345" y="43"/>
                    </a:lnTo>
                    <a:lnTo>
                      <a:pt x="344" y="43"/>
                    </a:lnTo>
                    <a:lnTo>
                      <a:pt x="343" y="44"/>
                    </a:lnTo>
                    <a:lnTo>
                      <a:pt x="342" y="46"/>
                    </a:lnTo>
                    <a:lnTo>
                      <a:pt x="343" y="47"/>
                    </a:lnTo>
                    <a:lnTo>
                      <a:pt x="343" y="51"/>
                    </a:lnTo>
                    <a:lnTo>
                      <a:pt x="345" y="54"/>
                    </a:lnTo>
                    <a:lnTo>
                      <a:pt x="346" y="52"/>
                    </a:lnTo>
                    <a:lnTo>
                      <a:pt x="346" y="53"/>
                    </a:lnTo>
                    <a:lnTo>
                      <a:pt x="347" y="52"/>
                    </a:lnTo>
                    <a:lnTo>
                      <a:pt x="347" y="53"/>
                    </a:lnTo>
                    <a:lnTo>
                      <a:pt x="348" y="53"/>
                    </a:lnTo>
                    <a:lnTo>
                      <a:pt x="348" y="54"/>
                    </a:lnTo>
                    <a:lnTo>
                      <a:pt x="349" y="55"/>
                    </a:lnTo>
                    <a:lnTo>
                      <a:pt x="350" y="56"/>
                    </a:lnTo>
                    <a:lnTo>
                      <a:pt x="351" y="55"/>
                    </a:lnTo>
                    <a:lnTo>
                      <a:pt x="351" y="53"/>
                    </a:lnTo>
                    <a:lnTo>
                      <a:pt x="353" y="51"/>
                    </a:lnTo>
                    <a:lnTo>
                      <a:pt x="353" y="52"/>
                    </a:lnTo>
                    <a:lnTo>
                      <a:pt x="355" y="53"/>
                    </a:lnTo>
                    <a:lnTo>
                      <a:pt x="356" y="53"/>
                    </a:lnTo>
                    <a:lnTo>
                      <a:pt x="356" y="51"/>
                    </a:lnTo>
                    <a:lnTo>
                      <a:pt x="358" y="51"/>
                    </a:lnTo>
                    <a:lnTo>
                      <a:pt x="359" y="53"/>
                    </a:lnTo>
                    <a:lnTo>
                      <a:pt x="361" y="54"/>
                    </a:lnTo>
                    <a:lnTo>
                      <a:pt x="361" y="52"/>
                    </a:lnTo>
                    <a:lnTo>
                      <a:pt x="361" y="51"/>
                    </a:lnTo>
                    <a:lnTo>
                      <a:pt x="365" y="52"/>
                    </a:lnTo>
                    <a:lnTo>
                      <a:pt x="368" y="52"/>
                    </a:lnTo>
                    <a:lnTo>
                      <a:pt x="372" y="55"/>
                    </a:lnTo>
                    <a:lnTo>
                      <a:pt x="372" y="54"/>
                    </a:lnTo>
                    <a:lnTo>
                      <a:pt x="372" y="50"/>
                    </a:lnTo>
                    <a:lnTo>
                      <a:pt x="374" y="49"/>
                    </a:lnTo>
                    <a:lnTo>
                      <a:pt x="374" y="48"/>
                    </a:lnTo>
                    <a:lnTo>
                      <a:pt x="378" y="49"/>
                    </a:lnTo>
                    <a:lnTo>
                      <a:pt x="379" y="48"/>
                    </a:lnTo>
                    <a:lnTo>
                      <a:pt x="381" y="48"/>
                    </a:lnTo>
                    <a:lnTo>
                      <a:pt x="383" y="40"/>
                    </a:lnTo>
                    <a:lnTo>
                      <a:pt x="383" y="39"/>
                    </a:lnTo>
                    <a:lnTo>
                      <a:pt x="390" y="41"/>
                    </a:lnTo>
                    <a:lnTo>
                      <a:pt x="391" y="40"/>
                    </a:lnTo>
                    <a:lnTo>
                      <a:pt x="392" y="36"/>
                    </a:lnTo>
                    <a:lnTo>
                      <a:pt x="391" y="27"/>
                    </a:lnTo>
                    <a:lnTo>
                      <a:pt x="392" y="22"/>
                    </a:lnTo>
                    <a:lnTo>
                      <a:pt x="405" y="27"/>
                    </a:lnTo>
                    <a:lnTo>
                      <a:pt x="411" y="34"/>
                    </a:lnTo>
                    <a:lnTo>
                      <a:pt x="418" y="28"/>
                    </a:lnTo>
                    <a:lnTo>
                      <a:pt x="419" y="28"/>
                    </a:lnTo>
                    <a:lnTo>
                      <a:pt x="420" y="27"/>
                    </a:lnTo>
                    <a:lnTo>
                      <a:pt x="421" y="26"/>
                    </a:lnTo>
                    <a:lnTo>
                      <a:pt x="420" y="24"/>
                    </a:lnTo>
                    <a:lnTo>
                      <a:pt x="418" y="22"/>
                    </a:lnTo>
                    <a:lnTo>
                      <a:pt x="419" y="20"/>
                    </a:lnTo>
                    <a:lnTo>
                      <a:pt x="418" y="19"/>
                    </a:lnTo>
                    <a:lnTo>
                      <a:pt x="423" y="18"/>
                    </a:lnTo>
                    <a:lnTo>
                      <a:pt x="426" y="17"/>
                    </a:lnTo>
                    <a:lnTo>
                      <a:pt x="428" y="17"/>
                    </a:lnTo>
                    <a:lnTo>
                      <a:pt x="429" y="17"/>
                    </a:lnTo>
                    <a:lnTo>
                      <a:pt x="430" y="15"/>
                    </a:lnTo>
                    <a:lnTo>
                      <a:pt x="430" y="17"/>
                    </a:lnTo>
                    <a:lnTo>
                      <a:pt x="433" y="15"/>
                    </a:lnTo>
                    <a:lnTo>
                      <a:pt x="435" y="14"/>
                    </a:lnTo>
                    <a:lnTo>
                      <a:pt x="434" y="11"/>
                    </a:lnTo>
                    <a:lnTo>
                      <a:pt x="435" y="11"/>
                    </a:lnTo>
                    <a:lnTo>
                      <a:pt x="434" y="7"/>
                    </a:lnTo>
                    <a:lnTo>
                      <a:pt x="432" y="7"/>
                    </a:lnTo>
                    <a:lnTo>
                      <a:pt x="435" y="6"/>
                    </a:lnTo>
                    <a:lnTo>
                      <a:pt x="435" y="5"/>
                    </a:lnTo>
                    <a:lnTo>
                      <a:pt x="437" y="6"/>
                    </a:lnTo>
                    <a:lnTo>
                      <a:pt x="437" y="5"/>
                    </a:lnTo>
                    <a:lnTo>
                      <a:pt x="438" y="5"/>
                    </a:lnTo>
                    <a:lnTo>
                      <a:pt x="439" y="6"/>
                    </a:lnTo>
                    <a:lnTo>
                      <a:pt x="437" y="0"/>
                    </a:lnTo>
                    <a:lnTo>
                      <a:pt x="439" y="0"/>
                    </a:lnTo>
                    <a:lnTo>
                      <a:pt x="444" y="1"/>
                    </a:lnTo>
                    <a:lnTo>
                      <a:pt x="443" y="1"/>
                    </a:lnTo>
                    <a:lnTo>
                      <a:pt x="444" y="4"/>
                    </a:lnTo>
                    <a:lnTo>
                      <a:pt x="442" y="5"/>
                    </a:lnTo>
                    <a:lnTo>
                      <a:pt x="443" y="6"/>
                    </a:lnTo>
                    <a:lnTo>
                      <a:pt x="444" y="6"/>
                    </a:lnTo>
                    <a:lnTo>
                      <a:pt x="446" y="7"/>
                    </a:lnTo>
                    <a:lnTo>
                      <a:pt x="446" y="6"/>
                    </a:lnTo>
                    <a:lnTo>
                      <a:pt x="447" y="7"/>
                    </a:lnTo>
                    <a:lnTo>
                      <a:pt x="449" y="11"/>
                    </a:lnTo>
                    <a:lnTo>
                      <a:pt x="447" y="11"/>
                    </a:lnTo>
                    <a:lnTo>
                      <a:pt x="448" y="11"/>
                    </a:lnTo>
                    <a:lnTo>
                      <a:pt x="449" y="13"/>
                    </a:lnTo>
                    <a:lnTo>
                      <a:pt x="451" y="13"/>
                    </a:lnTo>
                    <a:lnTo>
                      <a:pt x="452" y="14"/>
                    </a:lnTo>
                    <a:lnTo>
                      <a:pt x="452" y="11"/>
                    </a:lnTo>
                    <a:lnTo>
                      <a:pt x="454" y="11"/>
                    </a:lnTo>
                    <a:lnTo>
                      <a:pt x="454" y="9"/>
                    </a:lnTo>
                    <a:lnTo>
                      <a:pt x="455" y="8"/>
                    </a:lnTo>
                    <a:lnTo>
                      <a:pt x="456" y="9"/>
                    </a:lnTo>
                    <a:lnTo>
                      <a:pt x="455" y="9"/>
                    </a:lnTo>
                    <a:lnTo>
                      <a:pt x="455" y="10"/>
                    </a:lnTo>
                    <a:lnTo>
                      <a:pt x="457" y="10"/>
                    </a:lnTo>
                    <a:lnTo>
                      <a:pt x="457" y="11"/>
                    </a:lnTo>
                    <a:lnTo>
                      <a:pt x="459" y="11"/>
                    </a:lnTo>
                    <a:lnTo>
                      <a:pt x="460" y="11"/>
                    </a:lnTo>
                    <a:lnTo>
                      <a:pt x="463" y="10"/>
                    </a:lnTo>
                    <a:lnTo>
                      <a:pt x="463" y="11"/>
                    </a:lnTo>
                    <a:lnTo>
                      <a:pt x="462" y="13"/>
                    </a:lnTo>
                    <a:lnTo>
                      <a:pt x="463" y="13"/>
                    </a:lnTo>
                    <a:lnTo>
                      <a:pt x="465" y="19"/>
                    </a:lnTo>
                    <a:lnTo>
                      <a:pt x="466" y="19"/>
                    </a:lnTo>
                    <a:lnTo>
                      <a:pt x="468" y="20"/>
                    </a:lnTo>
                    <a:lnTo>
                      <a:pt x="468" y="23"/>
                    </a:lnTo>
                    <a:lnTo>
                      <a:pt x="468" y="22"/>
                    </a:lnTo>
                    <a:lnTo>
                      <a:pt x="470" y="22"/>
                    </a:lnTo>
                    <a:lnTo>
                      <a:pt x="470" y="23"/>
                    </a:lnTo>
                    <a:lnTo>
                      <a:pt x="469" y="25"/>
                    </a:lnTo>
                    <a:lnTo>
                      <a:pt x="470" y="27"/>
                    </a:lnTo>
                    <a:lnTo>
                      <a:pt x="470" y="29"/>
                    </a:lnTo>
                    <a:lnTo>
                      <a:pt x="471" y="28"/>
                    </a:lnTo>
                    <a:lnTo>
                      <a:pt x="472" y="28"/>
                    </a:lnTo>
                    <a:lnTo>
                      <a:pt x="474" y="28"/>
                    </a:lnTo>
                    <a:lnTo>
                      <a:pt x="476" y="28"/>
                    </a:lnTo>
                    <a:lnTo>
                      <a:pt x="477" y="31"/>
                    </a:lnTo>
                    <a:lnTo>
                      <a:pt x="479" y="32"/>
                    </a:lnTo>
                    <a:lnTo>
                      <a:pt x="478" y="34"/>
                    </a:lnTo>
                    <a:lnTo>
                      <a:pt x="480" y="34"/>
                    </a:lnTo>
                    <a:lnTo>
                      <a:pt x="483" y="37"/>
                    </a:lnTo>
                    <a:lnTo>
                      <a:pt x="482" y="38"/>
                    </a:lnTo>
                    <a:lnTo>
                      <a:pt x="482" y="39"/>
                    </a:lnTo>
                    <a:lnTo>
                      <a:pt x="483" y="38"/>
                    </a:lnTo>
                    <a:lnTo>
                      <a:pt x="483" y="40"/>
                    </a:lnTo>
                    <a:lnTo>
                      <a:pt x="483" y="46"/>
                    </a:lnTo>
                    <a:lnTo>
                      <a:pt x="484" y="47"/>
                    </a:lnTo>
                    <a:lnTo>
                      <a:pt x="484" y="48"/>
                    </a:lnTo>
                    <a:lnTo>
                      <a:pt x="487" y="47"/>
                    </a:lnTo>
                    <a:lnTo>
                      <a:pt x="487" y="48"/>
                    </a:lnTo>
                    <a:lnTo>
                      <a:pt x="488" y="48"/>
                    </a:lnTo>
                    <a:lnTo>
                      <a:pt x="488" y="49"/>
                    </a:lnTo>
                    <a:lnTo>
                      <a:pt x="490" y="48"/>
                    </a:lnTo>
                    <a:lnTo>
                      <a:pt x="492" y="49"/>
                    </a:lnTo>
                    <a:lnTo>
                      <a:pt x="494" y="51"/>
                    </a:lnTo>
                    <a:lnTo>
                      <a:pt x="493" y="52"/>
                    </a:lnTo>
                    <a:lnTo>
                      <a:pt x="494" y="52"/>
                    </a:lnTo>
                    <a:lnTo>
                      <a:pt x="494" y="53"/>
                    </a:lnTo>
                    <a:lnTo>
                      <a:pt x="495" y="53"/>
                    </a:lnTo>
                    <a:lnTo>
                      <a:pt x="495" y="54"/>
                    </a:lnTo>
                    <a:lnTo>
                      <a:pt x="494" y="54"/>
                    </a:lnTo>
                    <a:lnTo>
                      <a:pt x="494" y="56"/>
                    </a:lnTo>
                    <a:lnTo>
                      <a:pt x="493" y="56"/>
                    </a:lnTo>
                    <a:lnTo>
                      <a:pt x="493" y="58"/>
                    </a:lnTo>
                    <a:lnTo>
                      <a:pt x="491" y="57"/>
                    </a:lnTo>
                    <a:lnTo>
                      <a:pt x="491" y="58"/>
                    </a:lnTo>
                    <a:lnTo>
                      <a:pt x="487" y="58"/>
                    </a:lnTo>
                    <a:lnTo>
                      <a:pt x="486" y="60"/>
                    </a:lnTo>
                    <a:lnTo>
                      <a:pt x="486" y="63"/>
                    </a:lnTo>
                    <a:lnTo>
                      <a:pt x="486" y="64"/>
                    </a:lnTo>
                    <a:lnTo>
                      <a:pt x="487" y="65"/>
                    </a:lnTo>
                    <a:lnTo>
                      <a:pt x="490" y="69"/>
                    </a:lnTo>
                    <a:lnTo>
                      <a:pt x="490" y="71"/>
                    </a:lnTo>
                    <a:lnTo>
                      <a:pt x="489" y="72"/>
                    </a:lnTo>
                    <a:lnTo>
                      <a:pt x="489" y="73"/>
                    </a:lnTo>
                    <a:lnTo>
                      <a:pt x="490" y="73"/>
                    </a:lnTo>
                    <a:lnTo>
                      <a:pt x="492" y="75"/>
                    </a:lnTo>
                    <a:lnTo>
                      <a:pt x="491" y="76"/>
                    </a:lnTo>
                    <a:lnTo>
                      <a:pt x="491" y="77"/>
                    </a:lnTo>
                    <a:lnTo>
                      <a:pt x="490" y="77"/>
                    </a:lnTo>
                    <a:lnTo>
                      <a:pt x="489" y="77"/>
                    </a:lnTo>
                    <a:lnTo>
                      <a:pt x="490" y="77"/>
                    </a:lnTo>
                    <a:lnTo>
                      <a:pt x="490" y="78"/>
                    </a:lnTo>
                    <a:lnTo>
                      <a:pt x="489" y="80"/>
                    </a:lnTo>
                    <a:lnTo>
                      <a:pt x="490" y="80"/>
                    </a:lnTo>
                    <a:lnTo>
                      <a:pt x="489" y="82"/>
                    </a:lnTo>
                    <a:lnTo>
                      <a:pt x="489" y="84"/>
                    </a:lnTo>
                    <a:lnTo>
                      <a:pt x="487" y="86"/>
                    </a:lnTo>
                    <a:lnTo>
                      <a:pt x="487" y="88"/>
                    </a:lnTo>
                    <a:lnTo>
                      <a:pt x="489" y="88"/>
                    </a:lnTo>
                    <a:lnTo>
                      <a:pt x="489" y="89"/>
                    </a:lnTo>
                    <a:lnTo>
                      <a:pt x="491" y="88"/>
                    </a:lnTo>
                    <a:lnTo>
                      <a:pt x="491" y="89"/>
                    </a:lnTo>
                    <a:lnTo>
                      <a:pt x="493" y="93"/>
                    </a:lnTo>
                    <a:lnTo>
                      <a:pt x="493" y="94"/>
                    </a:lnTo>
                    <a:lnTo>
                      <a:pt x="491" y="94"/>
                    </a:lnTo>
                    <a:lnTo>
                      <a:pt x="491" y="96"/>
                    </a:lnTo>
                    <a:lnTo>
                      <a:pt x="492" y="97"/>
                    </a:lnTo>
                    <a:lnTo>
                      <a:pt x="492" y="98"/>
                    </a:lnTo>
                    <a:lnTo>
                      <a:pt x="495" y="99"/>
                    </a:lnTo>
                    <a:lnTo>
                      <a:pt x="491" y="108"/>
                    </a:lnTo>
                    <a:lnTo>
                      <a:pt x="491" y="107"/>
                    </a:lnTo>
                    <a:lnTo>
                      <a:pt x="490" y="109"/>
                    </a:lnTo>
                    <a:lnTo>
                      <a:pt x="489" y="107"/>
                    </a:lnTo>
                    <a:lnTo>
                      <a:pt x="489" y="109"/>
                    </a:lnTo>
                    <a:lnTo>
                      <a:pt x="486" y="109"/>
                    </a:lnTo>
                    <a:lnTo>
                      <a:pt x="486" y="111"/>
                    </a:lnTo>
                    <a:lnTo>
                      <a:pt x="487" y="111"/>
                    </a:lnTo>
                    <a:lnTo>
                      <a:pt x="487" y="112"/>
                    </a:lnTo>
                    <a:lnTo>
                      <a:pt x="486" y="113"/>
                    </a:lnTo>
                    <a:lnTo>
                      <a:pt x="487" y="115"/>
                    </a:lnTo>
                    <a:lnTo>
                      <a:pt x="487" y="116"/>
                    </a:lnTo>
                    <a:lnTo>
                      <a:pt x="486" y="116"/>
                    </a:lnTo>
                    <a:lnTo>
                      <a:pt x="485" y="117"/>
                    </a:lnTo>
                    <a:lnTo>
                      <a:pt x="484" y="117"/>
                    </a:lnTo>
                    <a:lnTo>
                      <a:pt x="485" y="116"/>
                    </a:lnTo>
                    <a:lnTo>
                      <a:pt x="484" y="116"/>
                    </a:lnTo>
                    <a:lnTo>
                      <a:pt x="483" y="116"/>
                    </a:lnTo>
                    <a:lnTo>
                      <a:pt x="482" y="116"/>
                    </a:lnTo>
                    <a:lnTo>
                      <a:pt x="481" y="115"/>
                    </a:lnTo>
                    <a:lnTo>
                      <a:pt x="479" y="117"/>
                    </a:lnTo>
                    <a:lnTo>
                      <a:pt x="476" y="120"/>
                    </a:lnTo>
                    <a:lnTo>
                      <a:pt x="478" y="123"/>
                    </a:lnTo>
                    <a:lnTo>
                      <a:pt x="479" y="126"/>
                    </a:lnTo>
                    <a:lnTo>
                      <a:pt x="481" y="126"/>
                    </a:lnTo>
                    <a:lnTo>
                      <a:pt x="483" y="128"/>
                    </a:lnTo>
                    <a:lnTo>
                      <a:pt x="482" y="128"/>
                    </a:lnTo>
                    <a:lnTo>
                      <a:pt x="480" y="129"/>
                    </a:lnTo>
                    <a:lnTo>
                      <a:pt x="481" y="133"/>
                    </a:lnTo>
                    <a:lnTo>
                      <a:pt x="481" y="135"/>
                    </a:lnTo>
                    <a:lnTo>
                      <a:pt x="483" y="137"/>
                    </a:lnTo>
                    <a:lnTo>
                      <a:pt x="485" y="139"/>
                    </a:lnTo>
                    <a:lnTo>
                      <a:pt x="487" y="140"/>
                    </a:lnTo>
                    <a:lnTo>
                      <a:pt x="489" y="139"/>
                    </a:lnTo>
                    <a:lnTo>
                      <a:pt x="491" y="136"/>
                    </a:lnTo>
                    <a:lnTo>
                      <a:pt x="492" y="139"/>
                    </a:lnTo>
                    <a:lnTo>
                      <a:pt x="496" y="141"/>
                    </a:lnTo>
                    <a:lnTo>
                      <a:pt x="497" y="141"/>
                    </a:lnTo>
                    <a:lnTo>
                      <a:pt x="496" y="142"/>
                    </a:lnTo>
                    <a:lnTo>
                      <a:pt x="495" y="142"/>
                    </a:lnTo>
                    <a:lnTo>
                      <a:pt x="495" y="146"/>
                    </a:lnTo>
                    <a:lnTo>
                      <a:pt x="496" y="146"/>
                    </a:lnTo>
                    <a:lnTo>
                      <a:pt x="498" y="145"/>
                    </a:lnTo>
                    <a:lnTo>
                      <a:pt x="498" y="146"/>
                    </a:lnTo>
                    <a:lnTo>
                      <a:pt x="499" y="148"/>
                    </a:lnTo>
                    <a:lnTo>
                      <a:pt x="500" y="148"/>
                    </a:lnTo>
                    <a:lnTo>
                      <a:pt x="501" y="150"/>
                    </a:lnTo>
                    <a:lnTo>
                      <a:pt x="502" y="150"/>
                    </a:lnTo>
                    <a:lnTo>
                      <a:pt x="503" y="152"/>
                    </a:lnTo>
                    <a:lnTo>
                      <a:pt x="503" y="154"/>
                    </a:lnTo>
                    <a:lnTo>
                      <a:pt x="502" y="153"/>
                    </a:lnTo>
                    <a:lnTo>
                      <a:pt x="499" y="155"/>
                    </a:lnTo>
                    <a:lnTo>
                      <a:pt x="499" y="156"/>
                    </a:lnTo>
                    <a:lnTo>
                      <a:pt x="501" y="157"/>
                    </a:lnTo>
                    <a:lnTo>
                      <a:pt x="501" y="159"/>
                    </a:lnTo>
                    <a:lnTo>
                      <a:pt x="499" y="161"/>
                    </a:lnTo>
                    <a:lnTo>
                      <a:pt x="501" y="162"/>
                    </a:lnTo>
                    <a:lnTo>
                      <a:pt x="504" y="165"/>
                    </a:lnTo>
                    <a:lnTo>
                      <a:pt x="504" y="166"/>
                    </a:lnTo>
                    <a:lnTo>
                      <a:pt x="505" y="167"/>
                    </a:lnTo>
                    <a:lnTo>
                      <a:pt x="506" y="165"/>
                    </a:lnTo>
                    <a:lnTo>
                      <a:pt x="506" y="167"/>
                    </a:lnTo>
                    <a:lnTo>
                      <a:pt x="507" y="167"/>
                    </a:lnTo>
                    <a:lnTo>
                      <a:pt x="508" y="167"/>
                    </a:lnTo>
                    <a:lnTo>
                      <a:pt x="508" y="165"/>
                    </a:lnTo>
                    <a:lnTo>
                      <a:pt x="512" y="166"/>
                    </a:lnTo>
                    <a:lnTo>
                      <a:pt x="514" y="164"/>
                    </a:lnTo>
                    <a:lnTo>
                      <a:pt x="515" y="164"/>
                    </a:lnTo>
                    <a:lnTo>
                      <a:pt x="515" y="165"/>
                    </a:lnTo>
                    <a:lnTo>
                      <a:pt x="517" y="167"/>
                    </a:lnTo>
                    <a:lnTo>
                      <a:pt x="518" y="167"/>
                    </a:lnTo>
                    <a:lnTo>
                      <a:pt x="519" y="168"/>
                    </a:lnTo>
                    <a:lnTo>
                      <a:pt x="520" y="167"/>
                    </a:lnTo>
                    <a:lnTo>
                      <a:pt x="522" y="169"/>
                    </a:lnTo>
                    <a:lnTo>
                      <a:pt x="525" y="171"/>
                    </a:lnTo>
                    <a:lnTo>
                      <a:pt x="524" y="171"/>
                    </a:lnTo>
                    <a:lnTo>
                      <a:pt x="525" y="173"/>
                    </a:lnTo>
                    <a:lnTo>
                      <a:pt x="526" y="172"/>
                    </a:lnTo>
                    <a:lnTo>
                      <a:pt x="528" y="171"/>
                    </a:lnTo>
                    <a:lnTo>
                      <a:pt x="529" y="168"/>
                    </a:lnTo>
                    <a:lnTo>
                      <a:pt x="532" y="169"/>
                    </a:lnTo>
                    <a:lnTo>
                      <a:pt x="533" y="167"/>
                    </a:lnTo>
                    <a:lnTo>
                      <a:pt x="535" y="167"/>
                    </a:lnTo>
                    <a:lnTo>
                      <a:pt x="536" y="167"/>
                    </a:lnTo>
                    <a:lnTo>
                      <a:pt x="538" y="167"/>
                    </a:lnTo>
                    <a:lnTo>
                      <a:pt x="538" y="165"/>
                    </a:lnTo>
                    <a:lnTo>
                      <a:pt x="538" y="167"/>
                    </a:lnTo>
                    <a:lnTo>
                      <a:pt x="539" y="167"/>
                    </a:lnTo>
                    <a:lnTo>
                      <a:pt x="539" y="170"/>
                    </a:lnTo>
                    <a:lnTo>
                      <a:pt x="540" y="170"/>
                    </a:lnTo>
                    <a:lnTo>
                      <a:pt x="540" y="171"/>
                    </a:lnTo>
                    <a:lnTo>
                      <a:pt x="541" y="171"/>
                    </a:lnTo>
                    <a:lnTo>
                      <a:pt x="543" y="172"/>
                    </a:lnTo>
                    <a:lnTo>
                      <a:pt x="543" y="173"/>
                    </a:lnTo>
                    <a:lnTo>
                      <a:pt x="544" y="173"/>
                    </a:lnTo>
                    <a:lnTo>
                      <a:pt x="545" y="175"/>
                    </a:lnTo>
                    <a:lnTo>
                      <a:pt x="543" y="176"/>
                    </a:lnTo>
                    <a:lnTo>
                      <a:pt x="544" y="178"/>
                    </a:lnTo>
                    <a:lnTo>
                      <a:pt x="544" y="179"/>
                    </a:lnTo>
                    <a:lnTo>
                      <a:pt x="543" y="179"/>
                    </a:lnTo>
                    <a:lnTo>
                      <a:pt x="544" y="182"/>
                    </a:lnTo>
                    <a:lnTo>
                      <a:pt x="543" y="185"/>
                    </a:lnTo>
                    <a:lnTo>
                      <a:pt x="544" y="185"/>
                    </a:lnTo>
                    <a:lnTo>
                      <a:pt x="545" y="188"/>
                    </a:lnTo>
                    <a:lnTo>
                      <a:pt x="543" y="189"/>
                    </a:lnTo>
                    <a:lnTo>
                      <a:pt x="541" y="189"/>
                    </a:lnTo>
                    <a:lnTo>
                      <a:pt x="540" y="190"/>
                    </a:lnTo>
                    <a:lnTo>
                      <a:pt x="541" y="191"/>
                    </a:lnTo>
                    <a:lnTo>
                      <a:pt x="541" y="197"/>
                    </a:lnTo>
                    <a:lnTo>
                      <a:pt x="540" y="200"/>
                    </a:lnTo>
                    <a:lnTo>
                      <a:pt x="542" y="201"/>
                    </a:lnTo>
                    <a:lnTo>
                      <a:pt x="542" y="203"/>
                    </a:lnTo>
                    <a:lnTo>
                      <a:pt x="543" y="203"/>
                    </a:lnTo>
                    <a:lnTo>
                      <a:pt x="545" y="205"/>
                    </a:lnTo>
                    <a:lnTo>
                      <a:pt x="544" y="209"/>
                    </a:lnTo>
                    <a:lnTo>
                      <a:pt x="545" y="207"/>
                    </a:lnTo>
                    <a:lnTo>
                      <a:pt x="545" y="209"/>
                    </a:lnTo>
                    <a:lnTo>
                      <a:pt x="546" y="209"/>
                    </a:lnTo>
                    <a:lnTo>
                      <a:pt x="544" y="211"/>
                    </a:lnTo>
                    <a:lnTo>
                      <a:pt x="547" y="210"/>
                    </a:lnTo>
                    <a:lnTo>
                      <a:pt x="545" y="212"/>
                    </a:lnTo>
                    <a:lnTo>
                      <a:pt x="545" y="215"/>
                    </a:lnTo>
                    <a:lnTo>
                      <a:pt x="544" y="217"/>
                    </a:lnTo>
                    <a:lnTo>
                      <a:pt x="543" y="216"/>
                    </a:lnTo>
                    <a:lnTo>
                      <a:pt x="542" y="218"/>
                    </a:lnTo>
                    <a:lnTo>
                      <a:pt x="543" y="219"/>
                    </a:lnTo>
                    <a:lnTo>
                      <a:pt x="543" y="220"/>
                    </a:lnTo>
                    <a:lnTo>
                      <a:pt x="542" y="222"/>
                    </a:lnTo>
                    <a:lnTo>
                      <a:pt x="541" y="221"/>
                    </a:lnTo>
                    <a:lnTo>
                      <a:pt x="541" y="222"/>
                    </a:lnTo>
                    <a:lnTo>
                      <a:pt x="540" y="223"/>
                    </a:lnTo>
                    <a:lnTo>
                      <a:pt x="539" y="225"/>
                    </a:lnTo>
                    <a:lnTo>
                      <a:pt x="537" y="224"/>
                    </a:lnTo>
                    <a:lnTo>
                      <a:pt x="536" y="227"/>
                    </a:lnTo>
                    <a:lnTo>
                      <a:pt x="536" y="226"/>
                    </a:lnTo>
                    <a:lnTo>
                      <a:pt x="535" y="226"/>
                    </a:lnTo>
                    <a:lnTo>
                      <a:pt x="535" y="228"/>
                    </a:lnTo>
                    <a:lnTo>
                      <a:pt x="534" y="228"/>
                    </a:lnTo>
                    <a:lnTo>
                      <a:pt x="533" y="227"/>
                    </a:lnTo>
                    <a:lnTo>
                      <a:pt x="532" y="229"/>
                    </a:lnTo>
                    <a:lnTo>
                      <a:pt x="534" y="229"/>
                    </a:lnTo>
                    <a:lnTo>
                      <a:pt x="537" y="232"/>
                    </a:lnTo>
                    <a:lnTo>
                      <a:pt x="537" y="233"/>
                    </a:lnTo>
                    <a:lnTo>
                      <a:pt x="533" y="236"/>
                    </a:lnTo>
                    <a:lnTo>
                      <a:pt x="530" y="237"/>
                    </a:lnTo>
                    <a:lnTo>
                      <a:pt x="534" y="239"/>
                    </a:lnTo>
                    <a:lnTo>
                      <a:pt x="538" y="238"/>
                    </a:lnTo>
                    <a:lnTo>
                      <a:pt x="540" y="241"/>
                    </a:lnTo>
                    <a:lnTo>
                      <a:pt x="541" y="243"/>
                    </a:lnTo>
                    <a:lnTo>
                      <a:pt x="543" y="244"/>
                    </a:lnTo>
                    <a:lnTo>
                      <a:pt x="544" y="243"/>
                    </a:lnTo>
                    <a:lnTo>
                      <a:pt x="544" y="241"/>
                    </a:lnTo>
                    <a:lnTo>
                      <a:pt x="545" y="243"/>
                    </a:lnTo>
                    <a:lnTo>
                      <a:pt x="546" y="243"/>
                    </a:lnTo>
                    <a:lnTo>
                      <a:pt x="546" y="244"/>
                    </a:lnTo>
                    <a:lnTo>
                      <a:pt x="550" y="248"/>
                    </a:lnTo>
                    <a:lnTo>
                      <a:pt x="552" y="249"/>
                    </a:lnTo>
                    <a:lnTo>
                      <a:pt x="553" y="249"/>
                    </a:lnTo>
                    <a:lnTo>
                      <a:pt x="555" y="250"/>
                    </a:lnTo>
                    <a:lnTo>
                      <a:pt x="552" y="254"/>
                    </a:lnTo>
                    <a:lnTo>
                      <a:pt x="552" y="257"/>
                    </a:lnTo>
                    <a:lnTo>
                      <a:pt x="551" y="256"/>
                    </a:lnTo>
                    <a:lnTo>
                      <a:pt x="550" y="256"/>
                    </a:lnTo>
                    <a:lnTo>
                      <a:pt x="551" y="260"/>
                    </a:lnTo>
                    <a:lnTo>
                      <a:pt x="548" y="262"/>
                    </a:lnTo>
                    <a:lnTo>
                      <a:pt x="546" y="260"/>
                    </a:lnTo>
                    <a:lnTo>
                      <a:pt x="546" y="258"/>
                    </a:lnTo>
                    <a:lnTo>
                      <a:pt x="545" y="257"/>
                    </a:lnTo>
                    <a:lnTo>
                      <a:pt x="543" y="258"/>
                    </a:lnTo>
                    <a:lnTo>
                      <a:pt x="541" y="262"/>
                    </a:lnTo>
                    <a:lnTo>
                      <a:pt x="543" y="265"/>
                    </a:lnTo>
                    <a:lnTo>
                      <a:pt x="545" y="263"/>
                    </a:lnTo>
                    <a:lnTo>
                      <a:pt x="546" y="267"/>
                    </a:lnTo>
                    <a:lnTo>
                      <a:pt x="548" y="267"/>
                    </a:lnTo>
                    <a:lnTo>
                      <a:pt x="546" y="267"/>
                    </a:lnTo>
                    <a:lnTo>
                      <a:pt x="544" y="266"/>
                    </a:lnTo>
                    <a:lnTo>
                      <a:pt x="543" y="267"/>
                    </a:lnTo>
                    <a:lnTo>
                      <a:pt x="542" y="267"/>
                    </a:lnTo>
                    <a:lnTo>
                      <a:pt x="541" y="267"/>
                    </a:lnTo>
                    <a:lnTo>
                      <a:pt x="542" y="271"/>
                    </a:lnTo>
                    <a:lnTo>
                      <a:pt x="543" y="273"/>
                    </a:lnTo>
                    <a:lnTo>
                      <a:pt x="542" y="279"/>
                    </a:lnTo>
                    <a:lnTo>
                      <a:pt x="540" y="278"/>
                    </a:lnTo>
                    <a:lnTo>
                      <a:pt x="538" y="279"/>
                    </a:lnTo>
                    <a:lnTo>
                      <a:pt x="537" y="278"/>
                    </a:lnTo>
                    <a:lnTo>
                      <a:pt x="537" y="279"/>
                    </a:lnTo>
                    <a:lnTo>
                      <a:pt x="536" y="279"/>
                    </a:lnTo>
                    <a:lnTo>
                      <a:pt x="535" y="279"/>
                    </a:lnTo>
                    <a:lnTo>
                      <a:pt x="534" y="278"/>
                    </a:lnTo>
                    <a:lnTo>
                      <a:pt x="533" y="279"/>
                    </a:lnTo>
                    <a:lnTo>
                      <a:pt x="532" y="280"/>
                    </a:lnTo>
                    <a:lnTo>
                      <a:pt x="533" y="282"/>
                    </a:lnTo>
                    <a:lnTo>
                      <a:pt x="538" y="283"/>
                    </a:lnTo>
                    <a:lnTo>
                      <a:pt x="537" y="284"/>
                    </a:lnTo>
                    <a:lnTo>
                      <a:pt x="539" y="283"/>
                    </a:lnTo>
                    <a:lnTo>
                      <a:pt x="539" y="285"/>
                    </a:lnTo>
                    <a:lnTo>
                      <a:pt x="538" y="286"/>
                    </a:lnTo>
                    <a:lnTo>
                      <a:pt x="538" y="285"/>
                    </a:lnTo>
                    <a:lnTo>
                      <a:pt x="537" y="286"/>
                    </a:lnTo>
                    <a:lnTo>
                      <a:pt x="535" y="284"/>
                    </a:lnTo>
                    <a:lnTo>
                      <a:pt x="535" y="285"/>
                    </a:lnTo>
                    <a:lnTo>
                      <a:pt x="536" y="286"/>
                    </a:lnTo>
                    <a:lnTo>
                      <a:pt x="534" y="284"/>
                    </a:lnTo>
                    <a:lnTo>
                      <a:pt x="533" y="284"/>
                    </a:lnTo>
                    <a:lnTo>
                      <a:pt x="530" y="286"/>
                    </a:lnTo>
                    <a:lnTo>
                      <a:pt x="528" y="286"/>
                    </a:lnTo>
                    <a:lnTo>
                      <a:pt x="530" y="288"/>
                    </a:lnTo>
                    <a:lnTo>
                      <a:pt x="530" y="290"/>
                    </a:lnTo>
                    <a:lnTo>
                      <a:pt x="530" y="292"/>
                    </a:lnTo>
                    <a:lnTo>
                      <a:pt x="532" y="293"/>
                    </a:lnTo>
                    <a:lnTo>
                      <a:pt x="532" y="294"/>
                    </a:lnTo>
                    <a:lnTo>
                      <a:pt x="533" y="294"/>
                    </a:lnTo>
                    <a:lnTo>
                      <a:pt x="533" y="296"/>
                    </a:lnTo>
                    <a:lnTo>
                      <a:pt x="535" y="297"/>
                    </a:lnTo>
                    <a:lnTo>
                      <a:pt x="536" y="298"/>
                    </a:lnTo>
                    <a:lnTo>
                      <a:pt x="537" y="299"/>
                    </a:lnTo>
                    <a:lnTo>
                      <a:pt x="539" y="297"/>
                    </a:lnTo>
                    <a:lnTo>
                      <a:pt x="542" y="298"/>
                    </a:lnTo>
                    <a:lnTo>
                      <a:pt x="541" y="299"/>
                    </a:lnTo>
                    <a:lnTo>
                      <a:pt x="541" y="298"/>
                    </a:lnTo>
                    <a:lnTo>
                      <a:pt x="542" y="300"/>
                    </a:lnTo>
                    <a:lnTo>
                      <a:pt x="543" y="300"/>
                    </a:lnTo>
                    <a:lnTo>
                      <a:pt x="545" y="301"/>
                    </a:lnTo>
                    <a:lnTo>
                      <a:pt x="543" y="302"/>
                    </a:lnTo>
                    <a:lnTo>
                      <a:pt x="542" y="302"/>
                    </a:lnTo>
                    <a:lnTo>
                      <a:pt x="543" y="303"/>
                    </a:lnTo>
                    <a:lnTo>
                      <a:pt x="544" y="304"/>
                    </a:lnTo>
                    <a:lnTo>
                      <a:pt x="545" y="304"/>
                    </a:lnTo>
                    <a:lnTo>
                      <a:pt x="546" y="304"/>
                    </a:lnTo>
                    <a:lnTo>
                      <a:pt x="548" y="306"/>
                    </a:lnTo>
                    <a:lnTo>
                      <a:pt x="552" y="304"/>
                    </a:lnTo>
                    <a:lnTo>
                      <a:pt x="552" y="306"/>
                    </a:lnTo>
                    <a:lnTo>
                      <a:pt x="553" y="307"/>
                    </a:lnTo>
                    <a:lnTo>
                      <a:pt x="552" y="307"/>
                    </a:lnTo>
                    <a:lnTo>
                      <a:pt x="552" y="310"/>
                    </a:lnTo>
                    <a:lnTo>
                      <a:pt x="553" y="310"/>
                    </a:lnTo>
                    <a:lnTo>
                      <a:pt x="555" y="306"/>
                    </a:lnTo>
                    <a:lnTo>
                      <a:pt x="555" y="307"/>
                    </a:lnTo>
                    <a:lnTo>
                      <a:pt x="555" y="309"/>
                    </a:lnTo>
                    <a:lnTo>
                      <a:pt x="556" y="309"/>
                    </a:lnTo>
                    <a:lnTo>
                      <a:pt x="555" y="310"/>
                    </a:lnTo>
                    <a:lnTo>
                      <a:pt x="555" y="313"/>
                    </a:lnTo>
                    <a:lnTo>
                      <a:pt x="552" y="314"/>
                    </a:lnTo>
                    <a:lnTo>
                      <a:pt x="552" y="315"/>
                    </a:lnTo>
                    <a:lnTo>
                      <a:pt x="552" y="316"/>
                    </a:lnTo>
                    <a:lnTo>
                      <a:pt x="555" y="319"/>
                    </a:lnTo>
                    <a:lnTo>
                      <a:pt x="562" y="326"/>
                    </a:lnTo>
                    <a:lnTo>
                      <a:pt x="563" y="325"/>
                    </a:lnTo>
                    <a:lnTo>
                      <a:pt x="564" y="325"/>
                    </a:lnTo>
                    <a:lnTo>
                      <a:pt x="564" y="327"/>
                    </a:lnTo>
                    <a:lnTo>
                      <a:pt x="565" y="326"/>
                    </a:lnTo>
                    <a:lnTo>
                      <a:pt x="566" y="327"/>
                    </a:lnTo>
                    <a:lnTo>
                      <a:pt x="566" y="329"/>
                    </a:lnTo>
                    <a:lnTo>
                      <a:pt x="567" y="330"/>
                    </a:lnTo>
                    <a:lnTo>
                      <a:pt x="568" y="328"/>
                    </a:lnTo>
                    <a:lnTo>
                      <a:pt x="569" y="331"/>
                    </a:lnTo>
                    <a:lnTo>
                      <a:pt x="568" y="333"/>
                    </a:lnTo>
                    <a:lnTo>
                      <a:pt x="569" y="333"/>
                    </a:lnTo>
                    <a:lnTo>
                      <a:pt x="568" y="335"/>
                    </a:lnTo>
                    <a:lnTo>
                      <a:pt x="569" y="337"/>
                    </a:lnTo>
                    <a:lnTo>
                      <a:pt x="568" y="336"/>
                    </a:lnTo>
                    <a:lnTo>
                      <a:pt x="566" y="337"/>
                    </a:lnTo>
                    <a:lnTo>
                      <a:pt x="564" y="339"/>
                    </a:lnTo>
                    <a:lnTo>
                      <a:pt x="567" y="344"/>
                    </a:lnTo>
                    <a:lnTo>
                      <a:pt x="568" y="344"/>
                    </a:lnTo>
                    <a:lnTo>
                      <a:pt x="568" y="345"/>
                    </a:lnTo>
                    <a:lnTo>
                      <a:pt x="568" y="347"/>
                    </a:lnTo>
                    <a:lnTo>
                      <a:pt x="568" y="348"/>
                    </a:lnTo>
                    <a:lnTo>
                      <a:pt x="567" y="348"/>
                    </a:lnTo>
                    <a:lnTo>
                      <a:pt x="566" y="347"/>
                    </a:lnTo>
                    <a:lnTo>
                      <a:pt x="566" y="350"/>
                    </a:lnTo>
                    <a:lnTo>
                      <a:pt x="565" y="350"/>
                    </a:lnTo>
                    <a:lnTo>
                      <a:pt x="564" y="352"/>
                    </a:lnTo>
                    <a:lnTo>
                      <a:pt x="564" y="353"/>
                    </a:lnTo>
                    <a:lnTo>
                      <a:pt x="561" y="356"/>
                    </a:lnTo>
                    <a:lnTo>
                      <a:pt x="563" y="357"/>
                    </a:lnTo>
                    <a:lnTo>
                      <a:pt x="561" y="358"/>
                    </a:lnTo>
                    <a:lnTo>
                      <a:pt x="558" y="359"/>
                    </a:lnTo>
                    <a:lnTo>
                      <a:pt x="557" y="359"/>
                    </a:lnTo>
                    <a:lnTo>
                      <a:pt x="557" y="360"/>
                    </a:lnTo>
                    <a:lnTo>
                      <a:pt x="556" y="361"/>
                    </a:lnTo>
                    <a:lnTo>
                      <a:pt x="558" y="363"/>
                    </a:lnTo>
                    <a:lnTo>
                      <a:pt x="558" y="365"/>
                    </a:lnTo>
                    <a:lnTo>
                      <a:pt x="557" y="367"/>
                    </a:lnTo>
                    <a:lnTo>
                      <a:pt x="558" y="368"/>
                    </a:lnTo>
                    <a:lnTo>
                      <a:pt x="557" y="371"/>
                    </a:lnTo>
                    <a:lnTo>
                      <a:pt x="556" y="371"/>
                    </a:lnTo>
                    <a:lnTo>
                      <a:pt x="556" y="369"/>
                    </a:lnTo>
                    <a:lnTo>
                      <a:pt x="555" y="371"/>
                    </a:lnTo>
                    <a:lnTo>
                      <a:pt x="556" y="373"/>
                    </a:lnTo>
                    <a:lnTo>
                      <a:pt x="556" y="375"/>
                    </a:lnTo>
                    <a:lnTo>
                      <a:pt x="555" y="375"/>
                    </a:lnTo>
                    <a:lnTo>
                      <a:pt x="554" y="376"/>
                    </a:lnTo>
                    <a:lnTo>
                      <a:pt x="554" y="378"/>
                    </a:lnTo>
                    <a:lnTo>
                      <a:pt x="552" y="380"/>
                    </a:lnTo>
                    <a:lnTo>
                      <a:pt x="551" y="378"/>
                    </a:lnTo>
                    <a:lnTo>
                      <a:pt x="548" y="379"/>
                    </a:lnTo>
                    <a:lnTo>
                      <a:pt x="548" y="380"/>
                    </a:lnTo>
                    <a:lnTo>
                      <a:pt x="548" y="382"/>
                    </a:lnTo>
                    <a:lnTo>
                      <a:pt x="546" y="383"/>
                    </a:lnTo>
                    <a:lnTo>
                      <a:pt x="544" y="383"/>
                    </a:lnTo>
                    <a:lnTo>
                      <a:pt x="544" y="384"/>
                    </a:lnTo>
                    <a:lnTo>
                      <a:pt x="543" y="382"/>
                    </a:lnTo>
                    <a:lnTo>
                      <a:pt x="541" y="380"/>
                    </a:lnTo>
                    <a:lnTo>
                      <a:pt x="540" y="381"/>
                    </a:lnTo>
                    <a:lnTo>
                      <a:pt x="535" y="385"/>
                    </a:lnTo>
                    <a:lnTo>
                      <a:pt x="535" y="386"/>
                    </a:lnTo>
                    <a:lnTo>
                      <a:pt x="533" y="386"/>
                    </a:lnTo>
                    <a:lnTo>
                      <a:pt x="532" y="388"/>
                    </a:lnTo>
                    <a:lnTo>
                      <a:pt x="530" y="390"/>
                    </a:lnTo>
                    <a:lnTo>
                      <a:pt x="530" y="392"/>
                    </a:lnTo>
                    <a:lnTo>
                      <a:pt x="531" y="394"/>
                    </a:lnTo>
                    <a:lnTo>
                      <a:pt x="533" y="394"/>
                    </a:lnTo>
                    <a:lnTo>
                      <a:pt x="534" y="394"/>
                    </a:lnTo>
                    <a:lnTo>
                      <a:pt x="533" y="395"/>
                    </a:lnTo>
                    <a:lnTo>
                      <a:pt x="535" y="397"/>
                    </a:lnTo>
                    <a:lnTo>
                      <a:pt x="534" y="399"/>
                    </a:lnTo>
                    <a:lnTo>
                      <a:pt x="536" y="400"/>
                    </a:lnTo>
                    <a:lnTo>
                      <a:pt x="535" y="401"/>
                    </a:lnTo>
                    <a:lnTo>
                      <a:pt x="535" y="402"/>
                    </a:lnTo>
                    <a:lnTo>
                      <a:pt x="533" y="403"/>
                    </a:lnTo>
                    <a:lnTo>
                      <a:pt x="532" y="403"/>
                    </a:lnTo>
                    <a:lnTo>
                      <a:pt x="531" y="405"/>
                    </a:lnTo>
                    <a:lnTo>
                      <a:pt x="530" y="404"/>
                    </a:lnTo>
                    <a:lnTo>
                      <a:pt x="529" y="404"/>
                    </a:lnTo>
                    <a:lnTo>
                      <a:pt x="528" y="403"/>
                    </a:lnTo>
                    <a:lnTo>
                      <a:pt x="527" y="404"/>
                    </a:lnTo>
                    <a:lnTo>
                      <a:pt x="524" y="401"/>
                    </a:lnTo>
                    <a:lnTo>
                      <a:pt x="524" y="403"/>
                    </a:lnTo>
                    <a:lnTo>
                      <a:pt x="523" y="403"/>
                    </a:lnTo>
                    <a:lnTo>
                      <a:pt x="522" y="402"/>
                    </a:lnTo>
                    <a:lnTo>
                      <a:pt x="522" y="399"/>
                    </a:lnTo>
                    <a:lnTo>
                      <a:pt x="521" y="400"/>
                    </a:lnTo>
                    <a:lnTo>
                      <a:pt x="520" y="399"/>
                    </a:lnTo>
                    <a:lnTo>
                      <a:pt x="519" y="402"/>
                    </a:lnTo>
                    <a:lnTo>
                      <a:pt x="517" y="404"/>
                    </a:lnTo>
                    <a:lnTo>
                      <a:pt x="516" y="407"/>
                    </a:lnTo>
                    <a:lnTo>
                      <a:pt x="517" y="407"/>
                    </a:lnTo>
                    <a:lnTo>
                      <a:pt x="515" y="408"/>
                    </a:lnTo>
                    <a:lnTo>
                      <a:pt x="515" y="411"/>
                    </a:lnTo>
                    <a:lnTo>
                      <a:pt x="515" y="409"/>
                    </a:lnTo>
                    <a:lnTo>
                      <a:pt x="513" y="408"/>
                    </a:lnTo>
                    <a:lnTo>
                      <a:pt x="510" y="412"/>
                    </a:lnTo>
                    <a:lnTo>
                      <a:pt x="507" y="409"/>
                    </a:lnTo>
                    <a:lnTo>
                      <a:pt x="504" y="411"/>
                    </a:lnTo>
                    <a:lnTo>
                      <a:pt x="501" y="413"/>
                    </a:lnTo>
                    <a:lnTo>
                      <a:pt x="500" y="412"/>
                    </a:lnTo>
                    <a:lnTo>
                      <a:pt x="499" y="413"/>
                    </a:lnTo>
                    <a:lnTo>
                      <a:pt x="498" y="412"/>
                    </a:lnTo>
                    <a:lnTo>
                      <a:pt x="496" y="412"/>
                    </a:lnTo>
                    <a:lnTo>
                      <a:pt x="496" y="411"/>
                    </a:lnTo>
                    <a:lnTo>
                      <a:pt x="496" y="413"/>
                    </a:lnTo>
                    <a:lnTo>
                      <a:pt x="496" y="412"/>
                    </a:lnTo>
                    <a:lnTo>
                      <a:pt x="495" y="412"/>
                    </a:lnTo>
                    <a:lnTo>
                      <a:pt x="492" y="412"/>
                    </a:lnTo>
                    <a:lnTo>
                      <a:pt x="492" y="415"/>
                    </a:lnTo>
                    <a:lnTo>
                      <a:pt x="491" y="414"/>
                    </a:lnTo>
                    <a:lnTo>
                      <a:pt x="490" y="414"/>
                    </a:lnTo>
                    <a:lnTo>
                      <a:pt x="491" y="416"/>
                    </a:lnTo>
                    <a:lnTo>
                      <a:pt x="487" y="417"/>
                    </a:lnTo>
                    <a:lnTo>
                      <a:pt x="487" y="416"/>
                    </a:lnTo>
                    <a:lnTo>
                      <a:pt x="486" y="418"/>
                    </a:lnTo>
                    <a:lnTo>
                      <a:pt x="486" y="416"/>
                    </a:lnTo>
                    <a:lnTo>
                      <a:pt x="484" y="417"/>
                    </a:lnTo>
                    <a:lnTo>
                      <a:pt x="484" y="416"/>
                    </a:lnTo>
                    <a:lnTo>
                      <a:pt x="482" y="416"/>
                    </a:lnTo>
                    <a:lnTo>
                      <a:pt x="484" y="413"/>
                    </a:lnTo>
                    <a:lnTo>
                      <a:pt x="484" y="412"/>
                    </a:lnTo>
                    <a:lnTo>
                      <a:pt x="483" y="412"/>
                    </a:lnTo>
                    <a:lnTo>
                      <a:pt x="481" y="413"/>
                    </a:lnTo>
                    <a:lnTo>
                      <a:pt x="480" y="412"/>
                    </a:lnTo>
                    <a:lnTo>
                      <a:pt x="479" y="414"/>
                    </a:lnTo>
                    <a:lnTo>
                      <a:pt x="477" y="414"/>
                    </a:lnTo>
                    <a:lnTo>
                      <a:pt x="476" y="414"/>
                    </a:lnTo>
                    <a:lnTo>
                      <a:pt x="475" y="416"/>
                    </a:lnTo>
                    <a:lnTo>
                      <a:pt x="474" y="416"/>
                    </a:lnTo>
                    <a:lnTo>
                      <a:pt x="474" y="418"/>
                    </a:lnTo>
                    <a:lnTo>
                      <a:pt x="475" y="418"/>
                    </a:lnTo>
                    <a:lnTo>
                      <a:pt x="475" y="419"/>
                    </a:lnTo>
                    <a:lnTo>
                      <a:pt x="475" y="420"/>
                    </a:lnTo>
                    <a:lnTo>
                      <a:pt x="472" y="421"/>
                    </a:lnTo>
                    <a:lnTo>
                      <a:pt x="472" y="425"/>
                    </a:lnTo>
                    <a:lnTo>
                      <a:pt x="472" y="428"/>
                    </a:lnTo>
                    <a:lnTo>
                      <a:pt x="467" y="429"/>
                    </a:lnTo>
                    <a:lnTo>
                      <a:pt x="467" y="431"/>
                    </a:lnTo>
                    <a:lnTo>
                      <a:pt x="465" y="434"/>
                    </a:lnTo>
                    <a:lnTo>
                      <a:pt x="464" y="434"/>
                    </a:lnTo>
                    <a:lnTo>
                      <a:pt x="464" y="433"/>
                    </a:lnTo>
                    <a:lnTo>
                      <a:pt x="463" y="433"/>
                    </a:lnTo>
                    <a:lnTo>
                      <a:pt x="462" y="433"/>
                    </a:lnTo>
                    <a:lnTo>
                      <a:pt x="463" y="434"/>
                    </a:lnTo>
                    <a:lnTo>
                      <a:pt x="462" y="434"/>
                    </a:lnTo>
                    <a:lnTo>
                      <a:pt x="462" y="435"/>
                    </a:lnTo>
                    <a:lnTo>
                      <a:pt x="461" y="437"/>
                    </a:lnTo>
                    <a:lnTo>
                      <a:pt x="460" y="438"/>
                    </a:lnTo>
                    <a:lnTo>
                      <a:pt x="460" y="440"/>
                    </a:lnTo>
                    <a:lnTo>
                      <a:pt x="460" y="442"/>
                    </a:lnTo>
                    <a:lnTo>
                      <a:pt x="459" y="446"/>
                    </a:lnTo>
                    <a:lnTo>
                      <a:pt x="460" y="448"/>
                    </a:lnTo>
                    <a:lnTo>
                      <a:pt x="459" y="450"/>
                    </a:lnTo>
                    <a:lnTo>
                      <a:pt x="460" y="451"/>
                    </a:lnTo>
                    <a:lnTo>
                      <a:pt x="460" y="454"/>
                    </a:lnTo>
                    <a:lnTo>
                      <a:pt x="462" y="454"/>
                    </a:lnTo>
                    <a:lnTo>
                      <a:pt x="463" y="452"/>
                    </a:lnTo>
                    <a:lnTo>
                      <a:pt x="466" y="457"/>
                    </a:lnTo>
                    <a:lnTo>
                      <a:pt x="469" y="456"/>
                    </a:lnTo>
                    <a:lnTo>
                      <a:pt x="473" y="457"/>
                    </a:lnTo>
                    <a:lnTo>
                      <a:pt x="473" y="459"/>
                    </a:lnTo>
                    <a:lnTo>
                      <a:pt x="474" y="463"/>
                    </a:lnTo>
                    <a:lnTo>
                      <a:pt x="476" y="468"/>
                    </a:lnTo>
                    <a:lnTo>
                      <a:pt x="476" y="469"/>
                    </a:lnTo>
                    <a:lnTo>
                      <a:pt x="475" y="470"/>
                    </a:lnTo>
                    <a:lnTo>
                      <a:pt x="475" y="471"/>
                    </a:lnTo>
                    <a:lnTo>
                      <a:pt x="476" y="473"/>
                    </a:lnTo>
                    <a:lnTo>
                      <a:pt x="474" y="476"/>
                    </a:lnTo>
                    <a:lnTo>
                      <a:pt x="473" y="475"/>
                    </a:lnTo>
                    <a:lnTo>
                      <a:pt x="473" y="477"/>
                    </a:lnTo>
                    <a:lnTo>
                      <a:pt x="472" y="476"/>
                    </a:lnTo>
                    <a:lnTo>
                      <a:pt x="472" y="477"/>
                    </a:lnTo>
                    <a:lnTo>
                      <a:pt x="471" y="477"/>
                    </a:lnTo>
                    <a:lnTo>
                      <a:pt x="470" y="478"/>
                    </a:lnTo>
                    <a:lnTo>
                      <a:pt x="470" y="480"/>
                    </a:lnTo>
                    <a:lnTo>
                      <a:pt x="467" y="481"/>
                    </a:lnTo>
                    <a:lnTo>
                      <a:pt x="467" y="480"/>
                    </a:lnTo>
                    <a:lnTo>
                      <a:pt x="466" y="480"/>
                    </a:lnTo>
                    <a:lnTo>
                      <a:pt x="464" y="481"/>
                    </a:lnTo>
                    <a:lnTo>
                      <a:pt x="463" y="480"/>
                    </a:lnTo>
                    <a:lnTo>
                      <a:pt x="462" y="481"/>
                    </a:lnTo>
                    <a:lnTo>
                      <a:pt x="462" y="478"/>
                    </a:lnTo>
                    <a:lnTo>
                      <a:pt x="459" y="476"/>
                    </a:lnTo>
                    <a:lnTo>
                      <a:pt x="459" y="478"/>
                    </a:lnTo>
                    <a:lnTo>
                      <a:pt x="457" y="477"/>
                    </a:lnTo>
                    <a:lnTo>
                      <a:pt x="457" y="480"/>
                    </a:lnTo>
                    <a:lnTo>
                      <a:pt x="455" y="481"/>
                    </a:lnTo>
                    <a:lnTo>
                      <a:pt x="454" y="480"/>
                    </a:lnTo>
                    <a:lnTo>
                      <a:pt x="455" y="478"/>
                    </a:lnTo>
                    <a:lnTo>
                      <a:pt x="453" y="478"/>
                    </a:lnTo>
                    <a:lnTo>
                      <a:pt x="453" y="480"/>
                    </a:lnTo>
                    <a:lnTo>
                      <a:pt x="454" y="481"/>
                    </a:lnTo>
                    <a:lnTo>
                      <a:pt x="454" y="483"/>
                    </a:lnTo>
                    <a:lnTo>
                      <a:pt x="452" y="483"/>
                    </a:lnTo>
                    <a:lnTo>
                      <a:pt x="452" y="484"/>
                    </a:lnTo>
                    <a:lnTo>
                      <a:pt x="451" y="485"/>
                    </a:lnTo>
                    <a:lnTo>
                      <a:pt x="451" y="486"/>
                    </a:lnTo>
                    <a:lnTo>
                      <a:pt x="451" y="488"/>
                    </a:lnTo>
                    <a:lnTo>
                      <a:pt x="451" y="489"/>
                    </a:lnTo>
                    <a:lnTo>
                      <a:pt x="447" y="488"/>
                    </a:lnTo>
                    <a:lnTo>
                      <a:pt x="447" y="486"/>
                    </a:lnTo>
                    <a:lnTo>
                      <a:pt x="447" y="484"/>
                    </a:lnTo>
                    <a:lnTo>
                      <a:pt x="444" y="482"/>
                    </a:lnTo>
                    <a:lnTo>
                      <a:pt x="444" y="483"/>
                    </a:lnTo>
                    <a:lnTo>
                      <a:pt x="444" y="482"/>
                    </a:lnTo>
                    <a:lnTo>
                      <a:pt x="444" y="483"/>
                    </a:lnTo>
                    <a:lnTo>
                      <a:pt x="442" y="483"/>
                    </a:lnTo>
                    <a:lnTo>
                      <a:pt x="441" y="483"/>
                    </a:lnTo>
                    <a:lnTo>
                      <a:pt x="440" y="482"/>
                    </a:lnTo>
                    <a:lnTo>
                      <a:pt x="439" y="481"/>
                    </a:lnTo>
                    <a:lnTo>
                      <a:pt x="439" y="480"/>
                    </a:lnTo>
                    <a:lnTo>
                      <a:pt x="438" y="480"/>
                    </a:lnTo>
                    <a:lnTo>
                      <a:pt x="438" y="478"/>
                    </a:lnTo>
                    <a:lnTo>
                      <a:pt x="439" y="478"/>
                    </a:lnTo>
                    <a:lnTo>
                      <a:pt x="438" y="478"/>
                    </a:lnTo>
                    <a:lnTo>
                      <a:pt x="437" y="479"/>
                    </a:lnTo>
                    <a:lnTo>
                      <a:pt x="436" y="478"/>
                    </a:lnTo>
                    <a:lnTo>
                      <a:pt x="435" y="478"/>
                    </a:lnTo>
                    <a:lnTo>
                      <a:pt x="435" y="482"/>
                    </a:lnTo>
                    <a:lnTo>
                      <a:pt x="433" y="480"/>
                    </a:lnTo>
                    <a:lnTo>
                      <a:pt x="430" y="481"/>
                    </a:lnTo>
                    <a:lnTo>
                      <a:pt x="429" y="481"/>
                    </a:lnTo>
                    <a:lnTo>
                      <a:pt x="429" y="482"/>
                    </a:lnTo>
                    <a:lnTo>
                      <a:pt x="428" y="482"/>
                    </a:lnTo>
                    <a:lnTo>
                      <a:pt x="427" y="481"/>
                    </a:lnTo>
                    <a:lnTo>
                      <a:pt x="426" y="482"/>
                    </a:lnTo>
                    <a:lnTo>
                      <a:pt x="425" y="482"/>
                    </a:lnTo>
                    <a:lnTo>
                      <a:pt x="424" y="482"/>
                    </a:lnTo>
                    <a:lnTo>
                      <a:pt x="421" y="483"/>
                    </a:lnTo>
                    <a:lnTo>
                      <a:pt x="419" y="480"/>
                    </a:lnTo>
                    <a:lnTo>
                      <a:pt x="417" y="480"/>
                    </a:lnTo>
                    <a:lnTo>
                      <a:pt x="416" y="478"/>
                    </a:lnTo>
                    <a:lnTo>
                      <a:pt x="414" y="479"/>
                    </a:lnTo>
                    <a:lnTo>
                      <a:pt x="413" y="480"/>
                    </a:lnTo>
                    <a:lnTo>
                      <a:pt x="412" y="480"/>
                    </a:lnTo>
                    <a:lnTo>
                      <a:pt x="411" y="478"/>
                    </a:lnTo>
                    <a:lnTo>
                      <a:pt x="411" y="479"/>
                    </a:lnTo>
                    <a:lnTo>
                      <a:pt x="409" y="478"/>
                    </a:lnTo>
                    <a:lnTo>
                      <a:pt x="410" y="477"/>
                    </a:lnTo>
                    <a:lnTo>
                      <a:pt x="408" y="475"/>
                    </a:lnTo>
                    <a:lnTo>
                      <a:pt x="403" y="475"/>
                    </a:lnTo>
                    <a:lnTo>
                      <a:pt x="400" y="475"/>
                    </a:lnTo>
                    <a:lnTo>
                      <a:pt x="398" y="479"/>
                    </a:lnTo>
                    <a:lnTo>
                      <a:pt x="399" y="480"/>
                    </a:lnTo>
                    <a:lnTo>
                      <a:pt x="401" y="481"/>
                    </a:lnTo>
                    <a:lnTo>
                      <a:pt x="402" y="484"/>
                    </a:lnTo>
                    <a:lnTo>
                      <a:pt x="402" y="486"/>
                    </a:lnTo>
                    <a:lnTo>
                      <a:pt x="402" y="487"/>
                    </a:lnTo>
                    <a:lnTo>
                      <a:pt x="399" y="488"/>
                    </a:lnTo>
                    <a:lnTo>
                      <a:pt x="395" y="486"/>
                    </a:lnTo>
                    <a:lnTo>
                      <a:pt x="394" y="488"/>
                    </a:lnTo>
                    <a:lnTo>
                      <a:pt x="391" y="486"/>
                    </a:lnTo>
                    <a:lnTo>
                      <a:pt x="389" y="486"/>
                    </a:lnTo>
                    <a:lnTo>
                      <a:pt x="388" y="487"/>
                    </a:lnTo>
                    <a:lnTo>
                      <a:pt x="388" y="489"/>
                    </a:lnTo>
                    <a:lnTo>
                      <a:pt x="387" y="490"/>
                    </a:lnTo>
                    <a:lnTo>
                      <a:pt x="387" y="491"/>
                    </a:lnTo>
                    <a:lnTo>
                      <a:pt x="388" y="492"/>
                    </a:lnTo>
                    <a:lnTo>
                      <a:pt x="389" y="495"/>
                    </a:lnTo>
                    <a:lnTo>
                      <a:pt x="388" y="495"/>
                    </a:lnTo>
                    <a:lnTo>
                      <a:pt x="386" y="495"/>
                    </a:lnTo>
                    <a:lnTo>
                      <a:pt x="386" y="496"/>
                    </a:lnTo>
                    <a:lnTo>
                      <a:pt x="386" y="499"/>
                    </a:lnTo>
                    <a:lnTo>
                      <a:pt x="384" y="499"/>
                    </a:lnTo>
                    <a:lnTo>
                      <a:pt x="383" y="501"/>
                    </a:lnTo>
                    <a:lnTo>
                      <a:pt x="382" y="501"/>
                    </a:lnTo>
                    <a:lnTo>
                      <a:pt x="381" y="499"/>
                    </a:lnTo>
                    <a:lnTo>
                      <a:pt x="379" y="501"/>
                    </a:lnTo>
                    <a:lnTo>
                      <a:pt x="377" y="501"/>
                    </a:lnTo>
                    <a:lnTo>
                      <a:pt x="377" y="498"/>
                    </a:lnTo>
                    <a:lnTo>
                      <a:pt x="374" y="495"/>
                    </a:lnTo>
                    <a:lnTo>
                      <a:pt x="376" y="494"/>
                    </a:lnTo>
                    <a:lnTo>
                      <a:pt x="374" y="493"/>
                    </a:lnTo>
                    <a:lnTo>
                      <a:pt x="373" y="492"/>
                    </a:lnTo>
                    <a:lnTo>
                      <a:pt x="374" y="491"/>
                    </a:lnTo>
                    <a:lnTo>
                      <a:pt x="373" y="490"/>
                    </a:lnTo>
                    <a:lnTo>
                      <a:pt x="373" y="489"/>
                    </a:lnTo>
                    <a:lnTo>
                      <a:pt x="373" y="485"/>
                    </a:lnTo>
                    <a:lnTo>
                      <a:pt x="371" y="486"/>
                    </a:lnTo>
                    <a:lnTo>
                      <a:pt x="372" y="485"/>
                    </a:lnTo>
                    <a:lnTo>
                      <a:pt x="372" y="484"/>
                    </a:lnTo>
                    <a:lnTo>
                      <a:pt x="371" y="484"/>
                    </a:lnTo>
                    <a:lnTo>
                      <a:pt x="372" y="483"/>
                    </a:lnTo>
                    <a:lnTo>
                      <a:pt x="372" y="481"/>
                    </a:lnTo>
                    <a:lnTo>
                      <a:pt x="370" y="480"/>
                    </a:lnTo>
                    <a:lnTo>
                      <a:pt x="371" y="480"/>
                    </a:lnTo>
                    <a:lnTo>
                      <a:pt x="372" y="480"/>
                    </a:lnTo>
                    <a:lnTo>
                      <a:pt x="370" y="478"/>
                    </a:lnTo>
                    <a:lnTo>
                      <a:pt x="370" y="477"/>
                    </a:lnTo>
                    <a:lnTo>
                      <a:pt x="369" y="479"/>
                    </a:lnTo>
                    <a:lnTo>
                      <a:pt x="368" y="479"/>
                    </a:lnTo>
                    <a:lnTo>
                      <a:pt x="367" y="478"/>
                    </a:lnTo>
                    <a:lnTo>
                      <a:pt x="366" y="478"/>
                    </a:lnTo>
                    <a:lnTo>
                      <a:pt x="364" y="482"/>
                    </a:lnTo>
                    <a:lnTo>
                      <a:pt x="365" y="483"/>
                    </a:lnTo>
                    <a:lnTo>
                      <a:pt x="364" y="484"/>
                    </a:lnTo>
                    <a:lnTo>
                      <a:pt x="363" y="483"/>
                    </a:lnTo>
                    <a:lnTo>
                      <a:pt x="363" y="481"/>
                    </a:lnTo>
                    <a:lnTo>
                      <a:pt x="362" y="479"/>
                    </a:lnTo>
                    <a:lnTo>
                      <a:pt x="361" y="479"/>
                    </a:lnTo>
                    <a:lnTo>
                      <a:pt x="359" y="478"/>
                    </a:lnTo>
                    <a:lnTo>
                      <a:pt x="357" y="475"/>
                    </a:lnTo>
                    <a:lnTo>
                      <a:pt x="356" y="470"/>
                    </a:lnTo>
                    <a:lnTo>
                      <a:pt x="355" y="470"/>
                    </a:lnTo>
                    <a:lnTo>
                      <a:pt x="354" y="470"/>
                    </a:lnTo>
                    <a:lnTo>
                      <a:pt x="348" y="468"/>
                    </a:lnTo>
                    <a:lnTo>
                      <a:pt x="347" y="465"/>
                    </a:lnTo>
                    <a:lnTo>
                      <a:pt x="344" y="460"/>
                    </a:lnTo>
                    <a:lnTo>
                      <a:pt x="345" y="459"/>
                    </a:lnTo>
                    <a:lnTo>
                      <a:pt x="344" y="459"/>
                    </a:lnTo>
                    <a:lnTo>
                      <a:pt x="343" y="461"/>
                    </a:lnTo>
                    <a:lnTo>
                      <a:pt x="343" y="464"/>
                    </a:lnTo>
                    <a:lnTo>
                      <a:pt x="340" y="464"/>
                    </a:lnTo>
                    <a:lnTo>
                      <a:pt x="340" y="465"/>
                    </a:lnTo>
                    <a:lnTo>
                      <a:pt x="338" y="465"/>
                    </a:lnTo>
                    <a:lnTo>
                      <a:pt x="338" y="466"/>
                    </a:lnTo>
                    <a:lnTo>
                      <a:pt x="338" y="465"/>
                    </a:lnTo>
                    <a:lnTo>
                      <a:pt x="337" y="467"/>
                    </a:lnTo>
                    <a:lnTo>
                      <a:pt x="337" y="468"/>
                    </a:lnTo>
                    <a:lnTo>
                      <a:pt x="338" y="468"/>
                    </a:lnTo>
                    <a:lnTo>
                      <a:pt x="337" y="471"/>
                    </a:lnTo>
                    <a:lnTo>
                      <a:pt x="333" y="469"/>
                    </a:lnTo>
                    <a:lnTo>
                      <a:pt x="333" y="470"/>
                    </a:lnTo>
                    <a:lnTo>
                      <a:pt x="333" y="471"/>
                    </a:lnTo>
                    <a:lnTo>
                      <a:pt x="332" y="471"/>
                    </a:lnTo>
                    <a:lnTo>
                      <a:pt x="333" y="472"/>
                    </a:lnTo>
                    <a:lnTo>
                      <a:pt x="332" y="472"/>
                    </a:lnTo>
                    <a:lnTo>
                      <a:pt x="333" y="473"/>
                    </a:lnTo>
                    <a:lnTo>
                      <a:pt x="332" y="475"/>
                    </a:lnTo>
                    <a:lnTo>
                      <a:pt x="333" y="476"/>
                    </a:lnTo>
                    <a:lnTo>
                      <a:pt x="332" y="476"/>
                    </a:lnTo>
                    <a:lnTo>
                      <a:pt x="331" y="477"/>
                    </a:lnTo>
                    <a:lnTo>
                      <a:pt x="330" y="477"/>
                    </a:lnTo>
                    <a:lnTo>
                      <a:pt x="330" y="480"/>
                    </a:lnTo>
                    <a:lnTo>
                      <a:pt x="329" y="480"/>
                    </a:lnTo>
                    <a:lnTo>
                      <a:pt x="329" y="481"/>
                    </a:lnTo>
                    <a:lnTo>
                      <a:pt x="329" y="482"/>
                    </a:lnTo>
                    <a:lnTo>
                      <a:pt x="331" y="483"/>
                    </a:lnTo>
                    <a:lnTo>
                      <a:pt x="330" y="486"/>
                    </a:lnTo>
                    <a:lnTo>
                      <a:pt x="330" y="487"/>
                    </a:lnTo>
                    <a:lnTo>
                      <a:pt x="332" y="486"/>
                    </a:lnTo>
                    <a:lnTo>
                      <a:pt x="332" y="488"/>
                    </a:lnTo>
                    <a:lnTo>
                      <a:pt x="331" y="488"/>
                    </a:lnTo>
                    <a:lnTo>
                      <a:pt x="333" y="489"/>
                    </a:lnTo>
                    <a:lnTo>
                      <a:pt x="333" y="490"/>
                    </a:lnTo>
                    <a:lnTo>
                      <a:pt x="331" y="491"/>
                    </a:lnTo>
                    <a:lnTo>
                      <a:pt x="333" y="491"/>
                    </a:lnTo>
                    <a:lnTo>
                      <a:pt x="332" y="492"/>
                    </a:lnTo>
                    <a:lnTo>
                      <a:pt x="330" y="492"/>
                    </a:lnTo>
                    <a:lnTo>
                      <a:pt x="329" y="492"/>
                    </a:lnTo>
                    <a:lnTo>
                      <a:pt x="329" y="493"/>
                    </a:lnTo>
                    <a:lnTo>
                      <a:pt x="325" y="493"/>
                    </a:lnTo>
                    <a:lnTo>
                      <a:pt x="325" y="494"/>
                    </a:lnTo>
                    <a:lnTo>
                      <a:pt x="324" y="494"/>
                    </a:lnTo>
                    <a:lnTo>
                      <a:pt x="324" y="493"/>
                    </a:lnTo>
                    <a:lnTo>
                      <a:pt x="321" y="493"/>
                    </a:lnTo>
                    <a:lnTo>
                      <a:pt x="320" y="492"/>
                    </a:lnTo>
                    <a:lnTo>
                      <a:pt x="320" y="493"/>
                    </a:lnTo>
                    <a:lnTo>
                      <a:pt x="320" y="494"/>
                    </a:lnTo>
                    <a:lnTo>
                      <a:pt x="318" y="494"/>
                    </a:lnTo>
                    <a:lnTo>
                      <a:pt x="317" y="494"/>
                    </a:lnTo>
                    <a:lnTo>
                      <a:pt x="316" y="496"/>
                    </a:lnTo>
                    <a:lnTo>
                      <a:pt x="313" y="499"/>
                    </a:lnTo>
                    <a:lnTo>
                      <a:pt x="312" y="498"/>
                    </a:lnTo>
                    <a:lnTo>
                      <a:pt x="312" y="499"/>
                    </a:lnTo>
                    <a:lnTo>
                      <a:pt x="310" y="499"/>
                    </a:lnTo>
                    <a:lnTo>
                      <a:pt x="308" y="500"/>
                    </a:lnTo>
                    <a:lnTo>
                      <a:pt x="308" y="501"/>
                    </a:lnTo>
                    <a:lnTo>
                      <a:pt x="307" y="501"/>
                    </a:lnTo>
                    <a:lnTo>
                      <a:pt x="308" y="505"/>
                    </a:lnTo>
                    <a:lnTo>
                      <a:pt x="307" y="506"/>
                    </a:lnTo>
                    <a:lnTo>
                      <a:pt x="307" y="509"/>
                    </a:lnTo>
                    <a:lnTo>
                      <a:pt x="306" y="509"/>
                    </a:lnTo>
                    <a:lnTo>
                      <a:pt x="304" y="509"/>
                    </a:lnTo>
                    <a:lnTo>
                      <a:pt x="303" y="507"/>
                    </a:lnTo>
                    <a:lnTo>
                      <a:pt x="304" y="506"/>
                    </a:lnTo>
                    <a:lnTo>
                      <a:pt x="303" y="502"/>
                    </a:lnTo>
                    <a:lnTo>
                      <a:pt x="301" y="501"/>
                    </a:lnTo>
                    <a:lnTo>
                      <a:pt x="296" y="498"/>
                    </a:lnTo>
                    <a:lnTo>
                      <a:pt x="291" y="499"/>
                    </a:lnTo>
                    <a:lnTo>
                      <a:pt x="289" y="499"/>
                    </a:lnTo>
                    <a:lnTo>
                      <a:pt x="289" y="498"/>
                    </a:lnTo>
                    <a:lnTo>
                      <a:pt x="287" y="498"/>
                    </a:lnTo>
                    <a:lnTo>
                      <a:pt x="287" y="496"/>
                    </a:lnTo>
                    <a:lnTo>
                      <a:pt x="288" y="495"/>
                    </a:lnTo>
                    <a:lnTo>
                      <a:pt x="289" y="495"/>
                    </a:lnTo>
                    <a:lnTo>
                      <a:pt x="290" y="493"/>
                    </a:lnTo>
                    <a:lnTo>
                      <a:pt x="291" y="492"/>
                    </a:lnTo>
                    <a:lnTo>
                      <a:pt x="292" y="489"/>
                    </a:lnTo>
                    <a:lnTo>
                      <a:pt x="292" y="488"/>
                    </a:lnTo>
                    <a:lnTo>
                      <a:pt x="291" y="488"/>
                    </a:lnTo>
                    <a:lnTo>
                      <a:pt x="290" y="490"/>
                    </a:lnTo>
                    <a:lnTo>
                      <a:pt x="289" y="491"/>
                    </a:lnTo>
                    <a:lnTo>
                      <a:pt x="287" y="490"/>
                    </a:lnTo>
                    <a:lnTo>
                      <a:pt x="287" y="492"/>
                    </a:lnTo>
                    <a:lnTo>
                      <a:pt x="286" y="492"/>
                    </a:lnTo>
                    <a:lnTo>
                      <a:pt x="286" y="489"/>
                    </a:lnTo>
                    <a:lnTo>
                      <a:pt x="284" y="493"/>
                    </a:lnTo>
                    <a:lnTo>
                      <a:pt x="282" y="492"/>
                    </a:lnTo>
                    <a:lnTo>
                      <a:pt x="283" y="492"/>
                    </a:lnTo>
                    <a:lnTo>
                      <a:pt x="282" y="492"/>
                    </a:lnTo>
                    <a:lnTo>
                      <a:pt x="281" y="492"/>
                    </a:lnTo>
                    <a:lnTo>
                      <a:pt x="281" y="491"/>
                    </a:lnTo>
                    <a:lnTo>
                      <a:pt x="280" y="492"/>
                    </a:lnTo>
                    <a:lnTo>
                      <a:pt x="280" y="491"/>
                    </a:lnTo>
                    <a:lnTo>
                      <a:pt x="278" y="490"/>
                    </a:lnTo>
                    <a:lnTo>
                      <a:pt x="277" y="489"/>
                    </a:lnTo>
                    <a:lnTo>
                      <a:pt x="276" y="489"/>
                    </a:lnTo>
                    <a:lnTo>
                      <a:pt x="275" y="491"/>
                    </a:lnTo>
                    <a:lnTo>
                      <a:pt x="274" y="489"/>
                    </a:lnTo>
                    <a:lnTo>
                      <a:pt x="273" y="489"/>
                    </a:lnTo>
                    <a:lnTo>
                      <a:pt x="273" y="488"/>
                    </a:lnTo>
                    <a:lnTo>
                      <a:pt x="272" y="489"/>
                    </a:lnTo>
                    <a:lnTo>
                      <a:pt x="272" y="488"/>
                    </a:lnTo>
                    <a:lnTo>
                      <a:pt x="270" y="488"/>
                    </a:lnTo>
                    <a:lnTo>
                      <a:pt x="272" y="485"/>
                    </a:lnTo>
                    <a:lnTo>
                      <a:pt x="271" y="484"/>
                    </a:lnTo>
                    <a:lnTo>
                      <a:pt x="269" y="484"/>
                    </a:lnTo>
                    <a:lnTo>
                      <a:pt x="268" y="486"/>
                    </a:lnTo>
                    <a:lnTo>
                      <a:pt x="266" y="485"/>
                    </a:lnTo>
                    <a:lnTo>
                      <a:pt x="263" y="482"/>
                    </a:lnTo>
                    <a:lnTo>
                      <a:pt x="261" y="482"/>
                    </a:lnTo>
                    <a:lnTo>
                      <a:pt x="261" y="483"/>
                    </a:lnTo>
                    <a:lnTo>
                      <a:pt x="260" y="486"/>
                    </a:lnTo>
                    <a:lnTo>
                      <a:pt x="258" y="486"/>
                    </a:lnTo>
                    <a:lnTo>
                      <a:pt x="258" y="488"/>
                    </a:lnTo>
                    <a:lnTo>
                      <a:pt x="260" y="488"/>
                    </a:lnTo>
                    <a:lnTo>
                      <a:pt x="259" y="488"/>
                    </a:lnTo>
                    <a:lnTo>
                      <a:pt x="258" y="488"/>
                    </a:lnTo>
                    <a:lnTo>
                      <a:pt x="257" y="486"/>
                    </a:lnTo>
                    <a:lnTo>
                      <a:pt x="256" y="488"/>
                    </a:lnTo>
                    <a:lnTo>
                      <a:pt x="255" y="486"/>
                    </a:lnTo>
                    <a:lnTo>
                      <a:pt x="255" y="485"/>
                    </a:lnTo>
                    <a:lnTo>
                      <a:pt x="254" y="483"/>
                    </a:lnTo>
                    <a:lnTo>
                      <a:pt x="252" y="483"/>
                    </a:lnTo>
                    <a:lnTo>
                      <a:pt x="252" y="480"/>
                    </a:lnTo>
                    <a:lnTo>
                      <a:pt x="250" y="480"/>
                    </a:lnTo>
                    <a:lnTo>
                      <a:pt x="249" y="481"/>
                    </a:lnTo>
                    <a:lnTo>
                      <a:pt x="248" y="481"/>
                    </a:lnTo>
                    <a:lnTo>
                      <a:pt x="245" y="475"/>
                    </a:lnTo>
                    <a:lnTo>
                      <a:pt x="244" y="475"/>
                    </a:lnTo>
                    <a:lnTo>
                      <a:pt x="243" y="473"/>
                    </a:lnTo>
                    <a:lnTo>
                      <a:pt x="243" y="476"/>
                    </a:lnTo>
                    <a:lnTo>
                      <a:pt x="242" y="475"/>
                    </a:lnTo>
                    <a:lnTo>
                      <a:pt x="241" y="475"/>
                    </a:lnTo>
                    <a:lnTo>
                      <a:pt x="242" y="475"/>
                    </a:lnTo>
                    <a:lnTo>
                      <a:pt x="243" y="479"/>
                    </a:lnTo>
                    <a:lnTo>
                      <a:pt x="242" y="480"/>
                    </a:lnTo>
                    <a:lnTo>
                      <a:pt x="243" y="480"/>
                    </a:lnTo>
                    <a:lnTo>
                      <a:pt x="242" y="482"/>
                    </a:lnTo>
                    <a:lnTo>
                      <a:pt x="242" y="483"/>
                    </a:lnTo>
                    <a:lnTo>
                      <a:pt x="244" y="483"/>
                    </a:lnTo>
                    <a:lnTo>
                      <a:pt x="243" y="484"/>
                    </a:lnTo>
                    <a:lnTo>
                      <a:pt x="242" y="483"/>
                    </a:lnTo>
                    <a:lnTo>
                      <a:pt x="242" y="484"/>
                    </a:lnTo>
                    <a:lnTo>
                      <a:pt x="241" y="481"/>
                    </a:lnTo>
                    <a:lnTo>
                      <a:pt x="240" y="481"/>
                    </a:lnTo>
                    <a:lnTo>
                      <a:pt x="239" y="480"/>
                    </a:lnTo>
                    <a:lnTo>
                      <a:pt x="237" y="480"/>
                    </a:lnTo>
                    <a:lnTo>
                      <a:pt x="236" y="481"/>
                    </a:lnTo>
                    <a:lnTo>
                      <a:pt x="235" y="480"/>
                    </a:lnTo>
                    <a:lnTo>
                      <a:pt x="235" y="481"/>
                    </a:lnTo>
                    <a:lnTo>
                      <a:pt x="234" y="481"/>
                    </a:lnTo>
                    <a:lnTo>
                      <a:pt x="235" y="482"/>
                    </a:lnTo>
                    <a:lnTo>
                      <a:pt x="234" y="482"/>
                    </a:lnTo>
                    <a:lnTo>
                      <a:pt x="234" y="483"/>
                    </a:lnTo>
                    <a:lnTo>
                      <a:pt x="234" y="482"/>
                    </a:lnTo>
                    <a:lnTo>
                      <a:pt x="234" y="483"/>
                    </a:lnTo>
                    <a:lnTo>
                      <a:pt x="233" y="484"/>
                    </a:lnTo>
                    <a:lnTo>
                      <a:pt x="232" y="482"/>
                    </a:lnTo>
                    <a:lnTo>
                      <a:pt x="232" y="483"/>
                    </a:lnTo>
                    <a:lnTo>
                      <a:pt x="231" y="486"/>
                    </a:lnTo>
                    <a:lnTo>
                      <a:pt x="230" y="486"/>
                    </a:lnTo>
                    <a:lnTo>
                      <a:pt x="231" y="484"/>
                    </a:lnTo>
                    <a:lnTo>
                      <a:pt x="229" y="484"/>
                    </a:lnTo>
                    <a:lnTo>
                      <a:pt x="228" y="485"/>
                    </a:lnTo>
                    <a:lnTo>
                      <a:pt x="227" y="487"/>
                    </a:lnTo>
                    <a:lnTo>
                      <a:pt x="227" y="485"/>
                    </a:lnTo>
                    <a:lnTo>
                      <a:pt x="226" y="485"/>
                    </a:lnTo>
                    <a:lnTo>
                      <a:pt x="226" y="484"/>
                    </a:lnTo>
                    <a:lnTo>
                      <a:pt x="224" y="483"/>
                    </a:lnTo>
                    <a:lnTo>
                      <a:pt x="221" y="485"/>
                    </a:lnTo>
                    <a:lnTo>
                      <a:pt x="220" y="484"/>
                    </a:lnTo>
                    <a:lnTo>
                      <a:pt x="219" y="484"/>
                    </a:lnTo>
                    <a:lnTo>
                      <a:pt x="221" y="484"/>
                    </a:lnTo>
                    <a:lnTo>
                      <a:pt x="221" y="483"/>
                    </a:lnTo>
                    <a:lnTo>
                      <a:pt x="221" y="481"/>
                    </a:lnTo>
                    <a:lnTo>
                      <a:pt x="222" y="480"/>
                    </a:lnTo>
                    <a:lnTo>
                      <a:pt x="222" y="478"/>
                    </a:lnTo>
                    <a:lnTo>
                      <a:pt x="221" y="478"/>
                    </a:lnTo>
                    <a:lnTo>
                      <a:pt x="220" y="478"/>
                    </a:lnTo>
                    <a:lnTo>
                      <a:pt x="219" y="477"/>
                    </a:lnTo>
                    <a:lnTo>
                      <a:pt x="219" y="475"/>
                    </a:lnTo>
                    <a:lnTo>
                      <a:pt x="218" y="476"/>
                    </a:lnTo>
                    <a:lnTo>
                      <a:pt x="216" y="473"/>
                    </a:lnTo>
                    <a:lnTo>
                      <a:pt x="213" y="475"/>
                    </a:lnTo>
                    <a:lnTo>
                      <a:pt x="212" y="473"/>
                    </a:lnTo>
                    <a:lnTo>
                      <a:pt x="212" y="474"/>
                    </a:lnTo>
                    <a:lnTo>
                      <a:pt x="212" y="473"/>
                    </a:lnTo>
                    <a:lnTo>
                      <a:pt x="211" y="472"/>
                    </a:lnTo>
                    <a:lnTo>
                      <a:pt x="212" y="469"/>
                    </a:lnTo>
                    <a:lnTo>
                      <a:pt x="211" y="467"/>
                    </a:lnTo>
                    <a:lnTo>
                      <a:pt x="208" y="466"/>
                    </a:lnTo>
                    <a:lnTo>
                      <a:pt x="208" y="465"/>
                    </a:lnTo>
                    <a:lnTo>
                      <a:pt x="206" y="465"/>
                    </a:lnTo>
                    <a:lnTo>
                      <a:pt x="206" y="463"/>
                    </a:lnTo>
                    <a:lnTo>
                      <a:pt x="203" y="465"/>
                    </a:lnTo>
                    <a:lnTo>
                      <a:pt x="202" y="465"/>
                    </a:lnTo>
                    <a:lnTo>
                      <a:pt x="198" y="465"/>
                    </a:lnTo>
                    <a:lnTo>
                      <a:pt x="197" y="463"/>
                    </a:lnTo>
                    <a:lnTo>
                      <a:pt x="196" y="465"/>
                    </a:lnTo>
                    <a:lnTo>
                      <a:pt x="195" y="465"/>
                    </a:lnTo>
                    <a:lnTo>
                      <a:pt x="194" y="465"/>
                    </a:lnTo>
                    <a:lnTo>
                      <a:pt x="194" y="467"/>
                    </a:lnTo>
                    <a:lnTo>
                      <a:pt x="194" y="470"/>
                    </a:lnTo>
                    <a:lnTo>
                      <a:pt x="192" y="471"/>
                    </a:lnTo>
                    <a:lnTo>
                      <a:pt x="192" y="472"/>
                    </a:lnTo>
                    <a:lnTo>
                      <a:pt x="190" y="473"/>
                    </a:lnTo>
                    <a:lnTo>
                      <a:pt x="189" y="473"/>
                    </a:lnTo>
                    <a:lnTo>
                      <a:pt x="189" y="475"/>
                    </a:lnTo>
                    <a:lnTo>
                      <a:pt x="190" y="474"/>
                    </a:lnTo>
                    <a:lnTo>
                      <a:pt x="188" y="476"/>
                    </a:lnTo>
                    <a:lnTo>
                      <a:pt x="188" y="478"/>
                    </a:lnTo>
                    <a:lnTo>
                      <a:pt x="186" y="477"/>
                    </a:lnTo>
                    <a:lnTo>
                      <a:pt x="186" y="476"/>
                    </a:lnTo>
                    <a:lnTo>
                      <a:pt x="187" y="475"/>
                    </a:lnTo>
                    <a:lnTo>
                      <a:pt x="184" y="475"/>
                    </a:lnTo>
                    <a:lnTo>
                      <a:pt x="181" y="475"/>
                    </a:lnTo>
                    <a:lnTo>
                      <a:pt x="180" y="476"/>
                    </a:lnTo>
                    <a:lnTo>
                      <a:pt x="178" y="475"/>
                    </a:lnTo>
                    <a:lnTo>
                      <a:pt x="177" y="475"/>
                    </a:lnTo>
                    <a:lnTo>
                      <a:pt x="174" y="475"/>
                    </a:lnTo>
                    <a:lnTo>
                      <a:pt x="173" y="475"/>
                    </a:lnTo>
                    <a:lnTo>
                      <a:pt x="172" y="476"/>
                    </a:lnTo>
                    <a:lnTo>
                      <a:pt x="170" y="473"/>
                    </a:lnTo>
                    <a:lnTo>
                      <a:pt x="168" y="473"/>
                    </a:lnTo>
                    <a:lnTo>
                      <a:pt x="165" y="472"/>
                    </a:lnTo>
                    <a:lnTo>
                      <a:pt x="165" y="476"/>
                    </a:lnTo>
                    <a:lnTo>
                      <a:pt x="163" y="475"/>
                    </a:lnTo>
                    <a:lnTo>
                      <a:pt x="161" y="475"/>
                    </a:lnTo>
                    <a:lnTo>
                      <a:pt x="161" y="473"/>
                    </a:lnTo>
                    <a:lnTo>
                      <a:pt x="161" y="472"/>
                    </a:lnTo>
                    <a:lnTo>
                      <a:pt x="161" y="471"/>
                    </a:lnTo>
                    <a:lnTo>
                      <a:pt x="159" y="471"/>
                    </a:lnTo>
                    <a:lnTo>
                      <a:pt x="159" y="473"/>
                    </a:lnTo>
                    <a:lnTo>
                      <a:pt x="158" y="475"/>
                    </a:lnTo>
                    <a:lnTo>
                      <a:pt x="156" y="474"/>
                    </a:lnTo>
                    <a:lnTo>
                      <a:pt x="155" y="475"/>
                    </a:lnTo>
                    <a:lnTo>
                      <a:pt x="155" y="473"/>
                    </a:lnTo>
                    <a:lnTo>
                      <a:pt x="152" y="473"/>
                    </a:lnTo>
                    <a:lnTo>
                      <a:pt x="152" y="472"/>
                    </a:lnTo>
                    <a:lnTo>
                      <a:pt x="151" y="473"/>
                    </a:lnTo>
                    <a:lnTo>
                      <a:pt x="150" y="472"/>
                    </a:lnTo>
                    <a:lnTo>
                      <a:pt x="149" y="469"/>
                    </a:lnTo>
                    <a:lnTo>
                      <a:pt x="150" y="468"/>
                    </a:lnTo>
                    <a:lnTo>
                      <a:pt x="150" y="467"/>
                    </a:lnTo>
                    <a:lnTo>
                      <a:pt x="150" y="464"/>
                    </a:lnTo>
                    <a:lnTo>
                      <a:pt x="150" y="463"/>
                    </a:lnTo>
                    <a:lnTo>
                      <a:pt x="151" y="462"/>
                    </a:lnTo>
                    <a:lnTo>
                      <a:pt x="151" y="461"/>
                    </a:lnTo>
                    <a:lnTo>
                      <a:pt x="153" y="461"/>
                    </a:lnTo>
                    <a:lnTo>
                      <a:pt x="151" y="460"/>
                    </a:lnTo>
                    <a:lnTo>
                      <a:pt x="149" y="458"/>
                    </a:lnTo>
                    <a:lnTo>
                      <a:pt x="145" y="458"/>
                    </a:lnTo>
                    <a:lnTo>
                      <a:pt x="144" y="458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45" name="Group 131">
              <a:extLst>
                <a:ext uri="{FF2B5EF4-FFF2-40B4-BE49-F238E27FC236}">
                  <a16:creationId xmlns:a16="http://schemas.microsoft.com/office/drawing/2014/main" id="{01A31705-88AC-809D-DB20-77CED807AEB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91" y="2910"/>
              <a:ext cx="569" cy="509"/>
              <a:chOff x="791" y="2910"/>
              <a:chExt cx="569" cy="509"/>
            </a:xfrm>
          </p:grpSpPr>
          <p:sp>
            <p:nvSpPr>
              <p:cNvPr id="140" name="Freeform 129">
                <a:extLst>
                  <a:ext uri="{FF2B5EF4-FFF2-40B4-BE49-F238E27FC236}">
                    <a16:creationId xmlns:a16="http://schemas.microsoft.com/office/drawing/2014/main" id="{E68514B0-473B-DE73-881A-AE9F12D49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1" y="2910"/>
                <a:ext cx="569" cy="509"/>
              </a:xfrm>
              <a:custGeom>
                <a:avLst/>
                <a:gdLst>
                  <a:gd name="T0" fmla="*/ 128 w 569"/>
                  <a:gd name="T1" fmla="*/ 470 h 509"/>
                  <a:gd name="T2" fmla="*/ 100 w 569"/>
                  <a:gd name="T3" fmla="*/ 473 h 509"/>
                  <a:gd name="T4" fmla="*/ 79 w 569"/>
                  <a:gd name="T5" fmla="*/ 467 h 509"/>
                  <a:gd name="T6" fmla="*/ 69 w 569"/>
                  <a:gd name="T7" fmla="*/ 420 h 509"/>
                  <a:gd name="T8" fmla="*/ 60 w 569"/>
                  <a:gd name="T9" fmla="*/ 397 h 509"/>
                  <a:gd name="T10" fmla="*/ 56 w 569"/>
                  <a:gd name="T11" fmla="*/ 386 h 509"/>
                  <a:gd name="T12" fmla="*/ 81 w 569"/>
                  <a:gd name="T13" fmla="*/ 368 h 509"/>
                  <a:gd name="T14" fmla="*/ 91 w 569"/>
                  <a:gd name="T15" fmla="*/ 338 h 509"/>
                  <a:gd name="T16" fmla="*/ 106 w 569"/>
                  <a:gd name="T17" fmla="*/ 306 h 509"/>
                  <a:gd name="T18" fmla="*/ 89 w 569"/>
                  <a:gd name="T19" fmla="*/ 267 h 509"/>
                  <a:gd name="T20" fmla="*/ 60 w 569"/>
                  <a:gd name="T21" fmla="*/ 236 h 509"/>
                  <a:gd name="T22" fmla="*/ 33 w 569"/>
                  <a:gd name="T23" fmla="*/ 210 h 509"/>
                  <a:gd name="T24" fmla="*/ 6 w 569"/>
                  <a:gd name="T25" fmla="*/ 198 h 509"/>
                  <a:gd name="T26" fmla="*/ 25 w 569"/>
                  <a:gd name="T27" fmla="*/ 175 h 509"/>
                  <a:gd name="T28" fmla="*/ 41 w 569"/>
                  <a:gd name="T29" fmla="*/ 146 h 509"/>
                  <a:gd name="T30" fmla="*/ 85 w 569"/>
                  <a:gd name="T31" fmla="*/ 126 h 509"/>
                  <a:gd name="T32" fmla="*/ 128 w 569"/>
                  <a:gd name="T33" fmla="*/ 122 h 509"/>
                  <a:gd name="T34" fmla="*/ 164 w 569"/>
                  <a:gd name="T35" fmla="*/ 107 h 509"/>
                  <a:gd name="T36" fmla="*/ 188 w 569"/>
                  <a:gd name="T37" fmla="*/ 92 h 509"/>
                  <a:gd name="T38" fmla="*/ 237 w 569"/>
                  <a:gd name="T39" fmla="*/ 103 h 509"/>
                  <a:gd name="T40" fmla="*/ 273 w 569"/>
                  <a:gd name="T41" fmla="*/ 101 h 509"/>
                  <a:gd name="T42" fmla="*/ 282 w 569"/>
                  <a:gd name="T43" fmla="*/ 78 h 509"/>
                  <a:gd name="T44" fmla="*/ 295 w 569"/>
                  <a:gd name="T45" fmla="*/ 68 h 509"/>
                  <a:gd name="T46" fmla="*/ 321 w 569"/>
                  <a:gd name="T47" fmla="*/ 39 h 509"/>
                  <a:gd name="T48" fmla="*/ 343 w 569"/>
                  <a:gd name="T49" fmla="*/ 44 h 509"/>
                  <a:gd name="T50" fmla="*/ 368 w 569"/>
                  <a:gd name="T51" fmla="*/ 52 h 509"/>
                  <a:gd name="T52" fmla="*/ 423 w 569"/>
                  <a:gd name="T53" fmla="*/ 18 h 509"/>
                  <a:gd name="T54" fmla="*/ 446 w 569"/>
                  <a:gd name="T55" fmla="*/ 7 h 509"/>
                  <a:gd name="T56" fmla="*/ 468 w 569"/>
                  <a:gd name="T57" fmla="*/ 20 h 509"/>
                  <a:gd name="T58" fmla="*/ 488 w 569"/>
                  <a:gd name="T59" fmla="*/ 49 h 509"/>
                  <a:gd name="T60" fmla="*/ 491 w 569"/>
                  <a:gd name="T61" fmla="*/ 77 h 509"/>
                  <a:gd name="T62" fmla="*/ 489 w 569"/>
                  <a:gd name="T63" fmla="*/ 109 h 509"/>
                  <a:gd name="T64" fmla="*/ 483 w 569"/>
                  <a:gd name="T65" fmla="*/ 137 h 509"/>
                  <a:gd name="T66" fmla="*/ 499 w 569"/>
                  <a:gd name="T67" fmla="*/ 161 h 509"/>
                  <a:gd name="T68" fmla="*/ 528 w 569"/>
                  <a:gd name="T69" fmla="*/ 171 h 509"/>
                  <a:gd name="T70" fmla="*/ 541 w 569"/>
                  <a:gd name="T71" fmla="*/ 189 h 509"/>
                  <a:gd name="T72" fmla="*/ 539 w 569"/>
                  <a:gd name="T73" fmla="*/ 225 h 509"/>
                  <a:gd name="T74" fmla="*/ 552 w 569"/>
                  <a:gd name="T75" fmla="*/ 249 h 509"/>
                  <a:gd name="T76" fmla="*/ 542 w 569"/>
                  <a:gd name="T77" fmla="*/ 279 h 509"/>
                  <a:gd name="T78" fmla="*/ 530 w 569"/>
                  <a:gd name="T79" fmla="*/ 288 h 509"/>
                  <a:gd name="T80" fmla="*/ 548 w 569"/>
                  <a:gd name="T81" fmla="*/ 306 h 509"/>
                  <a:gd name="T82" fmla="*/ 567 w 569"/>
                  <a:gd name="T83" fmla="*/ 330 h 509"/>
                  <a:gd name="T84" fmla="*/ 557 w 569"/>
                  <a:gd name="T85" fmla="*/ 360 h 509"/>
                  <a:gd name="T86" fmla="*/ 544 w 569"/>
                  <a:gd name="T87" fmla="*/ 384 h 509"/>
                  <a:gd name="T88" fmla="*/ 524 w 569"/>
                  <a:gd name="T89" fmla="*/ 401 h 509"/>
                  <a:gd name="T90" fmla="*/ 495 w 569"/>
                  <a:gd name="T91" fmla="*/ 412 h 509"/>
                  <a:gd name="T92" fmla="*/ 475 w 569"/>
                  <a:gd name="T93" fmla="*/ 420 h 509"/>
                  <a:gd name="T94" fmla="*/ 469 w 569"/>
                  <a:gd name="T95" fmla="*/ 456 h 509"/>
                  <a:gd name="T96" fmla="*/ 457 w 569"/>
                  <a:gd name="T97" fmla="*/ 480 h 509"/>
                  <a:gd name="T98" fmla="*/ 438 w 569"/>
                  <a:gd name="T99" fmla="*/ 480 h 509"/>
                  <a:gd name="T100" fmla="*/ 411 w 569"/>
                  <a:gd name="T101" fmla="*/ 478 h 509"/>
                  <a:gd name="T102" fmla="*/ 386 w 569"/>
                  <a:gd name="T103" fmla="*/ 495 h 509"/>
                  <a:gd name="T104" fmla="*/ 372 w 569"/>
                  <a:gd name="T105" fmla="*/ 480 h 509"/>
                  <a:gd name="T106" fmla="*/ 340 w 569"/>
                  <a:gd name="T107" fmla="*/ 465 h 509"/>
                  <a:gd name="T108" fmla="*/ 330 w 569"/>
                  <a:gd name="T109" fmla="*/ 486 h 509"/>
                  <a:gd name="T110" fmla="*/ 312 w 569"/>
                  <a:gd name="T111" fmla="*/ 499 h 509"/>
                  <a:gd name="T112" fmla="*/ 291 w 569"/>
                  <a:gd name="T113" fmla="*/ 488 h 509"/>
                  <a:gd name="T114" fmla="*/ 269 w 569"/>
                  <a:gd name="T115" fmla="*/ 484 h 509"/>
                  <a:gd name="T116" fmla="*/ 243 w 569"/>
                  <a:gd name="T117" fmla="*/ 476 h 509"/>
                  <a:gd name="T118" fmla="*/ 233 w 569"/>
                  <a:gd name="T119" fmla="*/ 484 h 509"/>
                  <a:gd name="T120" fmla="*/ 216 w 569"/>
                  <a:gd name="T121" fmla="*/ 473 h 509"/>
                  <a:gd name="T122" fmla="*/ 190 w 569"/>
                  <a:gd name="T123" fmla="*/ 474 h 509"/>
                  <a:gd name="T124" fmla="*/ 158 w 569"/>
                  <a:gd name="T125" fmla="*/ 475 h 50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569"/>
                  <a:gd name="T190" fmla="*/ 0 h 509"/>
                  <a:gd name="T191" fmla="*/ 569 w 569"/>
                  <a:gd name="T192" fmla="*/ 509 h 50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569" h="509">
                    <a:moveTo>
                      <a:pt x="144" y="458"/>
                    </a:moveTo>
                    <a:lnTo>
                      <a:pt x="142" y="460"/>
                    </a:lnTo>
                    <a:lnTo>
                      <a:pt x="142" y="459"/>
                    </a:lnTo>
                    <a:lnTo>
                      <a:pt x="139" y="461"/>
                    </a:lnTo>
                    <a:lnTo>
                      <a:pt x="138" y="461"/>
                    </a:lnTo>
                    <a:lnTo>
                      <a:pt x="136" y="460"/>
                    </a:lnTo>
                    <a:lnTo>
                      <a:pt x="135" y="463"/>
                    </a:lnTo>
                    <a:lnTo>
                      <a:pt x="136" y="465"/>
                    </a:lnTo>
                    <a:lnTo>
                      <a:pt x="135" y="467"/>
                    </a:lnTo>
                    <a:lnTo>
                      <a:pt x="135" y="465"/>
                    </a:lnTo>
                    <a:lnTo>
                      <a:pt x="134" y="468"/>
                    </a:lnTo>
                    <a:lnTo>
                      <a:pt x="134" y="469"/>
                    </a:lnTo>
                    <a:lnTo>
                      <a:pt x="134" y="470"/>
                    </a:lnTo>
                    <a:lnTo>
                      <a:pt x="133" y="470"/>
                    </a:lnTo>
                    <a:lnTo>
                      <a:pt x="133" y="471"/>
                    </a:lnTo>
                    <a:lnTo>
                      <a:pt x="132" y="469"/>
                    </a:lnTo>
                    <a:lnTo>
                      <a:pt x="131" y="469"/>
                    </a:lnTo>
                    <a:lnTo>
                      <a:pt x="131" y="471"/>
                    </a:lnTo>
                    <a:lnTo>
                      <a:pt x="132" y="473"/>
                    </a:lnTo>
                    <a:lnTo>
                      <a:pt x="131" y="473"/>
                    </a:lnTo>
                    <a:lnTo>
                      <a:pt x="131" y="475"/>
                    </a:lnTo>
                    <a:lnTo>
                      <a:pt x="130" y="475"/>
                    </a:lnTo>
                    <a:lnTo>
                      <a:pt x="130" y="472"/>
                    </a:lnTo>
                    <a:lnTo>
                      <a:pt x="128" y="472"/>
                    </a:lnTo>
                    <a:lnTo>
                      <a:pt x="128" y="470"/>
                    </a:lnTo>
                    <a:lnTo>
                      <a:pt x="126" y="472"/>
                    </a:lnTo>
                    <a:lnTo>
                      <a:pt x="126" y="473"/>
                    </a:lnTo>
                    <a:lnTo>
                      <a:pt x="125" y="475"/>
                    </a:lnTo>
                    <a:lnTo>
                      <a:pt x="125" y="476"/>
                    </a:lnTo>
                    <a:lnTo>
                      <a:pt x="125" y="477"/>
                    </a:lnTo>
                    <a:lnTo>
                      <a:pt x="121" y="476"/>
                    </a:lnTo>
                    <a:lnTo>
                      <a:pt x="118" y="475"/>
                    </a:lnTo>
                    <a:lnTo>
                      <a:pt x="118" y="473"/>
                    </a:lnTo>
                    <a:lnTo>
                      <a:pt x="117" y="472"/>
                    </a:lnTo>
                    <a:lnTo>
                      <a:pt x="114" y="475"/>
                    </a:lnTo>
                    <a:lnTo>
                      <a:pt x="114" y="478"/>
                    </a:lnTo>
                    <a:lnTo>
                      <a:pt x="113" y="478"/>
                    </a:lnTo>
                    <a:lnTo>
                      <a:pt x="111" y="480"/>
                    </a:lnTo>
                    <a:lnTo>
                      <a:pt x="111" y="478"/>
                    </a:lnTo>
                    <a:lnTo>
                      <a:pt x="107" y="479"/>
                    </a:lnTo>
                    <a:lnTo>
                      <a:pt x="107" y="478"/>
                    </a:lnTo>
                    <a:lnTo>
                      <a:pt x="105" y="478"/>
                    </a:lnTo>
                    <a:lnTo>
                      <a:pt x="105" y="476"/>
                    </a:lnTo>
                    <a:lnTo>
                      <a:pt x="104" y="475"/>
                    </a:lnTo>
                    <a:lnTo>
                      <a:pt x="103" y="476"/>
                    </a:lnTo>
                    <a:lnTo>
                      <a:pt x="100" y="476"/>
                    </a:lnTo>
                    <a:lnTo>
                      <a:pt x="102" y="475"/>
                    </a:lnTo>
                    <a:lnTo>
                      <a:pt x="102" y="473"/>
                    </a:lnTo>
                    <a:lnTo>
                      <a:pt x="104" y="472"/>
                    </a:lnTo>
                    <a:lnTo>
                      <a:pt x="100" y="472"/>
                    </a:lnTo>
                    <a:lnTo>
                      <a:pt x="100" y="473"/>
                    </a:lnTo>
                    <a:lnTo>
                      <a:pt x="98" y="472"/>
                    </a:lnTo>
                    <a:lnTo>
                      <a:pt x="98" y="470"/>
                    </a:lnTo>
                    <a:lnTo>
                      <a:pt x="98" y="468"/>
                    </a:lnTo>
                    <a:lnTo>
                      <a:pt x="95" y="465"/>
                    </a:lnTo>
                    <a:lnTo>
                      <a:pt x="93" y="466"/>
                    </a:lnTo>
                    <a:lnTo>
                      <a:pt x="93" y="467"/>
                    </a:lnTo>
                    <a:lnTo>
                      <a:pt x="94" y="468"/>
                    </a:lnTo>
                    <a:lnTo>
                      <a:pt x="92" y="468"/>
                    </a:lnTo>
                    <a:lnTo>
                      <a:pt x="90" y="471"/>
                    </a:lnTo>
                    <a:lnTo>
                      <a:pt x="89" y="471"/>
                    </a:lnTo>
                    <a:lnTo>
                      <a:pt x="87" y="472"/>
                    </a:lnTo>
                    <a:lnTo>
                      <a:pt x="87" y="471"/>
                    </a:lnTo>
                    <a:lnTo>
                      <a:pt x="87" y="470"/>
                    </a:lnTo>
                    <a:lnTo>
                      <a:pt x="86" y="471"/>
                    </a:lnTo>
                    <a:lnTo>
                      <a:pt x="85" y="471"/>
                    </a:lnTo>
                    <a:lnTo>
                      <a:pt x="85" y="467"/>
                    </a:lnTo>
                    <a:lnTo>
                      <a:pt x="85" y="468"/>
                    </a:lnTo>
                    <a:lnTo>
                      <a:pt x="84" y="467"/>
                    </a:lnTo>
                    <a:lnTo>
                      <a:pt x="84" y="463"/>
                    </a:lnTo>
                    <a:lnTo>
                      <a:pt x="82" y="463"/>
                    </a:lnTo>
                    <a:lnTo>
                      <a:pt x="83" y="464"/>
                    </a:lnTo>
                    <a:lnTo>
                      <a:pt x="81" y="464"/>
                    </a:lnTo>
                    <a:lnTo>
                      <a:pt x="81" y="467"/>
                    </a:lnTo>
                    <a:lnTo>
                      <a:pt x="79" y="467"/>
                    </a:lnTo>
                    <a:lnTo>
                      <a:pt x="79" y="468"/>
                    </a:lnTo>
                    <a:lnTo>
                      <a:pt x="76" y="466"/>
                    </a:lnTo>
                    <a:lnTo>
                      <a:pt x="74" y="465"/>
                    </a:lnTo>
                    <a:lnTo>
                      <a:pt x="72" y="469"/>
                    </a:lnTo>
                    <a:lnTo>
                      <a:pt x="71" y="469"/>
                    </a:lnTo>
                    <a:lnTo>
                      <a:pt x="68" y="468"/>
                    </a:lnTo>
                    <a:lnTo>
                      <a:pt x="67" y="468"/>
                    </a:lnTo>
                    <a:lnTo>
                      <a:pt x="68" y="465"/>
                    </a:lnTo>
                    <a:lnTo>
                      <a:pt x="68" y="464"/>
                    </a:lnTo>
                    <a:lnTo>
                      <a:pt x="69" y="459"/>
                    </a:lnTo>
                    <a:lnTo>
                      <a:pt x="70" y="456"/>
                    </a:lnTo>
                    <a:lnTo>
                      <a:pt x="68" y="455"/>
                    </a:lnTo>
                    <a:lnTo>
                      <a:pt x="69" y="452"/>
                    </a:lnTo>
                    <a:lnTo>
                      <a:pt x="65" y="448"/>
                    </a:lnTo>
                    <a:lnTo>
                      <a:pt x="64" y="448"/>
                    </a:lnTo>
                    <a:lnTo>
                      <a:pt x="61" y="452"/>
                    </a:lnTo>
                    <a:lnTo>
                      <a:pt x="61" y="451"/>
                    </a:lnTo>
                    <a:lnTo>
                      <a:pt x="63" y="450"/>
                    </a:lnTo>
                    <a:lnTo>
                      <a:pt x="64" y="445"/>
                    </a:lnTo>
                    <a:lnTo>
                      <a:pt x="63" y="444"/>
                    </a:lnTo>
                    <a:lnTo>
                      <a:pt x="63" y="443"/>
                    </a:lnTo>
                    <a:lnTo>
                      <a:pt x="65" y="437"/>
                    </a:lnTo>
                    <a:lnTo>
                      <a:pt x="64" y="433"/>
                    </a:lnTo>
                    <a:lnTo>
                      <a:pt x="66" y="431"/>
                    </a:lnTo>
                    <a:lnTo>
                      <a:pt x="68" y="428"/>
                    </a:lnTo>
                    <a:lnTo>
                      <a:pt x="68" y="421"/>
                    </a:lnTo>
                    <a:lnTo>
                      <a:pt x="69" y="420"/>
                    </a:lnTo>
                    <a:lnTo>
                      <a:pt x="70" y="417"/>
                    </a:lnTo>
                    <a:lnTo>
                      <a:pt x="69" y="415"/>
                    </a:lnTo>
                    <a:lnTo>
                      <a:pt x="67" y="416"/>
                    </a:lnTo>
                    <a:lnTo>
                      <a:pt x="65" y="414"/>
                    </a:lnTo>
                    <a:lnTo>
                      <a:pt x="65" y="412"/>
                    </a:lnTo>
                    <a:lnTo>
                      <a:pt x="63" y="411"/>
                    </a:lnTo>
                    <a:lnTo>
                      <a:pt x="61" y="412"/>
                    </a:lnTo>
                    <a:lnTo>
                      <a:pt x="58" y="411"/>
                    </a:lnTo>
                    <a:lnTo>
                      <a:pt x="58" y="409"/>
                    </a:lnTo>
                    <a:lnTo>
                      <a:pt x="60" y="409"/>
                    </a:lnTo>
                    <a:lnTo>
                      <a:pt x="60" y="408"/>
                    </a:lnTo>
                    <a:lnTo>
                      <a:pt x="57" y="407"/>
                    </a:lnTo>
                    <a:lnTo>
                      <a:pt x="57" y="406"/>
                    </a:lnTo>
                    <a:lnTo>
                      <a:pt x="55" y="406"/>
                    </a:lnTo>
                    <a:lnTo>
                      <a:pt x="53" y="405"/>
                    </a:lnTo>
                    <a:lnTo>
                      <a:pt x="52" y="405"/>
                    </a:lnTo>
                    <a:lnTo>
                      <a:pt x="52" y="402"/>
                    </a:lnTo>
                    <a:lnTo>
                      <a:pt x="50" y="401"/>
                    </a:lnTo>
                    <a:lnTo>
                      <a:pt x="53" y="402"/>
                    </a:lnTo>
                    <a:lnTo>
                      <a:pt x="56" y="405"/>
                    </a:lnTo>
                    <a:lnTo>
                      <a:pt x="59" y="405"/>
                    </a:lnTo>
                    <a:lnTo>
                      <a:pt x="60" y="404"/>
                    </a:lnTo>
                    <a:lnTo>
                      <a:pt x="61" y="404"/>
                    </a:lnTo>
                    <a:lnTo>
                      <a:pt x="63" y="403"/>
                    </a:lnTo>
                    <a:lnTo>
                      <a:pt x="61" y="403"/>
                    </a:lnTo>
                    <a:lnTo>
                      <a:pt x="60" y="397"/>
                    </a:lnTo>
                    <a:lnTo>
                      <a:pt x="56" y="396"/>
                    </a:lnTo>
                    <a:lnTo>
                      <a:pt x="55" y="394"/>
                    </a:lnTo>
                    <a:lnTo>
                      <a:pt x="56" y="392"/>
                    </a:lnTo>
                    <a:lnTo>
                      <a:pt x="55" y="391"/>
                    </a:lnTo>
                    <a:lnTo>
                      <a:pt x="56" y="390"/>
                    </a:lnTo>
                    <a:lnTo>
                      <a:pt x="57" y="391"/>
                    </a:lnTo>
                    <a:lnTo>
                      <a:pt x="57" y="392"/>
                    </a:lnTo>
                    <a:lnTo>
                      <a:pt x="58" y="391"/>
                    </a:lnTo>
                    <a:lnTo>
                      <a:pt x="59" y="391"/>
                    </a:lnTo>
                    <a:lnTo>
                      <a:pt x="60" y="391"/>
                    </a:lnTo>
                    <a:lnTo>
                      <a:pt x="63" y="390"/>
                    </a:lnTo>
                    <a:lnTo>
                      <a:pt x="64" y="391"/>
                    </a:lnTo>
                    <a:lnTo>
                      <a:pt x="67" y="388"/>
                    </a:lnTo>
                    <a:lnTo>
                      <a:pt x="65" y="388"/>
                    </a:lnTo>
                    <a:lnTo>
                      <a:pt x="65" y="386"/>
                    </a:lnTo>
                    <a:lnTo>
                      <a:pt x="63" y="386"/>
                    </a:lnTo>
                    <a:lnTo>
                      <a:pt x="62" y="385"/>
                    </a:lnTo>
                    <a:lnTo>
                      <a:pt x="60" y="386"/>
                    </a:lnTo>
                    <a:lnTo>
                      <a:pt x="61" y="384"/>
                    </a:lnTo>
                    <a:lnTo>
                      <a:pt x="60" y="384"/>
                    </a:lnTo>
                    <a:lnTo>
                      <a:pt x="58" y="385"/>
                    </a:lnTo>
                    <a:lnTo>
                      <a:pt x="58" y="384"/>
                    </a:lnTo>
                    <a:lnTo>
                      <a:pt x="57" y="384"/>
                    </a:lnTo>
                    <a:lnTo>
                      <a:pt x="56" y="386"/>
                    </a:lnTo>
                    <a:lnTo>
                      <a:pt x="55" y="386"/>
                    </a:lnTo>
                    <a:lnTo>
                      <a:pt x="55" y="388"/>
                    </a:lnTo>
                    <a:lnTo>
                      <a:pt x="53" y="387"/>
                    </a:lnTo>
                    <a:lnTo>
                      <a:pt x="52" y="383"/>
                    </a:lnTo>
                    <a:lnTo>
                      <a:pt x="53" y="384"/>
                    </a:lnTo>
                    <a:lnTo>
                      <a:pt x="53" y="383"/>
                    </a:lnTo>
                    <a:lnTo>
                      <a:pt x="52" y="382"/>
                    </a:lnTo>
                    <a:lnTo>
                      <a:pt x="54" y="380"/>
                    </a:lnTo>
                    <a:lnTo>
                      <a:pt x="53" y="378"/>
                    </a:lnTo>
                    <a:lnTo>
                      <a:pt x="54" y="376"/>
                    </a:lnTo>
                    <a:lnTo>
                      <a:pt x="58" y="374"/>
                    </a:lnTo>
                    <a:lnTo>
                      <a:pt x="61" y="368"/>
                    </a:lnTo>
                    <a:lnTo>
                      <a:pt x="71" y="365"/>
                    </a:lnTo>
                    <a:lnTo>
                      <a:pt x="73" y="364"/>
                    </a:lnTo>
                    <a:lnTo>
                      <a:pt x="75" y="364"/>
                    </a:lnTo>
                    <a:lnTo>
                      <a:pt x="74" y="364"/>
                    </a:lnTo>
                    <a:lnTo>
                      <a:pt x="74" y="367"/>
                    </a:lnTo>
                    <a:lnTo>
                      <a:pt x="76" y="368"/>
                    </a:lnTo>
                    <a:lnTo>
                      <a:pt x="77" y="370"/>
                    </a:lnTo>
                    <a:lnTo>
                      <a:pt x="77" y="371"/>
                    </a:lnTo>
                    <a:lnTo>
                      <a:pt x="79" y="371"/>
                    </a:lnTo>
                    <a:lnTo>
                      <a:pt x="80" y="371"/>
                    </a:lnTo>
                    <a:lnTo>
                      <a:pt x="81" y="369"/>
                    </a:lnTo>
                    <a:lnTo>
                      <a:pt x="81" y="368"/>
                    </a:lnTo>
                    <a:lnTo>
                      <a:pt x="82" y="367"/>
                    </a:lnTo>
                    <a:lnTo>
                      <a:pt x="82" y="365"/>
                    </a:lnTo>
                    <a:lnTo>
                      <a:pt x="84" y="364"/>
                    </a:lnTo>
                    <a:lnTo>
                      <a:pt x="85" y="361"/>
                    </a:lnTo>
                    <a:lnTo>
                      <a:pt x="86" y="361"/>
                    </a:lnTo>
                    <a:lnTo>
                      <a:pt x="89" y="361"/>
                    </a:lnTo>
                    <a:lnTo>
                      <a:pt x="89" y="360"/>
                    </a:lnTo>
                    <a:lnTo>
                      <a:pt x="90" y="360"/>
                    </a:lnTo>
                    <a:lnTo>
                      <a:pt x="91" y="360"/>
                    </a:lnTo>
                    <a:lnTo>
                      <a:pt x="93" y="358"/>
                    </a:lnTo>
                    <a:lnTo>
                      <a:pt x="93" y="359"/>
                    </a:lnTo>
                    <a:lnTo>
                      <a:pt x="95" y="356"/>
                    </a:lnTo>
                    <a:lnTo>
                      <a:pt x="95" y="354"/>
                    </a:lnTo>
                    <a:lnTo>
                      <a:pt x="93" y="353"/>
                    </a:lnTo>
                    <a:lnTo>
                      <a:pt x="92" y="352"/>
                    </a:lnTo>
                    <a:lnTo>
                      <a:pt x="91" y="351"/>
                    </a:lnTo>
                    <a:lnTo>
                      <a:pt x="90" y="352"/>
                    </a:lnTo>
                    <a:lnTo>
                      <a:pt x="89" y="352"/>
                    </a:lnTo>
                    <a:lnTo>
                      <a:pt x="87" y="354"/>
                    </a:lnTo>
                    <a:lnTo>
                      <a:pt x="86" y="353"/>
                    </a:lnTo>
                    <a:lnTo>
                      <a:pt x="87" y="350"/>
                    </a:lnTo>
                    <a:lnTo>
                      <a:pt x="90" y="349"/>
                    </a:lnTo>
                    <a:lnTo>
                      <a:pt x="92" y="344"/>
                    </a:lnTo>
                    <a:lnTo>
                      <a:pt x="92" y="341"/>
                    </a:lnTo>
                    <a:lnTo>
                      <a:pt x="91" y="339"/>
                    </a:lnTo>
                    <a:lnTo>
                      <a:pt x="91" y="338"/>
                    </a:lnTo>
                    <a:lnTo>
                      <a:pt x="90" y="335"/>
                    </a:lnTo>
                    <a:lnTo>
                      <a:pt x="91" y="333"/>
                    </a:lnTo>
                    <a:lnTo>
                      <a:pt x="95" y="333"/>
                    </a:lnTo>
                    <a:lnTo>
                      <a:pt x="95" y="331"/>
                    </a:lnTo>
                    <a:lnTo>
                      <a:pt x="97" y="330"/>
                    </a:lnTo>
                    <a:lnTo>
                      <a:pt x="96" y="330"/>
                    </a:lnTo>
                    <a:lnTo>
                      <a:pt x="97" y="326"/>
                    </a:lnTo>
                    <a:lnTo>
                      <a:pt x="95" y="324"/>
                    </a:lnTo>
                    <a:lnTo>
                      <a:pt x="95" y="321"/>
                    </a:lnTo>
                    <a:lnTo>
                      <a:pt x="98" y="318"/>
                    </a:lnTo>
                    <a:lnTo>
                      <a:pt x="97" y="316"/>
                    </a:lnTo>
                    <a:lnTo>
                      <a:pt x="96" y="314"/>
                    </a:lnTo>
                    <a:lnTo>
                      <a:pt x="97" y="313"/>
                    </a:lnTo>
                    <a:lnTo>
                      <a:pt x="98" y="314"/>
                    </a:lnTo>
                    <a:lnTo>
                      <a:pt x="100" y="310"/>
                    </a:lnTo>
                    <a:lnTo>
                      <a:pt x="99" y="308"/>
                    </a:lnTo>
                    <a:lnTo>
                      <a:pt x="100" y="308"/>
                    </a:lnTo>
                    <a:lnTo>
                      <a:pt x="100" y="304"/>
                    </a:lnTo>
                    <a:lnTo>
                      <a:pt x="101" y="304"/>
                    </a:lnTo>
                    <a:lnTo>
                      <a:pt x="102" y="304"/>
                    </a:lnTo>
                    <a:lnTo>
                      <a:pt x="103" y="304"/>
                    </a:lnTo>
                    <a:lnTo>
                      <a:pt x="104" y="304"/>
                    </a:lnTo>
                    <a:lnTo>
                      <a:pt x="105" y="304"/>
                    </a:lnTo>
                    <a:lnTo>
                      <a:pt x="106" y="304"/>
                    </a:lnTo>
                    <a:lnTo>
                      <a:pt x="106" y="306"/>
                    </a:lnTo>
                    <a:lnTo>
                      <a:pt x="107" y="305"/>
                    </a:lnTo>
                    <a:lnTo>
                      <a:pt x="107" y="299"/>
                    </a:lnTo>
                    <a:lnTo>
                      <a:pt x="107" y="293"/>
                    </a:lnTo>
                    <a:lnTo>
                      <a:pt x="106" y="291"/>
                    </a:lnTo>
                    <a:lnTo>
                      <a:pt x="107" y="289"/>
                    </a:lnTo>
                    <a:lnTo>
                      <a:pt x="107" y="287"/>
                    </a:lnTo>
                    <a:lnTo>
                      <a:pt x="106" y="287"/>
                    </a:lnTo>
                    <a:lnTo>
                      <a:pt x="105" y="286"/>
                    </a:lnTo>
                    <a:lnTo>
                      <a:pt x="106" y="284"/>
                    </a:lnTo>
                    <a:lnTo>
                      <a:pt x="107" y="283"/>
                    </a:lnTo>
                    <a:lnTo>
                      <a:pt x="107" y="280"/>
                    </a:lnTo>
                    <a:lnTo>
                      <a:pt x="106" y="280"/>
                    </a:lnTo>
                    <a:lnTo>
                      <a:pt x="107" y="278"/>
                    </a:lnTo>
                    <a:lnTo>
                      <a:pt x="110" y="277"/>
                    </a:lnTo>
                    <a:lnTo>
                      <a:pt x="106" y="277"/>
                    </a:lnTo>
                    <a:lnTo>
                      <a:pt x="104" y="276"/>
                    </a:lnTo>
                    <a:lnTo>
                      <a:pt x="100" y="272"/>
                    </a:lnTo>
                    <a:lnTo>
                      <a:pt x="98" y="269"/>
                    </a:lnTo>
                    <a:lnTo>
                      <a:pt x="93" y="268"/>
                    </a:lnTo>
                    <a:lnTo>
                      <a:pt x="92" y="267"/>
                    </a:lnTo>
                    <a:lnTo>
                      <a:pt x="89" y="268"/>
                    </a:lnTo>
                    <a:lnTo>
                      <a:pt x="87" y="267"/>
                    </a:lnTo>
                    <a:lnTo>
                      <a:pt x="87" y="266"/>
                    </a:lnTo>
                    <a:lnTo>
                      <a:pt x="89" y="267"/>
                    </a:lnTo>
                    <a:lnTo>
                      <a:pt x="90" y="262"/>
                    </a:lnTo>
                    <a:lnTo>
                      <a:pt x="90" y="260"/>
                    </a:lnTo>
                    <a:lnTo>
                      <a:pt x="90" y="259"/>
                    </a:lnTo>
                    <a:lnTo>
                      <a:pt x="90" y="256"/>
                    </a:lnTo>
                    <a:lnTo>
                      <a:pt x="87" y="256"/>
                    </a:lnTo>
                    <a:lnTo>
                      <a:pt x="85" y="255"/>
                    </a:lnTo>
                    <a:lnTo>
                      <a:pt x="83" y="254"/>
                    </a:lnTo>
                    <a:lnTo>
                      <a:pt x="79" y="254"/>
                    </a:lnTo>
                    <a:lnTo>
                      <a:pt x="77" y="255"/>
                    </a:lnTo>
                    <a:lnTo>
                      <a:pt x="77" y="252"/>
                    </a:lnTo>
                    <a:lnTo>
                      <a:pt x="76" y="248"/>
                    </a:lnTo>
                    <a:lnTo>
                      <a:pt x="74" y="247"/>
                    </a:lnTo>
                    <a:lnTo>
                      <a:pt x="73" y="248"/>
                    </a:lnTo>
                    <a:lnTo>
                      <a:pt x="73" y="247"/>
                    </a:lnTo>
                    <a:lnTo>
                      <a:pt x="71" y="244"/>
                    </a:lnTo>
                    <a:lnTo>
                      <a:pt x="70" y="244"/>
                    </a:lnTo>
                    <a:lnTo>
                      <a:pt x="70" y="238"/>
                    </a:lnTo>
                    <a:lnTo>
                      <a:pt x="68" y="237"/>
                    </a:lnTo>
                    <a:lnTo>
                      <a:pt x="67" y="235"/>
                    </a:lnTo>
                    <a:lnTo>
                      <a:pt x="66" y="235"/>
                    </a:lnTo>
                    <a:lnTo>
                      <a:pt x="65" y="234"/>
                    </a:lnTo>
                    <a:lnTo>
                      <a:pt x="63" y="236"/>
                    </a:lnTo>
                    <a:lnTo>
                      <a:pt x="62" y="236"/>
                    </a:lnTo>
                    <a:lnTo>
                      <a:pt x="61" y="235"/>
                    </a:lnTo>
                    <a:lnTo>
                      <a:pt x="60" y="236"/>
                    </a:lnTo>
                    <a:lnTo>
                      <a:pt x="61" y="237"/>
                    </a:lnTo>
                    <a:lnTo>
                      <a:pt x="53" y="237"/>
                    </a:lnTo>
                    <a:lnTo>
                      <a:pt x="52" y="236"/>
                    </a:lnTo>
                    <a:lnTo>
                      <a:pt x="43" y="234"/>
                    </a:lnTo>
                    <a:lnTo>
                      <a:pt x="43" y="233"/>
                    </a:lnTo>
                    <a:lnTo>
                      <a:pt x="42" y="232"/>
                    </a:lnTo>
                    <a:lnTo>
                      <a:pt x="42" y="231"/>
                    </a:lnTo>
                    <a:lnTo>
                      <a:pt x="40" y="229"/>
                    </a:lnTo>
                    <a:lnTo>
                      <a:pt x="41" y="228"/>
                    </a:lnTo>
                    <a:lnTo>
                      <a:pt x="40" y="227"/>
                    </a:lnTo>
                    <a:lnTo>
                      <a:pt x="38" y="226"/>
                    </a:lnTo>
                    <a:lnTo>
                      <a:pt x="37" y="224"/>
                    </a:lnTo>
                    <a:lnTo>
                      <a:pt x="36" y="224"/>
                    </a:lnTo>
                    <a:lnTo>
                      <a:pt x="35" y="223"/>
                    </a:lnTo>
                    <a:lnTo>
                      <a:pt x="32" y="223"/>
                    </a:lnTo>
                    <a:lnTo>
                      <a:pt x="31" y="220"/>
                    </a:lnTo>
                    <a:lnTo>
                      <a:pt x="29" y="220"/>
                    </a:lnTo>
                    <a:lnTo>
                      <a:pt x="27" y="219"/>
                    </a:lnTo>
                    <a:lnTo>
                      <a:pt x="28" y="215"/>
                    </a:lnTo>
                    <a:lnTo>
                      <a:pt x="29" y="216"/>
                    </a:lnTo>
                    <a:lnTo>
                      <a:pt x="30" y="215"/>
                    </a:lnTo>
                    <a:lnTo>
                      <a:pt x="34" y="215"/>
                    </a:lnTo>
                    <a:lnTo>
                      <a:pt x="37" y="217"/>
                    </a:lnTo>
                    <a:lnTo>
                      <a:pt x="37" y="216"/>
                    </a:lnTo>
                    <a:lnTo>
                      <a:pt x="35" y="215"/>
                    </a:lnTo>
                    <a:lnTo>
                      <a:pt x="34" y="215"/>
                    </a:lnTo>
                    <a:lnTo>
                      <a:pt x="33" y="210"/>
                    </a:lnTo>
                    <a:lnTo>
                      <a:pt x="32" y="210"/>
                    </a:lnTo>
                    <a:lnTo>
                      <a:pt x="27" y="210"/>
                    </a:lnTo>
                    <a:lnTo>
                      <a:pt x="25" y="212"/>
                    </a:lnTo>
                    <a:lnTo>
                      <a:pt x="23" y="212"/>
                    </a:lnTo>
                    <a:lnTo>
                      <a:pt x="22" y="211"/>
                    </a:lnTo>
                    <a:lnTo>
                      <a:pt x="22" y="210"/>
                    </a:lnTo>
                    <a:lnTo>
                      <a:pt x="22" y="209"/>
                    </a:lnTo>
                    <a:lnTo>
                      <a:pt x="21" y="209"/>
                    </a:lnTo>
                    <a:lnTo>
                      <a:pt x="20" y="207"/>
                    </a:lnTo>
                    <a:lnTo>
                      <a:pt x="19" y="209"/>
                    </a:lnTo>
                    <a:lnTo>
                      <a:pt x="13" y="207"/>
                    </a:lnTo>
                    <a:lnTo>
                      <a:pt x="12" y="210"/>
                    </a:lnTo>
                    <a:lnTo>
                      <a:pt x="11" y="210"/>
                    </a:lnTo>
                    <a:lnTo>
                      <a:pt x="9" y="212"/>
                    </a:lnTo>
                    <a:lnTo>
                      <a:pt x="7" y="212"/>
                    </a:lnTo>
                    <a:lnTo>
                      <a:pt x="7" y="209"/>
                    </a:lnTo>
                    <a:lnTo>
                      <a:pt x="3" y="209"/>
                    </a:lnTo>
                    <a:lnTo>
                      <a:pt x="1" y="209"/>
                    </a:lnTo>
                    <a:lnTo>
                      <a:pt x="0" y="209"/>
                    </a:lnTo>
                    <a:lnTo>
                      <a:pt x="0" y="207"/>
                    </a:lnTo>
                    <a:lnTo>
                      <a:pt x="2" y="205"/>
                    </a:lnTo>
                    <a:lnTo>
                      <a:pt x="2" y="203"/>
                    </a:lnTo>
                    <a:lnTo>
                      <a:pt x="4" y="202"/>
                    </a:lnTo>
                    <a:lnTo>
                      <a:pt x="5" y="202"/>
                    </a:lnTo>
                    <a:lnTo>
                      <a:pt x="4" y="200"/>
                    </a:lnTo>
                    <a:lnTo>
                      <a:pt x="6" y="198"/>
                    </a:lnTo>
                    <a:lnTo>
                      <a:pt x="6" y="196"/>
                    </a:lnTo>
                    <a:lnTo>
                      <a:pt x="8" y="197"/>
                    </a:lnTo>
                    <a:lnTo>
                      <a:pt x="11" y="197"/>
                    </a:lnTo>
                    <a:lnTo>
                      <a:pt x="11" y="193"/>
                    </a:lnTo>
                    <a:lnTo>
                      <a:pt x="11" y="190"/>
                    </a:lnTo>
                    <a:lnTo>
                      <a:pt x="9" y="189"/>
                    </a:lnTo>
                    <a:lnTo>
                      <a:pt x="8" y="186"/>
                    </a:lnTo>
                    <a:lnTo>
                      <a:pt x="6" y="188"/>
                    </a:lnTo>
                    <a:lnTo>
                      <a:pt x="6" y="186"/>
                    </a:lnTo>
                    <a:lnTo>
                      <a:pt x="6" y="183"/>
                    </a:lnTo>
                    <a:lnTo>
                      <a:pt x="7" y="180"/>
                    </a:lnTo>
                    <a:lnTo>
                      <a:pt x="6" y="179"/>
                    </a:lnTo>
                    <a:lnTo>
                      <a:pt x="8" y="178"/>
                    </a:lnTo>
                    <a:lnTo>
                      <a:pt x="9" y="179"/>
                    </a:lnTo>
                    <a:lnTo>
                      <a:pt x="11" y="177"/>
                    </a:lnTo>
                    <a:lnTo>
                      <a:pt x="12" y="177"/>
                    </a:lnTo>
                    <a:lnTo>
                      <a:pt x="12" y="175"/>
                    </a:lnTo>
                    <a:lnTo>
                      <a:pt x="16" y="175"/>
                    </a:lnTo>
                    <a:lnTo>
                      <a:pt x="16" y="176"/>
                    </a:lnTo>
                    <a:lnTo>
                      <a:pt x="20" y="178"/>
                    </a:lnTo>
                    <a:lnTo>
                      <a:pt x="22" y="178"/>
                    </a:lnTo>
                    <a:lnTo>
                      <a:pt x="22" y="176"/>
                    </a:lnTo>
                    <a:lnTo>
                      <a:pt x="22" y="175"/>
                    </a:lnTo>
                    <a:lnTo>
                      <a:pt x="22" y="174"/>
                    </a:lnTo>
                    <a:lnTo>
                      <a:pt x="23" y="175"/>
                    </a:lnTo>
                    <a:lnTo>
                      <a:pt x="25" y="175"/>
                    </a:lnTo>
                    <a:lnTo>
                      <a:pt x="25" y="171"/>
                    </a:lnTo>
                    <a:lnTo>
                      <a:pt x="25" y="170"/>
                    </a:lnTo>
                    <a:lnTo>
                      <a:pt x="25" y="166"/>
                    </a:lnTo>
                    <a:lnTo>
                      <a:pt x="25" y="167"/>
                    </a:lnTo>
                    <a:lnTo>
                      <a:pt x="26" y="167"/>
                    </a:lnTo>
                    <a:lnTo>
                      <a:pt x="27" y="169"/>
                    </a:lnTo>
                    <a:lnTo>
                      <a:pt x="28" y="169"/>
                    </a:lnTo>
                    <a:lnTo>
                      <a:pt x="30" y="170"/>
                    </a:lnTo>
                    <a:lnTo>
                      <a:pt x="31" y="168"/>
                    </a:lnTo>
                    <a:lnTo>
                      <a:pt x="31" y="165"/>
                    </a:lnTo>
                    <a:lnTo>
                      <a:pt x="31" y="163"/>
                    </a:lnTo>
                    <a:lnTo>
                      <a:pt x="29" y="162"/>
                    </a:lnTo>
                    <a:lnTo>
                      <a:pt x="33" y="162"/>
                    </a:lnTo>
                    <a:lnTo>
                      <a:pt x="33" y="159"/>
                    </a:lnTo>
                    <a:lnTo>
                      <a:pt x="32" y="155"/>
                    </a:lnTo>
                    <a:lnTo>
                      <a:pt x="33" y="154"/>
                    </a:lnTo>
                    <a:lnTo>
                      <a:pt x="33" y="150"/>
                    </a:lnTo>
                    <a:lnTo>
                      <a:pt x="34" y="152"/>
                    </a:lnTo>
                    <a:lnTo>
                      <a:pt x="37" y="152"/>
                    </a:lnTo>
                    <a:lnTo>
                      <a:pt x="38" y="151"/>
                    </a:lnTo>
                    <a:lnTo>
                      <a:pt x="38" y="150"/>
                    </a:lnTo>
                    <a:lnTo>
                      <a:pt x="40" y="150"/>
                    </a:lnTo>
                    <a:lnTo>
                      <a:pt x="40" y="149"/>
                    </a:lnTo>
                    <a:lnTo>
                      <a:pt x="41" y="149"/>
                    </a:lnTo>
                    <a:lnTo>
                      <a:pt x="41" y="148"/>
                    </a:lnTo>
                    <a:lnTo>
                      <a:pt x="41" y="146"/>
                    </a:lnTo>
                    <a:lnTo>
                      <a:pt x="43" y="146"/>
                    </a:lnTo>
                    <a:lnTo>
                      <a:pt x="43" y="145"/>
                    </a:lnTo>
                    <a:lnTo>
                      <a:pt x="46" y="145"/>
                    </a:lnTo>
                    <a:lnTo>
                      <a:pt x="47" y="142"/>
                    </a:lnTo>
                    <a:lnTo>
                      <a:pt x="50" y="142"/>
                    </a:lnTo>
                    <a:lnTo>
                      <a:pt x="52" y="142"/>
                    </a:lnTo>
                    <a:lnTo>
                      <a:pt x="52" y="141"/>
                    </a:lnTo>
                    <a:lnTo>
                      <a:pt x="53" y="141"/>
                    </a:lnTo>
                    <a:lnTo>
                      <a:pt x="55" y="145"/>
                    </a:lnTo>
                    <a:lnTo>
                      <a:pt x="57" y="146"/>
                    </a:lnTo>
                    <a:lnTo>
                      <a:pt x="58" y="145"/>
                    </a:lnTo>
                    <a:lnTo>
                      <a:pt x="61" y="145"/>
                    </a:lnTo>
                    <a:lnTo>
                      <a:pt x="64" y="142"/>
                    </a:lnTo>
                    <a:lnTo>
                      <a:pt x="66" y="144"/>
                    </a:lnTo>
                    <a:lnTo>
                      <a:pt x="66" y="142"/>
                    </a:lnTo>
                    <a:lnTo>
                      <a:pt x="71" y="140"/>
                    </a:lnTo>
                    <a:lnTo>
                      <a:pt x="70" y="137"/>
                    </a:lnTo>
                    <a:lnTo>
                      <a:pt x="73" y="138"/>
                    </a:lnTo>
                    <a:lnTo>
                      <a:pt x="74" y="137"/>
                    </a:lnTo>
                    <a:lnTo>
                      <a:pt x="76" y="134"/>
                    </a:lnTo>
                    <a:lnTo>
                      <a:pt x="76" y="133"/>
                    </a:lnTo>
                    <a:lnTo>
                      <a:pt x="78" y="133"/>
                    </a:lnTo>
                    <a:lnTo>
                      <a:pt x="80" y="132"/>
                    </a:lnTo>
                    <a:lnTo>
                      <a:pt x="85" y="126"/>
                    </a:lnTo>
                    <a:lnTo>
                      <a:pt x="86" y="127"/>
                    </a:lnTo>
                    <a:lnTo>
                      <a:pt x="85" y="128"/>
                    </a:lnTo>
                    <a:lnTo>
                      <a:pt x="85" y="133"/>
                    </a:lnTo>
                    <a:lnTo>
                      <a:pt x="89" y="132"/>
                    </a:lnTo>
                    <a:lnTo>
                      <a:pt x="90" y="133"/>
                    </a:lnTo>
                    <a:lnTo>
                      <a:pt x="92" y="135"/>
                    </a:lnTo>
                    <a:lnTo>
                      <a:pt x="93" y="135"/>
                    </a:lnTo>
                    <a:lnTo>
                      <a:pt x="97" y="133"/>
                    </a:lnTo>
                    <a:lnTo>
                      <a:pt x="104" y="135"/>
                    </a:lnTo>
                    <a:lnTo>
                      <a:pt x="106" y="136"/>
                    </a:lnTo>
                    <a:lnTo>
                      <a:pt x="107" y="133"/>
                    </a:lnTo>
                    <a:lnTo>
                      <a:pt x="108" y="131"/>
                    </a:lnTo>
                    <a:lnTo>
                      <a:pt x="109" y="132"/>
                    </a:lnTo>
                    <a:lnTo>
                      <a:pt x="110" y="129"/>
                    </a:lnTo>
                    <a:lnTo>
                      <a:pt x="111" y="130"/>
                    </a:lnTo>
                    <a:lnTo>
                      <a:pt x="110" y="133"/>
                    </a:lnTo>
                    <a:lnTo>
                      <a:pt x="112" y="133"/>
                    </a:lnTo>
                    <a:lnTo>
                      <a:pt x="113" y="131"/>
                    </a:lnTo>
                    <a:lnTo>
                      <a:pt x="114" y="131"/>
                    </a:lnTo>
                    <a:lnTo>
                      <a:pt x="118" y="127"/>
                    </a:lnTo>
                    <a:lnTo>
                      <a:pt x="120" y="124"/>
                    </a:lnTo>
                    <a:lnTo>
                      <a:pt x="122" y="122"/>
                    </a:lnTo>
                    <a:lnTo>
                      <a:pt x="123" y="122"/>
                    </a:lnTo>
                    <a:lnTo>
                      <a:pt x="125" y="120"/>
                    </a:lnTo>
                    <a:lnTo>
                      <a:pt x="126" y="120"/>
                    </a:lnTo>
                    <a:lnTo>
                      <a:pt x="128" y="123"/>
                    </a:lnTo>
                    <a:lnTo>
                      <a:pt x="128" y="122"/>
                    </a:lnTo>
                    <a:lnTo>
                      <a:pt x="129" y="122"/>
                    </a:lnTo>
                    <a:lnTo>
                      <a:pt x="131" y="128"/>
                    </a:lnTo>
                    <a:lnTo>
                      <a:pt x="130" y="131"/>
                    </a:lnTo>
                    <a:lnTo>
                      <a:pt x="131" y="132"/>
                    </a:lnTo>
                    <a:lnTo>
                      <a:pt x="138" y="132"/>
                    </a:lnTo>
                    <a:lnTo>
                      <a:pt x="138" y="128"/>
                    </a:lnTo>
                    <a:lnTo>
                      <a:pt x="139" y="127"/>
                    </a:lnTo>
                    <a:lnTo>
                      <a:pt x="139" y="124"/>
                    </a:lnTo>
                    <a:lnTo>
                      <a:pt x="141" y="122"/>
                    </a:lnTo>
                    <a:lnTo>
                      <a:pt x="143" y="120"/>
                    </a:lnTo>
                    <a:lnTo>
                      <a:pt x="146" y="120"/>
                    </a:lnTo>
                    <a:lnTo>
                      <a:pt x="152" y="119"/>
                    </a:lnTo>
                    <a:lnTo>
                      <a:pt x="153" y="119"/>
                    </a:lnTo>
                    <a:lnTo>
                      <a:pt x="152" y="120"/>
                    </a:lnTo>
                    <a:lnTo>
                      <a:pt x="156" y="119"/>
                    </a:lnTo>
                    <a:lnTo>
                      <a:pt x="157" y="118"/>
                    </a:lnTo>
                    <a:lnTo>
                      <a:pt x="158" y="118"/>
                    </a:lnTo>
                    <a:lnTo>
                      <a:pt x="161" y="117"/>
                    </a:lnTo>
                    <a:lnTo>
                      <a:pt x="161" y="115"/>
                    </a:lnTo>
                    <a:lnTo>
                      <a:pt x="162" y="115"/>
                    </a:lnTo>
                    <a:lnTo>
                      <a:pt x="162" y="114"/>
                    </a:lnTo>
                    <a:lnTo>
                      <a:pt x="164" y="115"/>
                    </a:lnTo>
                    <a:lnTo>
                      <a:pt x="165" y="113"/>
                    </a:lnTo>
                    <a:lnTo>
                      <a:pt x="166" y="112"/>
                    </a:lnTo>
                    <a:lnTo>
                      <a:pt x="166" y="108"/>
                    </a:lnTo>
                    <a:lnTo>
                      <a:pt x="166" y="107"/>
                    </a:lnTo>
                    <a:lnTo>
                      <a:pt x="164" y="107"/>
                    </a:lnTo>
                    <a:lnTo>
                      <a:pt x="165" y="107"/>
                    </a:lnTo>
                    <a:lnTo>
                      <a:pt x="165" y="106"/>
                    </a:lnTo>
                    <a:lnTo>
                      <a:pt x="167" y="107"/>
                    </a:lnTo>
                    <a:lnTo>
                      <a:pt x="170" y="107"/>
                    </a:lnTo>
                    <a:lnTo>
                      <a:pt x="170" y="109"/>
                    </a:lnTo>
                    <a:lnTo>
                      <a:pt x="175" y="109"/>
                    </a:lnTo>
                    <a:lnTo>
                      <a:pt x="176" y="109"/>
                    </a:lnTo>
                    <a:lnTo>
                      <a:pt x="175" y="107"/>
                    </a:lnTo>
                    <a:lnTo>
                      <a:pt x="176" y="107"/>
                    </a:lnTo>
                    <a:lnTo>
                      <a:pt x="175" y="106"/>
                    </a:lnTo>
                    <a:lnTo>
                      <a:pt x="177" y="103"/>
                    </a:lnTo>
                    <a:lnTo>
                      <a:pt x="175" y="101"/>
                    </a:lnTo>
                    <a:lnTo>
                      <a:pt x="174" y="101"/>
                    </a:lnTo>
                    <a:lnTo>
                      <a:pt x="174" y="95"/>
                    </a:lnTo>
                    <a:lnTo>
                      <a:pt x="177" y="94"/>
                    </a:lnTo>
                    <a:lnTo>
                      <a:pt x="178" y="94"/>
                    </a:lnTo>
                    <a:lnTo>
                      <a:pt x="180" y="92"/>
                    </a:lnTo>
                    <a:lnTo>
                      <a:pt x="181" y="92"/>
                    </a:lnTo>
                    <a:lnTo>
                      <a:pt x="182" y="90"/>
                    </a:lnTo>
                    <a:lnTo>
                      <a:pt x="185" y="90"/>
                    </a:lnTo>
                    <a:lnTo>
                      <a:pt x="187" y="93"/>
                    </a:lnTo>
                    <a:lnTo>
                      <a:pt x="188" y="94"/>
                    </a:lnTo>
                    <a:lnTo>
                      <a:pt x="188" y="92"/>
                    </a:lnTo>
                    <a:lnTo>
                      <a:pt x="190" y="92"/>
                    </a:lnTo>
                    <a:lnTo>
                      <a:pt x="190" y="91"/>
                    </a:lnTo>
                    <a:lnTo>
                      <a:pt x="194" y="94"/>
                    </a:lnTo>
                    <a:lnTo>
                      <a:pt x="198" y="95"/>
                    </a:lnTo>
                    <a:lnTo>
                      <a:pt x="198" y="97"/>
                    </a:lnTo>
                    <a:lnTo>
                      <a:pt x="199" y="97"/>
                    </a:lnTo>
                    <a:lnTo>
                      <a:pt x="199" y="98"/>
                    </a:lnTo>
                    <a:lnTo>
                      <a:pt x="200" y="98"/>
                    </a:lnTo>
                    <a:lnTo>
                      <a:pt x="205" y="99"/>
                    </a:lnTo>
                    <a:lnTo>
                      <a:pt x="211" y="99"/>
                    </a:lnTo>
                    <a:lnTo>
                      <a:pt x="211" y="101"/>
                    </a:lnTo>
                    <a:lnTo>
                      <a:pt x="213" y="101"/>
                    </a:lnTo>
                    <a:lnTo>
                      <a:pt x="217" y="102"/>
                    </a:lnTo>
                    <a:lnTo>
                      <a:pt x="218" y="103"/>
                    </a:lnTo>
                    <a:lnTo>
                      <a:pt x="218" y="102"/>
                    </a:lnTo>
                    <a:lnTo>
                      <a:pt x="224" y="102"/>
                    </a:lnTo>
                    <a:lnTo>
                      <a:pt x="225" y="101"/>
                    </a:lnTo>
                    <a:lnTo>
                      <a:pt x="228" y="103"/>
                    </a:lnTo>
                    <a:lnTo>
                      <a:pt x="229" y="100"/>
                    </a:lnTo>
                    <a:lnTo>
                      <a:pt x="229" y="98"/>
                    </a:lnTo>
                    <a:lnTo>
                      <a:pt x="232" y="100"/>
                    </a:lnTo>
                    <a:lnTo>
                      <a:pt x="232" y="101"/>
                    </a:lnTo>
                    <a:lnTo>
                      <a:pt x="233" y="103"/>
                    </a:lnTo>
                    <a:lnTo>
                      <a:pt x="234" y="102"/>
                    </a:lnTo>
                    <a:lnTo>
                      <a:pt x="236" y="104"/>
                    </a:lnTo>
                    <a:lnTo>
                      <a:pt x="236" y="103"/>
                    </a:lnTo>
                    <a:lnTo>
                      <a:pt x="237" y="103"/>
                    </a:lnTo>
                    <a:lnTo>
                      <a:pt x="238" y="101"/>
                    </a:lnTo>
                    <a:lnTo>
                      <a:pt x="243" y="106"/>
                    </a:lnTo>
                    <a:lnTo>
                      <a:pt x="245" y="107"/>
                    </a:lnTo>
                    <a:lnTo>
                      <a:pt x="245" y="108"/>
                    </a:lnTo>
                    <a:lnTo>
                      <a:pt x="246" y="109"/>
                    </a:lnTo>
                    <a:lnTo>
                      <a:pt x="248" y="105"/>
                    </a:lnTo>
                    <a:lnTo>
                      <a:pt x="250" y="103"/>
                    </a:lnTo>
                    <a:lnTo>
                      <a:pt x="250" y="102"/>
                    </a:lnTo>
                    <a:lnTo>
                      <a:pt x="252" y="99"/>
                    </a:lnTo>
                    <a:lnTo>
                      <a:pt x="253" y="99"/>
                    </a:lnTo>
                    <a:lnTo>
                      <a:pt x="255" y="98"/>
                    </a:lnTo>
                    <a:lnTo>
                      <a:pt x="257" y="100"/>
                    </a:lnTo>
                    <a:lnTo>
                      <a:pt x="259" y="101"/>
                    </a:lnTo>
                    <a:lnTo>
                      <a:pt x="260" y="100"/>
                    </a:lnTo>
                    <a:lnTo>
                      <a:pt x="260" y="99"/>
                    </a:lnTo>
                    <a:lnTo>
                      <a:pt x="261" y="101"/>
                    </a:lnTo>
                    <a:lnTo>
                      <a:pt x="263" y="101"/>
                    </a:lnTo>
                    <a:lnTo>
                      <a:pt x="263" y="99"/>
                    </a:lnTo>
                    <a:lnTo>
                      <a:pt x="267" y="100"/>
                    </a:lnTo>
                    <a:lnTo>
                      <a:pt x="267" y="98"/>
                    </a:lnTo>
                    <a:lnTo>
                      <a:pt x="268" y="99"/>
                    </a:lnTo>
                    <a:lnTo>
                      <a:pt x="269" y="98"/>
                    </a:lnTo>
                    <a:lnTo>
                      <a:pt x="272" y="99"/>
                    </a:lnTo>
                    <a:lnTo>
                      <a:pt x="273" y="100"/>
                    </a:lnTo>
                    <a:lnTo>
                      <a:pt x="273" y="101"/>
                    </a:lnTo>
                    <a:lnTo>
                      <a:pt x="274" y="101"/>
                    </a:lnTo>
                    <a:lnTo>
                      <a:pt x="274" y="103"/>
                    </a:lnTo>
                    <a:lnTo>
                      <a:pt x="275" y="102"/>
                    </a:lnTo>
                    <a:lnTo>
                      <a:pt x="276" y="103"/>
                    </a:lnTo>
                    <a:lnTo>
                      <a:pt x="275" y="101"/>
                    </a:lnTo>
                    <a:lnTo>
                      <a:pt x="276" y="101"/>
                    </a:lnTo>
                    <a:lnTo>
                      <a:pt x="276" y="102"/>
                    </a:lnTo>
                    <a:lnTo>
                      <a:pt x="276" y="103"/>
                    </a:lnTo>
                    <a:lnTo>
                      <a:pt x="278" y="102"/>
                    </a:lnTo>
                    <a:lnTo>
                      <a:pt x="281" y="98"/>
                    </a:lnTo>
                    <a:lnTo>
                      <a:pt x="280" y="98"/>
                    </a:lnTo>
                    <a:lnTo>
                      <a:pt x="281" y="96"/>
                    </a:lnTo>
                    <a:lnTo>
                      <a:pt x="280" y="96"/>
                    </a:lnTo>
                    <a:lnTo>
                      <a:pt x="281" y="95"/>
                    </a:lnTo>
                    <a:lnTo>
                      <a:pt x="280" y="95"/>
                    </a:lnTo>
                    <a:lnTo>
                      <a:pt x="280" y="94"/>
                    </a:lnTo>
                    <a:lnTo>
                      <a:pt x="280" y="90"/>
                    </a:lnTo>
                    <a:lnTo>
                      <a:pt x="283" y="92"/>
                    </a:lnTo>
                    <a:lnTo>
                      <a:pt x="283" y="86"/>
                    </a:lnTo>
                    <a:lnTo>
                      <a:pt x="283" y="84"/>
                    </a:lnTo>
                    <a:lnTo>
                      <a:pt x="284" y="84"/>
                    </a:lnTo>
                    <a:lnTo>
                      <a:pt x="284" y="82"/>
                    </a:lnTo>
                    <a:lnTo>
                      <a:pt x="283" y="81"/>
                    </a:lnTo>
                    <a:lnTo>
                      <a:pt x="282" y="81"/>
                    </a:lnTo>
                    <a:lnTo>
                      <a:pt x="282" y="78"/>
                    </a:lnTo>
                    <a:lnTo>
                      <a:pt x="281" y="77"/>
                    </a:lnTo>
                    <a:lnTo>
                      <a:pt x="281" y="76"/>
                    </a:lnTo>
                    <a:lnTo>
                      <a:pt x="283" y="75"/>
                    </a:lnTo>
                    <a:lnTo>
                      <a:pt x="283" y="76"/>
                    </a:lnTo>
                    <a:lnTo>
                      <a:pt x="284" y="75"/>
                    </a:lnTo>
                    <a:lnTo>
                      <a:pt x="283" y="74"/>
                    </a:lnTo>
                    <a:lnTo>
                      <a:pt x="283" y="73"/>
                    </a:lnTo>
                    <a:lnTo>
                      <a:pt x="282" y="71"/>
                    </a:lnTo>
                    <a:lnTo>
                      <a:pt x="283" y="70"/>
                    </a:lnTo>
                    <a:lnTo>
                      <a:pt x="283" y="71"/>
                    </a:lnTo>
                    <a:lnTo>
                      <a:pt x="283" y="69"/>
                    </a:lnTo>
                    <a:lnTo>
                      <a:pt x="283" y="68"/>
                    </a:lnTo>
                    <a:lnTo>
                      <a:pt x="281" y="67"/>
                    </a:lnTo>
                    <a:lnTo>
                      <a:pt x="281" y="66"/>
                    </a:lnTo>
                    <a:lnTo>
                      <a:pt x="283" y="65"/>
                    </a:lnTo>
                    <a:lnTo>
                      <a:pt x="284" y="65"/>
                    </a:lnTo>
                    <a:lnTo>
                      <a:pt x="284" y="64"/>
                    </a:lnTo>
                    <a:lnTo>
                      <a:pt x="286" y="64"/>
                    </a:lnTo>
                    <a:lnTo>
                      <a:pt x="290" y="69"/>
                    </a:lnTo>
                    <a:lnTo>
                      <a:pt x="296" y="72"/>
                    </a:lnTo>
                    <a:lnTo>
                      <a:pt x="296" y="71"/>
                    </a:lnTo>
                    <a:lnTo>
                      <a:pt x="297" y="71"/>
                    </a:lnTo>
                    <a:lnTo>
                      <a:pt x="296" y="70"/>
                    </a:lnTo>
                    <a:lnTo>
                      <a:pt x="297" y="69"/>
                    </a:lnTo>
                    <a:lnTo>
                      <a:pt x="297" y="68"/>
                    </a:lnTo>
                    <a:lnTo>
                      <a:pt x="295" y="68"/>
                    </a:lnTo>
                    <a:lnTo>
                      <a:pt x="294" y="67"/>
                    </a:lnTo>
                    <a:lnTo>
                      <a:pt x="296" y="65"/>
                    </a:lnTo>
                    <a:lnTo>
                      <a:pt x="297" y="67"/>
                    </a:lnTo>
                    <a:lnTo>
                      <a:pt x="298" y="65"/>
                    </a:lnTo>
                    <a:lnTo>
                      <a:pt x="297" y="65"/>
                    </a:lnTo>
                    <a:lnTo>
                      <a:pt x="299" y="64"/>
                    </a:lnTo>
                    <a:lnTo>
                      <a:pt x="299" y="58"/>
                    </a:lnTo>
                    <a:lnTo>
                      <a:pt x="303" y="61"/>
                    </a:lnTo>
                    <a:lnTo>
                      <a:pt x="306" y="61"/>
                    </a:lnTo>
                    <a:lnTo>
                      <a:pt x="306" y="58"/>
                    </a:lnTo>
                    <a:lnTo>
                      <a:pt x="309" y="61"/>
                    </a:lnTo>
                    <a:lnTo>
                      <a:pt x="312" y="61"/>
                    </a:lnTo>
                    <a:lnTo>
                      <a:pt x="312" y="57"/>
                    </a:lnTo>
                    <a:lnTo>
                      <a:pt x="313" y="56"/>
                    </a:lnTo>
                    <a:lnTo>
                      <a:pt x="313" y="54"/>
                    </a:lnTo>
                    <a:lnTo>
                      <a:pt x="313" y="52"/>
                    </a:lnTo>
                    <a:lnTo>
                      <a:pt x="312" y="52"/>
                    </a:lnTo>
                    <a:lnTo>
                      <a:pt x="313" y="52"/>
                    </a:lnTo>
                    <a:lnTo>
                      <a:pt x="313" y="48"/>
                    </a:lnTo>
                    <a:lnTo>
                      <a:pt x="310" y="39"/>
                    </a:lnTo>
                    <a:lnTo>
                      <a:pt x="315" y="38"/>
                    </a:lnTo>
                    <a:lnTo>
                      <a:pt x="315" y="34"/>
                    </a:lnTo>
                    <a:lnTo>
                      <a:pt x="319" y="36"/>
                    </a:lnTo>
                    <a:lnTo>
                      <a:pt x="320" y="36"/>
                    </a:lnTo>
                    <a:lnTo>
                      <a:pt x="319" y="39"/>
                    </a:lnTo>
                    <a:lnTo>
                      <a:pt x="321" y="39"/>
                    </a:lnTo>
                    <a:lnTo>
                      <a:pt x="321" y="40"/>
                    </a:lnTo>
                    <a:lnTo>
                      <a:pt x="322" y="42"/>
                    </a:lnTo>
                    <a:lnTo>
                      <a:pt x="323" y="39"/>
                    </a:lnTo>
                    <a:lnTo>
                      <a:pt x="325" y="35"/>
                    </a:lnTo>
                    <a:lnTo>
                      <a:pt x="330" y="35"/>
                    </a:lnTo>
                    <a:lnTo>
                      <a:pt x="329" y="35"/>
                    </a:lnTo>
                    <a:lnTo>
                      <a:pt x="330" y="37"/>
                    </a:lnTo>
                    <a:lnTo>
                      <a:pt x="330" y="41"/>
                    </a:lnTo>
                    <a:lnTo>
                      <a:pt x="331" y="41"/>
                    </a:lnTo>
                    <a:lnTo>
                      <a:pt x="334" y="43"/>
                    </a:lnTo>
                    <a:lnTo>
                      <a:pt x="336" y="43"/>
                    </a:lnTo>
                    <a:lnTo>
                      <a:pt x="337" y="41"/>
                    </a:lnTo>
                    <a:lnTo>
                      <a:pt x="335" y="39"/>
                    </a:lnTo>
                    <a:lnTo>
                      <a:pt x="335" y="38"/>
                    </a:lnTo>
                    <a:lnTo>
                      <a:pt x="339" y="39"/>
                    </a:lnTo>
                    <a:lnTo>
                      <a:pt x="340" y="38"/>
                    </a:lnTo>
                    <a:lnTo>
                      <a:pt x="341" y="36"/>
                    </a:lnTo>
                    <a:lnTo>
                      <a:pt x="343" y="37"/>
                    </a:lnTo>
                    <a:lnTo>
                      <a:pt x="344" y="37"/>
                    </a:lnTo>
                    <a:lnTo>
                      <a:pt x="343" y="38"/>
                    </a:lnTo>
                    <a:lnTo>
                      <a:pt x="343" y="40"/>
                    </a:lnTo>
                    <a:lnTo>
                      <a:pt x="343" y="41"/>
                    </a:lnTo>
                    <a:lnTo>
                      <a:pt x="345" y="43"/>
                    </a:lnTo>
                    <a:lnTo>
                      <a:pt x="344" y="43"/>
                    </a:lnTo>
                    <a:lnTo>
                      <a:pt x="343" y="44"/>
                    </a:lnTo>
                    <a:lnTo>
                      <a:pt x="342" y="46"/>
                    </a:lnTo>
                    <a:lnTo>
                      <a:pt x="343" y="47"/>
                    </a:lnTo>
                    <a:lnTo>
                      <a:pt x="343" y="51"/>
                    </a:lnTo>
                    <a:lnTo>
                      <a:pt x="345" y="54"/>
                    </a:lnTo>
                    <a:lnTo>
                      <a:pt x="346" y="52"/>
                    </a:lnTo>
                    <a:lnTo>
                      <a:pt x="346" y="53"/>
                    </a:lnTo>
                    <a:lnTo>
                      <a:pt x="347" y="52"/>
                    </a:lnTo>
                    <a:lnTo>
                      <a:pt x="347" y="53"/>
                    </a:lnTo>
                    <a:lnTo>
                      <a:pt x="348" y="53"/>
                    </a:lnTo>
                    <a:lnTo>
                      <a:pt x="348" y="54"/>
                    </a:lnTo>
                    <a:lnTo>
                      <a:pt x="349" y="55"/>
                    </a:lnTo>
                    <a:lnTo>
                      <a:pt x="350" y="56"/>
                    </a:lnTo>
                    <a:lnTo>
                      <a:pt x="351" y="55"/>
                    </a:lnTo>
                    <a:lnTo>
                      <a:pt x="351" y="53"/>
                    </a:lnTo>
                    <a:lnTo>
                      <a:pt x="353" y="51"/>
                    </a:lnTo>
                    <a:lnTo>
                      <a:pt x="353" y="52"/>
                    </a:lnTo>
                    <a:lnTo>
                      <a:pt x="355" y="53"/>
                    </a:lnTo>
                    <a:lnTo>
                      <a:pt x="356" y="53"/>
                    </a:lnTo>
                    <a:lnTo>
                      <a:pt x="356" y="51"/>
                    </a:lnTo>
                    <a:lnTo>
                      <a:pt x="358" y="51"/>
                    </a:lnTo>
                    <a:lnTo>
                      <a:pt x="359" y="53"/>
                    </a:lnTo>
                    <a:lnTo>
                      <a:pt x="361" y="54"/>
                    </a:lnTo>
                    <a:lnTo>
                      <a:pt x="361" y="52"/>
                    </a:lnTo>
                    <a:lnTo>
                      <a:pt x="361" y="51"/>
                    </a:lnTo>
                    <a:lnTo>
                      <a:pt x="365" y="52"/>
                    </a:lnTo>
                    <a:lnTo>
                      <a:pt x="368" y="52"/>
                    </a:lnTo>
                    <a:lnTo>
                      <a:pt x="372" y="55"/>
                    </a:lnTo>
                    <a:lnTo>
                      <a:pt x="372" y="54"/>
                    </a:lnTo>
                    <a:lnTo>
                      <a:pt x="372" y="50"/>
                    </a:lnTo>
                    <a:lnTo>
                      <a:pt x="374" y="49"/>
                    </a:lnTo>
                    <a:lnTo>
                      <a:pt x="374" y="48"/>
                    </a:lnTo>
                    <a:lnTo>
                      <a:pt x="378" y="49"/>
                    </a:lnTo>
                    <a:lnTo>
                      <a:pt x="379" y="48"/>
                    </a:lnTo>
                    <a:lnTo>
                      <a:pt x="381" y="48"/>
                    </a:lnTo>
                    <a:lnTo>
                      <a:pt x="383" y="40"/>
                    </a:lnTo>
                    <a:lnTo>
                      <a:pt x="383" y="39"/>
                    </a:lnTo>
                    <a:lnTo>
                      <a:pt x="390" y="41"/>
                    </a:lnTo>
                    <a:lnTo>
                      <a:pt x="391" y="40"/>
                    </a:lnTo>
                    <a:lnTo>
                      <a:pt x="392" y="36"/>
                    </a:lnTo>
                    <a:lnTo>
                      <a:pt x="391" y="27"/>
                    </a:lnTo>
                    <a:lnTo>
                      <a:pt x="392" y="22"/>
                    </a:lnTo>
                    <a:lnTo>
                      <a:pt x="405" y="27"/>
                    </a:lnTo>
                    <a:lnTo>
                      <a:pt x="411" y="34"/>
                    </a:lnTo>
                    <a:lnTo>
                      <a:pt x="418" y="28"/>
                    </a:lnTo>
                    <a:lnTo>
                      <a:pt x="419" y="28"/>
                    </a:lnTo>
                    <a:lnTo>
                      <a:pt x="420" y="27"/>
                    </a:lnTo>
                    <a:lnTo>
                      <a:pt x="421" y="26"/>
                    </a:lnTo>
                    <a:lnTo>
                      <a:pt x="420" y="24"/>
                    </a:lnTo>
                    <a:lnTo>
                      <a:pt x="418" y="22"/>
                    </a:lnTo>
                    <a:lnTo>
                      <a:pt x="419" y="20"/>
                    </a:lnTo>
                    <a:lnTo>
                      <a:pt x="418" y="19"/>
                    </a:lnTo>
                    <a:lnTo>
                      <a:pt x="423" y="18"/>
                    </a:lnTo>
                    <a:lnTo>
                      <a:pt x="426" y="17"/>
                    </a:lnTo>
                    <a:lnTo>
                      <a:pt x="428" y="17"/>
                    </a:lnTo>
                    <a:lnTo>
                      <a:pt x="429" y="17"/>
                    </a:lnTo>
                    <a:lnTo>
                      <a:pt x="430" y="15"/>
                    </a:lnTo>
                    <a:lnTo>
                      <a:pt x="430" y="17"/>
                    </a:lnTo>
                    <a:lnTo>
                      <a:pt x="433" y="15"/>
                    </a:lnTo>
                    <a:lnTo>
                      <a:pt x="435" y="14"/>
                    </a:lnTo>
                    <a:lnTo>
                      <a:pt x="434" y="11"/>
                    </a:lnTo>
                    <a:lnTo>
                      <a:pt x="435" y="11"/>
                    </a:lnTo>
                    <a:lnTo>
                      <a:pt x="434" y="7"/>
                    </a:lnTo>
                    <a:lnTo>
                      <a:pt x="432" y="7"/>
                    </a:lnTo>
                    <a:lnTo>
                      <a:pt x="435" y="6"/>
                    </a:lnTo>
                    <a:lnTo>
                      <a:pt x="435" y="5"/>
                    </a:lnTo>
                    <a:lnTo>
                      <a:pt x="437" y="6"/>
                    </a:lnTo>
                    <a:lnTo>
                      <a:pt x="437" y="5"/>
                    </a:lnTo>
                    <a:lnTo>
                      <a:pt x="438" y="5"/>
                    </a:lnTo>
                    <a:lnTo>
                      <a:pt x="439" y="6"/>
                    </a:lnTo>
                    <a:lnTo>
                      <a:pt x="437" y="0"/>
                    </a:lnTo>
                    <a:lnTo>
                      <a:pt x="439" y="0"/>
                    </a:lnTo>
                    <a:lnTo>
                      <a:pt x="444" y="1"/>
                    </a:lnTo>
                    <a:lnTo>
                      <a:pt x="443" y="1"/>
                    </a:lnTo>
                    <a:lnTo>
                      <a:pt x="444" y="4"/>
                    </a:lnTo>
                    <a:lnTo>
                      <a:pt x="442" y="5"/>
                    </a:lnTo>
                    <a:lnTo>
                      <a:pt x="443" y="6"/>
                    </a:lnTo>
                    <a:lnTo>
                      <a:pt x="444" y="6"/>
                    </a:lnTo>
                    <a:lnTo>
                      <a:pt x="446" y="7"/>
                    </a:lnTo>
                    <a:lnTo>
                      <a:pt x="446" y="6"/>
                    </a:lnTo>
                    <a:lnTo>
                      <a:pt x="447" y="7"/>
                    </a:lnTo>
                    <a:lnTo>
                      <a:pt x="449" y="11"/>
                    </a:lnTo>
                    <a:lnTo>
                      <a:pt x="447" y="11"/>
                    </a:lnTo>
                    <a:lnTo>
                      <a:pt x="448" y="11"/>
                    </a:lnTo>
                    <a:lnTo>
                      <a:pt x="449" y="13"/>
                    </a:lnTo>
                    <a:lnTo>
                      <a:pt x="451" y="13"/>
                    </a:lnTo>
                    <a:lnTo>
                      <a:pt x="452" y="14"/>
                    </a:lnTo>
                    <a:lnTo>
                      <a:pt x="452" y="11"/>
                    </a:lnTo>
                    <a:lnTo>
                      <a:pt x="454" y="11"/>
                    </a:lnTo>
                    <a:lnTo>
                      <a:pt x="454" y="9"/>
                    </a:lnTo>
                    <a:lnTo>
                      <a:pt x="455" y="8"/>
                    </a:lnTo>
                    <a:lnTo>
                      <a:pt x="456" y="9"/>
                    </a:lnTo>
                    <a:lnTo>
                      <a:pt x="455" y="9"/>
                    </a:lnTo>
                    <a:lnTo>
                      <a:pt x="455" y="10"/>
                    </a:lnTo>
                    <a:lnTo>
                      <a:pt x="457" y="10"/>
                    </a:lnTo>
                    <a:lnTo>
                      <a:pt x="457" y="11"/>
                    </a:lnTo>
                    <a:lnTo>
                      <a:pt x="459" y="11"/>
                    </a:lnTo>
                    <a:lnTo>
                      <a:pt x="460" y="11"/>
                    </a:lnTo>
                    <a:lnTo>
                      <a:pt x="463" y="10"/>
                    </a:lnTo>
                    <a:lnTo>
                      <a:pt x="463" y="11"/>
                    </a:lnTo>
                    <a:lnTo>
                      <a:pt x="462" y="13"/>
                    </a:lnTo>
                    <a:lnTo>
                      <a:pt x="463" y="13"/>
                    </a:lnTo>
                    <a:lnTo>
                      <a:pt x="465" y="19"/>
                    </a:lnTo>
                    <a:lnTo>
                      <a:pt x="466" y="19"/>
                    </a:lnTo>
                    <a:lnTo>
                      <a:pt x="468" y="20"/>
                    </a:lnTo>
                    <a:lnTo>
                      <a:pt x="468" y="23"/>
                    </a:lnTo>
                    <a:lnTo>
                      <a:pt x="468" y="22"/>
                    </a:lnTo>
                    <a:lnTo>
                      <a:pt x="470" y="22"/>
                    </a:lnTo>
                    <a:lnTo>
                      <a:pt x="470" y="23"/>
                    </a:lnTo>
                    <a:lnTo>
                      <a:pt x="469" y="25"/>
                    </a:lnTo>
                    <a:lnTo>
                      <a:pt x="470" y="27"/>
                    </a:lnTo>
                    <a:lnTo>
                      <a:pt x="470" y="29"/>
                    </a:lnTo>
                    <a:lnTo>
                      <a:pt x="471" y="28"/>
                    </a:lnTo>
                    <a:lnTo>
                      <a:pt x="472" y="28"/>
                    </a:lnTo>
                    <a:lnTo>
                      <a:pt x="474" y="28"/>
                    </a:lnTo>
                    <a:lnTo>
                      <a:pt x="476" y="28"/>
                    </a:lnTo>
                    <a:lnTo>
                      <a:pt x="477" y="31"/>
                    </a:lnTo>
                    <a:lnTo>
                      <a:pt x="479" y="32"/>
                    </a:lnTo>
                    <a:lnTo>
                      <a:pt x="478" y="34"/>
                    </a:lnTo>
                    <a:lnTo>
                      <a:pt x="480" y="34"/>
                    </a:lnTo>
                    <a:lnTo>
                      <a:pt x="483" y="37"/>
                    </a:lnTo>
                    <a:lnTo>
                      <a:pt x="482" y="38"/>
                    </a:lnTo>
                    <a:lnTo>
                      <a:pt x="482" y="39"/>
                    </a:lnTo>
                    <a:lnTo>
                      <a:pt x="483" y="38"/>
                    </a:lnTo>
                    <a:lnTo>
                      <a:pt x="483" y="40"/>
                    </a:lnTo>
                    <a:lnTo>
                      <a:pt x="483" y="46"/>
                    </a:lnTo>
                    <a:lnTo>
                      <a:pt x="484" y="47"/>
                    </a:lnTo>
                    <a:lnTo>
                      <a:pt x="484" y="48"/>
                    </a:lnTo>
                    <a:lnTo>
                      <a:pt x="487" y="47"/>
                    </a:lnTo>
                    <a:lnTo>
                      <a:pt x="487" y="48"/>
                    </a:lnTo>
                    <a:lnTo>
                      <a:pt x="488" y="48"/>
                    </a:lnTo>
                    <a:lnTo>
                      <a:pt x="488" y="49"/>
                    </a:lnTo>
                    <a:lnTo>
                      <a:pt x="490" y="48"/>
                    </a:lnTo>
                    <a:lnTo>
                      <a:pt x="492" y="49"/>
                    </a:lnTo>
                    <a:lnTo>
                      <a:pt x="494" y="51"/>
                    </a:lnTo>
                    <a:lnTo>
                      <a:pt x="493" y="52"/>
                    </a:lnTo>
                    <a:lnTo>
                      <a:pt x="494" y="52"/>
                    </a:lnTo>
                    <a:lnTo>
                      <a:pt x="494" y="53"/>
                    </a:lnTo>
                    <a:lnTo>
                      <a:pt x="495" y="53"/>
                    </a:lnTo>
                    <a:lnTo>
                      <a:pt x="495" y="54"/>
                    </a:lnTo>
                    <a:lnTo>
                      <a:pt x="494" y="54"/>
                    </a:lnTo>
                    <a:lnTo>
                      <a:pt x="494" y="56"/>
                    </a:lnTo>
                    <a:lnTo>
                      <a:pt x="493" y="56"/>
                    </a:lnTo>
                    <a:lnTo>
                      <a:pt x="493" y="58"/>
                    </a:lnTo>
                    <a:lnTo>
                      <a:pt x="491" y="57"/>
                    </a:lnTo>
                    <a:lnTo>
                      <a:pt x="491" y="58"/>
                    </a:lnTo>
                    <a:lnTo>
                      <a:pt x="487" y="58"/>
                    </a:lnTo>
                    <a:lnTo>
                      <a:pt x="486" y="60"/>
                    </a:lnTo>
                    <a:lnTo>
                      <a:pt x="486" y="63"/>
                    </a:lnTo>
                    <a:lnTo>
                      <a:pt x="486" y="64"/>
                    </a:lnTo>
                    <a:lnTo>
                      <a:pt x="487" y="65"/>
                    </a:lnTo>
                    <a:lnTo>
                      <a:pt x="490" y="69"/>
                    </a:lnTo>
                    <a:lnTo>
                      <a:pt x="490" y="71"/>
                    </a:lnTo>
                    <a:lnTo>
                      <a:pt x="489" y="72"/>
                    </a:lnTo>
                    <a:lnTo>
                      <a:pt x="489" y="73"/>
                    </a:lnTo>
                    <a:lnTo>
                      <a:pt x="490" y="73"/>
                    </a:lnTo>
                    <a:lnTo>
                      <a:pt x="492" y="75"/>
                    </a:lnTo>
                    <a:lnTo>
                      <a:pt x="491" y="76"/>
                    </a:lnTo>
                    <a:lnTo>
                      <a:pt x="491" y="77"/>
                    </a:lnTo>
                    <a:lnTo>
                      <a:pt x="490" y="77"/>
                    </a:lnTo>
                    <a:lnTo>
                      <a:pt x="489" y="77"/>
                    </a:lnTo>
                    <a:lnTo>
                      <a:pt x="490" y="77"/>
                    </a:lnTo>
                    <a:lnTo>
                      <a:pt x="490" y="78"/>
                    </a:lnTo>
                    <a:lnTo>
                      <a:pt x="489" y="80"/>
                    </a:lnTo>
                    <a:lnTo>
                      <a:pt x="490" y="80"/>
                    </a:lnTo>
                    <a:lnTo>
                      <a:pt x="489" y="82"/>
                    </a:lnTo>
                    <a:lnTo>
                      <a:pt x="489" y="84"/>
                    </a:lnTo>
                    <a:lnTo>
                      <a:pt x="487" y="86"/>
                    </a:lnTo>
                    <a:lnTo>
                      <a:pt x="487" y="88"/>
                    </a:lnTo>
                    <a:lnTo>
                      <a:pt x="489" y="88"/>
                    </a:lnTo>
                    <a:lnTo>
                      <a:pt x="489" y="89"/>
                    </a:lnTo>
                    <a:lnTo>
                      <a:pt x="491" y="88"/>
                    </a:lnTo>
                    <a:lnTo>
                      <a:pt x="491" y="89"/>
                    </a:lnTo>
                    <a:lnTo>
                      <a:pt x="493" y="93"/>
                    </a:lnTo>
                    <a:lnTo>
                      <a:pt x="493" y="94"/>
                    </a:lnTo>
                    <a:lnTo>
                      <a:pt x="491" y="94"/>
                    </a:lnTo>
                    <a:lnTo>
                      <a:pt x="491" y="96"/>
                    </a:lnTo>
                    <a:lnTo>
                      <a:pt x="492" y="97"/>
                    </a:lnTo>
                    <a:lnTo>
                      <a:pt x="492" y="98"/>
                    </a:lnTo>
                    <a:lnTo>
                      <a:pt x="495" y="99"/>
                    </a:lnTo>
                    <a:lnTo>
                      <a:pt x="491" y="108"/>
                    </a:lnTo>
                    <a:lnTo>
                      <a:pt x="491" y="107"/>
                    </a:lnTo>
                    <a:lnTo>
                      <a:pt x="490" y="109"/>
                    </a:lnTo>
                    <a:lnTo>
                      <a:pt x="489" y="107"/>
                    </a:lnTo>
                    <a:lnTo>
                      <a:pt x="489" y="109"/>
                    </a:lnTo>
                    <a:lnTo>
                      <a:pt x="486" y="109"/>
                    </a:lnTo>
                    <a:lnTo>
                      <a:pt x="486" y="111"/>
                    </a:lnTo>
                    <a:lnTo>
                      <a:pt x="487" y="111"/>
                    </a:lnTo>
                    <a:lnTo>
                      <a:pt x="487" y="112"/>
                    </a:lnTo>
                    <a:lnTo>
                      <a:pt x="486" y="113"/>
                    </a:lnTo>
                    <a:lnTo>
                      <a:pt x="487" y="115"/>
                    </a:lnTo>
                    <a:lnTo>
                      <a:pt x="487" y="116"/>
                    </a:lnTo>
                    <a:lnTo>
                      <a:pt x="486" y="116"/>
                    </a:lnTo>
                    <a:lnTo>
                      <a:pt x="485" y="117"/>
                    </a:lnTo>
                    <a:lnTo>
                      <a:pt x="484" y="117"/>
                    </a:lnTo>
                    <a:lnTo>
                      <a:pt x="485" y="116"/>
                    </a:lnTo>
                    <a:lnTo>
                      <a:pt x="484" y="116"/>
                    </a:lnTo>
                    <a:lnTo>
                      <a:pt x="483" y="116"/>
                    </a:lnTo>
                    <a:lnTo>
                      <a:pt x="482" y="116"/>
                    </a:lnTo>
                    <a:lnTo>
                      <a:pt x="481" y="115"/>
                    </a:lnTo>
                    <a:lnTo>
                      <a:pt x="479" y="117"/>
                    </a:lnTo>
                    <a:lnTo>
                      <a:pt x="476" y="120"/>
                    </a:lnTo>
                    <a:lnTo>
                      <a:pt x="478" y="123"/>
                    </a:lnTo>
                    <a:lnTo>
                      <a:pt x="479" y="126"/>
                    </a:lnTo>
                    <a:lnTo>
                      <a:pt x="481" y="126"/>
                    </a:lnTo>
                    <a:lnTo>
                      <a:pt x="483" y="128"/>
                    </a:lnTo>
                    <a:lnTo>
                      <a:pt x="482" y="128"/>
                    </a:lnTo>
                    <a:lnTo>
                      <a:pt x="480" y="129"/>
                    </a:lnTo>
                    <a:lnTo>
                      <a:pt x="481" y="133"/>
                    </a:lnTo>
                    <a:lnTo>
                      <a:pt x="481" y="135"/>
                    </a:lnTo>
                    <a:lnTo>
                      <a:pt x="483" y="137"/>
                    </a:lnTo>
                    <a:lnTo>
                      <a:pt x="485" y="139"/>
                    </a:lnTo>
                    <a:lnTo>
                      <a:pt x="487" y="140"/>
                    </a:lnTo>
                    <a:lnTo>
                      <a:pt x="489" y="139"/>
                    </a:lnTo>
                    <a:lnTo>
                      <a:pt x="491" y="136"/>
                    </a:lnTo>
                    <a:lnTo>
                      <a:pt x="492" y="139"/>
                    </a:lnTo>
                    <a:lnTo>
                      <a:pt x="496" y="141"/>
                    </a:lnTo>
                    <a:lnTo>
                      <a:pt x="497" y="141"/>
                    </a:lnTo>
                    <a:lnTo>
                      <a:pt x="496" y="142"/>
                    </a:lnTo>
                    <a:lnTo>
                      <a:pt x="495" y="142"/>
                    </a:lnTo>
                    <a:lnTo>
                      <a:pt x="495" y="146"/>
                    </a:lnTo>
                    <a:lnTo>
                      <a:pt x="496" y="146"/>
                    </a:lnTo>
                    <a:lnTo>
                      <a:pt x="498" y="145"/>
                    </a:lnTo>
                    <a:lnTo>
                      <a:pt x="498" y="146"/>
                    </a:lnTo>
                    <a:lnTo>
                      <a:pt x="499" y="148"/>
                    </a:lnTo>
                    <a:lnTo>
                      <a:pt x="500" y="148"/>
                    </a:lnTo>
                    <a:lnTo>
                      <a:pt x="501" y="150"/>
                    </a:lnTo>
                    <a:lnTo>
                      <a:pt x="502" y="150"/>
                    </a:lnTo>
                    <a:lnTo>
                      <a:pt x="503" y="152"/>
                    </a:lnTo>
                    <a:lnTo>
                      <a:pt x="503" y="154"/>
                    </a:lnTo>
                    <a:lnTo>
                      <a:pt x="502" y="153"/>
                    </a:lnTo>
                    <a:lnTo>
                      <a:pt x="499" y="155"/>
                    </a:lnTo>
                    <a:lnTo>
                      <a:pt x="499" y="156"/>
                    </a:lnTo>
                    <a:lnTo>
                      <a:pt x="501" y="157"/>
                    </a:lnTo>
                    <a:lnTo>
                      <a:pt x="501" y="159"/>
                    </a:lnTo>
                    <a:lnTo>
                      <a:pt x="499" y="161"/>
                    </a:lnTo>
                    <a:lnTo>
                      <a:pt x="501" y="162"/>
                    </a:lnTo>
                    <a:lnTo>
                      <a:pt x="504" y="165"/>
                    </a:lnTo>
                    <a:lnTo>
                      <a:pt x="504" y="166"/>
                    </a:lnTo>
                    <a:lnTo>
                      <a:pt x="505" y="167"/>
                    </a:lnTo>
                    <a:lnTo>
                      <a:pt x="506" y="165"/>
                    </a:lnTo>
                    <a:lnTo>
                      <a:pt x="506" y="167"/>
                    </a:lnTo>
                    <a:lnTo>
                      <a:pt x="507" y="167"/>
                    </a:lnTo>
                    <a:lnTo>
                      <a:pt x="508" y="167"/>
                    </a:lnTo>
                    <a:lnTo>
                      <a:pt x="508" y="165"/>
                    </a:lnTo>
                    <a:lnTo>
                      <a:pt x="512" y="166"/>
                    </a:lnTo>
                    <a:lnTo>
                      <a:pt x="514" y="164"/>
                    </a:lnTo>
                    <a:lnTo>
                      <a:pt x="515" y="164"/>
                    </a:lnTo>
                    <a:lnTo>
                      <a:pt x="515" y="165"/>
                    </a:lnTo>
                    <a:lnTo>
                      <a:pt x="517" y="167"/>
                    </a:lnTo>
                    <a:lnTo>
                      <a:pt x="518" y="167"/>
                    </a:lnTo>
                    <a:lnTo>
                      <a:pt x="519" y="168"/>
                    </a:lnTo>
                    <a:lnTo>
                      <a:pt x="520" y="167"/>
                    </a:lnTo>
                    <a:lnTo>
                      <a:pt x="522" y="169"/>
                    </a:lnTo>
                    <a:lnTo>
                      <a:pt x="525" y="171"/>
                    </a:lnTo>
                    <a:lnTo>
                      <a:pt x="524" y="171"/>
                    </a:lnTo>
                    <a:lnTo>
                      <a:pt x="525" y="173"/>
                    </a:lnTo>
                    <a:lnTo>
                      <a:pt x="526" y="172"/>
                    </a:lnTo>
                    <a:lnTo>
                      <a:pt x="528" y="171"/>
                    </a:lnTo>
                    <a:lnTo>
                      <a:pt x="529" y="168"/>
                    </a:lnTo>
                    <a:lnTo>
                      <a:pt x="532" y="169"/>
                    </a:lnTo>
                    <a:lnTo>
                      <a:pt x="533" y="167"/>
                    </a:lnTo>
                    <a:lnTo>
                      <a:pt x="535" y="167"/>
                    </a:lnTo>
                    <a:lnTo>
                      <a:pt x="536" y="167"/>
                    </a:lnTo>
                    <a:lnTo>
                      <a:pt x="538" y="167"/>
                    </a:lnTo>
                    <a:lnTo>
                      <a:pt x="538" y="165"/>
                    </a:lnTo>
                    <a:lnTo>
                      <a:pt x="538" y="167"/>
                    </a:lnTo>
                    <a:lnTo>
                      <a:pt x="539" y="167"/>
                    </a:lnTo>
                    <a:lnTo>
                      <a:pt x="539" y="170"/>
                    </a:lnTo>
                    <a:lnTo>
                      <a:pt x="540" y="170"/>
                    </a:lnTo>
                    <a:lnTo>
                      <a:pt x="540" y="171"/>
                    </a:lnTo>
                    <a:lnTo>
                      <a:pt x="541" y="171"/>
                    </a:lnTo>
                    <a:lnTo>
                      <a:pt x="543" y="172"/>
                    </a:lnTo>
                    <a:lnTo>
                      <a:pt x="543" y="173"/>
                    </a:lnTo>
                    <a:lnTo>
                      <a:pt x="544" y="173"/>
                    </a:lnTo>
                    <a:lnTo>
                      <a:pt x="545" y="175"/>
                    </a:lnTo>
                    <a:lnTo>
                      <a:pt x="543" y="176"/>
                    </a:lnTo>
                    <a:lnTo>
                      <a:pt x="544" y="178"/>
                    </a:lnTo>
                    <a:lnTo>
                      <a:pt x="544" y="179"/>
                    </a:lnTo>
                    <a:lnTo>
                      <a:pt x="543" y="179"/>
                    </a:lnTo>
                    <a:lnTo>
                      <a:pt x="544" y="182"/>
                    </a:lnTo>
                    <a:lnTo>
                      <a:pt x="543" y="185"/>
                    </a:lnTo>
                    <a:lnTo>
                      <a:pt x="544" y="185"/>
                    </a:lnTo>
                    <a:lnTo>
                      <a:pt x="545" y="188"/>
                    </a:lnTo>
                    <a:lnTo>
                      <a:pt x="543" y="189"/>
                    </a:lnTo>
                    <a:lnTo>
                      <a:pt x="541" y="189"/>
                    </a:lnTo>
                    <a:lnTo>
                      <a:pt x="540" y="190"/>
                    </a:lnTo>
                    <a:lnTo>
                      <a:pt x="541" y="191"/>
                    </a:lnTo>
                    <a:lnTo>
                      <a:pt x="541" y="197"/>
                    </a:lnTo>
                    <a:lnTo>
                      <a:pt x="540" y="200"/>
                    </a:lnTo>
                    <a:lnTo>
                      <a:pt x="542" y="201"/>
                    </a:lnTo>
                    <a:lnTo>
                      <a:pt x="542" y="203"/>
                    </a:lnTo>
                    <a:lnTo>
                      <a:pt x="543" y="203"/>
                    </a:lnTo>
                    <a:lnTo>
                      <a:pt x="545" y="205"/>
                    </a:lnTo>
                    <a:lnTo>
                      <a:pt x="544" y="209"/>
                    </a:lnTo>
                    <a:lnTo>
                      <a:pt x="545" y="207"/>
                    </a:lnTo>
                    <a:lnTo>
                      <a:pt x="545" y="209"/>
                    </a:lnTo>
                    <a:lnTo>
                      <a:pt x="546" y="209"/>
                    </a:lnTo>
                    <a:lnTo>
                      <a:pt x="544" y="211"/>
                    </a:lnTo>
                    <a:lnTo>
                      <a:pt x="547" y="210"/>
                    </a:lnTo>
                    <a:lnTo>
                      <a:pt x="545" y="212"/>
                    </a:lnTo>
                    <a:lnTo>
                      <a:pt x="545" y="215"/>
                    </a:lnTo>
                    <a:lnTo>
                      <a:pt x="544" y="217"/>
                    </a:lnTo>
                    <a:lnTo>
                      <a:pt x="543" y="216"/>
                    </a:lnTo>
                    <a:lnTo>
                      <a:pt x="542" y="218"/>
                    </a:lnTo>
                    <a:lnTo>
                      <a:pt x="543" y="219"/>
                    </a:lnTo>
                    <a:lnTo>
                      <a:pt x="543" y="220"/>
                    </a:lnTo>
                    <a:lnTo>
                      <a:pt x="542" y="222"/>
                    </a:lnTo>
                    <a:lnTo>
                      <a:pt x="541" y="221"/>
                    </a:lnTo>
                    <a:lnTo>
                      <a:pt x="541" y="222"/>
                    </a:lnTo>
                    <a:lnTo>
                      <a:pt x="540" y="223"/>
                    </a:lnTo>
                    <a:lnTo>
                      <a:pt x="539" y="225"/>
                    </a:lnTo>
                    <a:lnTo>
                      <a:pt x="537" y="224"/>
                    </a:lnTo>
                    <a:lnTo>
                      <a:pt x="536" y="227"/>
                    </a:lnTo>
                    <a:lnTo>
                      <a:pt x="536" y="226"/>
                    </a:lnTo>
                    <a:lnTo>
                      <a:pt x="535" y="226"/>
                    </a:lnTo>
                    <a:lnTo>
                      <a:pt x="535" y="228"/>
                    </a:lnTo>
                    <a:lnTo>
                      <a:pt x="534" y="228"/>
                    </a:lnTo>
                    <a:lnTo>
                      <a:pt x="533" y="227"/>
                    </a:lnTo>
                    <a:lnTo>
                      <a:pt x="532" y="229"/>
                    </a:lnTo>
                    <a:lnTo>
                      <a:pt x="534" y="229"/>
                    </a:lnTo>
                    <a:lnTo>
                      <a:pt x="537" y="232"/>
                    </a:lnTo>
                    <a:lnTo>
                      <a:pt x="537" y="233"/>
                    </a:lnTo>
                    <a:lnTo>
                      <a:pt x="533" y="236"/>
                    </a:lnTo>
                    <a:lnTo>
                      <a:pt x="530" y="237"/>
                    </a:lnTo>
                    <a:lnTo>
                      <a:pt x="534" y="239"/>
                    </a:lnTo>
                    <a:lnTo>
                      <a:pt x="538" y="238"/>
                    </a:lnTo>
                    <a:lnTo>
                      <a:pt x="540" y="241"/>
                    </a:lnTo>
                    <a:lnTo>
                      <a:pt x="541" y="243"/>
                    </a:lnTo>
                    <a:lnTo>
                      <a:pt x="543" y="244"/>
                    </a:lnTo>
                    <a:lnTo>
                      <a:pt x="544" y="243"/>
                    </a:lnTo>
                    <a:lnTo>
                      <a:pt x="544" y="241"/>
                    </a:lnTo>
                    <a:lnTo>
                      <a:pt x="545" y="243"/>
                    </a:lnTo>
                    <a:lnTo>
                      <a:pt x="546" y="243"/>
                    </a:lnTo>
                    <a:lnTo>
                      <a:pt x="546" y="244"/>
                    </a:lnTo>
                    <a:lnTo>
                      <a:pt x="550" y="248"/>
                    </a:lnTo>
                    <a:lnTo>
                      <a:pt x="552" y="249"/>
                    </a:lnTo>
                    <a:lnTo>
                      <a:pt x="553" y="249"/>
                    </a:lnTo>
                    <a:lnTo>
                      <a:pt x="555" y="250"/>
                    </a:lnTo>
                    <a:lnTo>
                      <a:pt x="552" y="254"/>
                    </a:lnTo>
                    <a:lnTo>
                      <a:pt x="552" y="257"/>
                    </a:lnTo>
                    <a:lnTo>
                      <a:pt x="551" y="256"/>
                    </a:lnTo>
                    <a:lnTo>
                      <a:pt x="550" y="256"/>
                    </a:lnTo>
                    <a:lnTo>
                      <a:pt x="551" y="260"/>
                    </a:lnTo>
                    <a:lnTo>
                      <a:pt x="548" y="262"/>
                    </a:lnTo>
                    <a:lnTo>
                      <a:pt x="546" y="260"/>
                    </a:lnTo>
                    <a:lnTo>
                      <a:pt x="546" y="258"/>
                    </a:lnTo>
                    <a:lnTo>
                      <a:pt x="545" y="257"/>
                    </a:lnTo>
                    <a:lnTo>
                      <a:pt x="543" y="258"/>
                    </a:lnTo>
                    <a:lnTo>
                      <a:pt x="541" y="262"/>
                    </a:lnTo>
                    <a:lnTo>
                      <a:pt x="543" y="265"/>
                    </a:lnTo>
                    <a:lnTo>
                      <a:pt x="545" y="263"/>
                    </a:lnTo>
                    <a:lnTo>
                      <a:pt x="546" y="267"/>
                    </a:lnTo>
                    <a:lnTo>
                      <a:pt x="548" y="267"/>
                    </a:lnTo>
                    <a:lnTo>
                      <a:pt x="546" y="267"/>
                    </a:lnTo>
                    <a:lnTo>
                      <a:pt x="544" y="266"/>
                    </a:lnTo>
                    <a:lnTo>
                      <a:pt x="543" y="267"/>
                    </a:lnTo>
                    <a:lnTo>
                      <a:pt x="542" y="267"/>
                    </a:lnTo>
                    <a:lnTo>
                      <a:pt x="541" y="267"/>
                    </a:lnTo>
                    <a:lnTo>
                      <a:pt x="542" y="271"/>
                    </a:lnTo>
                    <a:lnTo>
                      <a:pt x="543" y="273"/>
                    </a:lnTo>
                    <a:lnTo>
                      <a:pt x="542" y="279"/>
                    </a:lnTo>
                    <a:lnTo>
                      <a:pt x="540" y="278"/>
                    </a:lnTo>
                    <a:lnTo>
                      <a:pt x="538" y="279"/>
                    </a:lnTo>
                    <a:lnTo>
                      <a:pt x="537" y="278"/>
                    </a:lnTo>
                    <a:lnTo>
                      <a:pt x="537" y="279"/>
                    </a:lnTo>
                    <a:lnTo>
                      <a:pt x="536" y="279"/>
                    </a:lnTo>
                    <a:lnTo>
                      <a:pt x="535" y="279"/>
                    </a:lnTo>
                    <a:lnTo>
                      <a:pt x="534" y="278"/>
                    </a:lnTo>
                    <a:lnTo>
                      <a:pt x="533" y="279"/>
                    </a:lnTo>
                    <a:lnTo>
                      <a:pt x="532" y="280"/>
                    </a:lnTo>
                    <a:lnTo>
                      <a:pt x="533" y="282"/>
                    </a:lnTo>
                    <a:lnTo>
                      <a:pt x="538" y="283"/>
                    </a:lnTo>
                    <a:lnTo>
                      <a:pt x="537" y="284"/>
                    </a:lnTo>
                    <a:lnTo>
                      <a:pt x="539" y="283"/>
                    </a:lnTo>
                    <a:lnTo>
                      <a:pt x="539" y="285"/>
                    </a:lnTo>
                    <a:lnTo>
                      <a:pt x="538" y="286"/>
                    </a:lnTo>
                    <a:lnTo>
                      <a:pt x="538" y="285"/>
                    </a:lnTo>
                    <a:lnTo>
                      <a:pt x="537" y="286"/>
                    </a:lnTo>
                    <a:lnTo>
                      <a:pt x="535" y="284"/>
                    </a:lnTo>
                    <a:lnTo>
                      <a:pt x="535" y="285"/>
                    </a:lnTo>
                    <a:lnTo>
                      <a:pt x="536" y="286"/>
                    </a:lnTo>
                    <a:lnTo>
                      <a:pt x="534" y="284"/>
                    </a:lnTo>
                    <a:lnTo>
                      <a:pt x="533" y="284"/>
                    </a:lnTo>
                    <a:lnTo>
                      <a:pt x="530" y="286"/>
                    </a:lnTo>
                    <a:lnTo>
                      <a:pt x="528" y="286"/>
                    </a:lnTo>
                    <a:lnTo>
                      <a:pt x="530" y="288"/>
                    </a:lnTo>
                    <a:lnTo>
                      <a:pt x="530" y="290"/>
                    </a:lnTo>
                    <a:lnTo>
                      <a:pt x="530" y="292"/>
                    </a:lnTo>
                    <a:lnTo>
                      <a:pt x="532" y="293"/>
                    </a:lnTo>
                    <a:lnTo>
                      <a:pt x="532" y="294"/>
                    </a:lnTo>
                    <a:lnTo>
                      <a:pt x="533" y="294"/>
                    </a:lnTo>
                    <a:lnTo>
                      <a:pt x="533" y="296"/>
                    </a:lnTo>
                    <a:lnTo>
                      <a:pt x="535" y="297"/>
                    </a:lnTo>
                    <a:lnTo>
                      <a:pt x="536" y="298"/>
                    </a:lnTo>
                    <a:lnTo>
                      <a:pt x="537" y="299"/>
                    </a:lnTo>
                    <a:lnTo>
                      <a:pt x="539" y="297"/>
                    </a:lnTo>
                    <a:lnTo>
                      <a:pt x="542" y="298"/>
                    </a:lnTo>
                    <a:lnTo>
                      <a:pt x="541" y="299"/>
                    </a:lnTo>
                    <a:lnTo>
                      <a:pt x="541" y="298"/>
                    </a:lnTo>
                    <a:lnTo>
                      <a:pt x="542" y="300"/>
                    </a:lnTo>
                    <a:lnTo>
                      <a:pt x="543" y="300"/>
                    </a:lnTo>
                    <a:lnTo>
                      <a:pt x="545" y="301"/>
                    </a:lnTo>
                    <a:lnTo>
                      <a:pt x="543" y="302"/>
                    </a:lnTo>
                    <a:lnTo>
                      <a:pt x="542" y="302"/>
                    </a:lnTo>
                    <a:lnTo>
                      <a:pt x="543" y="303"/>
                    </a:lnTo>
                    <a:lnTo>
                      <a:pt x="544" y="304"/>
                    </a:lnTo>
                    <a:lnTo>
                      <a:pt x="545" y="304"/>
                    </a:lnTo>
                    <a:lnTo>
                      <a:pt x="546" y="304"/>
                    </a:lnTo>
                    <a:lnTo>
                      <a:pt x="548" y="306"/>
                    </a:lnTo>
                    <a:lnTo>
                      <a:pt x="552" y="304"/>
                    </a:lnTo>
                    <a:lnTo>
                      <a:pt x="552" y="306"/>
                    </a:lnTo>
                    <a:lnTo>
                      <a:pt x="553" y="307"/>
                    </a:lnTo>
                    <a:lnTo>
                      <a:pt x="552" y="307"/>
                    </a:lnTo>
                    <a:lnTo>
                      <a:pt x="552" y="310"/>
                    </a:lnTo>
                    <a:lnTo>
                      <a:pt x="553" y="310"/>
                    </a:lnTo>
                    <a:lnTo>
                      <a:pt x="555" y="306"/>
                    </a:lnTo>
                    <a:lnTo>
                      <a:pt x="555" y="307"/>
                    </a:lnTo>
                    <a:lnTo>
                      <a:pt x="555" y="309"/>
                    </a:lnTo>
                    <a:lnTo>
                      <a:pt x="556" y="309"/>
                    </a:lnTo>
                    <a:lnTo>
                      <a:pt x="555" y="310"/>
                    </a:lnTo>
                    <a:lnTo>
                      <a:pt x="555" y="313"/>
                    </a:lnTo>
                    <a:lnTo>
                      <a:pt x="552" y="314"/>
                    </a:lnTo>
                    <a:lnTo>
                      <a:pt x="552" y="315"/>
                    </a:lnTo>
                    <a:lnTo>
                      <a:pt x="552" y="316"/>
                    </a:lnTo>
                    <a:lnTo>
                      <a:pt x="555" y="319"/>
                    </a:lnTo>
                    <a:lnTo>
                      <a:pt x="562" y="326"/>
                    </a:lnTo>
                    <a:lnTo>
                      <a:pt x="563" y="325"/>
                    </a:lnTo>
                    <a:lnTo>
                      <a:pt x="564" y="325"/>
                    </a:lnTo>
                    <a:lnTo>
                      <a:pt x="564" y="327"/>
                    </a:lnTo>
                    <a:lnTo>
                      <a:pt x="565" y="326"/>
                    </a:lnTo>
                    <a:lnTo>
                      <a:pt x="566" y="327"/>
                    </a:lnTo>
                    <a:lnTo>
                      <a:pt x="566" y="329"/>
                    </a:lnTo>
                    <a:lnTo>
                      <a:pt x="567" y="330"/>
                    </a:lnTo>
                    <a:lnTo>
                      <a:pt x="568" y="328"/>
                    </a:lnTo>
                    <a:lnTo>
                      <a:pt x="569" y="331"/>
                    </a:lnTo>
                    <a:lnTo>
                      <a:pt x="568" y="333"/>
                    </a:lnTo>
                    <a:lnTo>
                      <a:pt x="569" y="333"/>
                    </a:lnTo>
                    <a:lnTo>
                      <a:pt x="568" y="335"/>
                    </a:lnTo>
                    <a:lnTo>
                      <a:pt x="569" y="337"/>
                    </a:lnTo>
                    <a:lnTo>
                      <a:pt x="568" y="336"/>
                    </a:lnTo>
                    <a:lnTo>
                      <a:pt x="566" y="337"/>
                    </a:lnTo>
                    <a:lnTo>
                      <a:pt x="564" y="339"/>
                    </a:lnTo>
                    <a:lnTo>
                      <a:pt x="567" y="344"/>
                    </a:lnTo>
                    <a:lnTo>
                      <a:pt x="568" y="344"/>
                    </a:lnTo>
                    <a:lnTo>
                      <a:pt x="568" y="345"/>
                    </a:lnTo>
                    <a:lnTo>
                      <a:pt x="568" y="347"/>
                    </a:lnTo>
                    <a:lnTo>
                      <a:pt x="568" y="348"/>
                    </a:lnTo>
                    <a:lnTo>
                      <a:pt x="567" y="348"/>
                    </a:lnTo>
                    <a:lnTo>
                      <a:pt x="566" y="347"/>
                    </a:lnTo>
                    <a:lnTo>
                      <a:pt x="566" y="350"/>
                    </a:lnTo>
                    <a:lnTo>
                      <a:pt x="565" y="350"/>
                    </a:lnTo>
                    <a:lnTo>
                      <a:pt x="564" y="352"/>
                    </a:lnTo>
                    <a:lnTo>
                      <a:pt x="564" y="353"/>
                    </a:lnTo>
                    <a:lnTo>
                      <a:pt x="561" y="356"/>
                    </a:lnTo>
                    <a:lnTo>
                      <a:pt x="563" y="357"/>
                    </a:lnTo>
                    <a:lnTo>
                      <a:pt x="561" y="358"/>
                    </a:lnTo>
                    <a:lnTo>
                      <a:pt x="558" y="359"/>
                    </a:lnTo>
                    <a:lnTo>
                      <a:pt x="557" y="359"/>
                    </a:lnTo>
                    <a:lnTo>
                      <a:pt x="557" y="360"/>
                    </a:lnTo>
                    <a:lnTo>
                      <a:pt x="556" y="361"/>
                    </a:lnTo>
                    <a:lnTo>
                      <a:pt x="558" y="363"/>
                    </a:lnTo>
                    <a:lnTo>
                      <a:pt x="558" y="365"/>
                    </a:lnTo>
                    <a:lnTo>
                      <a:pt x="557" y="367"/>
                    </a:lnTo>
                    <a:lnTo>
                      <a:pt x="558" y="368"/>
                    </a:lnTo>
                    <a:lnTo>
                      <a:pt x="557" y="371"/>
                    </a:lnTo>
                    <a:lnTo>
                      <a:pt x="556" y="371"/>
                    </a:lnTo>
                    <a:lnTo>
                      <a:pt x="556" y="369"/>
                    </a:lnTo>
                    <a:lnTo>
                      <a:pt x="555" y="371"/>
                    </a:lnTo>
                    <a:lnTo>
                      <a:pt x="556" y="373"/>
                    </a:lnTo>
                    <a:lnTo>
                      <a:pt x="556" y="375"/>
                    </a:lnTo>
                    <a:lnTo>
                      <a:pt x="555" y="375"/>
                    </a:lnTo>
                    <a:lnTo>
                      <a:pt x="554" y="376"/>
                    </a:lnTo>
                    <a:lnTo>
                      <a:pt x="554" y="378"/>
                    </a:lnTo>
                    <a:lnTo>
                      <a:pt x="552" y="380"/>
                    </a:lnTo>
                    <a:lnTo>
                      <a:pt x="551" y="378"/>
                    </a:lnTo>
                    <a:lnTo>
                      <a:pt x="548" y="379"/>
                    </a:lnTo>
                    <a:lnTo>
                      <a:pt x="548" y="380"/>
                    </a:lnTo>
                    <a:lnTo>
                      <a:pt x="548" y="382"/>
                    </a:lnTo>
                    <a:lnTo>
                      <a:pt x="546" y="383"/>
                    </a:lnTo>
                    <a:lnTo>
                      <a:pt x="544" y="383"/>
                    </a:lnTo>
                    <a:lnTo>
                      <a:pt x="544" y="384"/>
                    </a:lnTo>
                    <a:lnTo>
                      <a:pt x="543" y="382"/>
                    </a:lnTo>
                    <a:lnTo>
                      <a:pt x="541" y="380"/>
                    </a:lnTo>
                    <a:lnTo>
                      <a:pt x="540" y="381"/>
                    </a:lnTo>
                    <a:lnTo>
                      <a:pt x="535" y="385"/>
                    </a:lnTo>
                    <a:lnTo>
                      <a:pt x="535" y="386"/>
                    </a:lnTo>
                    <a:lnTo>
                      <a:pt x="533" y="386"/>
                    </a:lnTo>
                    <a:lnTo>
                      <a:pt x="532" y="388"/>
                    </a:lnTo>
                    <a:lnTo>
                      <a:pt x="530" y="390"/>
                    </a:lnTo>
                    <a:lnTo>
                      <a:pt x="530" y="392"/>
                    </a:lnTo>
                    <a:lnTo>
                      <a:pt x="531" y="394"/>
                    </a:lnTo>
                    <a:lnTo>
                      <a:pt x="533" y="394"/>
                    </a:lnTo>
                    <a:lnTo>
                      <a:pt x="534" y="394"/>
                    </a:lnTo>
                    <a:lnTo>
                      <a:pt x="533" y="395"/>
                    </a:lnTo>
                    <a:lnTo>
                      <a:pt x="535" y="397"/>
                    </a:lnTo>
                    <a:lnTo>
                      <a:pt x="534" y="399"/>
                    </a:lnTo>
                    <a:lnTo>
                      <a:pt x="536" y="400"/>
                    </a:lnTo>
                    <a:lnTo>
                      <a:pt x="535" y="401"/>
                    </a:lnTo>
                    <a:lnTo>
                      <a:pt x="535" y="402"/>
                    </a:lnTo>
                    <a:lnTo>
                      <a:pt x="533" y="403"/>
                    </a:lnTo>
                    <a:lnTo>
                      <a:pt x="532" y="403"/>
                    </a:lnTo>
                    <a:lnTo>
                      <a:pt x="531" y="405"/>
                    </a:lnTo>
                    <a:lnTo>
                      <a:pt x="530" y="404"/>
                    </a:lnTo>
                    <a:lnTo>
                      <a:pt x="529" y="404"/>
                    </a:lnTo>
                    <a:lnTo>
                      <a:pt x="528" y="403"/>
                    </a:lnTo>
                    <a:lnTo>
                      <a:pt x="527" y="404"/>
                    </a:lnTo>
                    <a:lnTo>
                      <a:pt x="524" y="401"/>
                    </a:lnTo>
                    <a:lnTo>
                      <a:pt x="524" y="403"/>
                    </a:lnTo>
                    <a:lnTo>
                      <a:pt x="523" y="403"/>
                    </a:lnTo>
                    <a:lnTo>
                      <a:pt x="522" y="402"/>
                    </a:lnTo>
                    <a:lnTo>
                      <a:pt x="522" y="399"/>
                    </a:lnTo>
                    <a:lnTo>
                      <a:pt x="521" y="400"/>
                    </a:lnTo>
                    <a:lnTo>
                      <a:pt x="520" y="399"/>
                    </a:lnTo>
                    <a:lnTo>
                      <a:pt x="519" y="402"/>
                    </a:lnTo>
                    <a:lnTo>
                      <a:pt x="517" y="404"/>
                    </a:lnTo>
                    <a:lnTo>
                      <a:pt x="516" y="407"/>
                    </a:lnTo>
                    <a:lnTo>
                      <a:pt x="517" y="407"/>
                    </a:lnTo>
                    <a:lnTo>
                      <a:pt x="515" y="408"/>
                    </a:lnTo>
                    <a:lnTo>
                      <a:pt x="515" y="411"/>
                    </a:lnTo>
                    <a:lnTo>
                      <a:pt x="515" y="409"/>
                    </a:lnTo>
                    <a:lnTo>
                      <a:pt x="513" y="408"/>
                    </a:lnTo>
                    <a:lnTo>
                      <a:pt x="510" y="412"/>
                    </a:lnTo>
                    <a:lnTo>
                      <a:pt x="507" y="409"/>
                    </a:lnTo>
                    <a:lnTo>
                      <a:pt x="504" y="411"/>
                    </a:lnTo>
                    <a:lnTo>
                      <a:pt x="501" y="413"/>
                    </a:lnTo>
                    <a:lnTo>
                      <a:pt x="500" y="412"/>
                    </a:lnTo>
                    <a:lnTo>
                      <a:pt x="499" y="413"/>
                    </a:lnTo>
                    <a:lnTo>
                      <a:pt x="498" y="412"/>
                    </a:lnTo>
                    <a:lnTo>
                      <a:pt x="496" y="412"/>
                    </a:lnTo>
                    <a:lnTo>
                      <a:pt x="496" y="411"/>
                    </a:lnTo>
                    <a:lnTo>
                      <a:pt x="496" y="413"/>
                    </a:lnTo>
                    <a:lnTo>
                      <a:pt x="496" y="412"/>
                    </a:lnTo>
                    <a:lnTo>
                      <a:pt x="495" y="412"/>
                    </a:lnTo>
                    <a:lnTo>
                      <a:pt x="492" y="412"/>
                    </a:lnTo>
                    <a:lnTo>
                      <a:pt x="492" y="415"/>
                    </a:lnTo>
                    <a:lnTo>
                      <a:pt x="491" y="414"/>
                    </a:lnTo>
                    <a:lnTo>
                      <a:pt x="490" y="414"/>
                    </a:lnTo>
                    <a:lnTo>
                      <a:pt x="491" y="416"/>
                    </a:lnTo>
                    <a:lnTo>
                      <a:pt x="487" y="417"/>
                    </a:lnTo>
                    <a:lnTo>
                      <a:pt x="487" y="416"/>
                    </a:lnTo>
                    <a:lnTo>
                      <a:pt x="486" y="418"/>
                    </a:lnTo>
                    <a:lnTo>
                      <a:pt x="486" y="416"/>
                    </a:lnTo>
                    <a:lnTo>
                      <a:pt x="484" y="417"/>
                    </a:lnTo>
                    <a:lnTo>
                      <a:pt x="484" y="416"/>
                    </a:lnTo>
                    <a:lnTo>
                      <a:pt x="482" y="416"/>
                    </a:lnTo>
                    <a:lnTo>
                      <a:pt x="484" y="413"/>
                    </a:lnTo>
                    <a:lnTo>
                      <a:pt x="484" y="412"/>
                    </a:lnTo>
                    <a:lnTo>
                      <a:pt x="483" y="412"/>
                    </a:lnTo>
                    <a:lnTo>
                      <a:pt x="481" y="413"/>
                    </a:lnTo>
                    <a:lnTo>
                      <a:pt x="480" y="412"/>
                    </a:lnTo>
                    <a:lnTo>
                      <a:pt x="479" y="414"/>
                    </a:lnTo>
                    <a:lnTo>
                      <a:pt x="477" y="414"/>
                    </a:lnTo>
                    <a:lnTo>
                      <a:pt x="476" y="414"/>
                    </a:lnTo>
                    <a:lnTo>
                      <a:pt x="475" y="416"/>
                    </a:lnTo>
                    <a:lnTo>
                      <a:pt x="474" y="416"/>
                    </a:lnTo>
                    <a:lnTo>
                      <a:pt x="474" y="418"/>
                    </a:lnTo>
                    <a:lnTo>
                      <a:pt x="475" y="418"/>
                    </a:lnTo>
                    <a:lnTo>
                      <a:pt x="475" y="419"/>
                    </a:lnTo>
                    <a:lnTo>
                      <a:pt x="475" y="420"/>
                    </a:lnTo>
                    <a:lnTo>
                      <a:pt x="472" y="421"/>
                    </a:lnTo>
                    <a:lnTo>
                      <a:pt x="472" y="425"/>
                    </a:lnTo>
                    <a:lnTo>
                      <a:pt x="472" y="428"/>
                    </a:lnTo>
                    <a:lnTo>
                      <a:pt x="467" y="429"/>
                    </a:lnTo>
                    <a:lnTo>
                      <a:pt x="467" y="431"/>
                    </a:lnTo>
                    <a:lnTo>
                      <a:pt x="465" y="434"/>
                    </a:lnTo>
                    <a:lnTo>
                      <a:pt x="464" y="434"/>
                    </a:lnTo>
                    <a:lnTo>
                      <a:pt x="464" y="433"/>
                    </a:lnTo>
                    <a:lnTo>
                      <a:pt x="463" y="433"/>
                    </a:lnTo>
                    <a:lnTo>
                      <a:pt x="462" y="433"/>
                    </a:lnTo>
                    <a:lnTo>
                      <a:pt x="463" y="434"/>
                    </a:lnTo>
                    <a:lnTo>
                      <a:pt x="462" y="434"/>
                    </a:lnTo>
                    <a:lnTo>
                      <a:pt x="462" y="435"/>
                    </a:lnTo>
                    <a:lnTo>
                      <a:pt x="461" y="437"/>
                    </a:lnTo>
                    <a:lnTo>
                      <a:pt x="460" y="438"/>
                    </a:lnTo>
                    <a:lnTo>
                      <a:pt x="460" y="440"/>
                    </a:lnTo>
                    <a:lnTo>
                      <a:pt x="460" y="442"/>
                    </a:lnTo>
                    <a:lnTo>
                      <a:pt x="459" y="446"/>
                    </a:lnTo>
                    <a:lnTo>
                      <a:pt x="460" y="448"/>
                    </a:lnTo>
                    <a:lnTo>
                      <a:pt x="459" y="450"/>
                    </a:lnTo>
                    <a:lnTo>
                      <a:pt x="460" y="451"/>
                    </a:lnTo>
                    <a:lnTo>
                      <a:pt x="460" y="454"/>
                    </a:lnTo>
                    <a:lnTo>
                      <a:pt x="462" y="454"/>
                    </a:lnTo>
                    <a:lnTo>
                      <a:pt x="463" y="452"/>
                    </a:lnTo>
                    <a:lnTo>
                      <a:pt x="466" y="457"/>
                    </a:lnTo>
                    <a:lnTo>
                      <a:pt x="469" y="456"/>
                    </a:lnTo>
                    <a:lnTo>
                      <a:pt x="473" y="457"/>
                    </a:lnTo>
                    <a:lnTo>
                      <a:pt x="473" y="459"/>
                    </a:lnTo>
                    <a:lnTo>
                      <a:pt x="474" y="463"/>
                    </a:lnTo>
                    <a:lnTo>
                      <a:pt x="476" y="468"/>
                    </a:lnTo>
                    <a:lnTo>
                      <a:pt x="476" y="469"/>
                    </a:lnTo>
                    <a:lnTo>
                      <a:pt x="475" y="470"/>
                    </a:lnTo>
                    <a:lnTo>
                      <a:pt x="475" y="471"/>
                    </a:lnTo>
                    <a:lnTo>
                      <a:pt x="476" y="473"/>
                    </a:lnTo>
                    <a:lnTo>
                      <a:pt x="474" y="476"/>
                    </a:lnTo>
                    <a:lnTo>
                      <a:pt x="473" y="475"/>
                    </a:lnTo>
                    <a:lnTo>
                      <a:pt x="473" y="477"/>
                    </a:lnTo>
                    <a:lnTo>
                      <a:pt x="472" y="476"/>
                    </a:lnTo>
                    <a:lnTo>
                      <a:pt x="472" y="477"/>
                    </a:lnTo>
                    <a:lnTo>
                      <a:pt x="471" y="477"/>
                    </a:lnTo>
                    <a:lnTo>
                      <a:pt x="470" y="478"/>
                    </a:lnTo>
                    <a:lnTo>
                      <a:pt x="470" y="480"/>
                    </a:lnTo>
                    <a:lnTo>
                      <a:pt x="467" y="481"/>
                    </a:lnTo>
                    <a:lnTo>
                      <a:pt x="467" y="480"/>
                    </a:lnTo>
                    <a:lnTo>
                      <a:pt x="466" y="480"/>
                    </a:lnTo>
                    <a:lnTo>
                      <a:pt x="464" y="481"/>
                    </a:lnTo>
                    <a:lnTo>
                      <a:pt x="463" y="480"/>
                    </a:lnTo>
                    <a:lnTo>
                      <a:pt x="462" y="481"/>
                    </a:lnTo>
                    <a:lnTo>
                      <a:pt x="462" y="478"/>
                    </a:lnTo>
                    <a:lnTo>
                      <a:pt x="459" y="476"/>
                    </a:lnTo>
                    <a:lnTo>
                      <a:pt x="459" y="478"/>
                    </a:lnTo>
                    <a:lnTo>
                      <a:pt x="457" y="477"/>
                    </a:lnTo>
                    <a:lnTo>
                      <a:pt x="457" y="480"/>
                    </a:lnTo>
                    <a:lnTo>
                      <a:pt x="455" y="481"/>
                    </a:lnTo>
                    <a:lnTo>
                      <a:pt x="454" y="480"/>
                    </a:lnTo>
                    <a:lnTo>
                      <a:pt x="455" y="478"/>
                    </a:lnTo>
                    <a:lnTo>
                      <a:pt x="453" y="478"/>
                    </a:lnTo>
                    <a:lnTo>
                      <a:pt x="453" y="480"/>
                    </a:lnTo>
                    <a:lnTo>
                      <a:pt x="454" y="481"/>
                    </a:lnTo>
                    <a:lnTo>
                      <a:pt x="454" y="483"/>
                    </a:lnTo>
                    <a:lnTo>
                      <a:pt x="452" y="483"/>
                    </a:lnTo>
                    <a:lnTo>
                      <a:pt x="452" y="484"/>
                    </a:lnTo>
                    <a:lnTo>
                      <a:pt x="451" y="485"/>
                    </a:lnTo>
                    <a:lnTo>
                      <a:pt x="451" y="486"/>
                    </a:lnTo>
                    <a:lnTo>
                      <a:pt x="451" y="488"/>
                    </a:lnTo>
                    <a:lnTo>
                      <a:pt x="451" y="489"/>
                    </a:lnTo>
                    <a:lnTo>
                      <a:pt x="447" y="488"/>
                    </a:lnTo>
                    <a:lnTo>
                      <a:pt x="447" y="486"/>
                    </a:lnTo>
                    <a:lnTo>
                      <a:pt x="447" y="484"/>
                    </a:lnTo>
                    <a:lnTo>
                      <a:pt x="444" y="482"/>
                    </a:lnTo>
                    <a:lnTo>
                      <a:pt x="444" y="483"/>
                    </a:lnTo>
                    <a:lnTo>
                      <a:pt x="444" y="482"/>
                    </a:lnTo>
                    <a:lnTo>
                      <a:pt x="444" y="483"/>
                    </a:lnTo>
                    <a:lnTo>
                      <a:pt x="442" y="483"/>
                    </a:lnTo>
                    <a:lnTo>
                      <a:pt x="441" y="483"/>
                    </a:lnTo>
                    <a:lnTo>
                      <a:pt x="440" y="482"/>
                    </a:lnTo>
                    <a:lnTo>
                      <a:pt x="439" y="481"/>
                    </a:lnTo>
                    <a:lnTo>
                      <a:pt x="439" y="480"/>
                    </a:lnTo>
                    <a:lnTo>
                      <a:pt x="438" y="480"/>
                    </a:lnTo>
                    <a:lnTo>
                      <a:pt x="438" y="478"/>
                    </a:lnTo>
                    <a:lnTo>
                      <a:pt x="439" y="478"/>
                    </a:lnTo>
                    <a:lnTo>
                      <a:pt x="438" y="478"/>
                    </a:lnTo>
                    <a:lnTo>
                      <a:pt x="437" y="479"/>
                    </a:lnTo>
                    <a:lnTo>
                      <a:pt x="436" y="478"/>
                    </a:lnTo>
                    <a:lnTo>
                      <a:pt x="435" y="478"/>
                    </a:lnTo>
                    <a:lnTo>
                      <a:pt x="435" y="482"/>
                    </a:lnTo>
                    <a:lnTo>
                      <a:pt x="433" y="480"/>
                    </a:lnTo>
                    <a:lnTo>
                      <a:pt x="430" y="481"/>
                    </a:lnTo>
                    <a:lnTo>
                      <a:pt x="429" y="481"/>
                    </a:lnTo>
                    <a:lnTo>
                      <a:pt x="429" y="482"/>
                    </a:lnTo>
                    <a:lnTo>
                      <a:pt x="428" y="482"/>
                    </a:lnTo>
                    <a:lnTo>
                      <a:pt x="427" y="481"/>
                    </a:lnTo>
                    <a:lnTo>
                      <a:pt x="426" y="482"/>
                    </a:lnTo>
                    <a:lnTo>
                      <a:pt x="425" y="482"/>
                    </a:lnTo>
                    <a:lnTo>
                      <a:pt x="424" y="482"/>
                    </a:lnTo>
                    <a:lnTo>
                      <a:pt x="421" y="483"/>
                    </a:lnTo>
                    <a:lnTo>
                      <a:pt x="419" y="480"/>
                    </a:lnTo>
                    <a:lnTo>
                      <a:pt x="417" y="480"/>
                    </a:lnTo>
                    <a:lnTo>
                      <a:pt x="416" y="478"/>
                    </a:lnTo>
                    <a:lnTo>
                      <a:pt x="414" y="479"/>
                    </a:lnTo>
                    <a:lnTo>
                      <a:pt x="413" y="480"/>
                    </a:lnTo>
                    <a:lnTo>
                      <a:pt x="412" y="480"/>
                    </a:lnTo>
                    <a:lnTo>
                      <a:pt x="411" y="478"/>
                    </a:lnTo>
                    <a:lnTo>
                      <a:pt x="411" y="479"/>
                    </a:lnTo>
                    <a:lnTo>
                      <a:pt x="409" y="478"/>
                    </a:lnTo>
                    <a:lnTo>
                      <a:pt x="410" y="477"/>
                    </a:lnTo>
                    <a:lnTo>
                      <a:pt x="408" y="475"/>
                    </a:lnTo>
                    <a:lnTo>
                      <a:pt x="403" y="475"/>
                    </a:lnTo>
                    <a:lnTo>
                      <a:pt x="400" y="475"/>
                    </a:lnTo>
                    <a:lnTo>
                      <a:pt x="398" y="479"/>
                    </a:lnTo>
                    <a:lnTo>
                      <a:pt x="399" y="480"/>
                    </a:lnTo>
                    <a:lnTo>
                      <a:pt x="401" y="481"/>
                    </a:lnTo>
                    <a:lnTo>
                      <a:pt x="402" y="484"/>
                    </a:lnTo>
                    <a:lnTo>
                      <a:pt x="402" y="486"/>
                    </a:lnTo>
                    <a:lnTo>
                      <a:pt x="402" y="487"/>
                    </a:lnTo>
                    <a:lnTo>
                      <a:pt x="399" y="488"/>
                    </a:lnTo>
                    <a:lnTo>
                      <a:pt x="395" y="486"/>
                    </a:lnTo>
                    <a:lnTo>
                      <a:pt x="394" y="488"/>
                    </a:lnTo>
                    <a:lnTo>
                      <a:pt x="391" y="486"/>
                    </a:lnTo>
                    <a:lnTo>
                      <a:pt x="389" y="486"/>
                    </a:lnTo>
                    <a:lnTo>
                      <a:pt x="388" y="487"/>
                    </a:lnTo>
                    <a:lnTo>
                      <a:pt x="388" y="489"/>
                    </a:lnTo>
                    <a:lnTo>
                      <a:pt x="387" y="490"/>
                    </a:lnTo>
                    <a:lnTo>
                      <a:pt x="387" y="491"/>
                    </a:lnTo>
                    <a:lnTo>
                      <a:pt x="388" y="492"/>
                    </a:lnTo>
                    <a:lnTo>
                      <a:pt x="389" y="495"/>
                    </a:lnTo>
                    <a:lnTo>
                      <a:pt x="388" y="495"/>
                    </a:lnTo>
                    <a:lnTo>
                      <a:pt x="386" y="495"/>
                    </a:lnTo>
                    <a:lnTo>
                      <a:pt x="386" y="496"/>
                    </a:lnTo>
                    <a:lnTo>
                      <a:pt x="386" y="499"/>
                    </a:lnTo>
                    <a:lnTo>
                      <a:pt x="384" y="499"/>
                    </a:lnTo>
                    <a:lnTo>
                      <a:pt x="383" y="501"/>
                    </a:lnTo>
                    <a:lnTo>
                      <a:pt x="382" y="501"/>
                    </a:lnTo>
                    <a:lnTo>
                      <a:pt x="381" y="499"/>
                    </a:lnTo>
                    <a:lnTo>
                      <a:pt x="379" y="501"/>
                    </a:lnTo>
                    <a:lnTo>
                      <a:pt x="377" y="501"/>
                    </a:lnTo>
                    <a:lnTo>
                      <a:pt x="377" y="498"/>
                    </a:lnTo>
                    <a:lnTo>
                      <a:pt x="374" y="495"/>
                    </a:lnTo>
                    <a:lnTo>
                      <a:pt x="376" y="494"/>
                    </a:lnTo>
                    <a:lnTo>
                      <a:pt x="374" y="493"/>
                    </a:lnTo>
                    <a:lnTo>
                      <a:pt x="373" y="492"/>
                    </a:lnTo>
                    <a:lnTo>
                      <a:pt x="374" y="491"/>
                    </a:lnTo>
                    <a:lnTo>
                      <a:pt x="373" y="490"/>
                    </a:lnTo>
                    <a:lnTo>
                      <a:pt x="373" y="489"/>
                    </a:lnTo>
                    <a:lnTo>
                      <a:pt x="373" y="485"/>
                    </a:lnTo>
                    <a:lnTo>
                      <a:pt x="371" y="486"/>
                    </a:lnTo>
                    <a:lnTo>
                      <a:pt x="372" y="485"/>
                    </a:lnTo>
                    <a:lnTo>
                      <a:pt x="372" y="484"/>
                    </a:lnTo>
                    <a:lnTo>
                      <a:pt x="371" y="484"/>
                    </a:lnTo>
                    <a:lnTo>
                      <a:pt x="372" y="483"/>
                    </a:lnTo>
                    <a:lnTo>
                      <a:pt x="372" y="481"/>
                    </a:lnTo>
                    <a:lnTo>
                      <a:pt x="370" y="480"/>
                    </a:lnTo>
                    <a:lnTo>
                      <a:pt x="371" y="480"/>
                    </a:lnTo>
                    <a:lnTo>
                      <a:pt x="372" y="480"/>
                    </a:lnTo>
                    <a:lnTo>
                      <a:pt x="370" y="478"/>
                    </a:lnTo>
                    <a:lnTo>
                      <a:pt x="370" y="477"/>
                    </a:lnTo>
                    <a:lnTo>
                      <a:pt x="369" y="479"/>
                    </a:lnTo>
                    <a:lnTo>
                      <a:pt x="368" y="479"/>
                    </a:lnTo>
                    <a:lnTo>
                      <a:pt x="367" y="478"/>
                    </a:lnTo>
                    <a:lnTo>
                      <a:pt x="366" y="478"/>
                    </a:lnTo>
                    <a:lnTo>
                      <a:pt x="364" y="482"/>
                    </a:lnTo>
                    <a:lnTo>
                      <a:pt x="365" y="483"/>
                    </a:lnTo>
                    <a:lnTo>
                      <a:pt x="364" y="484"/>
                    </a:lnTo>
                    <a:lnTo>
                      <a:pt x="363" y="483"/>
                    </a:lnTo>
                    <a:lnTo>
                      <a:pt x="363" y="481"/>
                    </a:lnTo>
                    <a:lnTo>
                      <a:pt x="362" y="479"/>
                    </a:lnTo>
                    <a:lnTo>
                      <a:pt x="361" y="479"/>
                    </a:lnTo>
                    <a:lnTo>
                      <a:pt x="359" y="478"/>
                    </a:lnTo>
                    <a:lnTo>
                      <a:pt x="357" y="475"/>
                    </a:lnTo>
                    <a:lnTo>
                      <a:pt x="356" y="470"/>
                    </a:lnTo>
                    <a:lnTo>
                      <a:pt x="355" y="470"/>
                    </a:lnTo>
                    <a:lnTo>
                      <a:pt x="354" y="470"/>
                    </a:lnTo>
                    <a:lnTo>
                      <a:pt x="348" y="468"/>
                    </a:lnTo>
                    <a:lnTo>
                      <a:pt x="347" y="465"/>
                    </a:lnTo>
                    <a:lnTo>
                      <a:pt x="344" y="460"/>
                    </a:lnTo>
                    <a:lnTo>
                      <a:pt x="345" y="459"/>
                    </a:lnTo>
                    <a:lnTo>
                      <a:pt x="344" y="459"/>
                    </a:lnTo>
                    <a:lnTo>
                      <a:pt x="343" y="461"/>
                    </a:lnTo>
                    <a:lnTo>
                      <a:pt x="343" y="464"/>
                    </a:lnTo>
                    <a:lnTo>
                      <a:pt x="340" y="464"/>
                    </a:lnTo>
                    <a:lnTo>
                      <a:pt x="340" y="465"/>
                    </a:lnTo>
                    <a:lnTo>
                      <a:pt x="338" y="465"/>
                    </a:lnTo>
                    <a:lnTo>
                      <a:pt x="338" y="466"/>
                    </a:lnTo>
                    <a:lnTo>
                      <a:pt x="338" y="465"/>
                    </a:lnTo>
                    <a:lnTo>
                      <a:pt x="337" y="467"/>
                    </a:lnTo>
                    <a:lnTo>
                      <a:pt x="337" y="468"/>
                    </a:lnTo>
                    <a:lnTo>
                      <a:pt x="338" y="468"/>
                    </a:lnTo>
                    <a:lnTo>
                      <a:pt x="337" y="471"/>
                    </a:lnTo>
                    <a:lnTo>
                      <a:pt x="333" y="469"/>
                    </a:lnTo>
                    <a:lnTo>
                      <a:pt x="333" y="470"/>
                    </a:lnTo>
                    <a:lnTo>
                      <a:pt x="333" y="471"/>
                    </a:lnTo>
                    <a:lnTo>
                      <a:pt x="332" y="471"/>
                    </a:lnTo>
                    <a:lnTo>
                      <a:pt x="333" y="472"/>
                    </a:lnTo>
                    <a:lnTo>
                      <a:pt x="332" y="472"/>
                    </a:lnTo>
                    <a:lnTo>
                      <a:pt x="333" y="473"/>
                    </a:lnTo>
                    <a:lnTo>
                      <a:pt x="332" y="475"/>
                    </a:lnTo>
                    <a:lnTo>
                      <a:pt x="333" y="476"/>
                    </a:lnTo>
                    <a:lnTo>
                      <a:pt x="332" y="476"/>
                    </a:lnTo>
                    <a:lnTo>
                      <a:pt x="331" y="477"/>
                    </a:lnTo>
                    <a:lnTo>
                      <a:pt x="330" y="477"/>
                    </a:lnTo>
                    <a:lnTo>
                      <a:pt x="330" y="480"/>
                    </a:lnTo>
                    <a:lnTo>
                      <a:pt x="329" y="480"/>
                    </a:lnTo>
                    <a:lnTo>
                      <a:pt x="329" y="481"/>
                    </a:lnTo>
                    <a:lnTo>
                      <a:pt x="329" y="482"/>
                    </a:lnTo>
                    <a:lnTo>
                      <a:pt x="331" y="483"/>
                    </a:lnTo>
                    <a:lnTo>
                      <a:pt x="330" y="486"/>
                    </a:lnTo>
                    <a:lnTo>
                      <a:pt x="330" y="487"/>
                    </a:lnTo>
                    <a:lnTo>
                      <a:pt x="332" y="486"/>
                    </a:lnTo>
                    <a:lnTo>
                      <a:pt x="332" y="488"/>
                    </a:lnTo>
                    <a:lnTo>
                      <a:pt x="331" y="488"/>
                    </a:lnTo>
                    <a:lnTo>
                      <a:pt x="333" y="489"/>
                    </a:lnTo>
                    <a:lnTo>
                      <a:pt x="333" y="490"/>
                    </a:lnTo>
                    <a:lnTo>
                      <a:pt x="331" y="491"/>
                    </a:lnTo>
                    <a:lnTo>
                      <a:pt x="333" y="491"/>
                    </a:lnTo>
                    <a:lnTo>
                      <a:pt x="332" y="492"/>
                    </a:lnTo>
                    <a:lnTo>
                      <a:pt x="330" y="492"/>
                    </a:lnTo>
                    <a:lnTo>
                      <a:pt x="329" y="492"/>
                    </a:lnTo>
                    <a:lnTo>
                      <a:pt x="329" y="493"/>
                    </a:lnTo>
                    <a:lnTo>
                      <a:pt x="325" y="493"/>
                    </a:lnTo>
                    <a:lnTo>
                      <a:pt x="325" y="494"/>
                    </a:lnTo>
                    <a:lnTo>
                      <a:pt x="324" y="494"/>
                    </a:lnTo>
                    <a:lnTo>
                      <a:pt x="324" y="493"/>
                    </a:lnTo>
                    <a:lnTo>
                      <a:pt x="321" y="493"/>
                    </a:lnTo>
                    <a:lnTo>
                      <a:pt x="320" y="492"/>
                    </a:lnTo>
                    <a:lnTo>
                      <a:pt x="320" y="493"/>
                    </a:lnTo>
                    <a:lnTo>
                      <a:pt x="320" y="494"/>
                    </a:lnTo>
                    <a:lnTo>
                      <a:pt x="318" y="494"/>
                    </a:lnTo>
                    <a:lnTo>
                      <a:pt x="317" y="494"/>
                    </a:lnTo>
                    <a:lnTo>
                      <a:pt x="316" y="496"/>
                    </a:lnTo>
                    <a:lnTo>
                      <a:pt x="313" y="499"/>
                    </a:lnTo>
                    <a:lnTo>
                      <a:pt x="312" y="498"/>
                    </a:lnTo>
                    <a:lnTo>
                      <a:pt x="312" y="499"/>
                    </a:lnTo>
                    <a:lnTo>
                      <a:pt x="310" y="499"/>
                    </a:lnTo>
                    <a:lnTo>
                      <a:pt x="308" y="500"/>
                    </a:lnTo>
                    <a:lnTo>
                      <a:pt x="308" y="501"/>
                    </a:lnTo>
                    <a:lnTo>
                      <a:pt x="307" y="501"/>
                    </a:lnTo>
                    <a:lnTo>
                      <a:pt x="308" y="505"/>
                    </a:lnTo>
                    <a:lnTo>
                      <a:pt x="307" y="506"/>
                    </a:lnTo>
                    <a:lnTo>
                      <a:pt x="307" y="509"/>
                    </a:lnTo>
                    <a:lnTo>
                      <a:pt x="306" y="509"/>
                    </a:lnTo>
                    <a:lnTo>
                      <a:pt x="304" y="509"/>
                    </a:lnTo>
                    <a:lnTo>
                      <a:pt x="303" y="507"/>
                    </a:lnTo>
                    <a:lnTo>
                      <a:pt x="304" y="506"/>
                    </a:lnTo>
                    <a:lnTo>
                      <a:pt x="303" y="502"/>
                    </a:lnTo>
                    <a:lnTo>
                      <a:pt x="301" y="501"/>
                    </a:lnTo>
                    <a:lnTo>
                      <a:pt x="296" y="498"/>
                    </a:lnTo>
                    <a:lnTo>
                      <a:pt x="291" y="499"/>
                    </a:lnTo>
                    <a:lnTo>
                      <a:pt x="289" y="499"/>
                    </a:lnTo>
                    <a:lnTo>
                      <a:pt x="289" y="498"/>
                    </a:lnTo>
                    <a:lnTo>
                      <a:pt x="287" y="498"/>
                    </a:lnTo>
                    <a:lnTo>
                      <a:pt x="287" y="496"/>
                    </a:lnTo>
                    <a:lnTo>
                      <a:pt x="288" y="495"/>
                    </a:lnTo>
                    <a:lnTo>
                      <a:pt x="289" y="495"/>
                    </a:lnTo>
                    <a:lnTo>
                      <a:pt x="290" y="493"/>
                    </a:lnTo>
                    <a:lnTo>
                      <a:pt x="291" y="492"/>
                    </a:lnTo>
                    <a:lnTo>
                      <a:pt x="292" y="489"/>
                    </a:lnTo>
                    <a:lnTo>
                      <a:pt x="292" y="488"/>
                    </a:lnTo>
                    <a:lnTo>
                      <a:pt x="291" y="488"/>
                    </a:lnTo>
                    <a:lnTo>
                      <a:pt x="290" y="490"/>
                    </a:lnTo>
                    <a:lnTo>
                      <a:pt x="289" y="491"/>
                    </a:lnTo>
                    <a:lnTo>
                      <a:pt x="287" y="490"/>
                    </a:lnTo>
                    <a:lnTo>
                      <a:pt x="287" y="492"/>
                    </a:lnTo>
                    <a:lnTo>
                      <a:pt x="286" y="492"/>
                    </a:lnTo>
                    <a:lnTo>
                      <a:pt x="286" y="489"/>
                    </a:lnTo>
                    <a:lnTo>
                      <a:pt x="284" y="493"/>
                    </a:lnTo>
                    <a:lnTo>
                      <a:pt x="282" y="492"/>
                    </a:lnTo>
                    <a:lnTo>
                      <a:pt x="283" y="492"/>
                    </a:lnTo>
                    <a:lnTo>
                      <a:pt x="282" y="492"/>
                    </a:lnTo>
                    <a:lnTo>
                      <a:pt x="281" y="492"/>
                    </a:lnTo>
                    <a:lnTo>
                      <a:pt x="281" y="491"/>
                    </a:lnTo>
                    <a:lnTo>
                      <a:pt x="280" y="492"/>
                    </a:lnTo>
                    <a:lnTo>
                      <a:pt x="280" y="491"/>
                    </a:lnTo>
                    <a:lnTo>
                      <a:pt x="278" y="490"/>
                    </a:lnTo>
                    <a:lnTo>
                      <a:pt x="277" y="489"/>
                    </a:lnTo>
                    <a:lnTo>
                      <a:pt x="276" y="489"/>
                    </a:lnTo>
                    <a:lnTo>
                      <a:pt x="275" y="491"/>
                    </a:lnTo>
                    <a:lnTo>
                      <a:pt x="274" y="489"/>
                    </a:lnTo>
                    <a:lnTo>
                      <a:pt x="273" y="489"/>
                    </a:lnTo>
                    <a:lnTo>
                      <a:pt x="273" y="488"/>
                    </a:lnTo>
                    <a:lnTo>
                      <a:pt x="272" y="489"/>
                    </a:lnTo>
                    <a:lnTo>
                      <a:pt x="272" y="488"/>
                    </a:lnTo>
                    <a:lnTo>
                      <a:pt x="270" y="488"/>
                    </a:lnTo>
                    <a:lnTo>
                      <a:pt x="272" y="485"/>
                    </a:lnTo>
                    <a:lnTo>
                      <a:pt x="271" y="484"/>
                    </a:lnTo>
                    <a:lnTo>
                      <a:pt x="269" y="484"/>
                    </a:lnTo>
                    <a:lnTo>
                      <a:pt x="268" y="486"/>
                    </a:lnTo>
                    <a:lnTo>
                      <a:pt x="266" y="485"/>
                    </a:lnTo>
                    <a:lnTo>
                      <a:pt x="263" y="482"/>
                    </a:lnTo>
                    <a:lnTo>
                      <a:pt x="261" y="482"/>
                    </a:lnTo>
                    <a:lnTo>
                      <a:pt x="261" y="483"/>
                    </a:lnTo>
                    <a:lnTo>
                      <a:pt x="260" y="486"/>
                    </a:lnTo>
                    <a:lnTo>
                      <a:pt x="258" y="486"/>
                    </a:lnTo>
                    <a:lnTo>
                      <a:pt x="258" y="488"/>
                    </a:lnTo>
                    <a:lnTo>
                      <a:pt x="260" y="488"/>
                    </a:lnTo>
                    <a:lnTo>
                      <a:pt x="259" y="488"/>
                    </a:lnTo>
                    <a:lnTo>
                      <a:pt x="258" y="488"/>
                    </a:lnTo>
                    <a:lnTo>
                      <a:pt x="257" y="486"/>
                    </a:lnTo>
                    <a:lnTo>
                      <a:pt x="256" y="488"/>
                    </a:lnTo>
                    <a:lnTo>
                      <a:pt x="255" y="486"/>
                    </a:lnTo>
                    <a:lnTo>
                      <a:pt x="255" y="485"/>
                    </a:lnTo>
                    <a:lnTo>
                      <a:pt x="254" y="483"/>
                    </a:lnTo>
                    <a:lnTo>
                      <a:pt x="252" y="483"/>
                    </a:lnTo>
                    <a:lnTo>
                      <a:pt x="252" y="480"/>
                    </a:lnTo>
                    <a:lnTo>
                      <a:pt x="250" y="480"/>
                    </a:lnTo>
                    <a:lnTo>
                      <a:pt x="249" y="481"/>
                    </a:lnTo>
                    <a:lnTo>
                      <a:pt x="248" y="481"/>
                    </a:lnTo>
                    <a:lnTo>
                      <a:pt x="245" y="475"/>
                    </a:lnTo>
                    <a:lnTo>
                      <a:pt x="244" y="475"/>
                    </a:lnTo>
                    <a:lnTo>
                      <a:pt x="243" y="473"/>
                    </a:lnTo>
                    <a:lnTo>
                      <a:pt x="243" y="476"/>
                    </a:lnTo>
                    <a:lnTo>
                      <a:pt x="242" y="475"/>
                    </a:lnTo>
                    <a:lnTo>
                      <a:pt x="241" y="475"/>
                    </a:lnTo>
                    <a:lnTo>
                      <a:pt x="242" y="475"/>
                    </a:lnTo>
                    <a:lnTo>
                      <a:pt x="243" y="479"/>
                    </a:lnTo>
                    <a:lnTo>
                      <a:pt x="242" y="480"/>
                    </a:lnTo>
                    <a:lnTo>
                      <a:pt x="243" y="480"/>
                    </a:lnTo>
                    <a:lnTo>
                      <a:pt x="242" y="482"/>
                    </a:lnTo>
                    <a:lnTo>
                      <a:pt x="242" y="483"/>
                    </a:lnTo>
                    <a:lnTo>
                      <a:pt x="244" y="483"/>
                    </a:lnTo>
                    <a:lnTo>
                      <a:pt x="243" y="484"/>
                    </a:lnTo>
                    <a:lnTo>
                      <a:pt x="242" y="483"/>
                    </a:lnTo>
                    <a:lnTo>
                      <a:pt x="242" y="484"/>
                    </a:lnTo>
                    <a:lnTo>
                      <a:pt x="241" y="481"/>
                    </a:lnTo>
                    <a:lnTo>
                      <a:pt x="240" y="481"/>
                    </a:lnTo>
                    <a:lnTo>
                      <a:pt x="239" y="480"/>
                    </a:lnTo>
                    <a:lnTo>
                      <a:pt x="237" y="480"/>
                    </a:lnTo>
                    <a:lnTo>
                      <a:pt x="236" y="481"/>
                    </a:lnTo>
                    <a:lnTo>
                      <a:pt x="235" y="480"/>
                    </a:lnTo>
                    <a:lnTo>
                      <a:pt x="235" y="481"/>
                    </a:lnTo>
                    <a:lnTo>
                      <a:pt x="234" y="481"/>
                    </a:lnTo>
                    <a:lnTo>
                      <a:pt x="235" y="482"/>
                    </a:lnTo>
                    <a:lnTo>
                      <a:pt x="234" y="482"/>
                    </a:lnTo>
                    <a:lnTo>
                      <a:pt x="234" y="483"/>
                    </a:lnTo>
                    <a:lnTo>
                      <a:pt x="234" y="482"/>
                    </a:lnTo>
                    <a:lnTo>
                      <a:pt x="234" y="483"/>
                    </a:lnTo>
                    <a:lnTo>
                      <a:pt x="233" y="484"/>
                    </a:lnTo>
                    <a:lnTo>
                      <a:pt x="232" y="482"/>
                    </a:lnTo>
                    <a:lnTo>
                      <a:pt x="232" y="483"/>
                    </a:lnTo>
                    <a:lnTo>
                      <a:pt x="231" y="486"/>
                    </a:lnTo>
                    <a:lnTo>
                      <a:pt x="230" y="486"/>
                    </a:lnTo>
                    <a:lnTo>
                      <a:pt x="231" y="484"/>
                    </a:lnTo>
                    <a:lnTo>
                      <a:pt x="229" y="484"/>
                    </a:lnTo>
                    <a:lnTo>
                      <a:pt x="228" y="485"/>
                    </a:lnTo>
                    <a:lnTo>
                      <a:pt x="227" y="487"/>
                    </a:lnTo>
                    <a:lnTo>
                      <a:pt x="227" y="485"/>
                    </a:lnTo>
                    <a:lnTo>
                      <a:pt x="226" y="485"/>
                    </a:lnTo>
                    <a:lnTo>
                      <a:pt x="226" y="484"/>
                    </a:lnTo>
                    <a:lnTo>
                      <a:pt x="224" y="483"/>
                    </a:lnTo>
                    <a:lnTo>
                      <a:pt x="221" y="485"/>
                    </a:lnTo>
                    <a:lnTo>
                      <a:pt x="220" y="484"/>
                    </a:lnTo>
                    <a:lnTo>
                      <a:pt x="219" y="484"/>
                    </a:lnTo>
                    <a:lnTo>
                      <a:pt x="221" y="484"/>
                    </a:lnTo>
                    <a:lnTo>
                      <a:pt x="221" y="483"/>
                    </a:lnTo>
                    <a:lnTo>
                      <a:pt x="221" y="481"/>
                    </a:lnTo>
                    <a:lnTo>
                      <a:pt x="222" y="480"/>
                    </a:lnTo>
                    <a:lnTo>
                      <a:pt x="222" y="478"/>
                    </a:lnTo>
                    <a:lnTo>
                      <a:pt x="221" y="478"/>
                    </a:lnTo>
                    <a:lnTo>
                      <a:pt x="220" y="478"/>
                    </a:lnTo>
                    <a:lnTo>
                      <a:pt x="219" y="477"/>
                    </a:lnTo>
                    <a:lnTo>
                      <a:pt x="219" y="475"/>
                    </a:lnTo>
                    <a:lnTo>
                      <a:pt x="218" y="476"/>
                    </a:lnTo>
                    <a:lnTo>
                      <a:pt x="216" y="473"/>
                    </a:lnTo>
                    <a:lnTo>
                      <a:pt x="213" y="475"/>
                    </a:lnTo>
                    <a:lnTo>
                      <a:pt x="212" y="473"/>
                    </a:lnTo>
                    <a:lnTo>
                      <a:pt x="212" y="474"/>
                    </a:lnTo>
                    <a:lnTo>
                      <a:pt x="212" y="473"/>
                    </a:lnTo>
                    <a:lnTo>
                      <a:pt x="211" y="472"/>
                    </a:lnTo>
                    <a:lnTo>
                      <a:pt x="212" y="469"/>
                    </a:lnTo>
                    <a:lnTo>
                      <a:pt x="211" y="467"/>
                    </a:lnTo>
                    <a:lnTo>
                      <a:pt x="208" y="466"/>
                    </a:lnTo>
                    <a:lnTo>
                      <a:pt x="208" y="465"/>
                    </a:lnTo>
                    <a:lnTo>
                      <a:pt x="206" y="465"/>
                    </a:lnTo>
                    <a:lnTo>
                      <a:pt x="206" y="463"/>
                    </a:lnTo>
                    <a:lnTo>
                      <a:pt x="203" y="465"/>
                    </a:lnTo>
                    <a:lnTo>
                      <a:pt x="202" y="465"/>
                    </a:lnTo>
                    <a:lnTo>
                      <a:pt x="198" y="465"/>
                    </a:lnTo>
                    <a:lnTo>
                      <a:pt x="197" y="463"/>
                    </a:lnTo>
                    <a:lnTo>
                      <a:pt x="196" y="465"/>
                    </a:lnTo>
                    <a:lnTo>
                      <a:pt x="195" y="465"/>
                    </a:lnTo>
                    <a:lnTo>
                      <a:pt x="194" y="465"/>
                    </a:lnTo>
                    <a:lnTo>
                      <a:pt x="194" y="467"/>
                    </a:lnTo>
                    <a:lnTo>
                      <a:pt x="194" y="470"/>
                    </a:lnTo>
                    <a:lnTo>
                      <a:pt x="192" y="471"/>
                    </a:lnTo>
                    <a:lnTo>
                      <a:pt x="192" y="472"/>
                    </a:lnTo>
                    <a:lnTo>
                      <a:pt x="190" y="473"/>
                    </a:lnTo>
                    <a:lnTo>
                      <a:pt x="189" y="473"/>
                    </a:lnTo>
                    <a:lnTo>
                      <a:pt x="189" y="475"/>
                    </a:lnTo>
                    <a:lnTo>
                      <a:pt x="190" y="474"/>
                    </a:lnTo>
                    <a:lnTo>
                      <a:pt x="188" y="476"/>
                    </a:lnTo>
                    <a:lnTo>
                      <a:pt x="188" y="478"/>
                    </a:lnTo>
                    <a:lnTo>
                      <a:pt x="186" y="477"/>
                    </a:lnTo>
                    <a:lnTo>
                      <a:pt x="186" y="476"/>
                    </a:lnTo>
                    <a:lnTo>
                      <a:pt x="187" y="475"/>
                    </a:lnTo>
                    <a:lnTo>
                      <a:pt x="184" y="475"/>
                    </a:lnTo>
                    <a:lnTo>
                      <a:pt x="181" y="475"/>
                    </a:lnTo>
                    <a:lnTo>
                      <a:pt x="180" y="476"/>
                    </a:lnTo>
                    <a:lnTo>
                      <a:pt x="178" y="475"/>
                    </a:lnTo>
                    <a:lnTo>
                      <a:pt x="177" y="475"/>
                    </a:lnTo>
                    <a:lnTo>
                      <a:pt x="174" y="475"/>
                    </a:lnTo>
                    <a:lnTo>
                      <a:pt x="173" y="475"/>
                    </a:lnTo>
                    <a:lnTo>
                      <a:pt x="172" y="476"/>
                    </a:lnTo>
                    <a:lnTo>
                      <a:pt x="170" y="473"/>
                    </a:lnTo>
                    <a:lnTo>
                      <a:pt x="168" y="473"/>
                    </a:lnTo>
                    <a:lnTo>
                      <a:pt x="165" y="472"/>
                    </a:lnTo>
                    <a:lnTo>
                      <a:pt x="165" y="476"/>
                    </a:lnTo>
                    <a:lnTo>
                      <a:pt x="163" y="475"/>
                    </a:lnTo>
                    <a:lnTo>
                      <a:pt x="161" y="475"/>
                    </a:lnTo>
                    <a:lnTo>
                      <a:pt x="161" y="473"/>
                    </a:lnTo>
                    <a:lnTo>
                      <a:pt x="161" y="472"/>
                    </a:lnTo>
                    <a:lnTo>
                      <a:pt x="161" y="471"/>
                    </a:lnTo>
                    <a:lnTo>
                      <a:pt x="159" y="471"/>
                    </a:lnTo>
                    <a:lnTo>
                      <a:pt x="159" y="473"/>
                    </a:lnTo>
                    <a:lnTo>
                      <a:pt x="158" y="475"/>
                    </a:lnTo>
                    <a:lnTo>
                      <a:pt x="156" y="474"/>
                    </a:lnTo>
                    <a:lnTo>
                      <a:pt x="155" y="475"/>
                    </a:lnTo>
                    <a:lnTo>
                      <a:pt x="155" y="473"/>
                    </a:lnTo>
                    <a:lnTo>
                      <a:pt x="152" y="473"/>
                    </a:lnTo>
                    <a:lnTo>
                      <a:pt x="152" y="472"/>
                    </a:lnTo>
                    <a:lnTo>
                      <a:pt x="151" y="473"/>
                    </a:lnTo>
                    <a:lnTo>
                      <a:pt x="150" y="472"/>
                    </a:lnTo>
                    <a:lnTo>
                      <a:pt x="149" y="469"/>
                    </a:lnTo>
                    <a:lnTo>
                      <a:pt x="150" y="468"/>
                    </a:lnTo>
                    <a:lnTo>
                      <a:pt x="150" y="467"/>
                    </a:lnTo>
                    <a:lnTo>
                      <a:pt x="150" y="464"/>
                    </a:lnTo>
                    <a:lnTo>
                      <a:pt x="150" y="463"/>
                    </a:lnTo>
                    <a:lnTo>
                      <a:pt x="151" y="462"/>
                    </a:lnTo>
                    <a:lnTo>
                      <a:pt x="151" y="461"/>
                    </a:lnTo>
                    <a:lnTo>
                      <a:pt x="153" y="461"/>
                    </a:lnTo>
                    <a:lnTo>
                      <a:pt x="151" y="460"/>
                    </a:lnTo>
                    <a:lnTo>
                      <a:pt x="149" y="458"/>
                    </a:lnTo>
                    <a:lnTo>
                      <a:pt x="145" y="458"/>
                    </a:lnTo>
                    <a:lnTo>
                      <a:pt x="144" y="45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1" name="Freeform 130">
                <a:extLst>
                  <a:ext uri="{FF2B5EF4-FFF2-40B4-BE49-F238E27FC236}">
                    <a16:creationId xmlns:a16="http://schemas.microsoft.com/office/drawing/2014/main" id="{B3DB7B2E-2A41-7A21-2B76-0A0EED33BA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1" y="2910"/>
                <a:ext cx="569" cy="509"/>
              </a:xfrm>
              <a:custGeom>
                <a:avLst/>
                <a:gdLst>
                  <a:gd name="T0" fmla="*/ 128 w 569"/>
                  <a:gd name="T1" fmla="*/ 470 h 509"/>
                  <a:gd name="T2" fmla="*/ 100 w 569"/>
                  <a:gd name="T3" fmla="*/ 473 h 509"/>
                  <a:gd name="T4" fmla="*/ 79 w 569"/>
                  <a:gd name="T5" fmla="*/ 467 h 509"/>
                  <a:gd name="T6" fmla="*/ 69 w 569"/>
                  <a:gd name="T7" fmla="*/ 420 h 509"/>
                  <a:gd name="T8" fmla="*/ 60 w 569"/>
                  <a:gd name="T9" fmla="*/ 397 h 509"/>
                  <a:gd name="T10" fmla="*/ 56 w 569"/>
                  <a:gd name="T11" fmla="*/ 386 h 509"/>
                  <a:gd name="T12" fmla="*/ 81 w 569"/>
                  <a:gd name="T13" fmla="*/ 368 h 509"/>
                  <a:gd name="T14" fmla="*/ 91 w 569"/>
                  <a:gd name="T15" fmla="*/ 338 h 509"/>
                  <a:gd name="T16" fmla="*/ 106 w 569"/>
                  <a:gd name="T17" fmla="*/ 306 h 509"/>
                  <a:gd name="T18" fmla="*/ 89 w 569"/>
                  <a:gd name="T19" fmla="*/ 267 h 509"/>
                  <a:gd name="T20" fmla="*/ 60 w 569"/>
                  <a:gd name="T21" fmla="*/ 236 h 509"/>
                  <a:gd name="T22" fmla="*/ 33 w 569"/>
                  <a:gd name="T23" fmla="*/ 210 h 509"/>
                  <a:gd name="T24" fmla="*/ 6 w 569"/>
                  <a:gd name="T25" fmla="*/ 198 h 509"/>
                  <a:gd name="T26" fmla="*/ 25 w 569"/>
                  <a:gd name="T27" fmla="*/ 175 h 509"/>
                  <a:gd name="T28" fmla="*/ 41 w 569"/>
                  <a:gd name="T29" fmla="*/ 146 h 509"/>
                  <a:gd name="T30" fmla="*/ 85 w 569"/>
                  <a:gd name="T31" fmla="*/ 126 h 509"/>
                  <a:gd name="T32" fmla="*/ 128 w 569"/>
                  <a:gd name="T33" fmla="*/ 122 h 509"/>
                  <a:gd name="T34" fmla="*/ 164 w 569"/>
                  <a:gd name="T35" fmla="*/ 107 h 509"/>
                  <a:gd name="T36" fmla="*/ 188 w 569"/>
                  <a:gd name="T37" fmla="*/ 92 h 509"/>
                  <a:gd name="T38" fmla="*/ 237 w 569"/>
                  <a:gd name="T39" fmla="*/ 103 h 509"/>
                  <a:gd name="T40" fmla="*/ 273 w 569"/>
                  <a:gd name="T41" fmla="*/ 101 h 509"/>
                  <a:gd name="T42" fmla="*/ 282 w 569"/>
                  <a:gd name="T43" fmla="*/ 78 h 509"/>
                  <a:gd name="T44" fmla="*/ 295 w 569"/>
                  <a:gd name="T45" fmla="*/ 68 h 509"/>
                  <a:gd name="T46" fmla="*/ 321 w 569"/>
                  <a:gd name="T47" fmla="*/ 39 h 509"/>
                  <a:gd name="T48" fmla="*/ 343 w 569"/>
                  <a:gd name="T49" fmla="*/ 44 h 509"/>
                  <a:gd name="T50" fmla="*/ 368 w 569"/>
                  <a:gd name="T51" fmla="*/ 52 h 509"/>
                  <a:gd name="T52" fmla="*/ 423 w 569"/>
                  <a:gd name="T53" fmla="*/ 18 h 509"/>
                  <a:gd name="T54" fmla="*/ 446 w 569"/>
                  <a:gd name="T55" fmla="*/ 7 h 509"/>
                  <a:gd name="T56" fmla="*/ 468 w 569"/>
                  <a:gd name="T57" fmla="*/ 20 h 509"/>
                  <a:gd name="T58" fmla="*/ 488 w 569"/>
                  <a:gd name="T59" fmla="*/ 49 h 509"/>
                  <a:gd name="T60" fmla="*/ 491 w 569"/>
                  <a:gd name="T61" fmla="*/ 77 h 509"/>
                  <a:gd name="T62" fmla="*/ 489 w 569"/>
                  <a:gd name="T63" fmla="*/ 109 h 509"/>
                  <a:gd name="T64" fmla="*/ 483 w 569"/>
                  <a:gd name="T65" fmla="*/ 137 h 509"/>
                  <a:gd name="T66" fmla="*/ 499 w 569"/>
                  <a:gd name="T67" fmla="*/ 161 h 509"/>
                  <a:gd name="T68" fmla="*/ 528 w 569"/>
                  <a:gd name="T69" fmla="*/ 171 h 509"/>
                  <a:gd name="T70" fmla="*/ 541 w 569"/>
                  <a:gd name="T71" fmla="*/ 189 h 509"/>
                  <a:gd name="T72" fmla="*/ 539 w 569"/>
                  <a:gd name="T73" fmla="*/ 225 h 509"/>
                  <a:gd name="T74" fmla="*/ 552 w 569"/>
                  <a:gd name="T75" fmla="*/ 249 h 509"/>
                  <a:gd name="T76" fmla="*/ 542 w 569"/>
                  <a:gd name="T77" fmla="*/ 279 h 509"/>
                  <a:gd name="T78" fmla="*/ 530 w 569"/>
                  <a:gd name="T79" fmla="*/ 288 h 509"/>
                  <a:gd name="T80" fmla="*/ 548 w 569"/>
                  <a:gd name="T81" fmla="*/ 306 h 509"/>
                  <a:gd name="T82" fmla="*/ 567 w 569"/>
                  <a:gd name="T83" fmla="*/ 330 h 509"/>
                  <a:gd name="T84" fmla="*/ 557 w 569"/>
                  <a:gd name="T85" fmla="*/ 360 h 509"/>
                  <a:gd name="T86" fmla="*/ 544 w 569"/>
                  <a:gd name="T87" fmla="*/ 384 h 509"/>
                  <a:gd name="T88" fmla="*/ 524 w 569"/>
                  <a:gd name="T89" fmla="*/ 401 h 509"/>
                  <a:gd name="T90" fmla="*/ 495 w 569"/>
                  <a:gd name="T91" fmla="*/ 412 h 509"/>
                  <a:gd name="T92" fmla="*/ 475 w 569"/>
                  <a:gd name="T93" fmla="*/ 420 h 509"/>
                  <a:gd name="T94" fmla="*/ 469 w 569"/>
                  <a:gd name="T95" fmla="*/ 456 h 509"/>
                  <a:gd name="T96" fmla="*/ 457 w 569"/>
                  <a:gd name="T97" fmla="*/ 480 h 509"/>
                  <a:gd name="T98" fmla="*/ 438 w 569"/>
                  <a:gd name="T99" fmla="*/ 480 h 509"/>
                  <a:gd name="T100" fmla="*/ 411 w 569"/>
                  <a:gd name="T101" fmla="*/ 478 h 509"/>
                  <a:gd name="T102" fmla="*/ 386 w 569"/>
                  <a:gd name="T103" fmla="*/ 495 h 509"/>
                  <a:gd name="T104" fmla="*/ 372 w 569"/>
                  <a:gd name="T105" fmla="*/ 480 h 509"/>
                  <a:gd name="T106" fmla="*/ 340 w 569"/>
                  <a:gd name="T107" fmla="*/ 465 h 509"/>
                  <a:gd name="T108" fmla="*/ 330 w 569"/>
                  <a:gd name="T109" fmla="*/ 486 h 509"/>
                  <a:gd name="T110" fmla="*/ 312 w 569"/>
                  <a:gd name="T111" fmla="*/ 499 h 509"/>
                  <a:gd name="T112" fmla="*/ 291 w 569"/>
                  <a:gd name="T113" fmla="*/ 488 h 509"/>
                  <a:gd name="T114" fmla="*/ 269 w 569"/>
                  <a:gd name="T115" fmla="*/ 484 h 509"/>
                  <a:gd name="T116" fmla="*/ 243 w 569"/>
                  <a:gd name="T117" fmla="*/ 476 h 509"/>
                  <a:gd name="T118" fmla="*/ 233 w 569"/>
                  <a:gd name="T119" fmla="*/ 484 h 509"/>
                  <a:gd name="T120" fmla="*/ 216 w 569"/>
                  <a:gd name="T121" fmla="*/ 473 h 509"/>
                  <a:gd name="T122" fmla="*/ 190 w 569"/>
                  <a:gd name="T123" fmla="*/ 474 h 509"/>
                  <a:gd name="T124" fmla="*/ 158 w 569"/>
                  <a:gd name="T125" fmla="*/ 475 h 50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569"/>
                  <a:gd name="T190" fmla="*/ 0 h 509"/>
                  <a:gd name="T191" fmla="*/ 569 w 569"/>
                  <a:gd name="T192" fmla="*/ 509 h 50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569" h="509">
                    <a:moveTo>
                      <a:pt x="144" y="458"/>
                    </a:moveTo>
                    <a:lnTo>
                      <a:pt x="142" y="460"/>
                    </a:lnTo>
                    <a:lnTo>
                      <a:pt x="142" y="459"/>
                    </a:lnTo>
                    <a:lnTo>
                      <a:pt x="139" y="461"/>
                    </a:lnTo>
                    <a:lnTo>
                      <a:pt x="138" y="461"/>
                    </a:lnTo>
                    <a:lnTo>
                      <a:pt x="136" y="460"/>
                    </a:lnTo>
                    <a:lnTo>
                      <a:pt x="135" y="463"/>
                    </a:lnTo>
                    <a:lnTo>
                      <a:pt x="136" y="465"/>
                    </a:lnTo>
                    <a:lnTo>
                      <a:pt x="135" y="467"/>
                    </a:lnTo>
                    <a:lnTo>
                      <a:pt x="135" y="465"/>
                    </a:lnTo>
                    <a:lnTo>
                      <a:pt x="134" y="468"/>
                    </a:lnTo>
                    <a:lnTo>
                      <a:pt x="134" y="469"/>
                    </a:lnTo>
                    <a:lnTo>
                      <a:pt x="134" y="470"/>
                    </a:lnTo>
                    <a:lnTo>
                      <a:pt x="133" y="470"/>
                    </a:lnTo>
                    <a:lnTo>
                      <a:pt x="133" y="471"/>
                    </a:lnTo>
                    <a:lnTo>
                      <a:pt x="132" y="469"/>
                    </a:lnTo>
                    <a:lnTo>
                      <a:pt x="131" y="469"/>
                    </a:lnTo>
                    <a:lnTo>
                      <a:pt x="131" y="471"/>
                    </a:lnTo>
                    <a:lnTo>
                      <a:pt x="132" y="473"/>
                    </a:lnTo>
                    <a:lnTo>
                      <a:pt x="131" y="473"/>
                    </a:lnTo>
                    <a:lnTo>
                      <a:pt x="131" y="475"/>
                    </a:lnTo>
                    <a:lnTo>
                      <a:pt x="130" y="475"/>
                    </a:lnTo>
                    <a:lnTo>
                      <a:pt x="130" y="472"/>
                    </a:lnTo>
                    <a:lnTo>
                      <a:pt x="128" y="472"/>
                    </a:lnTo>
                    <a:lnTo>
                      <a:pt x="128" y="470"/>
                    </a:lnTo>
                    <a:lnTo>
                      <a:pt x="126" y="472"/>
                    </a:lnTo>
                    <a:lnTo>
                      <a:pt x="126" y="473"/>
                    </a:lnTo>
                    <a:lnTo>
                      <a:pt x="125" y="475"/>
                    </a:lnTo>
                    <a:lnTo>
                      <a:pt x="125" y="476"/>
                    </a:lnTo>
                    <a:lnTo>
                      <a:pt x="125" y="477"/>
                    </a:lnTo>
                    <a:lnTo>
                      <a:pt x="121" y="476"/>
                    </a:lnTo>
                    <a:lnTo>
                      <a:pt x="118" y="475"/>
                    </a:lnTo>
                    <a:lnTo>
                      <a:pt x="118" y="473"/>
                    </a:lnTo>
                    <a:lnTo>
                      <a:pt x="117" y="472"/>
                    </a:lnTo>
                    <a:lnTo>
                      <a:pt x="114" y="475"/>
                    </a:lnTo>
                    <a:lnTo>
                      <a:pt x="114" y="478"/>
                    </a:lnTo>
                    <a:lnTo>
                      <a:pt x="113" y="478"/>
                    </a:lnTo>
                    <a:lnTo>
                      <a:pt x="111" y="480"/>
                    </a:lnTo>
                    <a:lnTo>
                      <a:pt x="111" y="478"/>
                    </a:lnTo>
                    <a:lnTo>
                      <a:pt x="107" y="479"/>
                    </a:lnTo>
                    <a:lnTo>
                      <a:pt x="107" y="478"/>
                    </a:lnTo>
                    <a:lnTo>
                      <a:pt x="105" y="478"/>
                    </a:lnTo>
                    <a:lnTo>
                      <a:pt x="105" y="476"/>
                    </a:lnTo>
                    <a:lnTo>
                      <a:pt x="104" y="475"/>
                    </a:lnTo>
                    <a:lnTo>
                      <a:pt x="103" y="476"/>
                    </a:lnTo>
                    <a:lnTo>
                      <a:pt x="100" y="476"/>
                    </a:lnTo>
                    <a:lnTo>
                      <a:pt x="102" y="475"/>
                    </a:lnTo>
                    <a:lnTo>
                      <a:pt x="102" y="473"/>
                    </a:lnTo>
                    <a:lnTo>
                      <a:pt x="104" y="472"/>
                    </a:lnTo>
                    <a:lnTo>
                      <a:pt x="100" y="472"/>
                    </a:lnTo>
                    <a:lnTo>
                      <a:pt x="100" y="473"/>
                    </a:lnTo>
                    <a:lnTo>
                      <a:pt x="98" y="472"/>
                    </a:lnTo>
                    <a:lnTo>
                      <a:pt x="98" y="470"/>
                    </a:lnTo>
                    <a:lnTo>
                      <a:pt x="98" y="468"/>
                    </a:lnTo>
                    <a:lnTo>
                      <a:pt x="95" y="465"/>
                    </a:lnTo>
                    <a:lnTo>
                      <a:pt x="93" y="466"/>
                    </a:lnTo>
                    <a:lnTo>
                      <a:pt x="93" y="467"/>
                    </a:lnTo>
                    <a:lnTo>
                      <a:pt x="94" y="468"/>
                    </a:lnTo>
                    <a:lnTo>
                      <a:pt x="92" y="468"/>
                    </a:lnTo>
                    <a:lnTo>
                      <a:pt x="90" y="471"/>
                    </a:lnTo>
                    <a:lnTo>
                      <a:pt x="89" y="471"/>
                    </a:lnTo>
                    <a:lnTo>
                      <a:pt x="87" y="472"/>
                    </a:lnTo>
                    <a:lnTo>
                      <a:pt x="87" y="471"/>
                    </a:lnTo>
                    <a:lnTo>
                      <a:pt x="87" y="470"/>
                    </a:lnTo>
                    <a:lnTo>
                      <a:pt x="86" y="471"/>
                    </a:lnTo>
                    <a:lnTo>
                      <a:pt x="85" y="471"/>
                    </a:lnTo>
                    <a:lnTo>
                      <a:pt x="85" y="467"/>
                    </a:lnTo>
                    <a:lnTo>
                      <a:pt x="85" y="468"/>
                    </a:lnTo>
                    <a:lnTo>
                      <a:pt x="84" y="467"/>
                    </a:lnTo>
                    <a:lnTo>
                      <a:pt x="84" y="463"/>
                    </a:lnTo>
                    <a:lnTo>
                      <a:pt x="82" y="463"/>
                    </a:lnTo>
                    <a:lnTo>
                      <a:pt x="83" y="464"/>
                    </a:lnTo>
                    <a:lnTo>
                      <a:pt x="81" y="464"/>
                    </a:lnTo>
                    <a:lnTo>
                      <a:pt x="81" y="467"/>
                    </a:lnTo>
                    <a:lnTo>
                      <a:pt x="79" y="467"/>
                    </a:lnTo>
                    <a:lnTo>
                      <a:pt x="79" y="468"/>
                    </a:lnTo>
                    <a:lnTo>
                      <a:pt x="76" y="466"/>
                    </a:lnTo>
                    <a:lnTo>
                      <a:pt x="74" y="465"/>
                    </a:lnTo>
                    <a:lnTo>
                      <a:pt x="72" y="469"/>
                    </a:lnTo>
                    <a:lnTo>
                      <a:pt x="71" y="469"/>
                    </a:lnTo>
                    <a:lnTo>
                      <a:pt x="68" y="468"/>
                    </a:lnTo>
                    <a:lnTo>
                      <a:pt x="67" y="468"/>
                    </a:lnTo>
                    <a:lnTo>
                      <a:pt x="68" y="465"/>
                    </a:lnTo>
                    <a:lnTo>
                      <a:pt x="68" y="464"/>
                    </a:lnTo>
                    <a:lnTo>
                      <a:pt x="69" y="459"/>
                    </a:lnTo>
                    <a:lnTo>
                      <a:pt x="70" y="456"/>
                    </a:lnTo>
                    <a:lnTo>
                      <a:pt x="68" y="455"/>
                    </a:lnTo>
                    <a:lnTo>
                      <a:pt x="69" y="452"/>
                    </a:lnTo>
                    <a:lnTo>
                      <a:pt x="65" y="448"/>
                    </a:lnTo>
                    <a:lnTo>
                      <a:pt x="64" y="448"/>
                    </a:lnTo>
                    <a:lnTo>
                      <a:pt x="61" y="452"/>
                    </a:lnTo>
                    <a:lnTo>
                      <a:pt x="61" y="451"/>
                    </a:lnTo>
                    <a:lnTo>
                      <a:pt x="63" y="450"/>
                    </a:lnTo>
                    <a:lnTo>
                      <a:pt x="64" y="445"/>
                    </a:lnTo>
                    <a:lnTo>
                      <a:pt x="63" y="444"/>
                    </a:lnTo>
                    <a:lnTo>
                      <a:pt x="63" y="443"/>
                    </a:lnTo>
                    <a:lnTo>
                      <a:pt x="65" y="437"/>
                    </a:lnTo>
                    <a:lnTo>
                      <a:pt x="64" y="433"/>
                    </a:lnTo>
                    <a:lnTo>
                      <a:pt x="66" y="431"/>
                    </a:lnTo>
                    <a:lnTo>
                      <a:pt x="68" y="428"/>
                    </a:lnTo>
                    <a:lnTo>
                      <a:pt x="68" y="421"/>
                    </a:lnTo>
                    <a:lnTo>
                      <a:pt x="69" y="420"/>
                    </a:lnTo>
                    <a:lnTo>
                      <a:pt x="70" y="417"/>
                    </a:lnTo>
                    <a:lnTo>
                      <a:pt x="69" y="415"/>
                    </a:lnTo>
                    <a:lnTo>
                      <a:pt x="67" y="416"/>
                    </a:lnTo>
                    <a:lnTo>
                      <a:pt x="65" y="414"/>
                    </a:lnTo>
                    <a:lnTo>
                      <a:pt x="65" y="412"/>
                    </a:lnTo>
                    <a:lnTo>
                      <a:pt x="63" y="411"/>
                    </a:lnTo>
                    <a:lnTo>
                      <a:pt x="61" y="412"/>
                    </a:lnTo>
                    <a:lnTo>
                      <a:pt x="58" y="411"/>
                    </a:lnTo>
                    <a:lnTo>
                      <a:pt x="58" y="409"/>
                    </a:lnTo>
                    <a:lnTo>
                      <a:pt x="60" y="409"/>
                    </a:lnTo>
                    <a:lnTo>
                      <a:pt x="60" y="408"/>
                    </a:lnTo>
                    <a:lnTo>
                      <a:pt x="57" y="407"/>
                    </a:lnTo>
                    <a:lnTo>
                      <a:pt x="57" y="406"/>
                    </a:lnTo>
                    <a:lnTo>
                      <a:pt x="55" y="406"/>
                    </a:lnTo>
                    <a:lnTo>
                      <a:pt x="53" y="405"/>
                    </a:lnTo>
                    <a:lnTo>
                      <a:pt x="52" y="405"/>
                    </a:lnTo>
                    <a:lnTo>
                      <a:pt x="52" y="402"/>
                    </a:lnTo>
                    <a:lnTo>
                      <a:pt x="50" y="401"/>
                    </a:lnTo>
                    <a:lnTo>
                      <a:pt x="53" y="402"/>
                    </a:lnTo>
                    <a:lnTo>
                      <a:pt x="56" y="405"/>
                    </a:lnTo>
                    <a:lnTo>
                      <a:pt x="59" y="405"/>
                    </a:lnTo>
                    <a:lnTo>
                      <a:pt x="60" y="404"/>
                    </a:lnTo>
                    <a:lnTo>
                      <a:pt x="61" y="404"/>
                    </a:lnTo>
                    <a:lnTo>
                      <a:pt x="63" y="403"/>
                    </a:lnTo>
                    <a:lnTo>
                      <a:pt x="61" y="403"/>
                    </a:lnTo>
                    <a:lnTo>
                      <a:pt x="60" y="397"/>
                    </a:lnTo>
                    <a:lnTo>
                      <a:pt x="56" y="396"/>
                    </a:lnTo>
                    <a:lnTo>
                      <a:pt x="55" y="394"/>
                    </a:lnTo>
                    <a:lnTo>
                      <a:pt x="56" y="392"/>
                    </a:lnTo>
                    <a:lnTo>
                      <a:pt x="55" y="391"/>
                    </a:lnTo>
                    <a:lnTo>
                      <a:pt x="56" y="390"/>
                    </a:lnTo>
                    <a:lnTo>
                      <a:pt x="57" y="391"/>
                    </a:lnTo>
                    <a:lnTo>
                      <a:pt x="57" y="392"/>
                    </a:lnTo>
                    <a:lnTo>
                      <a:pt x="58" y="391"/>
                    </a:lnTo>
                    <a:lnTo>
                      <a:pt x="59" y="391"/>
                    </a:lnTo>
                    <a:lnTo>
                      <a:pt x="60" y="391"/>
                    </a:lnTo>
                    <a:lnTo>
                      <a:pt x="63" y="390"/>
                    </a:lnTo>
                    <a:lnTo>
                      <a:pt x="64" y="391"/>
                    </a:lnTo>
                    <a:lnTo>
                      <a:pt x="67" y="388"/>
                    </a:lnTo>
                    <a:lnTo>
                      <a:pt x="65" y="388"/>
                    </a:lnTo>
                    <a:lnTo>
                      <a:pt x="65" y="386"/>
                    </a:lnTo>
                    <a:lnTo>
                      <a:pt x="63" y="386"/>
                    </a:lnTo>
                    <a:lnTo>
                      <a:pt x="62" y="385"/>
                    </a:lnTo>
                    <a:lnTo>
                      <a:pt x="60" y="386"/>
                    </a:lnTo>
                    <a:lnTo>
                      <a:pt x="61" y="384"/>
                    </a:lnTo>
                    <a:lnTo>
                      <a:pt x="60" y="384"/>
                    </a:lnTo>
                    <a:lnTo>
                      <a:pt x="58" y="385"/>
                    </a:lnTo>
                    <a:lnTo>
                      <a:pt x="58" y="384"/>
                    </a:lnTo>
                    <a:lnTo>
                      <a:pt x="57" y="384"/>
                    </a:lnTo>
                    <a:lnTo>
                      <a:pt x="56" y="386"/>
                    </a:lnTo>
                    <a:lnTo>
                      <a:pt x="55" y="386"/>
                    </a:lnTo>
                    <a:lnTo>
                      <a:pt x="55" y="388"/>
                    </a:lnTo>
                    <a:lnTo>
                      <a:pt x="53" y="387"/>
                    </a:lnTo>
                    <a:lnTo>
                      <a:pt x="52" y="383"/>
                    </a:lnTo>
                    <a:lnTo>
                      <a:pt x="53" y="384"/>
                    </a:lnTo>
                    <a:lnTo>
                      <a:pt x="53" y="383"/>
                    </a:lnTo>
                    <a:lnTo>
                      <a:pt x="52" y="382"/>
                    </a:lnTo>
                    <a:lnTo>
                      <a:pt x="54" y="380"/>
                    </a:lnTo>
                    <a:lnTo>
                      <a:pt x="53" y="378"/>
                    </a:lnTo>
                    <a:lnTo>
                      <a:pt x="54" y="376"/>
                    </a:lnTo>
                    <a:lnTo>
                      <a:pt x="58" y="374"/>
                    </a:lnTo>
                    <a:lnTo>
                      <a:pt x="61" y="368"/>
                    </a:lnTo>
                    <a:lnTo>
                      <a:pt x="71" y="365"/>
                    </a:lnTo>
                    <a:lnTo>
                      <a:pt x="73" y="364"/>
                    </a:lnTo>
                    <a:lnTo>
                      <a:pt x="75" y="364"/>
                    </a:lnTo>
                    <a:lnTo>
                      <a:pt x="74" y="364"/>
                    </a:lnTo>
                    <a:lnTo>
                      <a:pt x="74" y="367"/>
                    </a:lnTo>
                    <a:lnTo>
                      <a:pt x="76" y="368"/>
                    </a:lnTo>
                    <a:lnTo>
                      <a:pt x="77" y="370"/>
                    </a:lnTo>
                    <a:lnTo>
                      <a:pt x="77" y="371"/>
                    </a:lnTo>
                    <a:lnTo>
                      <a:pt x="79" y="371"/>
                    </a:lnTo>
                    <a:lnTo>
                      <a:pt x="80" y="371"/>
                    </a:lnTo>
                    <a:lnTo>
                      <a:pt x="81" y="369"/>
                    </a:lnTo>
                    <a:lnTo>
                      <a:pt x="81" y="368"/>
                    </a:lnTo>
                    <a:lnTo>
                      <a:pt x="82" y="367"/>
                    </a:lnTo>
                    <a:lnTo>
                      <a:pt x="82" y="365"/>
                    </a:lnTo>
                    <a:lnTo>
                      <a:pt x="84" y="364"/>
                    </a:lnTo>
                    <a:lnTo>
                      <a:pt x="85" y="361"/>
                    </a:lnTo>
                    <a:lnTo>
                      <a:pt x="86" y="361"/>
                    </a:lnTo>
                    <a:lnTo>
                      <a:pt x="89" y="361"/>
                    </a:lnTo>
                    <a:lnTo>
                      <a:pt x="89" y="360"/>
                    </a:lnTo>
                    <a:lnTo>
                      <a:pt x="90" y="360"/>
                    </a:lnTo>
                    <a:lnTo>
                      <a:pt x="91" y="360"/>
                    </a:lnTo>
                    <a:lnTo>
                      <a:pt x="93" y="358"/>
                    </a:lnTo>
                    <a:lnTo>
                      <a:pt x="93" y="359"/>
                    </a:lnTo>
                    <a:lnTo>
                      <a:pt x="95" y="356"/>
                    </a:lnTo>
                    <a:lnTo>
                      <a:pt x="95" y="354"/>
                    </a:lnTo>
                    <a:lnTo>
                      <a:pt x="93" y="353"/>
                    </a:lnTo>
                    <a:lnTo>
                      <a:pt x="92" y="352"/>
                    </a:lnTo>
                    <a:lnTo>
                      <a:pt x="91" y="351"/>
                    </a:lnTo>
                    <a:lnTo>
                      <a:pt x="90" y="352"/>
                    </a:lnTo>
                    <a:lnTo>
                      <a:pt x="89" y="352"/>
                    </a:lnTo>
                    <a:lnTo>
                      <a:pt x="87" y="354"/>
                    </a:lnTo>
                    <a:lnTo>
                      <a:pt x="86" y="353"/>
                    </a:lnTo>
                    <a:lnTo>
                      <a:pt x="87" y="350"/>
                    </a:lnTo>
                    <a:lnTo>
                      <a:pt x="90" y="349"/>
                    </a:lnTo>
                    <a:lnTo>
                      <a:pt x="92" y="344"/>
                    </a:lnTo>
                    <a:lnTo>
                      <a:pt x="92" y="341"/>
                    </a:lnTo>
                    <a:lnTo>
                      <a:pt x="91" y="339"/>
                    </a:lnTo>
                    <a:lnTo>
                      <a:pt x="91" y="338"/>
                    </a:lnTo>
                    <a:lnTo>
                      <a:pt x="90" y="335"/>
                    </a:lnTo>
                    <a:lnTo>
                      <a:pt x="91" y="333"/>
                    </a:lnTo>
                    <a:lnTo>
                      <a:pt x="95" y="333"/>
                    </a:lnTo>
                    <a:lnTo>
                      <a:pt x="95" y="331"/>
                    </a:lnTo>
                    <a:lnTo>
                      <a:pt x="97" y="330"/>
                    </a:lnTo>
                    <a:lnTo>
                      <a:pt x="96" y="330"/>
                    </a:lnTo>
                    <a:lnTo>
                      <a:pt x="97" y="326"/>
                    </a:lnTo>
                    <a:lnTo>
                      <a:pt x="95" y="324"/>
                    </a:lnTo>
                    <a:lnTo>
                      <a:pt x="95" y="321"/>
                    </a:lnTo>
                    <a:lnTo>
                      <a:pt x="98" y="318"/>
                    </a:lnTo>
                    <a:lnTo>
                      <a:pt x="97" y="316"/>
                    </a:lnTo>
                    <a:lnTo>
                      <a:pt x="96" y="314"/>
                    </a:lnTo>
                    <a:lnTo>
                      <a:pt x="97" y="313"/>
                    </a:lnTo>
                    <a:lnTo>
                      <a:pt x="98" y="314"/>
                    </a:lnTo>
                    <a:lnTo>
                      <a:pt x="100" y="310"/>
                    </a:lnTo>
                    <a:lnTo>
                      <a:pt x="99" y="308"/>
                    </a:lnTo>
                    <a:lnTo>
                      <a:pt x="100" y="308"/>
                    </a:lnTo>
                    <a:lnTo>
                      <a:pt x="100" y="304"/>
                    </a:lnTo>
                    <a:lnTo>
                      <a:pt x="101" y="304"/>
                    </a:lnTo>
                    <a:lnTo>
                      <a:pt x="102" y="304"/>
                    </a:lnTo>
                    <a:lnTo>
                      <a:pt x="103" y="304"/>
                    </a:lnTo>
                    <a:lnTo>
                      <a:pt x="104" y="304"/>
                    </a:lnTo>
                    <a:lnTo>
                      <a:pt x="105" y="304"/>
                    </a:lnTo>
                    <a:lnTo>
                      <a:pt x="106" y="304"/>
                    </a:lnTo>
                    <a:lnTo>
                      <a:pt x="106" y="306"/>
                    </a:lnTo>
                    <a:lnTo>
                      <a:pt x="107" y="305"/>
                    </a:lnTo>
                    <a:lnTo>
                      <a:pt x="107" y="299"/>
                    </a:lnTo>
                    <a:lnTo>
                      <a:pt x="107" y="293"/>
                    </a:lnTo>
                    <a:lnTo>
                      <a:pt x="106" y="291"/>
                    </a:lnTo>
                    <a:lnTo>
                      <a:pt x="107" y="289"/>
                    </a:lnTo>
                    <a:lnTo>
                      <a:pt x="107" y="287"/>
                    </a:lnTo>
                    <a:lnTo>
                      <a:pt x="106" y="287"/>
                    </a:lnTo>
                    <a:lnTo>
                      <a:pt x="105" y="286"/>
                    </a:lnTo>
                    <a:lnTo>
                      <a:pt x="106" y="284"/>
                    </a:lnTo>
                    <a:lnTo>
                      <a:pt x="107" y="283"/>
                    </a:lnTo>
                    <a:lnTo>
                      <a:pt x="107" y="280"/>
                    </a:lnTo>
                    <a:lnTo>
                      <a:pt x="106" y="280"/>
                    </a:lnTo>
                    <a:lnTo>
                      <a:pt x="107" y="278"/>
                    </a:lnTo>
                    <a:lnTo>
                      <a:pt x="110" y="277"/>
                    </a:lnTo>
                    <a:lnTo>
                      <a:pt x="106" y="277"/>
                    </a:lnTo>
                    <a:lnTo>
                      <a:pt x="104" y="276"/>
                    </a:lnTo>
                    <a:lnTo>
                      <a:pt x="100" y="272"/>
                    </a:lnTo>
                    <a:lnTo>
                      <a:pt x="98" y="269"/>
                    </a:lnTo>
                    <a:lnTo>
                      <a:pt x="93" y="268"/>
                    </a:lnTo>
                    <a:lnTo>
                      <a:pt x="92" y="267"/>
                    </a:lnTo>
                    <a:lnTo>
                      <a:pt x="89" y="268"/>
                    </a:lnTo>
                    <a:lnTo>
                      <a:pt x="87" y="267"/>
                    </a:lnTo>
                    <a:lnTo>
                      <a:pt x="87" y="266"/>
                    </a:lnTo>
                    <a:lnTo>
                      <a:pt x="89" y="267"/>
                    </a:lnTo>
                    <a:lnTo>
                      <a:pt x="90" y="262"/>
                    </a:lnTo>
                    <a:lnTo>
                      <a:pt x="90" y="260"/>
                    </a:lnTo>
                    <a:lnTo>
                      <a:pt x="90" y="259"/>
                    </a:lnTo>
                    <a:lnTo>
                      <a:pt x="90" y="256"/>
                    </a:lnTo>
                    <a:lnTo>
                      <a:pt x="87" y="256"/>
                    </a:lnTo>
                    <a:lnTo>
                      <a:pt x="85" y="255"/>
                    </a:lnTo>
                    <a:lnTo>
                      <a:pt x="83" y="254"/>
                    </a:lnTo>
                    <a:lnTo>
                      <a:pt x="79" y="254"/>
                    </a:lnTo>
                    <a:lnTo>
                      <a:pt x="77" y="255"/>
                    </a:lnTo>
                    <a:lnTo>
                      <a:pt x="77" y="252"/>
                    </a:lnTo>
                    <a:lnTo>
                      <a:pt x="76" y="248"/>
                    </a:lnTo>
                    <a:lnTo>
                      <a:pt x="74" y="247"/>
                    </a:lnTo>
                    <a:lnTo>
                      <a:pt x="73" y="248"/>
                    </a:lnTo>
                    <a:lnTo>
                      <a:pt x="73" y="247"/>
                    </a:lnTo>
                    <a:lnTo>
                      <a:pt x="71" y="244"/>
                    </a:lnTo>
                    <a:lnTo>
                      <a:pt x="70" y="244"/>
                    </a:lnTo>
                    <a:lnTo>
                      <a:pt x="70" y="238"/>
                    </a:lnTo>
                    <a:lnTo>
                      <a:pt x="68" y="237"/>
                    </a:lnTo>
                    <a:lnTo>
                      <a:pt x="67" y="235"/>
                    </a:lnTo>
                    <a:lnTo>
                      <a:pt x="66" y="235"/>
                    </a:lnTo>
                    <a:lnTo>
                      <a:pt x="65" y="234"/>
                    </a:lnTo>
                    <a:lnTo>
                      <a:pt x="63" y="236"/>
                    </a:lnTo>
                    <a:lnTo>
                      <a:pt x="62" y="236"/>
                    </a:lnTo>
                    <a:lnTo>
                      <a:pt x="61" y="235"/>
                    </a:lnTo>
                    <a:lnTo>
                      <a:pt x="60" y="236"/>
                    </a:lnTo>
                    <a:lnTo>
                      <a:pt x="61" y="237"/>
                    </a:lnTo>
                    <a:lnTo>
                      <a:pt x="53" y="237"/>
                    </a:lnTo>
                    <a:lnTo>
                      <a:pt x="52" y="236"/>
                    </a:lnTo>
                    <a:lnTo>
                      <a:pt x="43" y="234"/>
                    </a:lnTo>
                    <a:lnTo>
                      <a:pt x="43" y="233"/>
                    </a:lnTo>
                    <a:lnTo>
                      <a:pt x="42" y="232"/>
                    </a:lnTo>
                    <a:lnTo>
                      <a:pt x="42" y="231"/>
                    </a:lnTo>
                    <a:lnTo>
                      <a:pt x="40" y="229"/>
                    </a:lnTo>
                    <a:lnTo>
                      <a:pt x="41" y="228"/>
                    </a:lnTo>
                    <a:lnTo>
                      <a:pt x="40" y="227"/>
                    </a:lnTo>
                    <a:lnTo>
                      <a:pt x="38" y="226"/>
                    </a:lnTo>
                    <a:lnTo>
                      <a:pt x="37" y="224"/>
                    </a:lnTo>
                    <a:lnTo>
                      <a:pt x="36" y="224"/>
                    </a:lnTo>
                    <a:lnTo>
                      <a:pt x="35" y="223"/>
                    </a:lnTo>
                    <a:lnTo>
                      <a:pt x="32" y="223"/>
                    </a:lnTo>
                    <a:lnTo>
                      <a:pt x="31" y="220"/>
                    </a:lnTo>
                    <a:lnTo>
                      <a:pt x="29" y="220"/>
                    </a:lnTo>
                    <a:lnTo>
                      <a:pt x="27" y="219"/>
                    </a:lnTo>
                    <a:lnTo>
                      <a:pt x="28" y="215"/>
                    </a:lnTo>
                    <a:lnTo>
                      <a:pt x="29" y="216"/>
                    </a:lnTo>
                    <a:lnTo>
                      <a:pt x="30" y="215"/>
                    </a:lnTo>
                    <a:lnTo>
                      <a:pt x="34" y="215"/>
                    </a:lnTo>
                    <a:lnTo>
                      <a:pt x="37" y="217"/>
                    </a:lnTo>
                    <a:lnTo>
                      <a:pt x="37" y="216"/>
                    </a:lnTo>
                    <a:lnTo>
                      <a:pt x="35" y="215"/>
                    </a:lnTo>
                    <a:lnTo>
                      <a:pt x="34" y="215"/>
                    </a:lnTo>
                    <a:lnTo>
                      <a:pt x="33" y="210"/>
                    </a:lnTo>
                    <a:lnTo>
                      <a:pt x="32" y="210"/>
                    </a:lnTo>
                    <a:lnTo>
                      <a:pt x="27" y="210"/>
                    </a:lnTo>
                    <a:lnTo>
                      <a:pt x="25" y="212"/>
                    </a:lnTo>
                    <a:lnTo>
                      <a:pt x="23" y="212"/>
                    </a:lnTo>
                    <a:lnTo>
                      <a:pt x="22" y="211"/>
                    </a:lnTo>
                    <a:lnTo>
                      <a:pt x="22" y="210"/>
                    </a:lnTo>
                    <a:lnTo>
                      <a:pt x="22" y="209"/>
                    </a:lnTo>
                    <a:lnTo>
                      <a:pt x="21" y="209"/>
                    </a:lnTo>
                    <a:lnTo>
                      <a:pt x="20" y="207"/>
                    </a:lnTo>
                    <a:lnTo>
                      <a:pt x="19" y="209"/>
                    </a:lnTo>
                    <a:lnTo>
                      <a:pt x="13" y="207"/>
                    </a:lnTo>
                    <a:lnTo>
                      <a:pt x="12" y="210"/>
                    </a:lnTo>
                    <a:lnTo>
                      <a:pt x="11" y="210"/>
                    </a:lnTo>
                    <a:lnTo>
                      <a:pt x="9" y="212"/>
                    </a:lnTo>
                    <a:lnTo>
                      <a:pt x="7" y="212"/>
                    </a:lnTo>
                    <a:lnTo>
                      <a:pt x="7" y="209"/>
                    </a:lnTo>
                    <a:lnTo>
                      <a:pt x="3" y="209"/>
                    </a:lnTo>
                    <a:lnTo>
                      <a:pt x="1" y="209"/>
                    </a:lnTo>
                    <a:lnTo>
                      <a:pt x="0" y="209"/>
                    </a:lnTo>
                    <a:lnTo>
                      <a:pt x="0" y="207"/>
                    </a:lnTo>
                    <a:lnTo>
                      <a:pt x="2" y="205"/>
                    </a:lnTo>
                    <a:lnTo>
                      <a:pt x="2" y="203"/>
                    </a:lnTo>
                    <a:lnTo>
                      <a:pt x="4" y="202"/>
                    </a:lnTo>
                    <a:lnTo>
                      <a:pt x="5" y="202"/>
                    </a:lnTo>
                    <a:lnTo>
                      <a:pt x="4" y="200"/>
                    </a:lnTo>
                    <a:lnTo>
                      <a:pt x="6" y="198"/>
                    </a:lnTo>
                    <a:lnTo>
                      <a:pt x="6" y="196"/>
                    </a:lnTo>
                    <a:lnTo>
                      <a:pt x="8" y="197"/>
                    </a:lnTo>
                    <a:lnTo>
                      <a:pt x="11" y="197"/>
                    </a:lnTo>
                    <a:lnTo>
                      <a:pt x="11" y="193"/>
                    </a:lnTo>
                    <a:lnTo>
                      <a:pt x="11" y="190"/>
                    </a:lnTo>
                    <a:lnTo>
                      <a:pt x="9" y="189"/>
                    </a:lnTo>
                    <a:lnTo>
                      <a:pt x="8" y="186"/>
                    </a:lnTo>
                    <a:lnTo>
                      <a:pt x="6" y="188"/>
                    </a:lnTo>
                    <a:lnTo>
                      <a:pt x="6" y="186"/>
                    </a:lnTo>
                    <a:lnTo>
                      <a:pt x="6" y="183"/>
                    </a:lnTo>
                    <a:lnTo>
                      <a:pt x="7" y="180"/>
                    </a:lnTo>
                    <a:lnTo>
                      <a:pt x="6" y="179"/>
                    </a:lnTo>
                    <a:lnTo>
                      <a:pt x="8" y="178"/>
                    </a:lnTo>
                    <a:lnTo>
                      <a:pt x="9" y="179"/>
                    </a:lnTo>
                    <a:lnTo>
                      <a:pt x="11" y="177"/>
                    </a:lnTo>
                    <a:lnTo>
                      <a:pt x="12" y="177"/>
                    </a:lnTo>
                    <a:lnTo>
                      <a:pt x="12" y="175"/>
                    </a:lnTo>
                    <a:lnTo>
                      <a:pt x="16" y="175"/>
                    </a:lnTo>
                    <a:lnTo>
                      <a:pt x="16" y="176"/>
                    </a:lnTo>
                    <a:lnTo>
                      <a:pt x="20" y="178"/>
                    </a:lnTo>
                    <a:lnTo>
                      <a:pt x="22" y="178"/>
                    </a:lnTo>
                    <a:lnTo>
                      <a:pt x="22" y="176"/>
                    </a:lnTo>
                    <a:lnTo>
                      <a:pt x="22" y="175"/>
                    </a:lnTo>
                    <a:lnTo>
                      <a:pt x="22" y="174"/>
                    </a:lnTo>
                    <a:lnTo>
                      <a:pt x="23" y="175"/>
                    </a:lnTo>
                    <a:lnTo>
                      <a:pt x="25" y="175"/>
                    </a:lnTo>
                    <a:lnTo>
                      <a:pt x="25" y="171"/>
                    </a:lnTo>
                    <a:lnTo>
                      <a:pt x="25" y="170"/>
                    </a:lnTo>
                    <a:lnTo>
                      <a:pt x="25" y="166"/>
                    </a:lnTo>
                    <a:lnTo>
                      <a:pt x="25" y="167"/>
                    </a:lnTo>
                    <a:lnTo>
                      <a:pt x="26" y="167"/>
                    </a:lnTo>
                    <a:lnTo>
                      <a:pt x="27" y="169"/>
                    </a:lnTo>
                    <a:lnTo>
                      <a:pt x="28" y="169"/>
                    </a:lnTo>
                    <a:lnTo>
                      <a:pt x="30" y="170"/>
                    </a:lnTo>
                    <a:lnTo>
                      <a:pt x="31" y="168"/>
                    </a:lnTo>
                    <a:lnTo>
                      <a:pt x="31" y="165"/>
                    </a:lnTo>
                    <a:lnTo>
                      <a:pt x="31" y="163"/>
                    </a:lnTo>
                    <a:lnTo>
                      <a:pt x="29" y="162"/>
                    </a:lnTo>
                    <a:lnTo>
                      <a:pt x="33" y="162"/>
                    </a:lnTo>
                    <a:lnTo>
                      <a:pt x="33" y="159"/>
                    </a:lnTo>
                    <a:lnTo>
                      <a:pt x="32" y="155"/>
                    </a:lnTo>
                    <a:lnTo>
                      <a:pt x="33" y="154"/>
                    </a:lnTo>
                    <a:lnTo>
                      <a:pt x="33" y="150"/>
                    </a:lnTo>
                    <a:lnTo>
                      <a:pt x="34" y="152"/>
                    </a:lnTo>
                    <a:lnTo>
                      <a:pt x="37" y="152"/>
                    </a:lnTo>
                    <a:lnTo>
                      <a:pt x="38" y="151"/>
                    </a:lnTo>
                    <a:lnTo>
                      <a:pt x="38" y="150"/>
                    </a:lnTo>
                    <a:lnTo>
                      <a:pt x="40" y="150"/>
                    </a:lnTo>
                    <a:lnTo>
                      <a:pt x="40" y="149"/>
                    </a:lnTo>
                    <a:lnTo>
                      <a:pt x="41" y="149"/>
                    </a:lnTo>
                    <a:lnTo>
                      <a:pt x="41" y="148"/>
                    </a:lnTo>
                    <a:lnTo>
                      <a:pt x="41" y="146"/>
                    </a:lnTo>
                    <a:lnTo>
                      <a:pt x="43" y="146"/>
                    </a:lnTo>
                    <a:lnTo>
                      <a:pt x="43" y="145"/>
                    </a:lnTo>
                    <a:lnTo>
                      <a:pt x="46" y="145"/>
                    </a:lnTo>
                    <a:lnTo>
                      <a:pt x="47" y="142"/>
                    </a:lnTo>
                    <a:lnTo>
                      <a:pt x="50" y="142"/>
                    </a:lnTo>
                    <a:lnTo>
                      <a:pt x="52" y="142"/>
                    </a:lnTo>
                    <a:lnTo>
                      <a:pt x="52" y="141"/>
                    </a:lnTo>
                    <a:lnTo>
                      <a:pt x="53" y="141"/>
                    </a:lnTo>
                    <a:lnTo>
                      <a:pt x="55" y="145"/>
                    </a:lnTo>
                    <a:lnTo>
                      <a:pt x="57" y="146"/>
                    </a:lnTo>
                    <a:lnTo>
                      <a:pt x="58" y="145"/>
                    </a:lnTo>
                    <a:lnTo>
                      <a:pt x="61" y="145"/>
                    </a:lnTo>
                    <a:lnTo>
                      <a:pt x="64" y="142"/>
                    </a:lnTo>
                    <a:lnTo>
                      <a:pt x="66" y="144"/>
                    </a:lnTo>
                    <a:lnTo>
                      <a:pt x="66" y="142"/>
                    </a:lnTo>
                    <a:lnTo>
                      <a:pt x="71" y="140"/>
                    </a:lnTo>
                    <a:lnTo>
                      <a:pt x="70" y="137"/>
                    </a:lnTo>
                    <a:lnTo>
                      <a:pt x="73" y="138"/>
                    </a:lnTo>
                    <a:lnTo>
                      <a:pt x="74" y="137"/>
                    </a:lnTo>
                    <a:lnTo>
                      <a:pt x="76" y="134"/>
                    </a:lnTo>
                    <a:lnTo>
                      <a:pt x="76" y="133"/>
                    </a:lnTo>
                    <a:lnTo>
                      <a:pt x="78" y="133"/>
                    </a:lnTo>
                    <a:lnTo>
                      <a:pt x="80" y="132"/>
                    </a:lnTo>
                    <a:lnTo>
                      <a:pt x="85" y="126"/>
                    </a:lnTo>
                    <a:lnTo>
                      <a:pt x="86" y="127"/>
                    </a:lnTo>
                    <a:lnTo>
                      <a:pt x="85" y="128"/>
                    </a:lnTo>
                    <a:lnTo>
                      <a:pt x="85" y="133"/>
                    </a:lnTo>
                    <a:lnTo>
                      <a:pt x="89" y="132"/>
                    </a:lnTo>
                    <a:lnTo>
                      <a:pt x="90" y="133"/>
                    </a:lnTo>
                    <a:lnTo>
                      <a:pt x="92" y="135"/>
                    </a:lnTo>
                    <a:lnTo>
                      <a:pt x="93" y="135"/>
                    </a:lnTo>
                    <a:lnTo>
                      <a:pt x="97" y="133"/>
                    </a:lnTo>
                    <a:lnTo>
                      <a:pt x="104" y="135"/>
                    </a:lnTo>
                    <a:lnTo>
                      <a:pt x="106" y="136"/>
                    </a:lnTo>
                    <a:lnTo>
                      <a:pt x="107" y="133"/>
                    </a:lnTo>
                    <a:lnTo>
                      <a:pt x="108" y="131"/>
                    </a:lnTo>
                    <a:lnTo>
                      <a:pt x="109" y="132"/>
                    </a:lnTo>
                    <a:lnTo>
                      <a:pt x="110" y="129"/>
                    </a:lnTo>
                    <a:lnTo>
                      <a:pt x="111" y="130"/>
                    </a:lnTo>
                    <a:lnTo>
                      <a:pt x="110" y="133"/>
                    </a:lnTo>
                    <a:lnTo>
                      <a:pt x="112" y="133"/>
                    </a:lnTo>
                    <a:lnTo>
                      <a:pt x="113" y="131"/>
                    </a:lnTo>
                    <a:lnTo>
                      <a:pt x="114" y="131"/>
                    </a:lnTo>
                    <a:lnTo>
                      <a:pt x="118" y="127"/>
                    </a:lnTo>
                    <a:lnTo>
                      <a:pt x="120" y="124"/>
                    </a:lnTo>
                    <a:lnTo>
                      <a:pt x="122" y="122"/>
                    </a:lnTo>
                    <a:lnTo>
                      <a:pt x="123" y="122"/>
                    </a:lnTo>
                    <a:lnTo>
                      <a:pt x="125" y="120"/>
                    </a:lnTo>
                    <a:lnTo>
                      <a:pt x="126" y="120"/>
                    </a:lnTo>
                    <a:lnTo>
                      <a:pt x="128" y="123"/>
                    </a:lnTo>
                    <a:lnTo>
                      <a:pt x="128" y="122"/>
                    </a:lnTo>
                    <a:lnTo>
                      <a:pt x="129" y="122"/>
                    </a:lnTo>
                    <a:lnTo>
                      <a:pt x="131" y="128"/>
                    </a:lnTo>
                    <a:lnTo>
                      <a:pt x="130" y="131"/>
                    </a:lnTo>
                    <a:lnTo>
                      <a:pt x="131" y="132"/>
                    </a:lnTo>
                    <a:lnTo>
                      <a:pt x="138" y="132"/>
                    </a:lnTo>
                    <a:lnTo>
                      <a:pt x="138" y="128"/>
                    </a:lnTo>
                    <a:lnTo>
                      <a:pt x="139" y="127"/>
                    </a:lnTo>
                    <a:lnTo>
                      <a:pt x="139" y="124"/>
                    </a:lnTo>
                    <a:lnTo>
                      <a:pt x="141" y="122"/>
                    </a:lnTo>
                    <a:lnTo>
                      <a:pt x="143" y="120"/>
                    </a:lnTo>
                    <a:lnTo>
                      <a:pt x="146" y="120"/>
                    </a:lnTo>
                    <a:lnTo>
                      <a:pt x="152" y="119"/>
                    </a:lnTo>
                    <a:lnTo>
                      <a:pt x="153" y="119"/>
                    </a:lnTo>
                    <a:lnTo>
                      <a:pt x="152" y="120"/>
                    </a:lnTo>
                    <a:lnTo>
                      <a:pt x="156" y="119"/>
                    </a:lnTo>
                    <a:lnTo>
                      <a:pt x="157" y="118"/>
                    </a:lnTo>
                    <a:lnTo>
                      <a:pt x="158" y="118"/>
                    </a:lnTo>
                    <a:lnTo>
                      <a:pt x="161" y="117"/>
                    </a:lnTo>
                    <a:lnTo>
                      <a:pt x="161" y="115"/>
                    </a:lnTo>
                    <a:lnTo>
                      <a:pt x="162" y="115"/>
                    </a:lnTo>
                    <a:lnTo>
                      <a:pt x="162" y="114"/>
                    </a:lnTo>
                    <a:lnTo>
                      <a:pt x="164" y="115"/>
                    </a:lnTo>
                    <a:lnTo>
                      <a:pt x="165" y="113"/>
                    </a:lnTo>
                    <a:lnTo>
                      <a:pt x="166" y="112"/>
                    </a:lnTo>
                    <a:lnTo>
                      <a:pt x="166" y="108"/>
                    </a:lnTo>
                    <a:lnTo>
                      <a:pt x="166" y="107"/>
                    </a:lnTo>
                    <a:lnTo>
                      <a:pt x="164" y="107"/>
                    </a:lnTo>
                    <a:lnTo>
                      <a:pt x="165" y="107"/>
                    </a:lnTo>
                    <a:lnTo>
                      <a:pt x="165" y="106"/>
                    </a:lnTo>
                    <a:lnTo>
                      <a:pt x="167" y="107"/>
                    </a:lnTo>
                    <a:lnTo>
                      <a:pt x="170" y="107"/>
                    </a:lnTo>
                    <a:lnTo>
                      <a:pt x="170" y="109"/>
                    </a:lnTo>
                    <a:lnTo>
                      <a:pt x="175" y="109"/>
                    </a:lnTo>
                    <a:lnTo>
                      <a:pt x="176" y="109"/>
                    </a:lnTo>
                    <a:lnTo>
                      <a:pt x="175" y="107"/>
                    </a:lnTo>
                    <a:lnTo>
                      <a:pt x="176" y="107"/>
                    </a:lnTo>
                    <a:lnTo>
                      <a:pt x="175" y="106"/>
                    </a:lnTo>
                    <a:lnTo>
                      <a:pt x="177" y="103"/>
                    </a:lnTo>
                    <a:lnTo>
                      <a:pt x="175" y="101"/>
                    </a:lnTo>
                    <a:lnTo>
                      <a:pt x="174" y="101"/>
                    </a:lnTo>
                    <a:lnTo>
                      <a:pt x="174" y="95"/>
                    </a:lnTo>
                    <a:lnTo>
                      <a:pt x="177" y="94"/>
                    </a:lnTo>
                    <a:lnTo>
                      <a:pt x="178" y="94"/>
                    </a:lnTo>
                    <a:lnTo>
                      <a:pt x="180" y="92"/>
                    </a:lnTo>
                    <a:lnTo>
                      <a:pt x="181" y="92"/>
                    </a:lnTo>
                    <a:lnTo>
                      <a:pt x="182" y="90"/>
                    </a:lnTo>
                    <a:lnTo>
                      <a:pt x="185" y="90"/>
                    </a:lnTo>
                    <a:lnTo>
                      <a:pt x="187" y="93"/>
                    </a:lnTo>
                    <a:lnTo>
                      <a:pt x="188" y="94"/>
                    </a:lnTo>
                    <a:lnTo>
                      <a:pt x="188" y="92"/>
                    </a:lnTo>
                    <a:lnTo>
                      <a:pt x="190" y="92"/>
                    </a:lnTo>
                    <a:lnTo>
                      <a:pt x="190" y="91"/>
                    </a:lnTo>
                    <a:lnTo>
                      <a:pt x="194" y="94"/>
                    </a:lnTo>
                    <a:lnTo>
                      <a:pt x="198" y="95"/>
                    </a:lnTo>
                    <a:lnTo>
                      <a:pt x="198" y="97"/>
                    </a:lnTo>
                    <a:lnTo>
                      <a:pt x="199" y="97"/>
                    </a:lnTo>
                    <a:lnTo>
                      <a:pt x="199" y="98"/>
                    </a:lnTo>
                    <a:lnTo>
                      <a:pt x="200" y="98"/>
                    </a:lnTo>
                    <a:lnTo>
                      <a:pt x="205" y="99"/>
                    </a:lnTo>
                    <a:lnTo>
                      <a:pt x="211" y="99"/>
                    </a:lnTo>
                    <a:lnTo>
                      <a:pt x="211" y="101"/>
                    </a:lnTo>
                    <a:lnTo>
                      <a:pt x="213" y="101"/>
                    </a:lnTo>
                    <a:lnTo>
                      <a:pt x="217" y="102"/>
                    </a:lnTo>
                    <a:lnTo>
                      <a:pt x="218" y="103"/>
                    </a:lnTo>
                    <a:lnTo>
                      <a:pt x="218" y="102"/>
                    </a:lnTo>
                    <a:lnTo>
                      <a:pt x="224" y="102"/>
                    </a:lnTo>
                    <a:lnTo>
                      <a:pt x="225" y="101"/>
                    </a:lnTo>
                    <a:lnTo>
                      <a:pt x="228" y="103"/>
                    </a:lnTo>
                    <a:lnTo>
                      <a:pt x="229" y="100"/>
                    </a:lnTo>
                    <a:lnTo>
                      <a:pt x="229" y="98"/>
                    </a:lnTo>
                    <a:lnTo>
                      <a:pt x="232" y="100"/>
                    </a:lnTo>
                    <a:lnTo>
                      <a:pt x="232" y="101"/>
                    </a:lnTo>
                    <a:lnTo>
                      <a:pt x="233" y="103"/>
                    </a:lnTo>
                    <a:lnTo>
                      <a:pt x="234" y="102"/>
                    </a:lnTo>
                    <a:lnTo>
                      <a:pt x="236" y="104"/>
                    </a:lnTo>
                    <a:lnTo>
                      <a:pt x="236" y="103"/>
                    </a:lnTo>
                    <a:lnTo>
                      <a:pt x="237" y="103"/>
                    </a:lnTo>
                    <a:lnTo>
                      <a:pt x="238" y="101"/>
                    </a:lnTo>
                    <a:lnTo>
                      <a:pt x="243" y="106"/>
                    </a:lnTo>
                    <a:lnTo>
                      <a:pt x="245" y="107"/>
                    </a:lnTo>
                    <a:lnTo>
                      <a:pt x="245" y="108"/>
                    </a:lnTo>
                    <a:lnTo>
                      <a:pt x="246" y="109"/>
                    </a:lnTo>
                    <a:lnTo>
                      <a:pt x="248" y="105"/>
                    </a:lnTo>
                    <a:lnTo>
                      <a:pt x="250" y="103"/>
                    </a:lnTo>
                    <a:lnTo>
                      <a:pt x="250" y="102"/>
                    </a:lnTo>
                    <a:lnTo>
                      <a:pt x="252" y="99"/>
                    </a:lnTo>
                    <a:lnTo>
                      <a:pt x="253" y="99"/>
                    </a:lnTo>
                    <a:lnTo>
                      <a:pt x="255" y="98"/>
                    </a:lnTo>
                    <a:lnTo>
                      <a:pt x="257" y="100"/>
                    </a:lnTo>
                    <a:lnTo>
                      <a:pt x="259" y="101"/>
                    </a:lnTo>
                    <a:lnTo>
                      <a:pt x="260" y="100"/>
                    </a:lnTo>
                    <a:lnTo>
                      <a:pt x="260" y="99"/>
                    </a:lnTo>
                    <a:lnTo>
                      <a:pt x="261" y="101"/>
                    </a:lnTo>
                    <a:lnTo>
                      <a:pt x="263" y="101"/>
                    </a:lnTo>
                    <a:lnTo>
                      <a:pt x="263" y="99"/>
                    </a:lnTo>
                    <a:lnTo>
                      <a:pt x="267" y="100"/>
                    </a:lnTo>
                    <a:lnTo>
                      <a:pt x="267" y="98"/>
                    </a:lnTo>
                    <a:lnTo>
                      <a:pt x="268" y="99"/>
                    </a:lnTo>
                    <a:lnTo>
                      <a:pt x="269" y="98"/>
                    </a:lnTo>
                    <a:lnTo>
                      <a:pt x="272" y="99"/>
                    </a:lnTo>
                    <a:lnTo>
                      <a:pt x="273" y="100"/>
                    </a:lnTo>
                    <a:lnTo>
                      <a:pt x="273" y="101"/>
                    </a:lnTo>
                    <a:lnTo>
                      <a:pt x="274" y="101"/>
                    </a:lnTo>
                    <a:lnTo>
                      <a:pt x="274" y="103"/>
                    </a:lnTo>
                    <a:lnTo>
                      <a:pt x="275" y="102"/>
                    </a:lnTo>
                    <a:lnTo>
                      <a:pt x="276" y="103"/>
                    </a:lnTo>
                    <a:lnTo>
                      <a:pt x="275" y="101"/>
                    </a:lnTo>
                    <a:lnTo>
                      <a:pt x="276" y="101"/>
                    </a:lnTo>
                    <a:lnTo>
                      <a:pt x="276" y="102"/>
                    </a:lnTo>
                    <a:lnTo>
                      <a:pt x="276" y="103"/>
                    </a:lnTo>
                    <a:lnTo>
                      <a:pt x="278" y="102"/>
                    </a:lnTo>
                    <a:lnTo>
                      <a:pt x="281" y="98"/>
                    </a:lnTo>
                    <a:lnTo>
                      <a:pt x="280" y="98"/>
                    </a:lnTo>
                    <a:lnTo>
                      <a:pt x="281" y="96"/>
                    </a:lnTo>
                    <a:lnTo>
                      <a:pt x="280" y="96"/>
                    </a:lnTo>
                    <a:lnTo>
                      <a:pt x="281" y="95"/>
                    </a:lnTo>
                    <a:lnTo>
                      <a:pt x="280" y="95"/>
                    </a:lnTo>
                    <a:lnTo>
                      <a:pt x="280" y="94"/>
                    </a:lnTo>
                    <a:lnTo>
                      <a:pt x="280" y="90"/>
                    </a:lnTo>
                    <a:lnTo>
                      <a:pt x="283" y="92"/>
                    </a:lnTo>
                    <a:lnTo>
                      <a:pt x="283" y="86"/>
                    </a:lnTo>
                    <a:lnTo>
                      <a:pt x="283" y="84"/>
                    </a:lnTo>
                    <a:lnTo>
                      <a:pt x="284" y="84"/>
                    </a:lnTo>
                    <a:lnTo>
                      <a:pt x="284" y="82"/>
                    </a:lnTo>
                    <a:lnTo>
                      <a:pt x="283" y="81"/>
                    </a:lnTo>
                    <a:lnTo>
                      <a:pt x="282" y="81"/>
                    </a:lnTo>
                    <a:lnTo>
                      <a:pt x="282" y="78"/>
                    </a:lnTo>
                    <a:lnTo>
                      <a:pt x="281" y="77"/>
                    </a:lnTo>
                    <a:lnTo>
                      <a:pt x="281" y="76"/>
                    </a:lnTo>
                    <a:lnTo>
                      <a:pt x="283" y="75"/>
                    </a:lnTo>
                    <a:lnTo>
                      <a:pt x="283" y="76"/>
                    </a:lnTo>
                    <a:lnTo>
                      <a:pt x="284" y="75"/>
                    </a:lnTo>
                    <a:lnTo>
                      <a:pt x="283" y="74"/>
                    </a:lnTo>
                    <a:lnTo>
                      <a:pt x="283" y="73"/>
                    </a:lnTo>
                    <a:lnTo>
                      <a:pt x="282" y="71"/>
                    </a:lnTo>
                    <a:lnTo>
                      <a:pt x="283" y="70"/>
                    </a:lnTo>
                    <a:lnTo>
                      <a:pt x="283" y="71"/>
                    </a:lnTo>
                    <a:lnTo>
                      <a:pt x="283" y="69"/>
                    </a:lnTo>
                    <a:lnTo>
                      <a:pt x="283" y="68"/>
                    </a:lnTo>
                    <a:lnTo>
                      <a:pt x="281" y="67"/>
                    </a:lnTo>
                    <a:lnTo>
                      <a:pt x="281" y="66"/>
                    </a:lnTo>
                    <a:lnTo>
                      <a:pt x="283" y="65"/>
                    </a:lnTo>
                    <a:lnTo>
                      <a:pt x="284" y="65"/>
                    </a:lnTo>
                    <a:lnTo>
                      <a:pt x="284" y="64"/>
                    </a:lnTo>
                    <a:lnTo>
                      <a:pt x="286" y="64"/>
                    </a:lnTo>
                    <a:lnTo>
                      <a:pt x="290" y="69"/>
                    </a:lnTo>
                    <a:lnTo>
                      <a:pt x="296" y="72"/>
                    </a:lnTo>
                    <a:lnTo>
                      <a:pt x="296" y="71"/>
                    </a:lnTo>
                    <a:lnTo>
                      <a:pt x="297" y="71"/>
                    </a:lnTo>
                    <a:lnTo>
                      <a:pt x="296" y="70"/>
                    </a:lnTo>
                    <a:lnTo>
                      <a:pt x="297" y="69"/>
                    </a:lnTo>
                    <a:lnTo>
                      <a:pt x="297" y="68"/>
                    </a:lnTo>
                    <a:lnTo>
                      <a:pt x="295" y="68"/>
                    </a:lnTo>
                    <a:lnTo>
                      <a:pt x="294" y="67"/>
                    </a:lnTo>
                    <a:lnTo>
                      <a:pt x="296" y="65"/>
                    </a:lnTo>
                    <a:lnTo>
                      <a:pt x="297" y="67"/>
                    </a:lnTo>
                    <a:lnTo>
                      <a:pt x="298" y="65"/>
                    </a:lnTo>
                    <a:lnTo>
                      <a:pt x="297" y="65"/>
                    </a:lnTo>
                    <a:lnTo>
                      <a:pt x="299" y="64"/>
                    </a:lnTo>
                    <a:lnTo>
                      <a:pt x="299" y="58"/>
                    </a:lnTo>
                    <a:lnTo>
                      <a:pt x="303" y="61"/>
                    </a:lnTo>
                    <a:lnTo>
                      <a:pt x="306" y="61"/>
                    </a:lnTo>
                    <a:lnTo>
                      <a:pt x="306" y="58"/>
                    </a:lnTo>
                    <a:lnTo>
                      <a:pt x="309" y="61"/>
                    </a:lnTo>
                    <a:lnTo>
                      <a:pt x="312" y="61"/>
                    </a:lnTo>
                    <a:lnTo>
                      <a:pt x="312" y="57"/>
                    </a:lnTo>
                    <a:lnTo>
                      <a:pt x="313" y="56"/>
                    </a:lnTo>
                    <a:lnTo>
                      <a:pt x="313" y="54"/>
                    </a:lnTo>
                    <a:lnTo>
                      <a:pt x="313" y="52"/>
                    </a:lnTo>
                    <a:lnTo>
                      <a:pt x="312" y="52"/>
                    </a:lnTo>
                    <a:lnTo>
                      <a:pt x="313" y="52"/>
                    </a:lnTo>
                    <a:lnTo>
                      <a:pt x="313" y="48"/>
                    </a:lnTo>
                    <a:lnTo>
                      <a:pt x="310" y="39"/>
                    </a:lnTo>
                    <a:lnTo>
                      <a:pt x="315" y="38"/>
                    </a:lnTo>
                    <a:lnTo>
                      <a:pt x="315" y="34"/>
                    </a:lnTo>
                    <a:lnTo>
                      <a:pt x="319" y="36"/>
                    </a:lnTo>
                    <a:lnTo>
                      <a:pt x="320" y="36"/>
                    </a:lnTo>
                    <a:lnTo>
                      <a:pt x="319" y="39"/>
                    </a:lnTo>
                    <a:lnTo>
                      <a:pt x="321" y="39"/>
                    </a:lnTo>
                    <a:lnTo>
                      <a:pt x="321" y="40"/>
                    </a:lnTo>
                    <a:lnTo>
                      <a:pt x="322" y="42"/>
                    </a:lnTo>
                    <a:lnTo>
                      <a:pt x="323" y="39"/>
                    </a:lnTo>
                    <a:lnTo>
                      <a:pt x="325" y="35"/>
                    </a:lnTo>
                    <a:lnTo>
                      <a:pt x="330" y="35"/>
                    </a:lnTo>
                    <a:lnTo>
                      <a:pt x="329" y="35"/>
                    </a:lnTo>
                    <a:lnTo>
                      <a:pt x="330" y="37"/>
                    </a:lnTo>
                    <a:lnTo>
                      <a:pt x="330" y="41"/>
                    </a:lnTo>
                    <a:lnTo>
                      <a:pt x="331" y="41"/>
                    </a:lnTo>
                    <a:lnTo>
                      <a:pt x="334" y="43"/>
                    </a:lnTo>
                    <a:lnTo>
                      <a:pt x="336" y="43"/>
                    </a:lnTo>
                    <a:lnTo>
                      <a:pt x="337" y="41"/>
                    </a:lnTo>
                    <a:lnTo>
                      <a:pt x="335" y="39"/>
                    </a:lnTo>
                    <a:lnTo>
                      <a:pt x="335" y="38"/>
                    </a:lnTo>
                    <a:lnTo>
                      <a:pt x="339" y="39"/>
                    </a:lnTo>
                    <a:lnTo>
                      <a:pt x="340" y="38"/>
                    </a:lnTo>
                    <a:lnTo>
                      <a:pt x="341" y="36"/>
                    </a:lnTo>
                    <a:lnTo>
                      <a:pt x="343" y="37"/>
                    </a:lnTo>
                    <a:lnTo>
                      <a:pt x="344" y="37"/>
                    </a:lnTo>
                    <a:lnTo>
                      <a:pt x="343" y="38"/>
                    </a:lnTo>
                    <a:lnTo>
                      <a:pt x="343" y="40"/>
                    </a:lnTo>
                    <a:lnTo>
                      <a:pt x="343" y="41"/>
                    </a:lnTo>
                    <a:lnTo>
                      <a:pt x="345" y="43"/>
                    </a:lnTo>
                    <a:lnTo>
                      <a:pt x="344" y="43"/>
                    </a:lnTo>
                    <a:lnTo>
                      <a:pt x="343" y="44"/>
                    </a:lnTo>
                    <a:lnTo>
                      <a:pt x="342" y="46"/>
                    </a:lnTo>
                    <a:lnTo>
                      <a:pt x="343" y="47"/>
                    </a:lnTo>
                    <a:lnTo>
                      <a:pt x="343" y="51"/>
                    </a:lnTo>
                    <a:lnTo>
                      <a:pt x="345" y="54"/>
                    </a:lnTo>
                    <a:lnTo>
                      <a:pt x="346" y="52"/>
                    </a:lnTo>
                    <a:lnTo>
                      <a:pt x="346" y="53"/>
                    </a:lnTo>
                    <a:lnTo>
                      <a:pt x="347" y="52"/>
                    </a:lnTo>
                    <a:lnTo>
                      <a:pt x="347" y="53"/>
                    </a:lnTo>
                    <a:lnTo>
                      <a:pt x="348" y="53"/>
                    </a:lnTo>
                    <a:lnTo>
                      <a:pt x="348" y="54"/>
                    </a:lnTo>
                    <a:lnTo>
                      <a:pt x="349" y="55"/>
                    </a:lnTo>
                    <a:lnTo>
                      <a:pt x="350" y="56"/>
                    </a:lnTo>
                    <a:lnTo>
                      <a:pt x="351" y="55"/>
                    </a:lnTo>
                    <a:lnTo>
                      <a:pt x="351" y="53"/>
                    </a:lnTo>
                    <a:lnTo>
                      <a:pt x="353" y="51"/>
                    </a:lnTo>
                    <a:lnTo>
                      <a:pt x="353" y="52"/>
                    </a:lnTo>
                    <a:lnTo>
                      <a:pt x="355" y="53"/>
                    </a:lnTo>
                    <a:lnTo>
                      <a:pt x="356" y="53"/>
                    </a:lnTo>
                    <a:lnTo>
                      <a:pt x="356" y="51"/>
                    </a:lnTo>
                    <a:lnTo>
                      <a:pt x="358" y="51"/>
                    </a:lnTo>
                    <a:lnTo>
                      <a:pt x="359" y="53"/>
                    </a:lnTo>
                    <a:lnTo>
                      <a:pt x="361" y="54"/>
                    </a:lnTo>
                    <a:lnTo>
                      <a:pt x="361" y="52"/>
                    </a:lnTo>
                    <a:lnTo>
                      <a:pt x="361" y="51"/>
                    </a:lnTo>
                    <a:lnTo>
                      <a:pt x="365" y="52"/>
                    </a:lnTo>
                    <a:lnTo>
                      <a:pt x="368" y="52"/>
                    </a:lnTo>
                    <a:lnTo>
                      <a:pt x="372" y="55"/>
                    </a:lnTo>
                    <a:lnTo>
                      <a:pt x="372" y="54"/>
                    </a:lnTo>
                    <a:lnTo>
                      <a:pt x="372" y="50"/>
                    </a:lnTo>
                    <a:lnTo>
                      <a:pt x="374" y="49"/>
                    </a:lnTo>
                    <a:lnTo>
                      <a:pt x="374" y="48"/>
                    </a:lnTo>
                    <a:lnTo>
                      <a:pt x="378" y="49"/>
                    </a:lnTo>
                    <a:lnTo>
                      <a:pt x="379" y="48"/>
                    </a:lnTo>
                    <a:lnTo>
                      <a:pt x="381" y="48"/>
                    </a:lnTo>
                    <a:lnTo>
                      <a:pt x="383" y="40"/>
                    </a:lnTo>
                    <a:lnTo>
                      <a:pt x="383" y="39"/>
                    </a:lnTo>
                    <a:lnTo>
                      <a:pt x="390" y="41"/>
                    </a:lnTo>
                    <a:lnTo>
                      <a:pt x="391" y="40"/>
                    </a:lnTo>
                    <a:lnTo>
                      <a:pt x="392" y="36"/>
                    </a:lnTo>
                    <a:lnTo>
                      <a:pt x="391" y="27"/>
                    </a:lnTo>
                    <a:lnTo>
                      <a:pt x="392" y="22"/>
                    </a:lnTo>
                    <a:lnTo>
                      <a:pt x="405" y="27"/>
                    </a:lnTo>
                    <a:lnTo>
                      <a:pt x="411" y="34"/>
                    </a:lnTo>
                    <a:lnTo>
                      <a:pt x="418" y="28"/>
                    </a:lnTo>
                    <a:lnTo>
                      <a:pt x="419" y="28"/>
                    </a:lnTo>
                    <a:lnTo>
                      <a:pt x="420" y="27"/>
                    </a:lnTo>
                    <a:lnTo>
                      <a:pt x="421" y="26"/>
                    </a:lnTo>
                    <a:lnTo>
                      <a:pt x="420" y="24"/>
                    </a:lnTo>
                    <a:lnTo>
                      <a:pt x="418" y="22"/>
                    </a:lnTo>
                    <a:lnTo>
                      <a:pt x="419" y="20"/>
                    </a:lnTo>
                    <a:lnTo>
                      <a:pt x="418" y="19"/>
                    </a:lnTo>
                    <a:lnTo>
                      <a:pt x="423" y="18"/>
                    </a:lnTo>
                    <a:lnTo>
                      <a:pt x="426" y="17"/>
                    </a:lnTo>
                    <a:lnTo>
                      <a:pt x="428" y="17"/>
                    </a:lnTo>
                    <a:lnTo>
                      <a:pt x="429" y="17"/>
                    </a:lnTo>
                    <a:lnTo>
                      <a:pt x="430" y="15"/>
                    </a:lnTo>
                    <a:lnTo>
                      <a:pt x="430" y="17"/>
                    </a:lnTo>
                    <a:lnTo>
                      <a:pt x="433" y="15"/>
                    </a:lnTo>
                    <a:lnTo>
                      <a:pt x="435" y="14"/>
                    </a:lnTo>
                    <a:lnTo>
                      <a:pt x="434" y="11"/>
                    </a:lnTo>
                    <a:lnTo>
                      <a:pt x="435" y="11"/>
                    </a:lnTo>
                    <a:lnTo>
                      <a:pt x="434" y="7"/>
                    </a:lnTo>
                    <a:lnTo>
                      <a:pt x="432" y="7"/>
                    </a:lnTo>
                    <a:lnTo>
                      <a:pt x="435" y="6"/>
                    </a:lnTo>
                    <a:lnTo>
                      <a:pt x="435" y="5"/>
                    </a:lnTo>
                    <a:lnTo>
                      <a:pt x="437" y="6"/>
                    </a:lnTo>
                    <a:lnTo>
                      <a:pt x="437" y="5"/>
                    </a:lnTo>
                    <a:lnTo>
                      <a:pt x="438" y="5"/>
                    </a:lnTo>
                    <a:lnTo>
                      <a:pt x="439" y="6"/>
                    </a:lnTo>
                    <a:lnTo>
                      <a:pt x="437" y="0"/>
                    </a:lnTo>
                    <a:lnTo>
                      <a:pt x="439" y="0"/>
                    </a:lnTo>
                    <a:lnTo>
                      <a:pt x="444" y="1"/>
                    </a:lnTo>
                    <a:lnTo>
                      <a:pt x="443" y="1"/>
                    </a:lnTo>
                    <a:lnTo>
                      <a:pt x="444" y="4"/>
                    </a:lnTo>
                    <a:lnTo>
                      <a:pt x="442" y="5"/>
                    </a:lnTo>
                    <a:lnTo>
                      <a:pt x="443" y="6"/>
                    </a:lnTo>
                    <a:lnTo>
                      <a:pt x="444" y="6"/>
                    </a:lnTo>
                    <a:lnTo>
                      <a:pt x="446" y="7"/>
                    </a:lnTo>
                    <a:lnTo>
                      <a:pt x="446" y="6"/>
                    </a:lnTo>
                    <a:lnTo>
                      <a:pt x="447" y="7"/>
                    </a:lnTo>
                    <a:lnTo>
                      <a:pt x="449" y="11"/>
                    </a:lnTo>
                    <a:lnTo>
                      <a:pt x="447" y="11"/>
                    </a:lnTo>
                    <a:lnTo>
                      <a:pt x="448" y="11"/>
                    </a:lnTo>
                    <a:lnTo>
                      <a:pt x="449" y="13"/>
                    </a:lnTo>
                    <a:lnTo>
                      <a:pt x="451" y="13"/>
                    </a:lnTo>
                    <a:lnTo>
                      <a:pt x="452" y="14"/>
                    </a:lnTo>
                    <a:lnTo>
                      <a:pt x="452" y="11"/>
                    </a:lnTo>
                    <a:lnTo>
                      <a:pt x="454" y="11"/>
                    </a:lnTo>
                    <a:lnTo>
                      <a:pt x="454" y="9"/>
                    </a:lnTo>
                    <a:lnTo>
                      <a:pt x="455" y="8"/>
                    </a:lnTo>
                    <a:lnTo>
                      <a:pt x="456" y="9"/>
                    </a:lnTo>
                    <a:lnTo>
                      <a:pt x="455" y="9"/>
                    </a:lnTo>
                    <a:lnTo>
                      <a:pt x="455" y="10"/>
                    </a:lnTo>
                    <a:lnTo>
                      <a:pt x="457" y="10"/>
                    </a:lnTo>
                    <a:lnTo>
                      <a:pt x="457" y="11"/>
                    </a:lnTo>
                    <a:lnTo>
                      <a:pt x="459" y="11"/>
                    </a:lnTo>
                    <a:lnTo>
                      <a:pt x="460" y="11"/>
                    </a:lnTo>
                    <a:lnTo>
                      <a:pt x="463" y="10"/>
                    </a:lnTo>
                    <a:lnTo>
                      <a:pt x="463" y="11"/>
                    </a:lnTo>
                    <a:lnTo>
                      <a:pt x="462" y="13"/>
                    </a:lnTo>
                    <a:lnTo>
                      <a:pt x="463" y="13"/>
                    </a:lnTo>
                    <a:lnTo>
                      <a:pt x="465" y="19"/>
                    </a:lnTo>
                    <a:lnTo>
                      <a:pt x="466" y="19"/>
                    </a:lnTo>
                    <a:lnTo>
                      <a:pt x="468" y="20"/>
                    </a:lnTo>
                    <a:lnTo>
                      <a:pt x="468" y="23"/>
                    </a:lnTo>
                    <a:lnTo>
                      <a:pt x="468" y="22"/>
                    </a:lnTo>
                    <a:lnTo>
                      <a:pt x="470" y="22"/>
                    </a:lnTo>
                    <a:lnTo>
                      <a:pt x="470" y="23"/>
                    </a:lnTo>
                    <a:lnTo>
                      <a:pt x="469" y="25"/>
                    </a:lnTo>
                    <a:lnTo>
                      <a:pt x="470" y="27"/>
                    </a:lnTo>
                    <a:lnTo>
                      <a:pt x="470" y="29"/>
                    </a:lnTo>
                    <a:lnTo>
                      <a:pt x="471" y="28"/>
                    </a:lnTo>
                    <a:lnTo>
                      <a:pt x="472" y="28"/>
                    </a:lnTo>
                    <a:lnTo>
                      <a:pt x="474" y="28"/>
                    </a:lnTo>
                    <a:lnTo>
                      <a:pt x="476" y="28"/>
                    </a:lnTo>
                    <a:lnTo>
                      <a:pt x="477" y="31"/>
                    </a:lnTo>
                    <a:lnTo>
                      <a:pt x="479" y="32"/>
                    </a:lnTo>
                    <a:lnTo>
                      <a:pt x="478" y="34"/>
                    </a:lnTo>
                    <a:lnTo>
                      <a:pt x="480" y="34"/>
                    </a:lnTo>
                    <a:lnTo>
                      <a:pt x="483" y="37"/>
                    </a:lnTo>
                    <a:lnTo>
                      <a:pt x="482" y="38"/>
                    </a:lnTo>
                    <a:lnTo>
                      <a:pt x="482" y="39"/>
                    </a:lnTo>
                    <a:lnTo>
                      <a:pt x="483" y="38"/>
                    </a:lnTo>
                    <a:lnTo>
                      <a:pt x="483" y="40"/>
                    </a:lnTo>
                    <a:lnTo>
                      <a:pt x="483" y="46"/>
                    </a:lnTo>
                    <a:lnTo>
                      <a:pt x="484" y="47"/>
                    </a:lnTo>
                    <a:lnTo>
                      <a:pt x="484" y="48"/>
                    </a:lnTo>
                    <a:lnTo>
                      <a:pt x="487" y="47"/>
                    </a:lnTo>
                    <a:lnTo>
                      <a:pt x="487" y="48"/>
                    </a:lnTo>
                    <a:lnTo>
                      <a:pt x="488" y="48"/>
                    </a:lnTo>
                    <a:lnTo>
                      <a:pt x="488" y="49"/>
                    </a:lnTo>
                    <a:lnTo>
                      <a:pt x="490" y="48"/>
                    </a:lnTo>
                    <a:lnTo>
                      <a:pt x="492" y="49"/>
                    </a:lnTo>
                    <a:lnTo>
                      <a:pt x="494" y="51"/>
                    </a:lnTo>
                    <a:lnTo>
                      <a:pt x="493" y="52"/>
                    </a:lnTo>
                    <a:lnTo>
                      <a:pt x="494" y="52"/>
                    </a:lnTo>
                    <a:lnTo>
                      <a:pt x="494" y="53"/>
                    </a:lnTo>
                    <a:lnTo>
                      <a:pt x="495" y="53"/>
                    </a:lnTo>
                    <a:lnTo>
                      <a:pt x="495" y="54"/>
                    </a:lnTo>
                    <a:lnTo>
                      <a:pt x="494" y="54"/>
                    </a:lnTo>
                    <a:lnTo>
                      <a:pt x="494" y="56"/>
                    </a:lnTo>
                    <a:lnTo>
                      <a:pt x="493" y="56"/>
                    </a:lnTo>
                    <a:lnTo>
                      <a:pt x="493" y="58"/>
                    </a:lnTo>
                    <a:lnTo>
                      <a:pt x="491" y="57"/>
                    </a:lnTo>
                    <a:lnTo>
                      <a:pt x="491" y="58"/>
                    </a:lnTo>
                    <a:lnTo>
                      <a:pt x="487" y="58"/>
                    </a:lnTo>
                    <a:lnTo>
                      <a:pt x="486" y="60"/>
                    </a:lnTo>
                    <a:lnTo>
                      <a:pt x="486" y="63"/>
                    </a:lnTo>
                    <a:lnTo>
                      <a:pt x="486" y="64"/>
                    </a:lnTo>
                    <a:lnTo>
                      <a:pt x="487" y="65"/>
                    </a:lnTo>
                    <a:lnTo>
                      <a:pt x="490" y="69"/>
                    </a:lnTo>
                    <a:lnTo>
                      <a:pt x="490" y="71"/>
                    </a:lnTo>
                    <a:lnTo>
                      <a:pt x="489" y="72"/>
                    </a:lnTo>
                    <a:lnTo>
                      <a:pt x="489" y="73"/>
                    </a:lnTo>
                    <a:lnTo>
                      <a:pt x="490" y="73"/>
                    </a:lnTo>
                    <a:lnTo>
                      <a:pt x="492" y="75"/>
                    </a:lnTo>
                    <a:lnTo>
                      <a:pt x="491" y="76"/>
                    </a:lnTo>
                    <a:lnTo>
                      <a:pt x="491" y="77"/>
                    </a:lnTo>
                    <a:lnTo>
                      <a:pt x="490" y="77"/>
                    </a:lnTo>
                    <a:lnTo>
                      <a:pt x="489" y="77"/>
                    </a:lnTo>
                    <a:lnTo>
                      <a:pt x="490" y="77"/>
                    </a:lnTo>
                    <a:lnTo>
                      <a:pt x="490" y="78"/>
                    </a:lnTo>
                    <a:lnTo>
                      <a:pt x="489" y="80"/>
                    </a:lnTo>
                    <a:lnTo>
                      <a:pt x="490" y="80"/>
                    </a:lnTo>
                    <a:lnTo>
                      <a:pt x="489" y="82"/>
                    </a:lnTo>
                    <a:lnTo>
                      <a:pt x="489" y="84"/>
                    </a:lnTo>
                    <a:lnTo>
                      <a:pt x="487" y="86"/>
                    </a:lnTo>
                    <a:lnTo>
                      <a:pt x="487" y="88"/>
                    </a:lnTo>
                    <a:lnTo>
                      <a:pt x="489" y="88"/>
                    </a:lnTo>
                    <a:lnTo>
                      <a:pt x="489" y="89"/>
                    </a:lnTo>
                    <a:lnTo>
                      <a:pt x="491" y="88"/>
                    </a:lnTo>
                    <a:lnTo>
                      <a:pt x="491" y="89"/>
                    </a:lnTo>
                    <a:lnTo>
                      <a:pt x="493" y="93"/>
                    </a:lnTo>
                    <a:lnTo>
                      <a:pt x="493" y="94"/>
                    </a:lnTo>
                    <a:lnTo>
                      <a:pt x="491" y="94"/>
                    </a:lnTo>
                    <a:lnTo>
                      <a:pt x="491" y="96"/>
                    </a:lnTo>
                    <a:lnTo>
                      <a:pt x="492" y="97"/>
                    </a:lnTo>
                    <a:lnTo>
                      <a:pt x="492" y="98"/>
                    </a:lnTo>
                    <a:lnTo>
                      <a:pt x="495" y="99"/>
                    </a:lnTo>
                    <a:lnTo>
                      <a:pt x="491" y="108"/>
                    </a:lnTo>
                    <a:lnTo>
                      <a:pt x="491" y="107"/>
                    </a:lnTo>
                    <a:lnTo>
                      <a:pt x="490" y="109"/>
                    </a:lnTo>
                    <a:lnTo>
                      <a:pt x="489" y="107"/>
                    </a:lnTo>
                    <a:lnTo>
                      <a:pt x="489" y="109"/>
                    </a:lnTo>
                    <a:lnTo>
                      <a:pt x="486" y="109"/>
                    </a:lnTo>
                    <a:lnTo>
                      <a:pt x="486" y="111"/>
                    </a:lnTo>
                    <a:lnTo>
                      <a:pt x="487" y="111"/>
                    </a:lnTo>
                    <a:lnTo>
                      <a:pt x="487" y="112"/>
                    </a:lnTo>
                    <a:lnTo>
                      <a:pt x="486" y="113"/>
                    </a:lnTo>
                    <a:lnTo>
                      <a:pt x="487" y="115"/>
                    </a:lnTo>
                    <a:lnTo>
                      <a:pt x="487" y="116"/>
                    </a:lnTo>
                    <a:lnTo>
                      <a:pt x="486" y="116"/>
                    </a:lnTo>
                    <a:lnTo>
                      <a:pt x="485" y="117"/>
                    </a:lnTo>
                    <a:lnTo>
                      <a:pt x="484" y="117"/>
                    </a:lnTo>
                    <a:lnTo>
                      <a:pt x="485" y="116"/>
                    </a:lnTo>
                    <a:lnTo>
                      <a:pt x="484" y="116"/>
                    </a:lnTo>
                    <a:lnTo>
                      <a:pt x="483" y="116"/>
                    </a:lnTo>
                    <a:lnTo>
                      <a:pt x="482" y="116"/>
                    </a:lnTo>
                    <a:lnTo>
                      <a:pt x="481" y="115"/>
                    </a:lnTo>
                    <a:lnTo>
                      <a:pt x="479" y="117"/>
                    </a:lnTo>
                    <a:lnTo>
                      <a:pt x="476" y="120"/>
                    </a:lnTo>
                    <a:lnTo>
                      <a:pt x="478" y="123"/>
                    </a:lnTo>
                    <a:lnTo>
                      <a:pt x="479" y="126"/>
                    </a:lnTo>
                    <a:lnTo>
                      <a:pt x="481" y="126"/>
                    </a:lnTo>
                    <a:lnTo>
                      <a:pt x="483" y="128"/>
                    </a:lnTo>
                    <a:lnTo>
                      <a:pt x="482" y="128"/>
                    </a:lnTo>
                    <a:lnTo>
                      <a:pt x="480" y="129"/>
                    </a:lnTo>
                    <a:lnTo>
                      <a:pt x="481" y="133"/>
                    </a:lnTo>
                    <a:lnTo>
                      <a:pt x="481" y="135"/>
                    </a:lnTo>
                    <a:lnTo>
                      <a:pt x="483" y="137"/>
                    </a:lnTo>
                    <a:lnTo>
                      <a:pt x="485" y="139"/>
                    </a:lnTo>
                    <a:lnTo>
                      <a:pt x="487" y="140"/>
                    </a:lnTo>
                    <a:lnTo>
                      <a:pt x="489" y="139"/>
                    </a:lnTo>
                    <a:lnTo>
                      <a:pt x="491" y="136"/>
                    </a:lnTo>
                    <a:lnTo>
                      <a:pt x="492" y="139"/>
                    </a:lnTo>
                    <a:lnTo>
                      <a:pt x="496" y="141"/>
                    </a:lnTo>
                    <a:lnTo>
                      <a:pt x="497" y="141"/>
                    </a:lnTo>
                    <a:lnTo>
                      <a:pt x="496" y="142"/>
                    </a:lnTo>
                    <a:lnTo>
                      <a:pt x="495" y="142"/>
                    </a:lnTo>
                    <a:lnTo>
                      <a:pt x="495" y="146"/>
                    </a:lnTo>
                    <a:lnTo>
                      <a:pt x="496" y="146"/>
                    </a:lnTo>
                    <a:lnTo>
                      <a:pt x="498" y="145"/>
                    </a:lnTo>
                    <a:lnTo>
                      <a:pt x="498" y="146"/>
                    </a:lnTo>
                    <a:lnTo>
                      <a:pt x="499" y="148"/>
                    </a:lnTo>
                    <a:lnTo>
                      <a:pt x="500" y="148"/>
                    </a:lnTo>
                    <a:lnTo>
                      <a:pt x="501" y="150"/>
                    </a:lnTo>
                    <a:lnTo>
                      <a:pt x="502" y="150"/>
                    </a:lnTo>
                    <a:lnTo>
                      <a:pt x="503" y="152"/>
                    </a:lnTo>
                    <a:lnTo>
                      <a:pt x="503" y="154"/>
                    </a:lnTo>
                    <a:lnTo>
                      <a:pt x="502" y="153"/>
                    </a:lnTo>
                    <a:lnTo>
                      <a:pt x="499" y="155"/>
                    </a:lnTo>
                    <a:lnTo>
                      <a:pt x="499" y="156"/>
                    </a:lnTo>
                    <a:lnTo>
                      <a:pt x="501" y="157"/>
                    </a:lnTo>
                    <a:lnTo>
                      <a:pt x="501" y="159"/>
                    </a:lnTo>
                    <a:lnTo>
                      <a:pt x="499" y="161"/>
                    </a:lnTo>
                    <a:lnTo>
                      <a:pt x="501" y="162"/>
                    </a:lnTo>
                    <a:lnTo>
                      <a:pt x="504" y="165"/>
                    </a:lnTo>
                    <a:lnTo>
                      <a:pt x="504" y="166"/>
                    </a:lnTo>
                    <a:lnTo>
                      <a:pt x="505" y="167"/>
                    </a:lnTo>
                    <a:lnTo>
                      <a:pt x="506" y="165"/>
                    </a:lnTo>
                    <a:lnTo>
                      <a:pt x="506" y="167"/>
                    </a:lnTo>
                    <a:lnTo>
                      <a:pt x="507" y="167"/>
                    </a:lnTo>
                    <a:lnTo>
                      <a:pt x="508" y="167"/>
                    </a:lnTo>
                    <a:lnTo>
                      <a:pt x="508" y="165"/>
                    </a:lnTo>
                    <a:lnTo>
                      <a:pt x="512" y="166"/>
                    </a:lnTo>
                    <a:lnTo>
                      <a:pt x="514" y="164"/>
                    </a:lnTo>
                    <a:lnTo>
                      <a:pt x="515" y="164"/>
                    </a:lnTo>
                    <a:lnTo>
                      <a:pt x="515" y="165"/>
                    </a:lnTo>
                    <a:lnTo>
                      <a:pt x="517" y="167"/>
                    </a:lnTo>
                    <a:lnTo>
                      <a:pt x="518" y="167"/>
                    </a:lnTo>
                    <a:lnTo>
                      <a:pt x="519" y="168"/>
                    </a:lnTo>
                    <a:lnTo>
                      <a:pt x="520" y="167"/>
                    </a:lnTo>
                    <a:lnTo>
                      <a:pt x="522" y="169"/>
                    </a:lnTo>
                    <a:lnTo>
                      <a:pt x="525" y="171"/>
                    </a:lnTo>
                    <a:lnTo>
                      <a:pt x="524" y="171"/>
                    </a:lnTo>
                    <a:lnTo>
                      <a:pt x="525" y="173"/>
                    </a:lnTo>
                    <a:lnTo>
                      <a:pt x="526" y="172"/>
                    </a:lnTo>
                    <a:lnTo>
                      <a:pt x="528" y="171"/>
                    </a:lnTo>
                    <a:lnTo>
                      <a:pt x="529" y="168"/>
                    </a:lnTo>
                    <a:lnTo>
                      <a:pt x="532" y="169"/>
                    </a:lnTo>
                    <a:lnTo>
                      <a:pt x="533" y="167"/>
                    </a:lnTo>
                    <a:lnTo>
                      <a:pt x="535" y="167"/>
                    </a:lnTo>
                    <a:lnTo>
                      <a:pt x="536" y="167"/>
                    </a:lnTo>
                    <a:lnTo>
                      <a:pt x="538" y="167"/>
                    </a:lnTo>
                    <a:lnTo>
                      <a:pt x="538" y="165"/>
                    </a:lnTo>
                    <a:lnTo>
                      <a:pt x="538" y="167"/>
                    </a:lnTo>
                    <a:lnTo>
                      <a:pt x="539" y="167"/>
                    </a:lnTo>
                    <a:lnTo>
                      <a:pt x="539" y="170"/>
                    </a:lnTo>
                    <a:lnTo>
                      <a:pt x="540" y="170"/>
                    </a:lnTo>
                    <a:lnTo>
                      <a:pt x="540" y="171"/>
                    </a:lnTo>
                    <a:lnTo>
                      <a:pt x="541" y="171"/>
                    </a:lnTo>
                    <a:lnTo>
                      <a:pt x="543" y="172"/>
                    </a:lnTo>
                    <a:lnTo>
                      <a:pt x="543" y="173"/>
                    </a:lnTo>
                    <a:lnTo>
                      <a:pt x="544" y="173"/>
                    </a:lnTo>
                    <a:lnTo>
                      <a:pt x="545" y="175"/>
                    </a:lnTo>
                    <a:lnTo>
                      <a:pt x="543" y="176"/>
                    </a:lnTo>
                    <a:lnTo>
                      <a:pt x="544" y="178"/>
                    </a:lnTo>
                    <a:lnTo>
                      <a:pt x="544" y="179"/>
                    </a:lnTo>
                    <a:lnTo>
                      <a:pt x="543" y="179"/>
                    </a:lnTo>
                    <a:lnTo>
                      <a:pt x="544" y="182"/>
                    </a:lnTo>
                    <a:lnTo>
                      <a:pt x="543" y="185"/>
                    </a:lnTo>
                    <a:lnTo>
                      <a:pt x="544" y="185"/>
                    </a:lnTo>
                    <a:lnTo>
                      <a:pt x="545" y="188"/>
                    </a:lnTo>
                    <a:lnTo>
                      <a:pt x="543" y="189"/>
                    </a:lnTo>
                    <a:lnTo>
                      <a:pt x="541" y="189"/>
                    </a:lnTo>
                    <a:lnTo>
                      <a:pt x="540" y="190"/>
                    </a:lnTo>
                    <a:lnTo>
                      <a:pt x="541" y="191"/>
                    </a:lnTo>
                    <a:lnTo>
                      <a:pt x="541" y="197"/>
                    </a:lnTo>
                    <a:lnTo>
                      <a:pt x="540" y="200"/>
                    </a:lnTo>
                    <a:lnTo>
                      <a:pt x="542" y="201"/>
                    </a:lnTo>
                    <a:lnTo>
                      <a:pt x="542" y="203"/>
                    </a:lnTo>
                    <a:lnTo>
                      <a:pt x="543" y="203"/>
                    </a:lnTo>
                    <a:lnTo>
                      <a:pt x="545" y="205"/>
                    </a:lnTo>
                    <a:lnTo>
                      <a:pt x="544" y="209"/>
                    </a:lnTo>
                    <a:lnTo>
                      <a:pt x="545" y="207"/>
                    </a:lnTo>
                    <a:lnTo>
                      <a:pt x="545" y="209"/>
                    </a:lnTo>
                    <a:lnTo>
                      <a:pt x="546" y="209"/>
                    </a:lnTo>
                    <a:lnTo>
                      <a:pt x="544" y="211"/>
                    </a:lnTo>
                    <a:lnTo>
                      <a:pt x="547" y="210"/>
                    </a:lnTo>
                    <a:lnTo>
                      <a:pt x="545" y="212"/>
                    </a:lnTo>
                    <a:lnTo>
                      <a:pt x="545" y="215"/>
                    </a:lnTo>
                    <a:lnTo>
                      <a:pt x="544" y="217"/>
                    </a:lnTo>
                    <a:lnTo>
                      <a:pt x="543" y="216"/>
                    </a:lnTo>
                    <a:lnTo>
                      <a:pt x="542" y="218"/>
                    </a:lnTo>
                    <a:lnTo>
                      <a:pt x="543" y="219"/>
                    </a:lnTo>
                    <a:lnTo>
                      <a:pt x="543" y="220"/>
                    </a:lnTo>
                    <a:lnTo>
                      <a:pt x="542" y="222"/>
                    </a:lnTo>
                    <a:lnTo>
                      <a:pt x="541" y="221"/>
                    </a:lnTo>
                    <a:lnTo>
                      <a:pt x="541" y="222"/>
                    </a:lnTo>
                    <a:lnTo>
                      <a:pt x="540" y="223"/>
                    </a:lnTo>
                    <a:lnTo>
                      <a:pt x="539" y="225"/>
                    </a:lnTo>
                    <a:lnTo>
                      <a:pt x="537" y="224"/>
                    </a:lnTo>
                    <a:lnTo>
                      <a:pt x="536" y="227"/>
                    </a:lnTo>
                    <a:lnTo>
                      <a:pt x="536" y="226"/>
                    </a:lnTo>
                    <a:lnTo>
                      <a:pt x="535" y="226"/>
                    </a:lnTo>
                    <a:lnTo>
                      <a:pt x="535" y="228"/>
                    </a:lnTo>
                    <a:lnTo>
                      <a:pt x="534" y="228"/>
                    </a:lnTo>
                    <a:lnTo>
                      <a:pt x="533" y="227"/>
                    </a:lnTo>
                    <a:lnTo>
                      <a:pt x="532" y="229"/>
                    </a:lnTo>
                    <a:lnTo>
                      <a:pt x="534" y="229"/>
                    </a:lnTo>
                    <a:lnTo>
                      <a:pt x="537" y="232"/>
                    </a:lnTo>
                    <a:lnTo>
                      <a:pt x="537" y="233"/>
                    </a:lnTo>
                    <a:lnTo>
                      <a:pt x="533" y="236"/>
                    </a:lnTo>
                    <a:lnTo>
                      <a:pt x="530" y="237"/>
                    </a:lnTo>
                    <a:lnTo>
                      <a:pt x="534" y="239"/>
                    </a:lnTo>
                    <a:lnTo>
                      <a:pt x="538" y="238"/>
                    </a:lnTo>
                    <a:lnTo>
                      <a:pt x="540" y="241"/>
                    </a:lnTo>
                    <a:lnTo>
                      <a:pt x="541" y="243"/>
                    </a:lnTo>
                    <a:lnTo>
                      <a:pt x="543" y="244"/>
                    </a:lnTo>
                    <a:lnTo>
                      <a:pt x="544" y="243"/>
                    </a:lnTo>
                    <a:lnTo>
                      <a:pt x="544" y="241"/>
                    </a:lnTo>
                    <a:lnTo>
                      <a:pt x="545" y="243"/>
                    </a:lnTo>
                    <a:lnTo>
                      <a:pt x="546" y="243"/>
                    </a:lnTo>
                    <a:lnTo>
                      <a:pt x="546" y="244"/>
                    </a:lnTo>
                    <a:lnTo>
                      <a:pt x="550" y="248"/>
                    </a:lnTo>
                    <a:lnTo>
                      <a:pt x="552" y="249"/>
                    </a:lnTo>
                    <a:lnTo>
                      <a:pt x="553" y="249"/>
                    </a:lnTo>
                    <a:lnTo>
                      <a:pt x="555" y="250"/>
                    </a:lnTo>
                    <a:lnTo>
                      <a:pt x="552" y="254"/>
                    </a:lnTo>
                    <a:lnTo>
                      <a:pt x="552" y="257"/>
                    </a:lnTo>
                    <a:lnTo>
                      <a:pt x="551" y="256"/>
                    </a:lnTo>
                    <a:lnTo>
                      <a:pt x="550" y="256"/>
                    </a:lnTo>
                    <a:lnTo>
                      <a:pt x="551" y="260"/>
                    </a:lnTo>
                    <a:lnTo>
                      <a:pt x="548" y="262"/>
                    </a:lnTo>
                    <a:lnTo>
                      <a:pt x="546" y="260"/>
                    </a:lnTo>
                    <a:lnTo>
                      <a:pt x="546" y="258"/>
                    </a:lnTo>
                    <a:lnTo>
                      <a:pt x="545" y="257"/>
                    </a:lnTo>
                    <a:lnTo>
                      <a:pt x="543" y="258"/>
                    </a:lnTo>
                    <a:lnTo>
                      <a:pt x="541" y="262"/>
                    </a:lnTo>
                    <a:lnTo>
                      <a:pt x="543" y="265"/>
                    </a:lnTo>
                    <a:lnTo>
                      <a:pt x="545" y="263"/>
                    </a:lnTo>
                    <a:lnTo>
                      <a:pt x="546" y="267"/>
                    </a:lnTo>
                    <a:lnTo>
                      <a:pt x="548" y="267"/>
                    </a:lnTo>
                    <a:lnTo>
                      <a:pt x="546" y="267"/>
                    </a:lnTo>
                    <a:lnTo>
                      <a:pt x="544" y="266"/>
                    </a:lnTo>
                    <a:lnTo>
                      <a:pt x="543" y="267"/>
                    </a:lnTo>
                    <a:lnTo>
                      <a:pt x="542" y="267"/>
                    </a:lnTo>
                    <a:lnTo>
                      <a:pt x="541" y="267"/>
                    </a:lnTo>
                    <a:lnTo>
                      <a:pt x="542" y="271"/>
                    </a:lnTo>
                    <a:lnTo>
                      <a:pt x="543" y="273"/>
                    </a:lnTo>
                    <a:lnTo>
                      <a:pt x="542" y="279"/>
                    </a:lnTo>
                    <a:lnTo>
                      <a:pt x="540" y="278"/>
                    </a:lnTo>
                    <a:lnTo>
                      <a:pt x="538" y="279"/>
                    </a:lnTo>
                    <a:lnTo>
                      <a:pt x="537" y="278"/>
                    </a:lnTo>
                    <a:lnTo>
                      <a:pt x="537" y="279"/>
                    </a:lnTo>
                    <a:lnTo>
                      <a:pt x="536" y="279"/>
                    </a:lnTo>
                    <a:lnTo>
                      <a:pt x="535" y="279"/>
                    </a:lnTo>
                    <a:lnTo>
                      <a:pt x="534" y="278"/>
                    </a:lnTo>
                    <a:lnTo>
                      <a:pt x="533" y="279"/>
                    </a:lnTo>
                    <a:lnTo>
                      <a:pt x="532" y="280"/>
                    </a:lnTo>
                    <a:lnTo>
                      <a:pt x="533" y="282"/>
                    </a:lnTo>
                    <a:lnTo>
                      <a:pt x="538" y="283"/>
                    </a:lnTo>
                    <a:lnTo>
                      <a:pt x="537" y="284"/>
                    </a:lnTo>
                    <a:lnTo>
                      <a:pt x="539" y="283"/>
                    </a:lnTo>
                    <a:lnTo>
                      <a:pt x="539" y="285"/>
                    </a:lnTo>
                    <a:lnTo>
                      <a:pt x="538" y="286"/>
                    </a:lnTo>
                    <a:lnTo>
                      <a:pt x="538" y="285"/>
                    </a:lnTo>
                    <a:lnTo>
                      <a:pt x="537" y="286"/>
                    </a:lnTo>
                    <a:lnTo>
                      <a:pt x="535" y="284"/>
                    </a:lnTo>
                    <a:lnTo>
                      <a:pt x="535" y="285"/>
                    </a:lnTo>
                    <a:lnTo>
                      <a:pt x="536" y="286"/>
                    </a:lnTo>
                    <a:lnTo>
                      <a:pt x="534" y="284"/>
                    </a:lnTo>
                    <a:lnTo>
                      <a:pt x="533" y="284"/>
                    </a:lnTo>
                    <a:lnTo>
                      <a:pt x="530" y="286"/>
                    </a:lnTo>
                    <a:lnTo>
                      <a:pt x="528" y="286"/>
                    </a:lnTo>
                    <a:lnTo>
                      <a:pt x="530" y="288"/>
                    </a:lnTo>
                    <a:lnTo>
                      <a:pt x="530" y="290"/>
                    </a:lnTo>
                    <a:lnTo>
                      <a:pt x="530" y="292"/>
                    </a:lnTo>
                    <a:lnTo>
                      <a:pt x="532" y="293"/>
                    </a:lnTo>
                    <a:lnTo>
                      <a:pt x="532" y="294"/>
                    </a:lnTo>
                    <a:lnTo>
                      <a:pt x="533" y="294"/>
                    </a:lnTo>
                    <a:lnTo>
                      <a:pt x="533" y="296"/>
                    </a:lnTo>
                    <a:lnTo>
                      <a:pt x="535" y="297"/>
                    </a:lnTo>
                    <a:lnTo>
                      <a:pt x="536" y="298"/>
                    </a:lnTo>
                    <a:lnTo>
                      <a:pt x="537" y="299"/>
                    </a:lnTo>
                    <a:lnTo>
                      <a:pt x="539" y="297"/>
                    </a:lnTo>
                    <a:lnTo>
                      <a:pt x="542" y="298"/>
                    </a:lnTo>
                    <a:lnTo>
                      <a:pt x="541" y="299"/>
                    </a:lnTo>
                    <a:lnTo>
                      <a:pt x="541" y="298"/>
                    </a:lnTo>
                    <a:lnTo>
                      <a:pt x="542" y="300"/>
                    </a:lnTo>
                    <a:lnTo>
                      <a:pt x="543" y="300"/>
                    </a:lnTo>
                    <a:lnTo>
                      <a:pt x="545" y="301"/>
                    </a:lnTo>
                    <a:lnTo>
                      <a:pt x="543" y="302"/>
                    </a:lnTo>
                    <a:lnTo>
                      <a:pt x="542" y="302"/>
                    </a:lnTo>
                    <a:lnTo>
                      <a:pt x="543" y="303"/>
                    </a:lnTo>
                    <a:lnTo>
                      <a:pt x="544" y="304"/>
                    </a:lnTo>
                    <a:lnTo>
                      <a:pt x="545" y="304"/>
                    </a:lnTo>
                    <a:lnTo>
                      <a:pt x="546" y="304"/>
                    </a:lnTo>
                    <a:lnTo>
                      <a:pt x="548" y="306"/>
                    </a:lnTo>
                    <a:lnTo>
                      <a:pt x="552" y="304"/>
                    </a:lnTo>
                    <a:lnTo>
                      <a:pt x="552" y="306"/>
                    </a:lnTo>
                    <a:lnTo>
                      <a:pt x="553" y="307"/>
                    </a:lnTo>
                    <a:lnTo>
                      <a:pt x="552" y="307"/>
                    </a:lnTo>
                    <a:lnTo>
                      <a:pt x="552" y="310"/>
                    </a:lnTo>
                    <a:lnTo>
                      <a:pt x="553" y="310"/>
                    </a:lnTo>
                    <a:lnTo>
                      <a:pt x="555" y="306"/>
                    </a:lnTo>
                    <a:lnTo>
                      <a:pt x="555" y="307"/>
                    </a:lnTo>
                    <a:lnTo>
                      <a:pt x="555" y="309"/>
                    </a:lnTo>
                    <a:lnTo>
                      <a:pt x="556" y="309"/>
                    </a:lnTo>
                    <a:lnTo>
                      <a:pt x="555" y="310"/>
                    </a:lnTo>
                    <a:lnTo>
                      <a:pt x="555" y="313"/>
                    </a:lnTo>
                    <a:lnTo>
                      <a:pt x="552" y="314"/>
                    </a:lnTo>
                    <a:lnTo>
                      <a:pt x="552" y="315"/>
                    </a:lnTo>
                    <a:lnTo>
                      <a:pt x="552" y="316"/>
                    </a:lnTo>
                    <a:lnTo>
                      <a:pt x="555" y="319"/>
                    </a:lnTo>
                    <a:lnTo>
                      <a:pt x="562" y="326"/>
                    </a:lnTo>
                    <a:lnTo>
                      <a:pt x="563" y="325"/>
                    </a:lnTo>
                    <a:lnTo>
                      <a:pt x="564" y="325"/>
                    </a:lnTo>
                    <a:lnTo>
                      <a:pt x="564" y="327"/>
                    </a:lnTo>
                    <a:lnTo>
                      <a:pt x="565" y="326"/>
                    </a:lnTo>
                    <a:lnTo>
                      <a:pt x="566" y="327"/>
                    </a:lnTo>
                    <a:lnTo>
                      <a:pt x="566" y="329"/>
                    </a:lnTo>
                    <a:lnTo>
                      <a:pt x="567" y="330"/>
                    </a:lnTo>
                    <a:lnTo>
                      <a:pt x="568" y="328"/>
                    </a:lnTo>
                    <a:lnTo>
                      <a:pt x="569" y="331"/>
                    </a:lnTo>
                    <a:lnTo>
                      <a:pt x="568" y="333"/>
                    </a:lnTo>
                    <a:lnTo>
                      <a:pt x="569" y="333"/>
                    </a:lnTo>
                    <a:lnTo>
                      <a:pt x="568" y="335"/>
                    </a:lnTo>
                    <a:lnTo>
                      <a:pt x="569" y="337"/>
                    </a:lnTo>
                    <a:lnTo>
                      <a:pt x="568" y="336"/>
                    </a:lnTo>
                    <a:lnTo>
                      <a:pt x="566" y="337"/>
                    </a:lnTo>
                    <a:lnTo>
                      <a:pt x="564" y="339"/>
                    </a:lnTo>
                    <a:lnTo>
                      <a:pt x="567" y="344"/>
                    </a:lnTo>
                    <a:lnTo>
                      <a:pt x="568" y="344"/>
                    </a:lnTo>
                    <a:lnTo>
                      <a:pt x="568" y="345"/>
                    </a:lnTo>
                    <a:lnTo>
                      <a:pt x="568" y="347"/>
                    </a:lnTo>
                    <a:lnTo>
                      <a:pt x="568" y="348"/>
                    </a:lnTo>
                    <a:lnTo>
                      <a:pt x="567" y="348"/>
                    </a:lnTo>
                    <a:lnTo>
                      <a:pt x="566" y="347"/>
                    </a:lnTo>
                    <a:lnTo>
                      <a:pt x="566" y="350"/>
                    </a:lnTo>
                    <a:lnTo>
                      <a:pt x="565" y="350"/>
                    </a:lnTo>
                    <a:lnTo>
                      <a:pt x="564" y="352"/>
                    </a:lnTo>
                    <a:lnTo>
                      <a:pt x="564" y="353"/>
                    </a:lnTo>
                    <a:lnTo>
                      <a:pt x="561" y="356"/>
                    </a:lnTo>
                    <a:lnTo>
                      <a:pt x="563" y="357"/>
                    </a:lnTo>
                    <a:lnTo>
                      <a:pt x="561" y="358"/>
                    </a:lnTo>
                    <a:lnTo>
                      <a:pt x="558" y="359"/>
                    </a:lnTo>
                    <a:lnTo>
                      <a:pt x="557" y="359"/>
                    </a:lnTo>
                    <a:lnTo>
                      <a:pt x="557" y="360"/>
                    </a:lnTo>
                    <a:lnTo>
                      <a:pt x="556" y="361"/>
                    </a:lnTo>
                    <a:lnTo>
                      <a:pt x="558" y="363"/>
                    </a:lnTo>
                    <a:lnTo>
                      <a:pt x="558" y="365"/>
                    </a:lnTo>
                    <a:lnTo>
                      <a:pt x="557" y="367"/>
                    </a:lnTo>
                    <a:lnTo>
                      <a:pt x="558" y="368"/>
                    </a:lnTo>
                    <a:lnTo>
                      <a:pt x="557" y="371"/>
                    </a:lnTo>
                    <a:lnTo>
                      <a:pt x="556" y="371"/>
                    </a:lnTo>
                    <a:lnTo>
                      <a:pt x="556" y="369"/>
                    </a:lnTo>
                    <a:lnTo>
                      <a:pt x="555" y="371"/>
                    </a:lnTo>
                    <a:lnTo>
                      <a:pt x="556" y="373"/>
                    </a:lnTo>
                    <a:lnTo>
                      <a:pt x="556" y="375"/>
                    </a:lnTo>
                    <a:lnTo>
                      <a:pt x="555" y="375"/>
                    </a:lnTo>
                    <a:lnTo>
                      <a:pt x="554" y="376"/>
                    </a:lnTo>
                    <a:lnTo>
                      <a:pt x="554" y="378"/>
                    </a:lnTo>
                    <a:lnTo>
                      <a:pt x="552" y="380"/>
                    </a:lnTo>
                    <a:lnTo>
                      <a:pt x="551" y="378"/>
                    </a:lnTo>
                    <a:lnTo>
                      <a:pt x="548" y="379"/>
                    </a:lnTo>
                    <a:lnTo>
                      <a:pt x="548" y="380"/>
                    </a:lnTo>
                    <a:lnTo>
                      <a:pt x="548" y="382"/>
                    </a:lnTo>
                    <a:lnTo>
                      <a:pt x="546" y="383"/>
                    </a:lnTo>
                    <a:lnTo>
                      <a:pt x="544" y="383"/>
                    </a:lnTo>
                    <a:lnTo>
                      <a:pt x="544" y="384"/>
                    </a:lnTo>
                    <a:lnTo>
                      <a:pt x="543" y="382"/>
                    </a:lnTo>
                    <a:lnTo>
                      <a:pt x="541" y="380"/>
                    </a:lnTo>
                    <a:lnTo>
                      <a:pt x="540" y="381"/>
                    </a:lnTo>
                    <a:lnTo>
                      <a:pt x="535" y="385"/>
                    </a:lnTo>
                    <a:lnTo>
                      <a:pt x="535" y="386"/>
                    </a:lnTo>
                    <a:lnTo>
                      <a:pt x="533" y="386"/>
                    </a:lnTo>
                    <a:lnTo>
                      <a:pt x="532" y="388"/>
                    </a:lnTo>
                    <a:lnTo>
                      <a:pt x="530" y="390"/>
                    </a:lnTo>
                    <a:lnTo>
                      <a:pt x="530" y="392"/>
                    </a:lnTo>
                    <a:lnTo>
                      <a:pt x="531" y="394"/>
                    </a:lnTo>
                    <a:lnTo>
                      <a:pt x="533" y="394"/>
                    </a:lnTo>
                    <a:lnTo>
                      <a:pt x="534" y="394"/>
                    </a:lnTo>
                    <a:lnTo>
                      <a:pt x="533" y="395"/>
                    </a:lnTo>
                    <a:lnTo>
                      <a:pt x="535" y="397"/>
                    </a:lnTo>
                    <a:lnTo>
                      <a:pt x="534" y="399"/>
                    </a:lnTo>
                    <a:lnTo>
                      <a:pt x="536" y="400"/>
                    </a:lnTo>
                    <a:lnTo>
                      <a:pt x="535" y="401"/>
                    </a:lnTo>
                    <a:lnTo>
                      <a:pt x="535" y="402"/>
                    </a:lnTo>
                    <a:lnTo>
                      <a:pt x="533" y="403"/>
                    </a:lnTo>
                    <a:lnTo>
                      <a:pt x="532" y="403"/>
                    </a:lnTo>
                    <a:lnTo>
                      <a:pt x="531" y="405"/>
                    </a:lnTo>
                    <a:lnTo>
                      <a:pt x="530" y="404"/>
                    </a:lnTo>
                    <a:lnTo>
                      <a:pt x="529" y="404"/>
                    </a:lnTo>
                    <a:lnTo>
                      <a:pt x="528" y="403"/>
                    </a:lnTo>
                    <a:lnTo>
                      <a:pt x="527" y="404"/>
                    </a:lnTo>
                    <a:lnTo>
                      <a:pt x="524" y="401"/>
                    </a:lnTo>
                    <a:lnTo>
                      <a:pt x="524" y="403"/>
                    </a:lnTo>
                    <a:lnTo>
                      <a:pt x="523" y="403"/>
                    </a:lnTo>
                    <a:lnTo>
                      <a:pt x="522" y="402"/>
                    </a:lnTo>
                    <a:lnTo>
                      <a:pt x="522" y="399"/>
                    </a:lnTo>
                    <a:lnTo>
                      <a:pt x="521" y="400"/>
                    </a:lnTo>
                    <a:lnTo>
                      <a:pt x="520" y="399"/>
                    </a:lnTo>
                    <a:lnTo>
                      <a:pt x="519" y="402"/>
                    </a:lnTo>
                    <a:lnTo>
                      <a:pt x="517" y="404"/>
                    </a:lnTo>
                    <a:lnTo>
                      <a:pt x="516" y="407"/>
                    </a:lnTo>
                    <a:lnTo>
                      <a:pt x="517" y="407"/>
                    </a:lnTo>
                    <a:lnTo>
                      <a:pt x="515" y="408"/>
                    </a:lnTo>
                    <a:lnTo>
                      <a:pt x="515" y="411"/>
                    </a:lnTo>
                    <a:lnTo>
                      <a:pt x="515" y="409"/>
                    </a:lnTo>
                    <a:lnTo>
                      <a:pt x="513" y="408"/>
                    </a:lnTo>
                    <a:lnTo>
                      <a:pt x="510" y="412"/>
                    </a:lnTo>
                    <a:lnTo>
                      <a:pt x="507" y="409"/>
                    </a:lnTo>
                    <a:lnTo>
                      <a:pt x="504" y="411"/>
                    </a:lnTo>
                    <a:lnTo>
                      <a:pt x="501" y="413"/>
                    </a:lnTo>
                    <a:lnTo>
                      <a:pt x="500" y="412"/>
                    </a:lnTo>
                    <a:lnTo>
                      <a:pt x="499" y="413"/>
                    </a:lnTo>
                    <a:lnTo>
                      <a:pt x="498" y="412"/>
                    </a:lnTo>
                    <a:lnTo>
                      <a:pt x="496" y="412"/>
                    </a:lnTo>
                    <a:lnTo>
                      <a:pt x="496" y="411"/>
                    </a:lnTo>
                    <a:lnTo>
                      <a:pt x="496" y="413"/>
                    </a:lnTo>
                    <a:lnTo>
                      <a:pt x="496" y="412"/>
                    </a:lnTo>
                    <a:lnTo>
                      <a:pt x="495" y="412"/>
                    </a:lnTo>
                    <a:lnTo>
                      <a:pt x="492" y="412"/>
                    </a:lnTo>
                    <a:lnTo>
                      <a:pt x="492" y="415"/>
                    </a:lnTo>
                    <a:lnTo>
                      <a:pt x="491" y="414"/>
                    </a:lnTo>
                    <a:lnTo>
                      <a:pt x="490" y="414"/>
                    </a:lnTo>
                    <a:lnTo>
                      <a:pt x="491" y="416"/>
                    </a:lnTo>
                    <a:lnTo>
                      <a:pt x="487" y="417"/>
                    </a:lnTo>
                    <a:lnTo>
                      <a:pt x="487" y="416"/>
                    </a:lnTo>
                    <a:lnTo>
                      <a:pt x="486" y="418"/>
                    </a:lnTo>
                    <a:lnTo>
                      <a:pt x="486" y="416"/>
                    </a:lnTo>
                    <a:lnTo>
                      <a:pt x="484" y="417"/>
                    </a:lnTo>
                    <a:lnTo>
                      <a:pt x="484" y="416"/>
                    </a:lnTo>
                    <a:lnTo>
                      <a:pt x="482" y="416"/>
                    </a:lnTo>
                    <a:lnTo>
                      <a:pt x="484" y="413"/>
                    </a:lnTo>
                    <a:lnTo>
                      <a:pt x="484" y="412"/>
                    </a:lnTo>
                    <a:lnTo>
                      <a:pt x="483" y="412"/>
                    </a:lnTo>
                    <a:lnTo>
                      <a:pt x="481" y="413"/>
                    </a:lnTo>
                    <a:lnTo>
                      <a:pt x="480" y="412"/>
                    </a:lnTo>
                    <a:lnTo>
                      <a:pt x="479" y="414"/>
                    </a:lnTo>
                    <a:lnTo>
                      <a:pt x="477" y="414"/>
                    </a:lnTo>
                    <a:lnTo>
                      <a:pt x="476" y="414"/>
                    </a:lnTo>
                    <a:lnTo>
                      <a:pt x="475" y="416"/>
                    </a:lnTo>
                    <a:lnTo>
                      <a:pt x="474" y="416"/>
                    </a:lnTo>
                    <a:lnTo>
                      <a:pt x="474" y="418"/>
                    </a:lnTo>
                    <a:lnTo>
                      <a:pt x="475" y="418"/>
                    </a:lnTo>
                    <a:lnTo>
                      <a:pt x="475" y="419"/>
                    </a:lnTo>
                    <a:lnTo>
                      <a:pt x="475" y="420"/>
                    </a:lnTo>
                    <a:lnTo>
                      <a:pt x="472" y="421"/>
                    </a:lnTo>
                    <a:lnTo>
                      <a:pt x="472" y="425"/>
                    </a:lnTo>
                    <a:lnTo>
                      <a:pt x="472" y="428"/>
                    </a:lnTo>
                    <a:lnTo>
                      <a:pt x="467" y="429"/>
                    </a:lnTo>
                    <a:lnTo>
                      <a:pt x="467" y="431"/>
                    </a:lnTo>
                    <a:lnTo>
                      <a:pt x="465" y="434"/>
                    </a:lnTo>
                    <a:lnTo>
                      <a:pt x="464" y="434"/>
                    </a:lnTo>
                    <a:lnTo>
                      <a:pt x="464" y="433"/>
                    </a:lnTo>
                    <a:lnTo>
                      <a:pt x="463" y="433"/>
                    </a:lnTo>
                    <a:lnTo>
                      <a:pt x="462" y="433"/>
                    </a:lnTo>
                    <a:lnTo>
                      <a:pt x="463" y="434"/>
                    </a:lnTo>
                    <a:lnTo>
                      <a:pt x="462" y="434"/>
                    </a:lnTo>
                    <a:lnTo>
                      <a:pt x="462" y="435"/>
                    </a:lnTo>
                    <a:lnTo>
                      <a:pt x="461" y="437"/>
                    </a:lnTo>
                    <a:lnTo>
                      <a:pt x="460" y="438"/>
                    </a:lnTo>
                    <a:lnTo>
                      <a:pt x="460" y="440"/>
                    </a:lnTo>
                    <a:lnTo>
                      <a:pt x="460" y="442"/>
                    </a:lnTo>
                    <a:lnTo>
                      <a:pt x="459" y="446"/>
                    </a:lnTo>
                    <a:lnTo>
                      <a:pt x="460" y="448"/>
                    </a:lnTo>
                    <a:lnTo>
                      <a:pt x="459" y="450"/>
                    </a:lnTo>
                    <a:lnTo>
                      <a:pt x="460" y="451"/>
                    </a:lnTo>
                    <a:lnTo>
                      <a:pt x="460" y="454"/>
                    </a:lnTo>
                    <a:lnTo>
                      <a:pt x="462" y="454"/>
                    </a:lnTo>
                    <a:lnTo>
                      <a:pt x="463" y="452"/>
                    </a:lnTo>
                    <a:lnTo>
                      <a:pt x="466" y="457"/>
                    </a:lnTo>
                    <a:lnTo>
                      <a:pt x="469" y="456"/>
                    </a:lnTo>
                    <a:lnTo>
                      <a:pt x="473" y="457"/>
                    </a:lnTo>
                    <a:lnTo>
                      <a:pt x="473" y="459"/>
                    </a:lnTo>
                    <a:lnTo>
                      <a:pt x="474" y="463"/>
                    </a:lnTo>
                    <a:lnTo>
                      <a:pt x="476" y="468"/>
                    </a:lnTo>
                    <a:lnTo>
                      <a:pt x="476" y="469"/>
                    </a:lnTo>
                    <a:lnTo>
                      <a:pt x="475" y="470"/>
                    </a:lnTo>
                    <a:lnTo>
                      <a:pt x="475" y="471"/>
                    </a:lnTo>
                    <a:lnTo>
                      <a:pt x="476" y="473"/>
                    </a:lnTo>
                    <a:lnTo>
                      <a:pt x="474" y="476"/>
                    </a:lnTo>
                    <a:lnTo>
                      <a:pt x="473" y="475"/>
                    </a:lnTo>
                    <a:lnTo>
                      <a:pt x="473" y="477"/>
                    </a:lnTo>
                    <a:lnTo>
                      <a:pt x="472" y="476"/>
                    </a:lnTo>
                    <a:lnTo>
                      <a:pt x="472" y="477"/>
                    </a:lnTo>
                    <a:lnTo>
                      <a:pt x="471" y="477"/>
                    </a:lnTo>
                    <a:lnTo>
                      <a:pt x="470" y="478"/>
                    </a:lnTo>
                    <a:lnTo>
                      <a:pt x="470" y="480"/>
                    </a:lnTo>
                    <a:lnTo>
                      <a:pt x="467" y="481"/>
                    </a:lnTo>
                    <a:lnTo>
                      <a:pt x="467" y="480"/>
                    </a:lnTo>
                    <a:lnTo>
                      <a:pt x="466" y="480"/>
                    </a:lnTo>
                    <a:lnTo>
                      <a:pt x="464" y="481"/>
                    </a:lnTo>
                    <a:lnTo>
                      <a:pt x="463" y="480"/>
                    </a:lnTo>
                    <a:lnTo>
                      <a:pt x="462" y="481"/>
                    </a:lnTo>
                    <a:lnTo>
                      <a:pt x="462" y="478"/>
                    </a:lnTo>
                    <a:lnTo>
                      <a:pt x="459" y="476"/>
                    </a:lnTo>
                    <a:lnTo>
                      <a:pt x="459" y="478"/>
                    </a:lnTo>
                    <a:lnTo>
                      <a:pt x="457" y="477"/>
                    </a:lnTo>
                    <a:lnTo>
                      <a:pt x="457" y="480"/>
                    </a:lnTo>
                    <a:lnTo>
                      <a:pt x="455" y="481"/>
                    </a:lnTo>
                    <a:lnTo>
                      <a:pt x="454" y="480"/>
                    </a:lnTo>
                    <a:lnTo>
                      <a:pt x="455" y="478"/>
                    </a:lnTo>
                    <a:lnTo>
                      <a:pt x="453" y="478"/>
                    </a:lnTo>
                    <a:lnTo>
                      <a:pt x="453" y="480"/>
                    </a:lnTo>
                    <a:lnTo>
                      <a:pt x="454" y="481"/>
                    </a:lnTo>
                    <a:lnTo>
                      <a:pt x="454" y="483"/>
                    </a:lnTo>
                    <a:lnTo>
                      <a:pt x="452" y="483"/>
                    </a:lnTo>
                    <a:lnTo>
                      <a:pt x="452" y="484"/>
                    </a:lnTo>
                    <a:lnTo>
                      <a:pt x="451" y="485"/>
                    </a:lnTo>
                    <a:lnTo>
                      <a:pt x="451" y="486"/>
                    </a:lnTo>
                    <a:lnTo>
                      <a:pt x="451" y="488"/>
                    </a:lnTo>
                    <a:lnTo>
                      <a:pt x="451" y="489"/>
                    </a:lnTo>
                    <a:lnTo>
                      <a:pt x="447" y="488"/>
                    </a:lnTo>
                    <a:lnTo>
                      <a:pt x="447" y="486"/>
                    </a:lnTo>
                    <a:lnTo>
                      <a:pt x="447" y="484"/>
                    </a:lnTo>
                    <a:lnTo>
                      <a:pt x="444" y="482"/>
                    </a:lnTo>
                    <a:lnTo>
                      <a:pt x="444" y="483"/>
                    </a:lnTo>
                    <a:lnTo>
                      <a:pt x="444" y="482"/>
                    </a:lnTo>
                    <a:lnTo>
                      <a:pt x="444" y="483"/>
                    </a:lnTo>
                    <a:lnTo>
                      <a:pt x="442" y="483"/>
                    </a:lnTo>
                    <a:lnTo>
                      <a:pt x="441" y="483"/>
                    </a:lnTo>
                    <a:lnTo>
                      <a:pt x="440" y="482"/>
                    </a:lnTo>
                    <a:lnTo>
                      <a:pt x="439" y="481"/>
                    </a:lnTo>
                    <a:lnTo>
                      <a:pt x="439" y="480"/>
                    </a:lnTo>
                    <a:lnTo>
                      <a:pt x="438" y="480"/>
                    </a:lnTo>
                    <a:lnTo>
                      <a:pt x="438" y="478"/>
                    </a:lnTo>
                    <a:lnTo>
                      <a:pt x="439" y="478"/>
                    </a:lnTo>
                    <a:lnTo>
                      <a:pt x="438" y="478"/>
                    </a:lnTo>
                    <a:lnTo>
                      <a:pt x="437" y="479"/>
                    </a:lnTo>
                    <a:lnTo>
                      <a:pt x="436" y="478"/>
                    </a:lnTo>
                    <a:lnTo>
                      <a:pt x="435" y="478"/>
                    </a:lnTo>
                    <a:lnTo>
                      <a:pt x="435" y="482"/>
                    </a:lnTo>
                    <a:lnTo>
                      <a:pt x="433" y="480"/>
                    </a:lnTo>
                    <a:lnTo>
                      <a:pt x="430" y="481"/>
                    </a:lnTo>
                    <a:lnTo>
                      <a:pt x="429" y="481"/>
                    </a:lnTo>
                    <a:lnTo>
                      <a:pt x="429" y="482"/>
                    </a:lnTo>
                    <a:lnTo>
                      <a:pt x="428" y="482"/>
                    </a:lnTo>
                    <a:lnTo>
                      <a:pt x="427" y="481"/>
                    </a:lnTo>
                    <a:lnTo>
                      <a:pt x="426" y="482"/>
                    </a:lnTo>
                    <a:lnTo>
                      <a:pt x="425" y="482"/>
                    </a:lnTo>
                    <a:lnTo>
                      <a:pt x="424" y="482"/>
                    </a:lnTo>
                    <a:lnTo>
                      <a:pt x="421" y="483"/>
                    </a:lnTo>
                    <a:lnTo>
                      <a:pt x="419" y="480"/>
                    </a:lnTo>
                    <a:lnTo>
                      <a:pt x="417" y="480"/>
                    </a:lnTo>
                    <a:lnTo>
                      <a:pt x="416" y="478"/>
                    </a:lnTo>
                    <a:lnTo>
                      <a:pt x="414" y="479"/>
                    </a:lnTo>
                    <a:lnTo>
                      <a:pt x="413" y="480"/>
                    </a:lnTo>
                    <a:lnTo>
                      <a:pt x="412" y="480"/>
                    </a:lnTo>
                    <a:lnTo>
                      <a:pt x="411" y="478"/>
                    </a:lnTo>
                    <a:lnTo>
                      <a:pt x="411" y="479"/>
                    </a:lnTo>
                    <a:lnTo>
                      <a:pt x="409" y="478"/>
                    </a:lnTo>
                    <a:lnTo>
                      <a:pt x="410" y="477"/>
                    </a:lnTo>
                    <a:lnTo>
                      <a:pt x="408" y="475"/>
                    </a:lnTo>
                    <a:lnTo>
                      <a:pt x="403" y="475"/>
                    </a:lnTo>
                    <a:lnTo>
                      <a:pt x="400" y="475"/>
                    </a:lnTo>
                    <a:lnTo>
                      <a:pt x="398" y="479"/>
                    </a:lnTo>
                    <a:lnTo>
                      <a:pt x="399" y="480"/>
                    </a:lnTo>
                    <a:lnTo>
                      <a:pt x="401" y="481"/>
                    </a:lnTo>
                    <a:lnTo>
                      <a:pt x="402" y="484"/>
                    </a:lnTo>
                    <a:lnTo>
                      <a:pt x="402" y="486"/>
                    </a:lnTo>
                    <a:lnTo>
                      <a:pt x="402" y="487"/>
                    </a:lnTo>
                    <a:lnTo>
                      <a:pt x="399" y="488"/>
                    </a:lnTo>
                    <a:lnTo>
                      <a:pt x="395" y="486"/>
                    </a:lnTo>
                    <a:lnTo>
                      <a:pt x="394" y="488"/>
                    </a:lnTo>
                    <a:lnTo>
                      <a:pt x="391" y="486"/>
                    </a:lnTo>
                    <a:lnTo>
                      <a:pt x="389" y="486"/>
                    </a:lnTo>
                    <a:lnTo>
                      <a:pt x="388" y="487"/>
                    </a:lnTo>
                    <a:lnTo>
                      <a:pt x="388" y="489"/>
                    </a:lnTo>
                    <a:lnTo>
                      <a:pt x="387" y="490"/>
                    </a:lnTo>
                    <a:lnTo>
                      <a:pt x="387" y="491"/>
                    </a:lnTo>
                    <a:lnTo>
                      <a:pt x="388" y="492"/>
                    </a:lnTo>
                    <a:lnTo>
                      <a:pt x="389" y="495"/>
                    </a:lnTo>
                    <a:lnTo>
                      <a:pt x="388" y="495"/>
                    </a:lnTo>
                    <a:lnTo>
                      <a:pt x="386" y="495"/>
                    </a:lnTo>
                    <a:lnTo>
                      <a:pt x="386" y="496"/>
                    </a:lnTo>
                    <a:lnTo>
                      <a:pt x="386" y="499"/>
                    </a:lnTo>
                    <a:lnTo>
                      <a:pt x="384" y="499"/>
                    </a:lnTo>
                    <a:lnTo>
                      <a:pt x="383" y="501"/>
                    </a:lnTo>
                    <a:lnTo>
                      <a:pt x="382" y="501"/>
                    </a:lnTo>
                    <a:lnTo>
                      <a:pt x="381" y="499"/>
                    </a:lnTo>
                    <a:lnTo>
                      <a:pt x="379" y="501"/>
                    </a:lnTo>
                    <a:lnTo>
                      <a:pt x="377" y="501"/>
                    </a:lnTo>
                    <a:lnTo>
                      <a:pt x="377" y="498"/>
                    </a:lnTo>
                    <a:lnTo>
                      <a:pt x="374" y="495"/>
                    </a:lnTo>
                    <a:lnTo>
                      <a:pt x="376" y="494"/>
                    </a:lnTo>
                    <a:lnTo>
                      <a:pt x="374" y="493"/>
                    </a:lnTo>
                    <a:lnTo>
                      <a:pt x="373" y="492"/>
                    </a:lnTo>
                    <a:lnTo>
                      <a:pt x="374" y="491"/>
                    </a:lnTo>
                    <a:lnTo>
                      <a:pt x="373" y="490"/>
                    </a:lnTo>
                    <a:lnTo>
                      <a:pt x="373" y="489"/>
                    </a:lnTo>
                    <a:lnTo>
                      <a:pt x="373" y="485"/>
                    </a:lnTo>
                    <a:lnTo>
                      <a:pt x="371" y="486"/>
                    </a:lnTo>
                    <a:lnTo>
                      <a:pt x="372" y="485"/>
                    </a:lnTo>
                    <a:lnTo>
                      <a:pt x="372" y="484"/>
                    </a:lnTo>
                    <a:lnTo>
                      <a:pt x="371" y="484"/>
                    </a:lnTo>
                    <a:lnTo>
                      <a:pt x="372" y="483"/>
                    </a:lnTo>
                    <a:lnTo>
                      <a:pt x="372" y="481"/>
                    </a:lnTo>
                    <a:lnTo>
                      <a:pt x="370" y="480"/>
                    </a:lnTo>
                    <a:lnTo>
                      <a:pt x="371" y="480"/>
                    </a:lnTo>
                    <a:lnTo>
                      <a:pt x="372" y="480"/>
                    </a:lnTo>
                    <a:lnTo>
                      <a:pt x="370" y="478"/>
                    </a:lnTo>
                    <a:lnTo>
                      <a:pt x="370" y="477"/>
                    </a:lnTo>
                    <a:lnTo>
                      <a:pt x="369" y="479"/>
                    </a:lnTo>
                    <a:lnTo>
                      <a:pt x="368" y="479"/>
                    </a:lnTo>
                    <a:lnTo>
                      <a:pt x="367" y="478"/>
                    </a:lnTo>
                    <a:lnTo>
                      <a:pt x="366" y="478"/>
                    </a:lnTo>
                    <a:lnTo>
                      <a:pt x="364" y="482"/>
                    </a:lnTo>
                    <a:lnTo>
                      <a:pt x="365" y="483"/>
                    </a:lnTo>
                    <a:lnTo>
                      <a:pt x="364" y="484"/>
                    </a:lnTo>
                    <a:lnTo>
                      <a:pt x="363" y="483"/>
                    </a:lnTo>
                    <a:lnTo>
                      <a:pt x="363" y="481"/>
                    </a:lnTo>
                    <a:lnTo>
                      <a:pt x="362" y="479"/>
                    </a:lnTo>
                    <a:lnTo>
                      <a:pt x="361" y="479"/>
                    </a:lnTo>
                    <a:lnTo>
                      <a:pt x="359" y="478"/>
                    </a:lnTo>
                    <a:lnTo>
                      <a:pt x="357" y="475"/>
                    </a:lnTo>
                    <a:lnTo>
                      <a:pt x="356" y="470"/>
                    </a:lnTo>
                    <a:lnTo>
                      <a:pt x="355" y="470"/>
                    </a:lnTo>
                    <a:lnTo>
                      <a:pt x="354" y="470"/>
                    </a:lnTo>
                    <a:lnTo>
                      <a:pt x="348" y="468"/>
                    </a:lnTo>
                    <a:lnTo>
                      <a:pt x="347" y="465"/>
                    </a:lnTo>
                    <a:lnTo>
                      <a:pt x="344" y="460"/>
                    </a:lnTo>
                    <a:lnTo>
                      <a:pt x="345" y="459"/>
                    </a:lnTo>
                    <a:lnTo>
                      <a:pt x="344" y="459"/>
                    </a:lnTo>
                    <a:lnTo>
                      <a:pt x="343" y="461"/>
                    </a:lnTo>
                    <a:lnTo>
                      <a:pt x="343" y="464"/>
                    </a:lnTo>
                    <a:lnTo>
                      <a:pt x="340" y="464"/>
                    </a:lnTo>
                    <a:lnTo>
                      <a:pt x="340" y="465"/>
                    </a:lnTo>
                    <a:lnTo>
                      <a:pt x="338" y="465"/>
                    </a:lnTo>
                    <a:lnTo>
                      <a:pt x="338" y="466"/>
                    </a:lnTo>
                    <a:lnTo>
                      <a:pt x="338" y="465"/>
                    </a:lnTo>
                    <a:lnTo>
                      <a:pt x="337" y="467"/>
                    </a:lnTo>
                    <a:lnTo>
                      <a:pt x="337" y="468"/>
                    </a:lnTo>
                    <a:lnTo>
                      <a:pt x="338" y="468"/>
                    </a:lnTo>
                    <a:lnTo>
                      <a:pt x="337" y="471"/>
                    </a:lnTo>
                    <a:lnTo>
                      <a:pt x="333" y="469"/>
                    </a:lnTo>
                    <a:lnTo>
                      <a:pt x="333" y="470"/>
                    </a:lnTo>
                    <a:lnTo>
                      <a:pt x="333" y="471"/>
                    </a:lnTo>
                    <a:lnTo>
                      <a:pt x="332" y="471"/>
                    </a:lnTo>
                    <a:lnTo>
                      <a:pt x="333" y="472"/>
                    </a:lnTo>
                    <a:lnTo>
                      <a:pt x="332" y="472"/>
                    </a:lnTo>
                    <a:lnTo>
                      <a:pt x="333" y="473"/>
                    </a:lnTo>
                    <a:lnTo>
                      <a:pt x="332" y="475"/>
                    </a:lnTo>
                    <a:lnTo>
                      <a:pt x="333" y="476"/>
                    </a:lnTo>
                    <a:lnTo>
                      <a:pt x="332" y="476"/>
                    </a:lnTo>
                    <a:lnTo>
                      <a:pt x="331" y="477"/>
                    </a:lnTo>
                    <a:lnTo>
                      <a:pt x="330" y="477"/>
                    </a:lnTo>
                    <a:lnTo>
                      <a:pt x="330" y="480"/>
                    </a:lnTo>
                    <a:lnTo>
                      <a:pt x="329" y="480"/>
                    </a:lnTo>
                    <a:lnTo>
                      <a:pt x="329" y="481"/>
                    </a:lnTo>
                    <a:lnTo>
                      <a:pt x="329" y="482"/>
                    </a:lnTo>
                    <a:lnTo>
                      <a:pt x="331" y="483"/>
                    </a:lnTo>
                    <a:lnTo>
                      <a:pt x="330" y="486"/>
                    </a:lnTo>
                    <a:lnTo>
                      <a:pt x="330" y="487"/>
                    </a:lnTo>
                    <a:lnTo>
                      <a:pt x="332" y="486"/>
                    </a:lnTo>
                    <a:lnTo>
                      <a:pt x="332" y="488"/>
                    </a:lnTo>
                    <a:lnTo>
                      <a:pt x="331" y="488"/>
                    </a:lnTo>
                    <a:lnTo>
                      <a:pt x="333" y="489"/>
                    </a:lnTo>
                    <a:lnTo>
                      <a:pt x="333" y="490"/>
                    </a:lnTo>
                    <a:lnTo>
                      <a:pt x="331" y="491"/>
                    </a:lnTo>
                    <a:lnTo>
                      <a:pt x="333" y="491"/>
                    </a:lnTo>
                    <a:lnTo>
                      <a:pt x="332" y="492"/>
                    </a:lnTo>
                    <a:lnTo>
                      <a:pt x="330" y="492"/>
                    </a:lnTo>
                    <a:lnTo>
                      <a:pt x="329" y="492"/>
                    </a:lnTo>
                    <a:lnTo>
                      <a:pt x="329" y="493"/>
                    </a:lnTo>
                    <a:lnTo>
                      <a:pt x="325" y="493"/>
                    </a:lnTo>
                    <a:lnTo>
                      <a:pt x="325" y="494"/>
                    </a:lnTo>
                    <a:lnTo>
                      <a:pt x="324" y="494"/>
                    </a:lnTo>
                    <a:lnTo>
                      <a:pt x="324" y="493"/>
                    </a:lnTo>
                    <a:lnTo>
                      <a:pt x="321" y="493"/>
                    </a:lnTo>
                    <a:lnTo>
                      <a:pt x="320" y="492"/>
                    </a:lnTo>
                    <a:lnTo>
                      <a:pt x="320" y="493"/>
                    </a:lnTo>
                    <a:lnTo>
                      <a:pt x="320" y="494"/>
                    </a:lnTo>
                    <a:lnTo>
                      <a:pt x="318" y="494"/>
                    </a:lnTo>
                    <a:lnTo>
                      <a:pt x="317" y="494"/>
                    </a:lnTo>
                    <a:lnTo>
                      <a:pt x="316" y="496"/>
                    </a:lnTo>
                    <a:lnTo>
                      <a:pt x="313" y="499"/>
                    </a:lnTo>
                    <a:lnTo>
                      <a:pt x="312" y="498"/>
                    </a:lnTo>
                    <a:lnTo>
                      <a:pt x="312" y="499"/>
                    </a:lnTo>
                    <a:lnTo>
                      <a:pt x="310" y="499"/>
                    </a:lnTo>
                    <a:lnTo>
                      <a:pt x="308" y="500"/>
                    </a:lnTo>
                    <a:lnTo>
                      <a:pt x="308" y="501"/>
                    </a:lnTo>
                    <a:lnTo>
                      <a:pt x="307" y="501"/>
                    </a:lnTo>
                    <a:lnTo>
                      <a:pt x="308" y="505"/>
                    </a:lnTo>
                    <a:lnTo>
                      <a:pt x="307" y="506"/>
                    </a:lnTo>
                    <a:lnTo>
                      <a:pt x="307" y="509"/>
                    </a:lnTo>
                    <a:lnTo>
                      <a:pt x="306" y="509"/>
                    </a:lnTo>
                    <a:lnTo>
                      <a:pt x="304" y="509"/>
                    </a:lnTo>
                    <a:lnTo>
                      <a:pt x="303" y="507"/>
                    </a:lnTo>
                    <a:lnTo>
                      <a:pt x="304" y="506"/>
                    </a:lnTo>
                    <a:lnTo>
                      <a:pt x="303" y="502"/>
                    </a:lnTo>
                    <a:lnTo>
                      <a:pt x="301" y="501"/>
                    </a:lnTo>
                    <a:lnTo>
                      <a:pt x="296" y="498"/>
                    </a:lnTo>
                    <a:lnTo>
                      <a:pt x="291" y="499"/>
                    </a:lnTo>
                    <a:lnTo>
                      <a:pt x="289" y="499"/>
                    </a:lnTo>
                    <a:lnTo>
                      <a:pt x="289" y="498"/>
                    </a:lnTo>
                    <a:lnTo>
                      <a:pt x="287" y="498"/>
                    </a:lnTo>
                    <a:lnTo>
                      <a:pt x="287" y="496"/>
                    </a:lnTo>
                    <a:lnTo>
                      <a:pt x="288" y="495"/>
                    </a:lnTo>
                    <a:lnTo>
                      <a:pt x="289" y="495"/>
                    </a:lnTo>
                    <a:lnTo>
                      <a:pt x="290" y="493"/>
                    </a:lnTo>
                    <a:lnTo>
                      <a:pt x="291" y="492"/>
                    </a:lnTo>
                    <a:lnTo>
                      <a:pt x="292" y="489"/>
                    </a:lnTo>
                    <a:lnTo>
                      <a:pt x="292" y="488"/>
                    </a:lnTo>
                    <a:lnTo>
                      <a:pt x="291" y="488"/>
                    </a:lnTo>
                    <a:lnTo>
                      <a:pt x="290" y="490"/>
                    </a:lnTo>
                    <a:lnTo>
                      <a:pt x="289" y="491"/>
                    </a:lnTo>
                    <a:lnTo>
                      <a:pt x="287" y="490"/>
                    </a:lnTo>
                    <a:lnTo>
                      <a:pt x="287" y="492"/>
                    </a:lnTo>
                    <a:lnTo>
                      <a:pt x="286" y="492"/>
                    </a:lnTo>
                    <a:lnTo>
                      <a:pt x="286" y="489"/>
                    </a:lnTo>
                    <a:lnTo>
                      <a:pt x="284" y="493"/>
                    </a:lnTo>
                    <a:lnTo>
                      <a:pt x="282" y="492"/>
                    </a:lnTo>
                    <a:lnTo>
                      <a:pt x="283" y="492"/>
                    </a:lnTo>
                    <a:lnTo>
                      <a:pt x="282" y="492"/>
                    </a:lnTo>
                    <a:lnTo>
                      <a:pt x="281" y="492"/>
                    </a:lnTo>
                    <a:lnTo>
                      <a:pt x="281" y="491"/>
                    </a:lnTo>
                    <a:lnTo>
                      <a:pt x="280" y="492"/>
                    </a:lnTo>
                    <a:lnTo>
                      <a:pt x="280" y="491"/>
                    </a:lnTo>
                    <a:lnTo>
                      <a:pt x="278" y="490"/>
                    </a:lnTo>
                    <a:lnTo>
                      <a:pt x="277" y="489"/>
                    </a:lnTo>
                    <a:lnTo>
                      <a:pt x="276" y="489"/>
                    </a:lnTo>
                    <a:lnTo>
                      <a:pt x="275" y="491"/>
                    </a:lnTo>
                    <a:lnTo>
                      <a:pt x="274" y="489"/>
                    </a:lnTo>
                    <a:lnTo>
                      <a:pt x="273" y="489"/>
                    </a:lnTo>
                    <a:lnTo>
                      <a:pt x="273" y="488"/>
                    </a:lnTo>
                    <a:lnTo>
                      <a:pt x="272" y="489"/>
                    </a:lnTo>
                    <a:lnTo>
                      <a:pt x="272" y="488"/>
                    </a:lnTo>
                    <a:lnTo>
                      <a:pt x="270" y="488"/>
                    </a:lnTo>
                    <a:lnTo>
                      <a:pt x="272" y="485"/>
                    </a:lnTo>
                    <a:lnTo>
                      <a:pt x="271" y="484"/>
                    </a:lnTo>
                    <a:lnTo>
                      <a:pt x="269" y="484"/>
                    </a:lnTo>
                    <a:lnTo>
                      <a:pt x="268" y="486"/>
                    </a:lnTo>
                    <a:lnTo>
                      <a:pt x="266" y="485"/>
                    </a:lnTo>
                    <a:lnTo>
                      <a:pt x="263" y="482"/>
                    </a:lnTo>
                    <a:lnTo>
                      <a:pt x="261" y="482"/>
                    </a:lnTo>
                    <a:lnTo>
                      <a:pt x="261" y="483"/>
                    </a:lnTo>
                    <a:lnTo>
                      <a:pt x="260" y="486"/>
                    </a:lnTo>
                    <a:lnTo>
                      <a:pt x="258" y="486"/>
                    </a:lnTo>
                    <a:lnTo>
                      <a:pt x="258" y="488"/>
                    </a:lnTo>
                    <a:lnTo>
                      <a:pt x="260" y="488"/>
                    </a:lnTo>
                    <a:lnTo>
                      <a:pt x="259" y="488"/>
                    </a:lnTo>
                    <a:lnTo>
                      <a:pt x="258" y="488"/>
                    </a:lnTo>
                    <a:lnTo>
                      <a:pt x="257" y="486"/>
                    </a:lnTo>
                    <a:lnTo>
                      <a:pt x="256" y="488"/>
                    </a:lnTo>
                    <a:lnTo>
                      <a:pt x="255" y="486"/>
                    </a:lnTo>
                    <a:lnTo>
                      <a:pt x="255" y="485"/>
                    </a:lnTo>
                    <a:lnTo>
                      <a:pt x="254" y="483"/>
                    </a:lnTo>
                    <a:lnTo>
                      <a:pt x="252" y="483"/>
                    </a:lnTo>
                    <a:lnTo>
                      <a:pt x="252" y="480"/>
                    </a:lnTo>
                    <a:lnTo>
                      <a:pt x="250" y="480"/>
                    </a:lnTo>
                    <a:lnTo>
                      <a:pt x="249" y="481"/>
                    </a:lnTo>
                    <a:lnTo>
                      <a:pt x="248" y="481"/>
                    </a:lnTo>
                    <a:lnTo>
                      <a:pt x="245" y="475"/>
                    </a:lnTo>
                    <a:lnTo>
                      <a:pt x="244" y="475"/>
                    </a:lnTo>
                    <a:lnTo>
                      <a:pt x="243" y="473"/>
                    </a:lnTo>
                    <a:lnTo>
                      <a:pt x="243" y="476"/>
                    </a:lnTo>
                    <a:lnTo>
                      <a:pt x="242" y="475"/>
                    </a:lnTo>
                    <a:lnTo>
                      <a:pt x="241" y="475"/>
                    </a:lnTo>
                    <a:lnTo>
                      <a:pt x="242" y="475"/>
                    </a:lnTo>
                    <a:lnTo>
                      <a:pt x="243" y="479"/>
                    </a:lnTo>
                    <a:lnTo>
                      <a:pt x="242" y="480"/>
                    </a:lnTo>
                    <a:lnTo>
                      <a:pt x="243" y="480"/>
                    </a:lnTo>
                    <a:lnTo>
                      <a:pt x="242" y="482"/>
                    </a:lnTo>
                    <a:lnTo>
                      <a:pt x="242" y="483"/>
                    </a:lnTo>
                    <a:lnTo>
                      <a:pt x="244" y="483"/>
                    </a:lnTo>
                    <a:lnTo>
                      <a:pt x="243" y="484"/>
                    </a:lnTo>
                    <a:lnTo>
                      <a:pt x="242" y="483"/>
                    </a:lnTo>
                    <a:lnTo>
                      <a:pt x="242" y="484"/>
                    </a:lnTo>
                    <a:lnTo>
                      <a:pt x="241" y="481"/>
                    </a:lnTo>
                    <a:lnTo>
                      <a:pt x="240" y="481"/>
                    </a:lnTo>
                    <a:lnTo>
                      <a:pt x="239" y="480"/>
                    </a:lnTo>
                    <a:lnTo>
                      <a:pt x="237" y="480"/>
                    </a:lnTo>
                    <a:lnTo>
                      <a:pt x="236" y="481"/>
                    </a:lnTo>
                    <a:lnTo>
                      <a:pt x="235" y="480"/>
                    </a:lnTo>
                    <a:lnTo>
                      <a:pt x="235" y="481"/>
                    </a:lnTo>
                    <a:lnTo>
                      <a:pt x="234" y="481"/>
                    </a:lnTo>
                    <a:lnTo>
                      <a:pt x="235" y="482"/>
                    </a:lnTo>
                    <a:lnTo>
                      <a:pt x="234" y="482"/>
                    </a:lnTo>
                    <a:lnTo>
                      <a:pt x="234" y="483"/>
                    </a:lnTo>
                    <a:lnTo>
                      <a:pt x="234" y="482"/>
                    </a:lnTo>
                    <a:lnTo>
                      <a:pt x="234" y="483"/>
                    </a:lnTo>
                    <a:lnTo>
                      <a:pt x="233" y="484"/>
                    </a:lnTo>
                    <a:lnTo>
                      <a:pt x="232" y="482"/>
                    </a:lnTo>
                    <a:lnTo>
                      <a:pt x="232" y="483"/>
                    </a:lnTo>
                    <a:lnTo>
                      <a:pt x="231" y="486"/>
                    </a:lnTo>
                    <a:lnTo>
                      <a:pt x="230" y="486"/>
                    </a:lnTo>
                    <a:lnTo>
                      <a:pt x="231" y="484"/>
                    </a:lnTo>
                    <a:lnTo>
                      <a:pt x="229" y="484"/>
                    </a:lnTo>
                    <a:lnTo>
                      <a:pt x="228" y="485"/>
                    </a:lnTo>
                    <a:lnTo>
                      <a:pt x="227" y="487"/>
                    </a:lnTo>
                    <a:lnTo>
                      <a:pt x="227" y="485"/>
                    </a:lnTo>
                    <a:lnTo>
                      <a:pt x="226" y="485"/>
                    </a:lnTo>
                    <a:lnTo>
                      <a:pt x="226" y="484"/>
                    </a:lnTo>
                    <a:lnTo>
                      <a:pt x="224" y="483"/>
                    </a:lnTo>
                    <a:lnTo>
                      <a:pt x="221" y="485"/>
                    </a:lnTo>
                    <a:lnTo>
                      <a:pt x="220" y="484"/>
                    </a:lnTo>
                    <a:lnTo>
                      <a:pt x="219" y="484"/>
                    </a:lnTo>
                    <a:lnTo>
                      <a:pt x="221" y="484"/>
                    </a:lnTo>
                    <a:lnTo>
                      <a:pt x="221" y="483"/>
                    </a:lnTo>
                    <a:lnTo>
                      <a:pt x="221" y="481"/>
                    </a:lnTo>
                    <a:lnTo>
                      <a:pt x="222" y="480"/>
                    </a:lnTo>
                    <a:lnTo>
                      <a:pt x="222" y="478"/>
                    </a:lnTo>
                    <a:lnTo>
                      <a:pt x="221" y="478"/>
                    </a:lnTo>
                    <a:lnTo>
                      <a:pt x="220" y="478"/>
                    </a:lnTo>
                    <a:lnTo>
                      <a:pt x="219" y="477"/>
                    </a:lnTo>
                    <a:lnTo>
                      <a:pt x="219" y="475"/>
                    </a:lnTo>
                    <a:lnTo>
                      <a:pt x="218" y="476"/>
                    </a:lnTo>
                    <a:lnTo>
                      <a:pt x="216" y="473"/>
                    </a:lnTo>
                    <a:lnTo>
                      <a:pt x="213" y="475"/>
                    </a:lnTo>
                    <a:lnTo>
                      <a:pt x="212" y="473"/>
                    </a:lnTo>
                    <a:lnTo>
                      <a:pt x="212" y="474"/>
                    </a:lnTo>
                    <a:lnTo>
                      <a:pt x="212" y="473"/>
                    </a:lnTo>
                    <a:lnTo>
                      <a:pt x="211" y="472"/>
                    </a:lnTo>
                    <a:lnTo>
                      <a:pt x="212" y="469"/>
                    </a:lnTo>
                    <a:lnTo>
                      <a:pt x="211" y="467"/>
                    </a:lnTo>
                    <a:lnTo>
                      <a:pt x="208" y="466"/>
                    </a:lnTo>
                    <a:lnTo>
                      <a:pt x="208" y="465"/>
                    </a:lnTo>
                    <a:lnTo>
                      <a:pt x="206" y="465"/>
                    </a:lnTo>
                    <a:lnTo>
                      <a:pt x="206" y="463"/>
                    </a:lnTo>
                    <a:lnTo>
                      <a:pt x="203" y="465"/>
                    </a:lnTo>
                    <a:lnTo>
                      <a:pt x="202" y="465"/>
                    </a:lnTo>
                    <a:lnTo>
                      <a:pt x="198" y="465"/>
                    </a:lnTo>
                    <a:lnTo>
                      <a:pt x="197" y="463"/>
                    </a:lnTo>
                    <a:lnTo>
                      <a:pt x="196" y="465"/>
                    </a:lnTo>
                    <a:lnTo>
                      <a:pt x="195" y="465"/>
                    </a:lnTo>
                    <a:lnTo>
                      <a:pt x="194" y="465"/>
                    </a:lnTo>
                    <a:lnTo>
                      <a:pt x="194" y="467"/>
                    </a:lnTo>
                    <a:lnTo>
                      <a:pt x="194" y="470"/>
                    </a:lnTo>
                    <a:lnTo>
                      <a:pt x="192" y="471"/>
                    </a:lnTo>
                    <a:lnTo>
                      <a:pt x="192" y="472"/>
                    </a:lnTo>
                    <a:lnTo>
                      <a:pt x="190" y="473"/>
                    </a:lnTo>
                    <a:lnTo>
                      <a:pt x="189" y="473"/>
                    </a:lnTo>
                    <a:lnTo>
                      <a:pt x="189" y="475"/>
                    </a:lnTo>
                    <a:lnTo>
                      <a:pt x="190" y="474"/>
                    </a:lnTo>
                    <a:lnTo>
                      <a:pt x="188" y="476"/>
                    </a:lnTo>
                    <a:lnTo>
                      <a:pt x="188" y="478"/>
                    </a:lnTo>
                    <a:lnTo>
                      <a:pt x="186" y="477"/>
                    </a:lnTo>
                    <a:lnTo>
                      <a:pt x="186" y="476"/>
                    </a:lnTo>
                    <a:lnTo>
                      <a:pt x="187" y="475"/>
                    </a:lnTo>
                    <a:lnTo>
                      <a:pt x="184" y="475"/>
                    </a:lnTo>
                    <a:lnTo>
                      <a:pt x="181" y="475"/>
                    </a:lnTo>
                    <a:lnTo>
                      <a:pt x="180" y="476"/>
                    </a:lnTo>
                    <a:lnTo>
                      <a:pt x="178" y="475"/>
                    </a:lnTo>
                    <a:lnTo>
                      <a:pt x="177" y="475"/>
                    </a:lnTo>
                    <a:lnTo>
                      <a:pt x="174" y="475"/>
                    </a:lnTo>
                    <a:lnTo>
                      <a:pt x="173" y="475"/>
                    </a:lnTo>
                    <a:lnTo>
                      <a:pt x="172" y="476"/>
                    </a:lnTo>
                    <a:lnTo>
                      <a:pt x="170" y="473"/>
                    </a:lnTo>
                    <a:lnTo>
                      <a:pt x="168" y="473"/>
                    </a:lnTo>
                    <a:lnTo>
                      <a:pt x="165" y="472"/>
                    </a:lnTo>
                    <a:lnTo>
                      <a:pt x="165" y="476"/>
                    </a:lnTo>
                    <a:lnTo>
                      <a:pt x="163" y="475"/>
                    </a:lnTo>
                    <a:lnTo>
                      <a:pt x="161" y="475"/>
                    </a:lnTo>
                    <a:lnTo>
                      <a:pt x="161" y="473"/>
                    </a:lnTo>
                    <a:lnTo>
                      <a:pt x="161" y="472"/>
                    </a:lnTo>
                    <a:lnTo>
                      <a:pt x="161" y="471"/>
                    </a:lnTo>
                    <a:lnTo>
                      <a:pt x="159" y="471"/>
                    </a:lnTo>
                    <a:lnTo>
                      <a:pt x="159" y="473"/>
                    </a:lnTo>
                    <a:lnTo>
                      <a:pt x="158" y="475"/>
                    </a:lnTo>
                    <a:lnTo>
                      <a:pt x="156" y="474"/>
                    </a:lnTo>
                    <a:lnTo>
                      <a:pt x="155" y="475"/>
                    </a:lnTo>
                    <a:lnTo>
                      <a:pt x="155" y="473"/>
                    </a:lnTo>
                    <a:lnTo>
                      <a:pt x="152" y="473"/>
                    </a:lnTo>
                    <a:lnTo>
                      <a:pt x="152" y="472"/>
                    </a:lnTo>
                    <a:lnTo>
                      <a:pt x="151" y="473"/>
                    </a:lnTo>
                    <a:lnTo>
                      <a:pt x="150" y="472"/>
                    </a:lnTo>
                    <a:lnTo>
                      <a:pt x="149" y="469"/>
                    </a:lnTo>
                    <a:lnTo>
                      <a:pt x="150" y="468"/>
                    </a:lnTo>
                    <a:lnTo>
                      <a:pt x="150" y="467"/>
                    </a:lnTo>
                    <a:lnTo>
                      <a:pt x="150" y="464"/>
                    </a:lnTo>
                    <a:lnTo>
                      <a:pt x="150" y="463"/>
                    </a:lnTo>
                    <a:lnTo>
                      <a:pt x="151" y="462"/>
                    </a:lnTo>
                    <a:lnTo>
                      <a:pt x="151" y="461"/>
                    </a:lnTo>
                    <a:lnTo>
                      <a:pt x="153" y="461"/>
                    </a:lnTo>
                    <a:lnTo>
                      <a:pt x="151" y="460"/>
                    </a:lnTo>
                    <a:lnTo>
                      <a:pt x="149" y="458"/>
                    </a:lnTo>
                    <a:lnTo>
                      <a:pt x="145" y="458"/>
                    </a:lnTo>
                    <a:lnTo>
                      <a:pt x="144" y="458"/>
                    </a:lnTo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46" name="Group 134">
              <a:extLst>
                <a:ext uri="{FF2B5EF4-FFF2-40B4-BE49-F238E27FC236}">
                  <a16:creationId xmlns:a16="http://schemas.microsoft.com/office/drawing/2014/main" id="{8015A134-6B02-7C00-AB3A-FCDCCDD9024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667" y="3058"/>
              <a:ext cx="321" cy="562"/>
              <a:chOff x="1667" y="3058"/>
              <a:chExt cx="321" cy="562"/>
            </a:xfrm>
          </p:grpSpPr>
          <p:sp>
            <p:nvSpPr>
              <p:cNvPr id="138" name="Freeform 132">
                <a:extLst>
                  <a:ext uri="{FF2B5EF4-FFF2-40B4-BE49-F238E27FC236}">
                    <a16:creationId xmlns:a16="http://schemas.microsoft.com/office/drawing/2014/main" id="{9E014516-C32C-A35B-E597-27FA79CFD6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7" y="3058"/>
                <a:ext cx="321" cy="562"/>
              </a:xfrm>
              <a:custGeom>
                <a:avLst/>
                <a:gdLst>
                  <a:gd name="T0" fmla="*/ 307 w 321"/>
                  <a:gd name="T1" fmla="*/ 452 h 562"/>
                  <a:gd name="T2" fmla="*/ 304 w 321"/>
                  <a:gd name="T3" fmla="*/ 431 h 562"/>
                  <a:gd name="T4" fmla="*/ 286 w 321"/>
                  <a:gd name="T5" fmla="*/ 405 h 562"/>
                  <a:gd name="T6" fmla="*/ 263 w 321"/>
                  <a:gd name="T7" fmla="*/ 372 h 562"/>
                  <a:gd name="T8" fmla="*/ 259 w 321"/>
                  <a:gd name="T9" fmla="*/ 355 h 562"/>
                  <a:gd name="T10" fmla="*/ 224 w 321"/>
                  <a:gd name="T11" fmla="*/ 345 h 562"/>
                  <a:gd name="T12" fmla="*/ 194 w 321"/>
                  <a:gd name="T13" fmla="*/ 336 h 562"/>
                  <a:gd name="T14" fmla="*/ 170 w 321"/>
                  <a:gd name="T15" fmla="*/ 316 h 562"/>
                  <a:gd name="T16" fmla="*/ 149 w 321"/>
                  <a:gd name="T17" fmla="*/ 302 h 562"/>
                  <a:gd name="T18" fmla="*/ 145 w 321"/>
                  <a:gd name="T19" fmla="*/ 286 h 562"/>
                  <a:gd name="T20" fmla="*/ 125 w 321"/>
                  <a:gd name="T21" fmla="*/ 275 h 562"/>
                  <a:gd name="T22" fmla="*/ 134 w 321"/>
                  <a:gd name="T23" fmla="*/ 254 h 562"/>
                  <a:gd name="T24" fmla="*/ 137 w 321"/>
                  <a:gd name="T25" fmla="*/ 221 h 562"/>
                  <a:gd name="T26" fmla="*/ 162 w 321"/>
                  <a:gd name="T27" fmla="*/ 157 h 562"/>
                  <a:gd name="T28" fmla="*/ 202 w 321"/>
                  <a:gd name="T29" fmla="*/ 121 h 562"/>
                  <a:gd name="T30" fmla="*/ 212 w 321"/>
                  <a:gd name="T31" fmla="*/ 98 h 562"/>
                  <a:gd name="T32" fmla="*/ 196 w 321"/>
                  <a:gd name="T33" fmla="*/ 73 h 562"/>
                  <a:gd name="T34" fmla="*/ 162 w 321"/>
                  <a:gd name="T35" fmla="*/ 40 h 562"/>
                  <a:gd name="T36" fmla="*/ 116 w 321"/>
                  <a:gd name="T37" fmla="*/ 17 h 562"/>
                  <a:gd name="T38" fmla="*/ 76 w 321"/>
                  <a:gd name="T39" fmla="*/ 7 h 562"/>
                  <a:gd name="T40" fmla="*/ 86 w 321"/>
                  <a:gd name="T41" fmla="*/ 48 h 562"/>
                  <a:gd name="T42" fmla="*/ 105 w 321"/>
                  <a:gd name="T43" fmla="*/ 92 h 562"/>
                  <a:gd name="T44" fmla="*/ 90 w 321"/>
                  <a:gd name="T45" fmla="*/ 106 h 562"/>
                  <a:gd name="T46" fmla="*/ 62 w 321"/>
                  <a:gd name="T47" fmla="*/ 123 h 562"/>
                  <a:gd name="T48" fmla="*/ 43 w 321"/>
                  <a:gd name="T49" fmla="*/ 157 h 562"/>
                  <a:gd name="T50" fmla="*/ 33 w 321"/>
                  <a:gd name="T51" fmla="*/ 196 h 562"/>
                  <a:gd name="T52" fmla="*/ 18 w 321"/>
                  <a:gd name="T53" fmla="*/ 221 h 562"/>
                  <a:gd name="T54" fmla="*/ 23 w 321"/>
                  <a:gd name="T55" fmla="*/ 265 h 562"/>
                  <a:gd name="T56" fmla="*/ 17 w 321"/>
                  <a:gd name="T57" fmla="*/ 293 h 562"/>
                  <a:gd name="T58" fmla="*/ 25 w 321"/>
                  <a:gd name="T59" fmla="*/ 332 h 562"/>
                  <a:gd name="T60" fmla="*/ 37 w 321"/>
                  <a:gd name="T61" fmla="*/ 347 h 562"/>
                  <a:gd name="T62" fmla="*/ 24 w 321"/>
                  <a:gd name="T63" fmla="*/ 381 h 562"/>
                  <a:gd name="T64" fmla="*/ 18 w 321"/>
                  <a:gd name="T65" fmla="*/ 398 h 562"/>
                  <a:gd name="T66" fmla="*/ 5 w 321"/>
                  <a:gd name="T67" fmla="*/ 401 h 562"/>
                  <a:gd name="T68" fmla="*/ 2 w 321"/>
                  <a:gd name="T69" fmla="*/ 420 h 562"/>
                  <a:gd name="T70" fmla="*/ 25 w 321"/>
                  <a:gd name="T71" fmla="*/ 427 h 562"/>
                  <a:gd name="T72" fmla="*/ 12 w 321"/>
                  <a:gd name="T73" fmla="*/ 449 h 562"/>
                  <a:gd name="T74" fmla="*/ 19 w 321"/>
                  <a:gd name="T75" fmla="*/ 474 h 562"/>
                  <a:gd name="T76" fmla="*/ 26 w 321"/>
                  <a:gd name="T77" fmla="*/ 499 h 562"/>
                  <a:gd name="T78" fmla="*/ 41 w 321"/>
                  <a:gd name="T79" fmla="*/ 475 h 562"/>
                  <a:gd name="T80" fmla="*/ 35 w 321"/>
                  <a:gd name="T81" fmla="*/ 458 h 562"/>
                  <a:gd name="T82" fmla="*/ 44 w 321"/>
                  <a:gd name="T83" fmla="*/ 446 h 562"/>
                  <a:gd name="T84" fmla="*/ 61 w 321"/>
                  <a:gd name="T85" fmla="*/ 463 h 562"/>
                  <a:gd name="T86" fmla="*/ 62 w 321"/>
                  <a:gd name="T87" fmla="*/ 482 h 562"/>
                  <a:gd name="T88" fmla="*/ 73 w 321"/>
                  <a:gd name="T89" fmla="*/ 500 h 562"/>
                  <a:gd name="T90" fmla="*/ 79 w 321"/>
                  <a:gd name="T91" fmla="*/ 491 h 562"/>
                  <a:gd name="T92" fmla="*/ 80 w 321"/>
                  <a:gd name="T93" fmla="*/ 520 h 562"/>
                  <a:gd name="T94" fmla="*/ 99 w 321"/>
                  <a:gd name="T95" fmla="*/ 538 h 562"/>
                  <a:gd name="T96" fmla="*/ 105 w 321"/>
                  <a:gd name="T97" fmla="*/ 560 h 562"/>
                  <a:gd name="T98" fmla="*/ 118 w 321"/>
                  <a:gd name="T99" fmla="*/ 554 h 562"/>
                  <a:gd name="T100" fmla="*/ 140 w 321"/>
                  <a:gd name="T101" fmla="*/ 549 h 562"/>
                  <a:gd name="T102" fmla="*/ 160 w 321"/>
                  <a:gd name="T103" fmla="*/ 533 h 562"/>
                  <a:gd name="T104" fmla="*/ 160 w 321"/>
                  <a:gd name="T105" fmla="*/ 507 h 562"/>
                  <a:gd name="T106" fmla="*/ 171 w 321"/>
                  <a:gd name="T107" fmla="*/ 516 h 562"/>
                  <a:gd name="T108" fmla="*/ 192 w 321"/>
                  <a:gd name="T109" fmla="*/ 525 h 562"/>
                  <a:gd name="T110" fmla="*/ 208 w 321"/>
                  <a:gd name="T111" fmla="*/ 512 h 562"/>
                  <a:gd name="T112" fmla="*/ 230 w 321"/>
                  <a:gd name="T113" fmla="*/ 514 h 562"/>
                  <a:gd name="T114" fmla="*/ 238 w 321"/>
                  <a:gd name="T115" fmla="*/ 493 h 562"/>
                  <a:gd name="T116" fmla="*/ 255 w 321"/>
                  <a:gd name="T117" fmla="*/ 487 h 562"/>
                  <a:gd name="T118" fmla="*/ 277 w 321"/>
                  <a:gd name="T119" fmla="*/ 500 h 562"/>
                  <a:gd name="T120" fmla="*/ 284 w 321"/>
                  <a:gd name="T121" fmla="*/ 477 h 562"/>
                  <a:gd name="T122" fmla="*/ 302 w 321"/>
                  <a:gd name="T123" fmla="*/ 465 h 56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21"/>
                  <a:gd name="T187" fmla="*/ 0 h 562"/>
                  <a:gd name="T188" fmla="*/ 321 w 321"/>
                  <a:gd name="T189" fmla="*/ 562 h 562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21" h="562">
                    <a:moveTo>
                      <a:pt x="319" y="456"/>
                    </a:moveTo>
                    <a:lnTo>
                      <a:pt x="320" y="453"/>
                    </a:lnTo>
                    <a:lnTo>
                      <a:pt x="319" y="452"/>
                    </a:lnTo>
                    <a:lnTo>
                      <a:pt x="319" y="451"/>
                    </a:lnTo>
                    <a:lnTo>
                      <a:pt x="318" y="451"/>
                    </a:lnTo>
                    <a:lnTo>
                      <a:pt x="320" y="448"/>
                    </a:lnTo>
                    <a:lnTo>
                      <a:pt x="317" y="446"/>
                    </a:lnTo>
                    <a:lnTo>
                      <a:pt x="318" y="444"/>
                    </a:lnTo>
                    <a:lnTo>
                      <a:pt x="318" y="443"/>
                    </a:lnTo>
                    <a:lnTo>
                      <a:pt x="317" y="443"/>
                    </a:lnTo>
                    <a:lnTo>
                      <a:pt x="317" y="445"/>
                    </a:lnTo>
                    <a:lnTo>
                      <a:pt x="313" y="443"/>
                    </a:lnTo>
                    <a:lnTo>
                      <a:pt x="312" y="444"/>
                    </a:lnTo>
                    <a:lnTo>
                      <a:pt x="312" y="446"/>
                    </a:lnTo>
                    <a:lnTo>
                      <a:pt x="310" y="446"/>
                    </a:lnTo>
                    <a:lnTo>
                      <a:pt x="309" y="446"/>
                    </a:lnTo>
                    <a:lnTo>
                      <a:pt x="307" y="452"/>
                    </a:lnTo>
                    <a:lnTo>
                      <a:pt x="304" y="449"/>
                    </a:lnTo>
                    <a:lnTo>
                      <a:pt x="304" y="446"/>
                    </a:lnTo>
                    <a:lnTo>
                      <a:pt x="303" y="444"/>
                    </a:lnTo>
                    <a:lnTo>
                      <a:pt x="302" y="444"/>
                    </a:lnTo>
                    <a:lnTo>
                      <a:pt x="302" y="443"/>
                    </a:lnTo>
                    <a:lnTo>
                      <a:pt x="305" y="440"/>
                    </a:lnTo>
                    <a:lnTo>
                      <a:pt x="307" y="440"/>
                    </a:lnTo>
                    <a:lnTo>
                      <a:pt x="309" y="438"/>
                    </a:lnTo>
                    <a:lnTo>
                      <a:pt x="307" y="437"/>
                    </a:lnTo>
                    <a:lnTo>
                      <a:pt x="308" y="436"/>
                    </a:lnTo>
                    <a:lnTo>
                      <a:pt x="307" y="436"/>
                    </a:lnTo>
                    <a:lnTo>
                      <a:pt x="309" y="435"/>
                    </a:lnTo>
                    <a:lnTo>
                      <a:pt x="307" y="435"/>
                    </a:lnTo>
                    <a:lnTo>
                      <a:pt x="306" y="434"/>
                    </a:lnTo>
                    <a:lnTo>
                      <a:pt x="306" y="431"/>
                    </a:lnTo>
                    <a:lnTo>
                      <a:pt x="304" y="431"/>
                    </a:lnTo>
                    <a:lnTo>
                      <a:pt x="304" y="429"/>
                    </a:lnTo>
                    <a:lnTo>
                      <a:pt x="304" y="427"/>
                    </a:lnTo>
                    <a:lnTo>
                      <a:pt x="302" y="427"/>
                    </a:lnTo>
                    <a:lnTo>
                      <a:pt x="302" y="424"/>
                    </a:lnTo>
                    <a:lnTo>
                      <a:pt x="301" y="423"/>
                    </a:lnTo>
                    <a:lnTo>
                      <a:pt x="300" y="422"/>
                    </a:lnTo>
                    <a:lnTo>
                      <a:pt x="298" y="419"/>
                    </a:lnTo>
                    <a:lnTo>
                      <a:pt x="297" y="414"/>
                    </a:lnTo>
                    <a:lnTo>
                      <a:pt x="294" y="414"/>
                    </a:lnTo>
                    <a:lnTo>
                      <a:pt x="291" y="411"/>
                    </a:lnTo>
                    <a:lnTo>
                      <a:pt x="289" y="408"/>
                    </a:lnTo>
                    <a:lnTo>
                      <a:pt x="288" y="408"/>
                    </a:lnTo>
                    <a:lnTo>
                      <a:pt x="287" y="409"/>
                    </a:lnTo>
                    <a:lnTo>
                      <a:pt x="286" y="409"/>
                    </a:lnTo>
                    <a:lnTo>
                      <a:pt x="286" y="405"/>
                    </a:lnTo>
                    <a:lnTo>
                      <a:pt x="285" y="403"/>
                    </a:lnTo>
                    <a:lnTo>
                      <a:pt x="286" y="399"/>
                    </a:lnTo>
                    <a:lnTo>
                      <a:pt x="282" y="395"/>
                    </a:lnTo>
                    <a:lnTo>
                      <a:pt x="280" y="388"/>
                    </a:lnTo>
                    <a:lnTo>
                      <a:pt x="277" y="385"/>
                    </a:lnTo>
                    <a:lnTo>
                      <a:pt x="276" y="388"/>
                    </a:lnTo>
                    <a:lnTo>
                      <a:pt x="276" y="392"/>
                    </a:lnTo>
                    <a:lnTo>
                      <a:pt x="275" y="392"/>
                    </a:lnTo>
                    <a:lnTo>
                      <a:pt x="274" y="392"/>
                    </a:lnTo>
                    <a:lnTo>
                      <a:pt x="273" y="393"/>
                    </a:lnTo>
                    <a:lnTo>
                      <a:pt x="272" y="393"/>
                    </a:lnTo>
                    <a:lnTo>
                      <a:pt x="272" y="392"/>
                    </a:lnTo>
                    <a:lnTo>
                      <a:pt x="265" y="385"/>
                    </a:lnTo>
                    <a:lnTo>
                      <a:pt x="264" y="383"/>
                    </a:lnTo>
                    <a:lnTo>
                      <a:pt x="264" y="378"/>
                    </a:lnTo>
                    <a:lnTo>
                      <a:pt x="263" y="372"/>
                    </a:lnTo>
                    <a:lnTo>
                      <a:pt x="264" y="371"/>
                    </a:lnTo>
                    <a:lnTo>
                      <a:pt x="267" y="365"/>
                    </a:lnTo>
                    <a:lnTo>
                      <a:pt x="268" y="365"/>
                    </a:lnTo>
                    <a:lnTo>
                      <a:pt x="268" y="363"/>
                    </a:lnTo>
                    <a:lnTo>
                      <a:pt x="269" y="363"/>
                    </a:lnTo>
                    <a:lnTo>
                      <a:pt x="268" y="362"/>
                    </a:lnTo>
                    <a:lnTo>
                      <a:pt x="269" y="359"/>
                    </a:lnTo>
                    <a:lnTo>
                      <a:pt x="268" y="359"/>
                    </a:lnTo>
                    <a:lnTo>
                      <a:pt x="267" y="361"/>
                    </a:lnTo>
                    <a:lnTo>
                      <a:pt x="266" y="361"/>
                    </a:lnTo>
                    <a:lnTo>
                      <a:pt x="265" y="360"/>
                    </a:lnTo>
                    <a:lnTo>
                      <a:pt x="264" y="359"/>
                    </a:lnTo>
                    <a:lnTo>
                      <a:pt x="263" y="359"/>
                    </a:lnTo>
                    <a:lnTo>
                      <a:pt x="264" y="357"/>
                    </a:lnTo>
                    <a:lnTo>
                      <a:pt x="263" y="355"/>
                    </a:lnTo>
                    <a:lnTo>
                      <a:pt x="261" y="355"/>
                    </a:lnTo>
                    <a:lnTo>
                      <a:pt x="259" y="355"/>
                    </a:lnTo>
                    <a:lnTo>
                      <a:pt x="257" y="352"/>
                    </a:lnTo>
                    <a:lnTo>
                      <a:pt x="255" y="352"/>
                    </a:lnTo>
                    <a:lnTo>
                      <a:pt x="252" y="349"/>
                    </a:lnTo>
                    <a:lnTo>
                      <a:pt x="251" y="352"/>
                    </a:lnTo>
                    <a:lnTo>
                      <a:pt x="250" y="351"/>
                    </a:lnTo>
                    <a:lnTo>
                      <a:pt x="248" y="353"/>
                    </a:lnTo>
                    <a:lnTo>
                      <a:pt x="245" y="354"/>
                    </a:lnTo>
                    <a:lnTo>
                      <a:pt x="245" y="356"/>
                    </a:lnTo>
                    <a:lnTo>
                      <a:pt x="240" y="356"/>
                    </a:lnTo>
                    <a:lnTo>
                      <a:pt x="237" y="355"/>
                    </a:lnTo>
                    <a:lnTo>
                      <a:pt x="233" y="347"/>
                    </a:lnTo>
                    <a:lnTo>
                      <a:pt x="230" y="345"/>
                    </a:lnTo>
                    <a:lnTo>
                      <a:pt x="227" y="344"/>
                    </a:lnTo>
                    <a:lnTo>
                      <a:pt x="227" y="342"/>
                    </a:lnTo>
                    <a:lnTo>
                      <a:pt x="225" y="342"/>
                    </a:lnTo>
                    <a:lnTo>
                      <a:pt x="224" y="344"/>
                    </a:lnTo>
                    <a:lnTo>
                      <a:pt x="224" y="345"/>
                    </a:lnTo>
                    <a:lnTo>
                      <a:pt x="224" y="346"/>
                    </a:lnTo>
                    <a:lnTo>
                      <a:pt x="221" y="351"/>
                    </a:lnTo>
                    <a:lnTo>
                      <a:pt x="216" y="349"/>
                    </a:lnTo>
                    <a:lnTo>
                      <a:pt x="214" y="348"/>
                    </a:lnTo>
                    <a:lnTo>
                      <a:pt x="212" y="342"/>
                    </a:lnTo>
                    <a:lnTo>
                      <a:pt x="211" y="341"/>
                    </a:lnTo>
                    <a:lnTo>
                      <a:pt x="209" y="342"/>
                    </a:lnTo>
                    <a:lnTo>
                      <a:pt x="208" y="341"/>
                    </a:lnTo>
                    <a:lnTo>
                      <a:pt x="202" y="338"/>
                    </a:lnTo>
                    <a:lnTo>
                      <a:pt x="199" y="340"/>
                    </a:lnTo>
                    <a:lnTo>
                      <a:pt x="197" y="341"/>
                    </a:lnTo>
                    <a:lnTo>
                      <a:pt x="195" y="341"/>
                    </a:lnTo>
                    <a:lnTo>
                      <a:pt x="195" y="342"/>
                    </a:lnTo>
                    <a:lnTo>
                      <a:pt x="194" y="341"/>
                    </a:lnTo>
                    <a:lnTo>
                      <a:pt x="192" y="338"/>
                    </a:lnTo>
                    <a:lnTo>
                      <a:pt x="194" y="337"/>
                    </a:lnTo>
                    <a:lnTo>
                      <a:pt x="194" y="336"/>
                    </a:lnTo>
                    <a:lnTo>
                      <a:pt x="191" y="333"/>
                    </a:lnTo>
                    <a:lnTo>
                      <a:pt x="191" y="332"/>
                    </a:lnTo>
                    <a:lnTo>
                      <a:pt x="192" y="331"/>
                    </a:lnTo>
                    <a:lnTo>
                      <a:pt x="192" y="329"/>
                    </a:lnTo>
                    <a:lnTo>
                      <a:pt x="189" y="327"/>
                    </a:lnTo>
                    <a:lnTo>
                      <a:pt x="189" y="325"/>
                    </a:lnTo>
                    <a:lnTo>
                      <a:pt x="188" y="325"/>
                    </a:lnTo>
                    <a:lnTo>
                      <a:pt x="187" y="324"/>
                    </a:lnTo>
                    <a:lnTo>
                      <a:pt x="183" y="317"/>
                    </a:lnTo>
                    <a:lnTo>
                      <a:pt x="183" y="315"/>
                    </a:lnTo>
                    <a:lnTo>
                      <a:pt x="182" y="316"/>
                    </a:lnTo>
                    <a:lnTo>
                      <a:pt x="180" y="312"/>
                    </a:lnTo>
                    <a:lnTo>
                      <a:pt x="176" y="314"/>
                    </a:lnTo>
                    <a:lnTo>
                      <a:pt x="173" y="314"/>
                    </a:lnTo>
                    <a:lnTo>
                      <a:pt x="172" y="315"/>
                    </a:lnTo>
                    <a:lnTo>
                      <a:pt x="170" y="318"/>
                    </a:lnTo>
                    <a:lnTo>
                      <a:pt x="170" y="316"/>
                    </a:lnTo>
                    <a:lnTo>
                      <a:pt x="170" y="314"/>
                    </a:lnTo>
                    <a:lnTo>
                      <a:pt x="166" y="312"/>
                    </a:lnTo>
                    <a:lnTo>
                      <a:pt x="164" y="313"/>
                    </a:lnTo>
                    <a:lnTo>
                      <a:pt x="162" y="312"/>
                    </a:lnTo>
                    <a:lnTo>
                      <a:pt x="162" y="311"/>
                    </a:lnTo>
                    <a:lnTo>
                      <a:pt x="160" y="309"/>
                    </a:lnTo>
                    <a:lnTo>
                      <a:pt x="159" y="309"/>
                    </a:lnTo>
                    <a:lnTo>
                      <a:pt x="159" y="310"/>
                    </a:lnTo>
                    <a:lnTo>
                      <a:pt x="159" y="308"/>
                    </a:lnTo>
                    <a:lnTo>
                      <a:pt x="158" y="307"/>
                    </a:lnTo>
                    <a:lnTo>
                      <a:pt x="156" y="308"/>
                    </a:lnTo>
                    <a:lnTo>
                      <a:pt x="155" y="307"/>
                    </a:lnTo>
                    <a:lnTo>
                      <a:pt x="152" y="306"/>
                    </a:lnTo>
                    <a:lnTo>
                      <a:pt x="151" y="303"/>
                    </a:lnTo>
                    <a:lnTo>
                      <a:pt x="151" y="304"/>
                    </a:lnTo>
                    <a:lnTo>
                      <a:pt x="149" y="302"/>
                    </a:lnTo>
                    <a:lnTo>
                      <a:pt x="147" y="303"/>
                    </a:lnTo>
                    <a:lnTo>
                      <a:pt x="147" y="302"/>
                    </a:lnTo>
                    <a:lnTo>
                      <a:pt x="146" y="303"/>
                    </a:lnTo>
                    <a:lnTo>
                      <a:pt x="145" y="303"/>
                    </a:lnTo>
                    <a:lnTo>
                      <a:pt x="145" y="305"/>
                    </a:lnTo>
                    <a:lnTo>
                      <a:pt x="144" y="305"/>
                    </a:lnTo>
                    <a:lnTo>
                      <a:pt x="143" y="304"/>
                    </a:lnTo>
                    <a:lnTo>
                      <a:pt x="142" y="305"/>
                    </a:lnTo>
                    <a:lnTo>
                      <a:pt x="142" y="304"/>
                    </a:lnTo>
                    <a:lnTo>
                      <a:pt x="141" y="303"/>
                    </a:lnTo>
                    <a:lnTo>
                      <a:pt x="141" y="302"/>
                    </a:lnTo>
                    <a:lnTo>
                      <a:pt x="140" y="302"/>
                    </a:lnTo>
                    <a:lnTo>
                      <a:pt x="141" y="299"/>
                    </a:lnTo>
                    <a:lnTo>
                      <a:pt x="144" y="293"/>
                    </a:lnTo>
                    <a:lnTo>
                      <a:pt x="146" y="286"/>
                    </a:lnTo>
                    <a:lnTo>
                      <a:pt x="145" y="286"/>
                    </a:lnTo>
                    <a:lnTo>
                      <a:pt x="143" y="290"/>
                    </a:lnTo>
                    <a:lnTo>
                      <a:pt x="141" y="288"/>
                    </a:lnTo>
                    <a:lnTo>
                      <a:pt x="140" y="289"/>
                    </a:lnTo>
                    <a:lnTo>
                      <a:pt x="140" y="291"/>
                    </a:lnTo>
                    <a:lnTo>
                      <a:pt x="139" y="290"/>
                    </a:lnTo>
                    <a:lnTo>
                      <a:pt x="137" y="290"/>
                    </a:lnTo>
                    <a:lnTo>
                      <a:pt x="134" y="293"/>
                    </a:lnTo>
                    <a:lnTo>
                      <a:pt x="134" y="291"/>
                    </a:lnTo>
                    <a:lnTo>
                      <a:pt x="132" y="290"/>
                    </a:lnTo>
                    <a:lnTo>
                      <a:pt x="131" y="285"/>
                    </a:lnTo>
                    <a:lnTo>
                      <a:pt x="131" y="283"/>
                    </a:lnTo>
                    <a:lnTo>
                      <a:pt x="131" y="282"/>
                    </a:lnTo>
                    <a:lnTo>
                      <a:pt x="129" y="281"/>
                    </a:lnTo>
                    <a:lnTo>
                      <a:pt x="128" y="283"/>
                    </a:lnTo>
                    <a:lnTo>
                      <a:pt x="129" y="280"/>
                    </a:lnTo>
                    <a:lnTo>
                      <a:pt x="128" y="277"/>
                    </a:lnTo>
                    <a:lnTo>
                      <a:pt x="125" y="275"/>
                    </a:lnTo>
                    <a:lnTo>
                      <a:pt x="126" y="273"/>
                    </a:lnTo>
                    <a:lnTo>
                      <a:pt x="127" y="273"/>
                    </a:lnTo>
                    <a:lnTo>
                      <a:pt x="126" y="270"/>
                    </a:lnTo>
                    <a:lnTo>
                      <a:pt x="128" y="270"/>
                    </a:lnTo>
                    <a:lnTo>
                      <a:pt x="129" y="269"/>
                    </a:lnTo>
                    <a:lnTo>
                      <a:pt x="131" y="267"/>
                    </a:lnTo>
                    <a:lnTo>
                      <a:pt x="132" y="264"/>
                    </a:lnTo>
                    <a:lnTo>
                      <a:pt x="132" y="265"/>
                    </a:lnTo>
                    <a:lnTo>
                      <a:pt x="133" y="264"/>
                    </a:lnTo>
                    <a:lnTo>
                      <a:pt x="133" y="263"/>
                    </a:lnTo>
                    <a:lnTo>
                      <a:pt x="134" y="261"/>
                    </a:lnTo>
                    <a:lnTo>
                      <a:pt x="131" y="260"/>
                    </a:lnTo>
                    <a:lnTo>
                      <a:pt x="132" y="258"/>
                    </a:lnTo>
                    <a:lnTo>
                      <a:pt x="131" y="255"/>
                    </a:lnTo>
                    <a:lnTo>
                      <a:pt x="134" y="255"/>
                    </a:lnTo>
                    <a:lnTo>
                      <a:pt x="134" y="254"/>
                    </a:lnTo>
                    <a:lnTo>
                      <a:pt x="136" y="253"/>
                    </a:lnTo>
                    <a:lnTo>
                      <a:pt x="137" y="251"/>
                    </a:lnTo>
                    <a:lnTo>
                      <a:pt x="139" y="251"/>
                    </a:lnTo>
                    <a:lnTo>
                      <a:pt x="140" y="247"/>
                    </a:lnTo>
                    <a:lnTo>
                      <a:pt x="141" y="248"/>
                    </a:lnTo>
                    <a:lnTo>
                      <a:pt x="142" y="246"/>
                    </a:lnTo>
                    <a:lnTo>
                      <a:pt x="142" y="245"/>
                    </a:lnTo>
                    <a:lnTo>
                      <a:pt x="143" y="244"/>
                    </a:lnTo>
                    <a:lnTo>
                      <a:pt x="142" y="241"/>
                    </a:lnTo>
                    <a:lnTo>
                      <a:pt x="142" y="240"/>
                    </a:lnTo>
                    <a:lnTo>
                      <a:pt x="141" y="237"/>
                    </a:lnTo>
                    <a:lnTo>
                      <a:pt x="136" y="231"/>
                    </a:lnTo>
                    <a:lnTo>
                      <a:pt x="133" y="229"/>
                    </a:lnTo>
                    <a:lnTo>
                      <a:pt x="132" y="226"/>
                    </a:lnTo>
                    <a:lnTo>
                      <a:pt x="133" y="226"/>
                    </a:lnTo>
                    <a:lnTo>
                      <a:pt x="137" y="224"/>
                    </a:lnTo>
                    <a:lnTo>
                      <a:pt x="137" y="221"/>
                    </a:lnTo>
                    <a:lnTo>
                      <a:pt x="137" y="219"/>
                    </a:lnTo>
                    <a:lnTo>
                      <a:pt x="137" y="213"/>
                    </a:lnTo>
                    <a:lnTo>
                      <a:pt x="140" y="210"/>
                    </a:lnTo>
                    <a:lnTo>
                      <a:pt x="143" y="204"/>
                    </a:lnTo>
                    <a:lnTo>
                      <a:pt x="146" y="204"/>
                    </a:lnTo>
                    <a:lnTo>
                      <a:pt x="149" y="201"/>
                    </a:lnTo>
                    <a:lnTo>
                      <a:pt x="150" y="199"/>
                    </a:lnTo>
                    <a:lnTo>
                      <a:pt x="153" y="199"/>
                    </a:lnTo>
                    <a:lnTo>
                      <a:pt x="157" y="191"/>
                    </a:lnTo>
                    <a:lnTo>
                      <a:pt x="157" y="188"/>
                    </a:lnTo>
                    <a:lnTo>
                      <a:pt x="156" y="186"/>
                    </a:lnTo>
                    <a:lnTo>
                      <a:pt x="157" y="182"/>
                    </a:lnTo>
                    <a:lnTo>
                      <a:pt x="155" y="172"/>
                    </a:lnTo>
                    <a:lnTo>
                      <a:pt x="162" y="167"/>
                    </a:lnTo>
                    <a:lnTo>
                      <a:pt x="164" y="165"/>
                    </a:lnTo>
                    <a:lnTo>
                      <a:pt x="162" y="162"/>
                    </a:lnTo>
                    <a:lnTo>
                      <a:pt x="162" y="157"/>
                    </a:lnTo>
                    <a:lnTo>
                      <a:pt x="162" y="154"/>
                    </a:lnTo>
                    <a:lnTo>
                      <a:pt x="166" y="152"/>
                    </a:lnTo>
                    <a:lnTo>
                      <a:pt x="167" y="152"/>
                    </a:lnTo>
                    <a:lnTo>
                      <a:pt x="171" y="147"/>
                    </a:lnTo>
                    <a:lnTo>
                      <a:pt x="173" y="145"/>
                    </a:lnTo>
                    <a:lnTo>
                      <a:pt x="175" y="141"/>
                    </a:lnTo>
                    <a:lnTo>
                      <a:pt x="177" y="143"/>
                    </a:lnTo>
                    <a:lnTo>
                      <a:pt x="178" y="142"/>
                    </a:lnTo>
                    <a:lnTo>
                      <a:pt x="180" y="141"/>
                    </a:lnTo>
                    <a:lnTo>
                      <a:pt x="180" y="138"/>
                    </a:lnTo>
                    <a:lnTo>
                      <a:pt x="182" y="136"/>
                    </a:lnTo>
                    <a:lnTo>
                      <a:pt x="184" y="135"/>
                    </a:lnTo>
                    <a:lnTo>
                      <a:pt x="189" y="138"/>
                    </a:lnTo>
                    <a:lnTo>
                      <a:pt x="192" y="136"/>
                    </a:lnTo>
                    <a:lnTo>
                      <a:pt x="196" y="129"/>
                    </a:lnTo>
                    <a:lnTo>
                      <a:pt x="200" y="125"/>
                    </a:lnTo>
                    <a:lnTo>
                      <a:pt x="202" y="121"/>
                    </a:lnTo>
                    <a:lnTo>
                      <a:pt x="203" y="121"/>
                    </a:lnTo>
                    <a:lnTo>
                      <a:pt x="205" y="126"/>
                    </a:lnTo>
                    <a:lnTo>
                      <a:pt x="207" y="128"/>
                    </a:lnTo>
                    <a:lnTo>
                      <a:pt x="208" y="127"/>
                    </a:lnTo>
                    <a:lnTo>
                      <a:pt x="211" y="129"/>
                    </a:lnTo>
                    <a:lnTo>
                      <a:pt x="214" y="127"/>
                    </a:lnTo>
                    <a:lnTo>
                      <a:pt x="214" y="125"/>
                    </a:lnTo>
                    <a:lnTo>
                      <a:pt x="215" y="124"/>
                    </a:lnTo>
                    <a:lnTo>
                      <a:pt x="215" y="121"/>
                    </a:lnTo>
                    <a:lnTo>
                      <a:pt x="216" y="119"/>
                    </a:lnTo>
                    <a:lnTo>
                      <a:pt x="215" y="115"/>
                    </a:lnTo>
                    <a:lnTo>
                      <a:pt x="216" y="112"/>
                    </a:lnTo>
                    <a:lnTo>
                      <a:pt x="217" y="107"/>
                    </a:lnTo>
                    <a:lnTo>
                      <a:pt x="217" y="105"/>
                    </a:lnTo>
                    <a:lnTo>
                      <a:pt x="218" y="104"/>
                    </a:lnTo>
                    <a:lnTo>
                      <a:pt x="216" y="96"/>
                    </a:lnTo>
                    <a:lnTo>
                      <a:pt x="212" y="98"/>
                    </a:lnTo>
                    <a:lnTo>
                      <a:pt x="211" y="95"/>
                    </a:lnTo>
                    <a:lnTo>
                      <a:pt x="208" y="92"/>
                    </a:lnTo>
                    <a:lnTo>
                      <a:pt x="202" y="92"/>
                    </a:lnTo>
                    <a:lnTo>
                      <a:pt x="201" y="93"/>
                    </a:lnTo>
                    <a:lnTo>
                      <a:pt x="200" y="101"/>
                    </a:lnTo>
                    <a:lnTo>
                      <a:pt x="197" y="101"/>
                    </a:lnTo>
                    <a:lnTo>
                      <a:pt x="196" y="99"/>
                    </a:lnTo>
                    <a:lnTo>
                      <a:pt x="195" y="93"/>
                    </a:lnTo>
                    <a:lnTo>
                      <a:pt x="194" y="91"/>
                    </a:lnTo>
                    <a:lnTo>
                      <a:pt x="197" y="90"/>
                    </a:lnTo>
                    <a:lnTo>
                      <a:pt x="196" y="88"/>
                    </a:lnTo>
                    <a:lnTo>
                      <a:pt x="197" y="85"/>
                    </a:lnTo>
                    <a:lnTo>
                      <a:pt x="200" y="80"/>
                    </a:lnTo>
                    <a:lnTo>
                      <a:pt x="198" y="78"/>
                    </a:lnTo>
                    <a:lnTo>
                      <a:pt x="196" y="78"/>
                    </a:lnTo>
                    <a:lnTo>
                      <a:pt x="195" y="77"/>
                    </a:lnTo>
                    <a:lnTo>
                      <a:pt x="196" y="73"/>
                    </a:lnTo>
                    <a:lnTo>
                      <a:pt x="198" y="74"/>
                    </a:lnTo>
                    <a:lnTo>
                      <a:pt x="200" y="72"/>
                    </a:lnTo>
                    <a:lnTo>
                      <a:pt x="199" y="70"/>
                    </a:lnTo>
                    <a:lnTo>
                      <a:pt x="192" y="70"/>
                    </a:lnTo>
                    <a:lnTo>
                      <a:pt x="189" y="73"/>
                    </a:lnTo>
                    <a:lnTo>
                      <a:pt x="186" y="73"/>
                    </a:lnTo>
                    <a:lnTo>
                      <a:pt x="182" y="74"/>
                    </a:lnTo>
                    <a:lnTo>
                      <a:pt x="178" y="71"/>
                    </a:lnTo>
                    <a:lnTo>
                      <a:pt x="176" y="68"/>
                    </a:lnTo>
                    <a:lnTo>
                      <a:pt x="172" y="66"/>
                    </a:lnTo>
                    <a:lnTo>
                      <a:pt x="171" y="63"/>
                    </a:lnTo>
                    <a:lnTo>
                      <a:pt x="168" y="61"/>
                    </a:lnTo>
                    <a:lnTo>
                      <a:pt x="166" y="58"/>
                    </a:lnTo>
                    <a:lnTo>
                      <a:pt x="164" y="54"/>
                    </a:lnTo>
                    <a:lnTo>
                      <a:pt x="160" y="49"/>
                    </a:lnTo>
                    <a:lnTo>
                      <a:pt x="160" y="44"/>
                    </a:lnTo>
                    <a:lnTo>
                      <a:pt x="162" y="40"/>
                    </a:lnTo>
                    <a:lnTo>
                      <a:pt x="160" y="38"/>
                    </a:lnTo>
                    <a:lnTo>
                      <a:pt x="157" y="37"/>
                    </a:lnTo>
                    <a:lnTo>
                      <a:pt x="156" y="38"/>
                    </a:lnTo>
                    <a:lnTo>
                      <a:pt x="151" y="39"/>
                    </a:lnTo>
                    <a:lnTo>
                      <a:pt x="149" y="40"/>
                    </a:lnTo>
                    <a:lnTo>
                      <a:pt x="145" y="40"/>
                    </a:lnTo>
                    <a:lnTo>
                      <a:pt x="141" y="32"/>
                    </a:lnTo>
                    <a:lnTo>
                      <a:pt x="138" y="32"/>
                    </a:lnTo>
                    <a:lnTo>
                      <a:pt x="138" y="27"/>
                    </a:lnTo>
                    <a:lnTo>
                      <a:pt x="136" y="27"/>
                    </a:lnTo>
                    <a:lnTo>
                      <a:pt x="131" y="27"/>
                    </a:lnTo>
                    <a:lnTo>
                      <a:pt x="131" y="28"/>
                    </a:lnTo>
                    <a:lnTo>
                      <a:pt x="123" y="24"/>
                    </a:lnTo>
                    <a:lnTo>
                      <a:pt x="119" y="20"/>
                    </a:lnTo>
                    <a:lnTo>
                      <a:pt x="117" y="20"/>
                    </a:lnTo>
                    <a:lnTo>
                      <a:pt x="116" y="17"/>
                    </a:lnTo>
                    <a:lnTo>
                      <a:pt x="115" y="17"/>
                    </a:lnTo>
                    <a:lnTo>
                      <a:pt x="113" y="18"/>
                    </a:lnTo>
                    <a:lnTo>
                      <a:pt x="111" y="15"/>
                    </a:lnTo>
                    <a:lnTo>
                      <a:pt x="109" y="14"/>
                    </a:lnTo>
                    <a:lnTo>
                      <a:pt x="105" y="17"/>
                    </a:lnTo>
                    <a:lnTo>
                      <a:pt x="102" y="17"/>
                    </a:lnTo>
                    <a:lnTo>
                      <a:pt x="101" y="15"/>
                    </a:lnTo>
                    <a:lnTo>
                      <a:pt x="96" y="10"/>
                    </a:lnTo>
                    <a:lnTo>
                      <a:pt x="90" y="6"/>
                    </a:lnTo>
                    <a:lnTo>
                      <a:pt x="85" y="0"/>
                    </a:lnTo>
                    <a:lnTo>
                      <a:pt x="85" y="1"/>
                    </a:lnTo>
                    <a:lnTo>
                      <a:pt x="83" y="0"/>
                    </a:lnTo>
                    <a:lnTo>
                      <a:pt x="82" y="3"/>
                    </a:lnTo>
                    <a:lnTo>
                      <a:pt x="80" y="2"/>
                    </a:lnTo>
                    <a:lnTo>
                      <a:pt x="78" y="3"/>
                    </a:lnTo>
                    <a:lnTo>
                      <a:pt x="78" y="6"/>
                    </a:lnTo>
                    <a:lnTo>
                      <a:pt x="76" y="7"/>
                    </a:lnTo>
                    <a:lnTo>
                      <a:pt x="76" y="10"/>
                    </a:lnTo>
                    <a:lnTo>
                      <a:pt x="74" y="12"/>
                    </a:lnTo>
                    <a:lnTo>
                      <a:pt x="74" y="15"/>
                    </a:lnTo>
                    <a:lnTo>
                      <a:pt x="72" y="17"/>
                    </a:lnTo>
                    <a:lnTo>
                      <a:pt x="71" y="19"/>
                    </a:lnTo>
                    <a:lnTo>
                      <a:pt x="72" y="19"/>
                    </a:lnTo>
                    <a:lnTo>
                      <a:pt x="75" y="22"/>
                    </a:lnTo>
                    <a:lnTo>
                      <a:pt x="77" y="24"/>
                    </a:lnTo>
                    <a:lnTo>
                      <a:pt x="79" y="25"/>
                    </a:lnTo>
                    <a:lnTo>
                      <a:pt x="80" y="28"/>
                    </a:lnTo>
                    <a:lnTo>
                      <a:pt x="83" y="28"/>
                    </a:lnTo>
                    <a:lnTo>
                      <a:pt x="83" y="29"/>
                    </a:lnTo>
                    <a:lnTo>
                      <a:pt x="83" y="31"/>
                    </a:lnTo>
                    <a:lnTo>
                      <a:pt x="84" y="32"/>
                    </a:lnTo>
                    <a:lnTo>
                      <a:pt x="85" y="38"/>
                    </a:lnTo>
                    <a:lnTo>
                      <a:pt x="83" y="41"/>
                    </a:lnTo>
                    <a:lnTo>
                      <a:pt x="86" y="48"/>
                    </a:lnTo>
                    <a:lnTo>
                      <a:pt x="88" y="51"/>
                    </a:lnTo>
                    <a:lnTo>
                      <a:pt x="88" y="56"/>
                    </a:lnTo>
                    <a:lnTo>
                      <a:pt x="87" y="57"/>
                    </a:lnTo>
                    <a:lnTo>
                      <a:pt x="88" y="62"/>
                    </a:lnTo>
                    <a:lnTo>
                      <a:pt x="91" y="66"/>
                    </a:lnTo>
                    <a:lnTo>
                      <a:pt x="93" y="67"/>
                    </a:lnTo>
                    <a:lnTo>
                      <a:pt x="94" y="66"/>
                    </a:lnTo>
                    <a:lnTo>
                      <a:pt x="96" y="66"/>
                    </a:lnTo>
                    <a:lnTo>
                      <a:pt x="96" y="68"/>
                    </a:lnTo>
                    <a:lnTo>
                      <a:pt x="102" y="72"/>
                    </a:lnTo>
                    <a:lnTo>
                      <a:pt x="104" y="72"/>
                    </a:lnTo>
                    <a:lnTo>
                      <a:pt x="104" y="75"/>
                    </a:lnTo>
                    <a:lnTo>
                      <a:pt x="106" y="76"/>
                    </a:lnTo>
                    <a:lnTo>
                      <a:pt x="108" y="84"/>
                    </a:lnTo>
                    <a:lnTo>
                      <a:pt x="107" y="89"/>
                    </a:lnTo>
                    <a:lnTo>
                      <a:pt x="105" y="92"/>
                    </a:lnTo>
                    <a:lnTo>
                      <a:pt x="102" y="93"/>
                    </a:lnTo>
                    <a:lnTo>
                      <a:pt x="102" y="95"/>
                    </a:lnTo>
                    <a:lnTo>
                      <a:pt x="104" y="98"/>
                    </a:lnTo>
                    <a:lnTo>
                      <a:pt x="104" y="101"/>
                    </a:lnTo>
                    <a:lnTo>
                      <a:pt x="108" y="107"/>
                    </a:lnTo>
                    <a:lnTo>
                      <a:pt x="106" y="108"/>
                    </a:lnTo>
                    <a:lnTo>
                      <a:pt x="104" y="112"/>
                    </a:lnTo>
                    <a:lnTo>
                      <a:pt x="100" y="112"/>
                    </a:lnTo>
                    <a:lnTo>
                      <a:pt x="99" y="112"/>
                    </a:lnTo>
                    <a:lnTo>
                      <a:pt x="98" y="107"/>
                    </a:lnTo>
                    <a:lnTo>
                      <a:pt x="96" y="104"/>
                    </a:lnTo>
                    <a:lnTo>
                      <a:pt x="96" y="100"/>
                    </a:lnTo>
                    <a:lnTo>
                      <a:pt x="94" y="98"/>
                    </a:lnTo>
                    <a:lnTo>
                      <a:pt x="91" y="101"/>
                    </a:lnTo>
                    <a:lnTo>
                      <a:pt x="91" y="103"/>
                    </a:lnTo>
                    <a:lnTo>
                      <a:pt x="91" y="104"/>
                    </a:lnTo>
                    <a:lnTo>
                      <a:pt x="90" y="106"/>
                    </a:lnTo>
                    <a:lnTo>
                      <a:pt x="89" y="108"/>
                    </a:lnTo>
                    <a:lnTo>
                      <a:pt x="87" y="108"/>
                    </a:lnTo>
                    <a:lnTo>
                      <a:pt x="86" y="107"/>
                    </a:lnTo>
                    <a:lnTo>
                      <a:pt x="81" y="107"/>
                    </a:lnTo>
                    <a:lnTo>
                      <a:pt x="80" y="106"/>
                    </a:lnTo>
                    <a:lnTo>
                      <a:pt x="78" y="105"/>
                    </a:lnTo>
                    <a:lnTo>
                      <a:pt x="74" y="106"/>
                    </a:lnTo>
                    <a:lnTo>
                      <a:pt x="73" y="108"/>
                    </a:lnTo>
                    <a:lnTo>
                      <a:pt x="70" y="109"/>
                    </a:lnTo>
                    <a:lnTo>
                      <a:pt x="69" y="111"/>
                    </a:lnTo>
                    <a:lnTo>
                      <a:pt x="69" y="115"/>
                    </a:lnTo>
                    <a:lnTo>
                      <a:pt x="68" y="117"/>
                    </a:lnTo>
                    <a:lnTo>
                      <a:pt x="66" y="118"/>
                    </a:lnTo>
                    <a:lnTo>
                      <a:pt x="63" y="117"/>
                    </a:lnTo>
                    <a:lnTo>
                      <a:pt x="62" y="119"/>
                    </a:lnTo>
                    <a:lnTo>
                      <a:pt x="63" y="121"/>
                    </a:lnTo>
                    <a:lnTo>
                      <a:pt x="62" y="123"/>
                    </a:lnTo>
                    <a:lnTo>
                      <a:pt x="62" y="126"/>
                    </a:lnTo>
                    <a:lnTo>
                      <a:pt x="61" y="129"/>
                    </a:lnTo>
                    <a:lnTo>
                      <a:pt x="58" y="131"/>
                    </a:lnTo>
                    <a:lnTo>
                      <a:pt x="57" y="133"/>
                    </a:lnTo>
                    <a:lnTo>
                      <a:pt x="55" y="136"/>
                    </a:lnTo>
                    <a:lnTo>
                      <a:pt x="55" y="139"/>
                    </a:lnTo>
                    <a:lnTo>
                      <a:pt x="54" y="141"/>
                    </a:lnTo>
                    <a:lnTo>
                      <a:pt x="52" y="145"/>
                    </a:lnTo>
                    <a:lnTo>
                      <a:pt x="52" y="148"/>
                    </a:lnTo>
                    <a:lnTo>
                      <a:pt x="51" y="150"/>
                    </a:lnTo>
                    <a:lnTo>
                      <a:pt x="50" y="150"/>
                    </a:lnTo>
                    <a:lnTo>
                      <a:pt x="50" y="148"/>
                    </a:lnTo>
                    <a:lnTo>
                      <a:pt x="49" y="148"/>
                    </a:lnTo>
                    <a:lnTo>
                      <a:pt x="49" y="154"/>
                    </a:lnTo>
                    <a:lnTo>
                      <a:pt x="47" y="156"/>
                    </a:lnTo>
                    <a:lnTo>
                      <a:pt x="44" y="156"/>
                    </a:lnTo>
                    <a:lnTo>
                      <a:pt x="43" y="157"/>
                    </a:lnTo>
                    <a:lnTo>
                      <a:pt x="44" y="158"/>
                    </a:lnTo>
                    <a:lnTo>
                      <a:pt x="46" y="164"/>
                    </a:lnTo>
                    <a:lnTo>
                      <a:pt x="46" y="166"/>
                    </a:lnTo>
                    <a:lnTo>
                      <a:pt x="47" y="169"/>
                    </a:lnTo>
                    <a:lnTo>
                      <a:pt x="44" y="170"/>
                    </a:lnTo>
                    <a:lnTo>
                      <a:pt x="41" y="174"/>
                    </a:lnTo>
                    <a:lnTo>
                      <a:pt x="39" y="176"/>
                    </a:lnTo>
                    <a:lnTo>
                      <a:pt x="43" y="180"/>
                    </a:lnTo>
                    <a:lnTo>
                      <a:pt x="41" y="183"/>
                    </a:lnTo>
                    <a:lnTo>
                      <a:pt x="44" y="187"/>
                    </a:lnTo>
                    <a:lnTo>
                      <a:pt x="41" y="189"/>
                    </a:lnTo>
                    <a:lnTo>
                      <a:pt x="41" y="191"/>
                    </a:lnTo>
                    <a:lnTo>
                      <a:pt x="41" y="192"/>
                    </a:lnTo>
                    <a:lnTo>
                      <a:pt x="40" y="193"/>
                    </a:lnTo>
                    <a:lnTo>
                      <a:pt x="37" y="193"/>
                    </a:lnTo>
                    <a:lnTo>
                      <a:pt x="36" y="195"/>
                    </a:lnTo>
                    <a:lnTo>
                      <a:pt x="33" y="196"/>
                    </a:lnTo>
                    <a:lnTo>
                      <a:pt x="31" y="199"/>
                    </a:lnTo>
                    <a:lnTo>
                      <a:pt x="30" y="198"/>
                    </a:lnTo>
                    <a:lnTo>
                      <a:pt x="29" y="199"/>
                    </a:lnTo>
                    <a:lnTo>
                      <a:pt x="29" y="202"/>
                    </a:lnTo>
                    <a:lnTo>
                      <a:pt x="28" y="203"/>
                    </a:lnTo>
                    <a:lnTo>
                      <a:pt x="26" y="204"/>
                    </a:lnTo>
                    <a:lnTo>
                      <a:pt x="25" y="207"/>
                    </a:lnTo>
                    <a:lnTo>
                      <a:pt x="25" y="208"/>
                    </a:lnTo>
                    <a:lnTo>
                      <a:pt x="23" y="208"/>
                    </a:lnTo>
                    <a:lnTo>
                      <a:pt x="21" y="205"/>
                    </a:lnTo>
                    <a:lnTo>
                      <a:pt x="16" y="204"/>
                    </a:lnTo>
                    <a:lnTo>
                      <a:pt x="13" y="204"/>
                    </a:lnTo>
                    <a:lnTo>
                      <a:pt x="14" y="212"/>
                    </a:lnTo>
                    <a:lnTo>
                      <a:pt x="16" y="213"/>
                    </a:lnTo>
                    <a:lnTo>
                      <a:pt x="17" y="216"/>
                    </a:lnTo>
                    <a:lnTo>
                      <a:pt x="17" y="218"/>
                    </a:lnTo>
                    <a:lnTo>
                      <a:pt x="18" y="221"/>
                    </a:lnTo>
                    <a:lnTo>
                      <a:pt x="17" y="224"/>
                    </a:lnTo>
                    <a:lnTo>
                      <a:pt x="17" y="228"/>
                    </a:lnTo>
                    <a:lnTo>
                      <a:pt x="17" y="230"/>
                    </a:lnTo>
                    <a:lnTo>
                      <a:pt x="18" y="231"/>
                    </a:lnTo>
                    <a:lnTo>
                      <a:pt x="18" y="236"/>
                    </a:lnTo>
                    <a:lnTo>
                      <a:pt x="21" y="238"/>
                    </a:lnTo>
                    <a:lnTo>
                      <a:pt x="19" y="241"/>
                    </a:lnTo>
                    <a:lnTo>
                      <a:pt x="22" y="243"/>
                    </a:lnTo>
                    <a:lnTo>
                      <a:pt x="21" y="245"/>
                    </a:lnTo>
                    <a:lnTo>
                      <a:pt x="21" y="247"/>
                    </a:lnTo>
                    <a:lnTo>
                      <a:pt x="20" y="249"/>
                    </a:lnTo>
                    <a:lnTo>
                      <a:pt x="20" y="251"/>
                    </a:lnTo>
                    <a:lnTo>
                      <a:pt x="21" y="253"/>
                    </a:lnTo>
                    <a:lnTo>
                      <a:pt x="19" y="255"/>
                    </a:lnTo>
                    <a:lnTo>
                      <a:pt x="21" y="261"/>
                    </a:lnTo>
                    <a:lnTo>
                      <a:pt x="21" y="264"/>
                    </a:lnTo>
                    <a:lnTo>
                      <a:pt x="23" y="265"/>
                    </a:lnTo>
                    <a:lnTo>
                      <a:pt x="22" y="266"/>
                    </a:lnTo>
                    <a:lnTo>
                      <a:pt x="23" y="267"/>
                    </a:lnTo>
                    <a:lnTo>
                      <a:pt x="19" y="268"/>
                    </a:lnTo>
                    <a:lnTo>
                      <a:pt x="17" y="268"/>
                    </a:lnTo>
                    <a:lnTo>
                      <a:pt x="15" y="270"/>
                    </a:lnTo>
                    <a:lnTo>
                      <a:pt x="14" y="271"/>
                    </a:lnTo>
                    <a:lnTo>
                      <a:pt x="13" y="277"/>
                    </a:lnTo>
                    <a:lnTo>
                      <a:pt x="13" y="279"/>
                    </a:lnTo>
                    <a:lnTo>
                      <a:pt x="14" y="280"/>
                    </a:lnTo>
                    <a:lnTo>
                      <a:pt x="12" y="283"/>
                    </a:lnTo>
                    <a:lnTo>
                      <a:pt x="13" y="286"/>
                    </a:lnTo>
                    <a:lnTo>
                      <a:pt x="15" y="287"/>
                    </a:lnTo>
                    <a:lnTo>
                      <a:pt x="16" y="289"/>
                    </a:lnTo>
                    <a:lnTo>
                      <a:pt x="17" y="290"/>
                    </a:lnTo>
                    <a:lnTo>
                      <a:pt x="18" y="291"/>
                    </a:lnTo>
                    <a:lnTo>
                      <a:pt x="17" y="293"/>
                    </a:lnTo>
                    <a:lnTo>
                      <a:pt x="17" y="295"/>
                    </a:lnTo>
                    <a:lnTo>
                      <a:pt x="17" y="298"/>
                    </a:lnTo>
                    <a:lnTo>
                      <a:pt x="19" y="304"/>
                    </a:lnTo>
                    <a:lnTo>
                      <a:pt x="23" y="311"/>
                    </a:lnTo>
                    <a:lnTo>
                      <a:pt x="25" y="313"/>
                    </a:lnTo>
                    <a:lnTo>
                      <a:pt x="26" y="314"/>
                    </a:lnTo>
                    <a:lnTo>
                      <a:pt x="28" y="316"/>
                    </a:lnTo>
                    <a:lnTo>
                      <a:pt x="26" y="317"/>
                    </a:lnTo>
                    <a:lnTo>
                      <a:pt x="26" y="318"/>
                    </a:lnTo>
                    <a:lnTo>
                      <a:pt x="26" y="319"/>
                    </a:lnTo>
                    <a:lnTo>
                      <a:pt x="25" y="320"/>
                    </a:lnTo>
                    <a:lnTo>
                      <a:pt x="28" y="325"/>
                    </a:lnTo>
                    <a:lnTo>
                      <a:pt x="30" y="326"/>
                    </a:lnTo>
                    <a:lnTo>
                      <a:pt x="28" y="329"/>
                    </a:lnTo>
                    <a:lnTo>
                      <a:pt x="26" y="329"/>
                    </a:lnTo>
                    <a:lnTo>
                      <a:pt x="25" y="332"/>
                    </a:lnTo>
                    <a:lnTo>
                      <a:pt x="23" y="333"/>
                    </a:lnTo>
                    <a:lnTo>
                      <a:pt x="23" y="335"/>
                    </a:lnTo>
                    <a:lnTo>
                      <a:pt x="25" y="335"/>
                    </a:lnTo>
                    <a:lnTo>
                      <a:pt x="26" y="335"/>
                    </a:lnTo>
                    <a:lnTo>
                      <a:pt x="27" y="333"/>
                    </a:lnTo>
                    <a:lnTo>
                      <a:pt x="29" y="333"/>
                    </a:lnTo>
                    <a:lnTo>
                      <a:pt x="29" y="335"/>
                    </a:lnTo>
                    <a:lnTo>
                      <a:pt x="30" y="336"/>
                    </a:lnTo>
                    <a:lnTo>
                      <a:pt x="31" y="335"/>
                    </a:lnTo>
                    <a:lnTo>
                      <a:pt x="34" y="335"/>
                    </a:lnTo>
                    <a:lnTo>
                      <a:pt x="35" y="338"/>
                    </a:lnTo>
                    <a:lnTo>
                      <a:pt x="38" y="340"/>
                    </a:lnTo>
                    <a:lnTo>
                      <a:pt x="37" y="342"/>
                    </a:lnTo>
                    <a:lnTo>
                      <a:pt x="35" y="346"/>
                    </a:lnTo>
                    <a:lnTo>
                      <a:pt x="36" y="346"/>
                    </a:lnTo>
                    <a:lnTo>
                      <a:pt x="36" y="348"/>
                    </a:lnTo>
                    <a:lnTo>
                      <a:pt x="37" y="347"/>
                    </a:lnTo>
                    <a:lnTo>
                      <a:pt x="37" y="349"/>
                    </a:lnTo>
                    <a:lnTo>
                      <a:pt x="35" y="356"/>
                    </a:lnTo>
                    <a:lnTo>
                      <a:pt x="36" y="359"/>
                    </a:lnTo>
                    <a:lnTo>
                      <a:pt x="33" y="361"/>
                    </a:lnTo>
                    <a:lnTo>
                      <a:pt x="32" y="361"/>
                    </a:lnTo>
                    <a:lnTo>
                      <a:pt x="30" y="362"/>
                    </a:lnTo>
                    <a:lnTo>
                      <a:pt x="30" y="364"/>
                    </a:lnTo>
                    <a:lnTo>
                      <a:pt x="30" y="365"/>
                    </a:lnTo>
                    <a:lnTo>
                      <a:pt x="29" y="365"/>
                    </a:lnTo>
                    <a:lnTo>
                      <a:pt x="26" y="365"/>
                    </a:lnTo>
                    <a:lnTo>
                      <a:pt x="25" y="367"/>
                    </a:lnTo>
                    <a:lnTo>
                      <a:pt x="25" y="369"/>
                    </a:lnTo>
                    <a:lnTo>
                      <a:pt x="23" y="369"/>
                    </a:lnTo>
                    <a:lnTo>
                      <a:pt x="23" y="374"/>
                    </a:lnTo>
                    <a:lnTo>
                      <a:pt x="22" y="375"/>
                    </a:lnTo>
                    <a:lnTo>
                      <a:pt x="22" y="377"/>
                    </a:lnTo>
                    <a:lnTo>
                      <a:pt x="24" y="381"/>
                    </a:lnTo>
                    <a:lnTo>
                      <a:pt x="26" y="384"/>
                    </a:lnTo>
                    <a:lnTo>
                      <a:pt x="26" y="385"/>
                    </a:lnTo>
                    <a:lnTo>
                      <a:pt x="25" y="384"/>
                    </a:lnTo>
                    <a:lnTo>
                      <a:pt x="25" y="382"/>
                    </a:lnTo>
                    <a:lnTo>
                      <a:pt x="24" y="382"/>
                    </a:lnTo>
                    <a:lnTo>
                      <a:pt x="24" y="383"/>
                    </a:lnTo>
                    <a:lnTo>
                      <a:pt x="23" y="384"/>
                    </a:lnTo>
                    <a:lnTo>
                      <a:pt x="22" y="388"/>
                    </a:lnTo>
                    <a:lnTo>
                      <a:pt x="20" y="389"/>
                    </a:lnTo>
                    <a:lnTo>
                      <a:pt x="21" y="391"/>
                    </a:lnTo>
                    <a:lnTo>
                      <a:pt x="21" y="392"/>
                    </a:lnTo>
                    <a:lnTo>
                      <a:pt x="19" y="393"/>
                    </a:lnTo>
                    <a:lnTo>
                      <a:pt x="20" y="395"/>
                    </a:lnTo>
                    <a:lnTo>
                      <a:pt x="21" y="396"/>
                    </a:lnTo>
                    <a:lnTo>
                      <a:pt x="18" y="397"/>
                    </a:lnTo>
                    <a:lnTo>
                      <a:pt x="18" y="398"/>
                    </a:lnTo>
                    <a:lnTo>
                      <a:pt x="17" y="399"/>
                    </a:lnTo>
                    <a:lnTo>
                      <a:pt x="16" y="398"/>
                    </a:lnTo>
                    <a:lnTo>
                      <a:pt x="15" y="401"/>
                    </a:lnTo>
                    <a:lnTo>
                      <a:pt x="17" y="401"/>
                    </a:lnTo>
                    <a:lnTo>
                      <a:pt x="17" y="404"/>
                    </a:lnTo>
                    <a:lnTo>
                      <a:pt x="19" y="405"/>
                    </a:lnTo>
                    <a:lnTo>
                      <a:pt x="18" y="406"/>
                    </a:lnTo>
                    <a:lnTo>
                      <a:pt x="17" y="406"/>
                    </a:lnTo>
                    <a:lnTo>
                      <a:pt x="13" y="407"/>
                    </a:lnTo>
                    <a:lnTo>
                      <a:pt x="13" y="406"/>
                    </a:lnTo>
                    <a:lnTo>
                      <a:pt x="12" y="405"/>
                    </a:lnTo>
                    <a:lnTo>
                      <a:pt x="11" y="403"/>
                    </a:lnTo>
                    <a:lnTo>
                      <a:pt x="9" y="404"/>
                    </a:lnTo>
                    <a:lnTo>
                      <a:pt x="9" y="402"/>
                    </a:lnTo>
                    <a:lnTo>
                      <a:pt x="8" y="404"/>
                    </a:lnTo>
                    <a:lnTo>
                      <a:pt x="8" y="403"/>
                    </a:lnTo>
                    <a:lnTo>
                      <a:pt x="5" y="401"/>
                    </a:lnTo>
                    <a:lnTo>
                      <a:pt x="3" y="399"/>
                    </a:lnTo>
                    <a:lnTo>
                      <a:pt x="5" y="401"/>
                    </a:lnTo>
                    <a:lnTo>
                      <a:pt x="3" y="401"/>
                    </a:lnTo>
                    <a:lnTo>
                      <a:pt x="4" y="403"/>
                    </a:lnTo>
                    <a:lnTo>
                      <a:pt x="3" y="404"/>
                    </a:lnTo>
                    <a:lnTo>
                      <a:pt x="3" y="405"/>
                    </a:lnTo>
                    <a:lnTo>
                      <a:pt x="3" y="407"/>
                    </a:lnTo>
                    <a:lnTo>
                      <a:pt x="3" y="410"/>
                    </a:lnTo>
                    <a:lnTo>
                      <a:pt x="5" y="410"/>
                    </a:lnTo>
                    <a:lnTo>
                      <a:pt x="5" y="411"/>
                    </a:lnTo>
                    <a:lnTo>
                      <a:pt x="5" y="412"/>
                    </a:lnTo>
                    <a:lnTo>
                      <a:pt x="3" y="413"/>
                    </a:lnTo>
                    <a:lnTo>
                      <a:pt x="2" y="416"/>
                    </a:lnTo>
                    <a:lnTo>
                      <a:pt x="1" y="417"/>
                    </a:lnTo>
                    <a:lnTo>
                      <a:pt x="0" y="420"/>
                    </a:lnTo>
                    <a:lnTo>
                      <a:pt x="2" y="420"/>
                    </a:lnTo>
                    <a:lnTo>
                      <a:pt x="5" y="420"/>
                    </a:lnTo>
                    <a:lnTo>
                      <a:pt x="6" y="420"/>
                    </a:lnTo>
                    <a:lnTo>
                      <a:pt x="8" y="421"/>
                    </a:lnTo>
                    <a:lnTo>
                      <a:pt x="9" y="420"/>
                    </a:lnTo>
                    <a:lnTo>
                      <a:pt x="11" y="422"/>
                    </a:lnTo>
                    <a:lnTo>
                      <a:pt x="12" y="423"/>
                    </a:lnTo>
                    <a:lnTo>
                      <a:pt x="15" y="426"/>
                    </a:lnTo>
                    <a:lnTo>
                      <a:pt x="18" y="426"/>
                    </a:lnTo>
                    <a:lnTo>
                      <a:pt x="20" y="425"/>
                    </a:lnTo>
                    <a:lnTo>
                      <a:pt x="19" y="426"/>
                    </a:lnTo>
                    <a:lnTo>
                      <a:pt x="19" y="427"/>
                    </a:lnTo>
                    <a:lnTo>
                      <a:pt x="20" y="426"/>
                    </a:lnTo>
                    <a:lnTo>
                      <a:pt x="21" y="426"/>
                    </a:lnTo>
                    <a:lnTo>
                      <a:pt x="23" y="427"/>
                    </a:lnTo>
                    <a:lnTo>
                      <a:pt x="24" y="427"/>
                    </a:lnTo>
                    <a:lnTo>
                      <a:pt x="25" y="427"/>
                    </a:lnTo>
                    <a:lnTo>
                      <a:pt x="25" y="428"/>
                    </a:lnTo>
                    <a:lnTo>
                      <a:pt x="22" y="428"/>
                    </a:lnTo>
                    <a:lnTo>
                      <a:pt x="20" y="427"/>
                    </a:lnTo>
                    <a:lnTo>
                      <a:pt x="18" y="427"/>
                    </a:lnTo>
                    <a:lnTo>
                      <a:pt x="17" y="430"/>
                    </a:lnTo>
                    <a:lnTo>
                      <a:pt x="17" y="431"/>
                    </a:lnTo>
                    <a:lnTo>
                      <a:pt x="17" y="435"/>
                    </a:lnTo>
                    <a:lnTo>
                      <a:pt x="15" y="436"/>
                    </a:lnTo>
                    <a:lnTo>
                      <a:pt x="14" y="435"/>
                    </a:lnTo>
                    <a:lnTo>
                      <a:pt x="11" y="437"/>
                    </a:lnTo>
                    <a:lnTo>
                      <a:pt x="12" y="439"/>
                    </a:lnTo>
                    <a:lnTo>
                      <a:pt x="10" y="443"/>
                    </a:lnTo>
                    <a:lnTo>
                      <a:pt x="11" y="445"/>
                    </a:lnTo>
                    <a:lnTo>
                      <a:pt x="11" y="448"/>
                    </a:lnTo>
                    <a:lnTo>
                      <a:pt x="12" y="449"/>
                    </a:lnTo>
                    <a:lnTo>
                      <a:pt x="12" y="451"/>
                    </a:lnTo>
                    <a:lnTo>
                      <a:pt x="13" y="454"/>
                    </a:lnTo>
                    <a:lnTo>
                      <a:pt x="12" y="454"/>
                    </a:lnTo>
                    <a:lnTo>
                      <a:pt x="13" y="455"/>
                    </a:lnTo>
                    <a:lnTo>
                      <a:pt x="12" y="462"/>
                    </a:lnTo>
                    <a:lnTo>
                      <a:pt x="14" y="463"/>
                    </a:lnTo>
                    <a:lnTo>
                      <a:pt x="15" y="464"/>
                    </a:lnTo>
                    <a:lnTo>
                      <a:pt x="17" y="464"/>
                    </a:lnTo>
                    <a:lnTo>
                      <a:pt x="17" y="465"/>
                    </a:lnTo>
                    <a:lnTo>
                      <a:pt x="17" y="468"/>
                    </a:lnTo>
                    <a:lnTo>
                      <a:pt x="18" y="470"/>
                    </a:lnTo>
                    <a:lnTo>
                      <a:pt x="17" y="471"/>
                    </a:lnTo>
                    <a:lnTo>
                      <a:pt x="19" y="471"/>
                    </a:lnTo>
                    <a:lnTo>
                      <a:pt x="19" y="473"/>
                    </a:lnTo>
                    <a:lnTo>
                      <a:pt x="19" y="474"/>
                    </a:lnTo>
                    <a:lnTo>
                      <a:pt x="18" y="474"/>
                    </a:lnTo>
                    <a:lnTo>
                      <a:pt x="17" y="474"/>
                    </a:lnTo>
                    <a:lnTo>
                      <a:pt x="15" y="474"/>
                    </a:lnTo>
                    <a:lnTo>
                      <a:pt x="15" y="475"/>
                    </a:lnTo>
                    <a:lnTo>
                      <a:pt x="12" y="474"/>
                    </a:lnTo>
                    <a:lnTo>
                      <a:pt x="11" y="477"/>
                    </a:lnTo>
                    <a:lnTo>
                      <a:pt x="11" y="478"/>
                    </a:lnTo>
                    <a:lnTo>
                      <a:pt x="9" y="480"/>
                    </a:lnTo>
                    <a:lnTo>
                      <a:pt x="9" y="483"/>
                    </a:lnTo>
                    <a:lnTo>
                      <a:pt x="11" y="484"/>
                    </a:lnTo>
                    <a:lnTo>
                      <a:pt x="11" y="482"/>
                    </a:lnTo>
                    <a:lnTo>
                      <a:pt x="13" y="483"/>
                    </a:lnTo>
                    <a:lnTo>
                      <a:pt x="12" y="486"/>
                    </a:lnTo>
                    <a:lnTo>
                      <a:pt x="18" y="490"/>
                    </a:lnTo>
                    <a:lnTo>
                      <a:pt x="21" y="494"/>
                    </a:lnTo>
                    <a:lnTo>
                      <a:pt x="25" y="496"/>
                    </a:lnTo>
                    <a:lnTo>
                      <a:pt x="26" y="499"/>
                    </a:lnTo>
                    <a:lnTo>
                      <a:pt x="27" y="498"/>
                    </a:lnTo>
                    <a:lnTo>
                      <a:pt x="27" y="497"/>
                    </a:lnTo>
                    <a:lnTo>
                      <a:pt x="30" y="493"/>
                    </a:lnTo>
                    <a:lnTo>
                      <a:pt x="32" y="491"/>
                    </a:lnTo>
                    <a:lnTo>
                      <a:pt x="34" y="491"/>
                    </a:lnTo>
                    <a:lnTo>
                      <a:pt x="36" y="490"/>
                    </a:lnTo>
                    <a:lnTo>
                      <a:pt x="37" y="491"/>
                    </a:lnTo>
                    <a:lnTo>
                      <a:pt x="36" y="489"/>
                    </a:lnTo>
                    <a:lnTo>
                      <a:pt x="36" y="486"/>
                    </a:lnTo>
                    <a:lnTo>
                      <a:pt x="36" y="484"/>
                    </a:lnTo>
                    <a:lnTo>
                      <a:pt x="37" y="484"/>
                    </a:lnTo>
                    <a:lnTo>
                      <a:pt x="39" y="478"/>
                    </a:lnTo>
                    <a:lnTo>
                      <a:pt x="40" y="481"/>
                    </a:lnTo>
                    <a:lnTo>
                      <a:pt x="41" y="480"/>
                    </a:lnTo>
                    <a:lnTo>
                      <a:pt x="44" y="478"/>
                    </a:lnTo>
                    <a:lnTo>
                      <a:pt x="41" y="475"/>
                    </a:lnTo>
                    <a:lnTo>
                      <a:pt x="42" y="473"/>
                    </a:lnTo>
                    <a:lnTo>
                      <a:pt x="41" y="472"/>
                    </a:lnTo>
                    <a:lnTo>
                      <a:pt x="38" y="471"/>
                    </a:lnTo>
                    <a:lnTo>
                      <a:pt x="38" y="469"/>
                    </a:lnTo>
                    <a:lnTo>
                      <a:pt x="38" y="468"/>
                    </a:lnTo>
                    <a:lnTo>
                      <a:pt x="40" y="467"/>
                    </a:lnTo>
                    <a:lnTo>
                      <a:pt x="41" y="466"/>
                    </a:lnTo>
                    <a:lnTo>
                      <a:pt x="39" y="465"/>
                    </a:lnTo>
                    <a:lnTo>
                      <a:pt x="39" y="463"/>
                    </a:lnTo>
                    <a:lnTo>
                      <a:pt x="38" y="463"/>
                    </a:lnTo>
                    <a:lnTo>
                      <a:pt x="37" y="464"/>
                    </a:lnTo>
                    <a:lnTo>
                      <a:pt x="37" y="462"/>
                    </a:lnTo>
                    <a:lnTo>
                      <a:pt x="36" y="462"/>
                    </a:lnTo>
                    <a:lnTo>
                      <a:pt x="36" y="459"/>
                    </a:lnTo>
                    <a:lnTo>
                      <a:pt x="35" y="459"/>
                    </a:lnTo>
                    <a:lnTo>
                      <a:pt x="35" y="458"/>
                    </a:lnTo>
                    <a:lnTo>
                      <a:pt x="34" y="459"/>
                    </a:lnTo>
                    <a:lnTo>
                      <a:pt x="33" y="458"/>
                    </a:lnTo>
                    <a:lnTo>
                      <a:pt x="32" y="458"/>
                    </a:lnTo>
                    <a:lnTo>
                      <a:pt x="33" y="456"/>
                    </a:lnTo>
                    <a:lnTo>
                      <a:pt x="32" y="454"/>
                    </a:lnTo>
                    <a:lnTo>
                      <a:pt x="30" y="454"/>
                    </a:lnTo>
                    <a:lnTo>
                      <a:pt x="31" y="452"/>
                    </a:lnTo>
                    <a:lnTo>
                      <a:pt x="33" y="454"/>
                    </a:lnTo>
                    <a:lnTo>
                      <a:pt x="34" y="453"/>
                    </a:lnTo>
                    <a:lnTo>
                      <a:pt x="35" y="451"/>
                    </a:lnTo>
                    <a:lnTo>
                      <a:pt x="36" y="451"/>
                    </a:lnTo>
                    <a:lnTo>
                      <a:pt x="36" y="450"/>
                    </a:lnTo>
                    <a:lnTo>
                      <a:pt x="35" y="450"/>
                    </a:lnTo>
                    <a:lnTo>
                      <a:pt x="34" y="450"/>
                    </a:lnTo>
                    <a:lnTo>
                      <a:pt x="36" y="449"/>
                    </a:lnTo>
                    <a:lnTo>
                      <a:pt x="38" y="449"/>
                    </a:lnTo>
                    <a:lnTo>
                      <a:pt x="44" y="446"/>
                    </a:lnTo>
                    <a:lnTo>
                      <a:pt x="45" y="446"/>
                    </a:lnTo>
                    <a:lnTo>
                      <a:pt x="46" y="445"/>
                    </a:lnTo>
                    <a:lnTo>
                      <a:pt x="47" y="446"/>
                    </a:lnTo>
                    <a:lnTo>
                      <a:pt x="50" y="451"/>
                    </a:lnTo>
                    <a:lnTo>
                      <a:pt x="52" y="448"/>
                    </a:lnTo>
                    <a:lnTo>
                      <a:pt x="54" y="449"/>
                    </a:lnTo>
                    <a:lnTo>
                      <a:pt x="54" y="450"/>
                    </a:lnTo>
                    <a:lnTo>
                      <a:pt x="55" y="450"/>
                    </a:lnTo>
                    <a:lnTo>
                      <a:pt x="54" y="451"/>
                    </a:lnTo>
                    <a:lnTo>
                      <a:pt x="55" y="452"/>
                    </a:lnTo>
                    <a:lnTo>
                      <a:pt x="57" y="454"/>
                    </a:lnTo>
                    <a:lnTo>
                      <a:pt x="57" y="458"/>
                    </a:lnTo>
                    <a:lnTo>
                      <a:pt x="55" y="458"/>
                    </a:lnTo>
                    <a:lnTo>
                      <a:pt x="55" y="459"/>
                    </a:lnTo>
                    <a:lnTo>
                      <a:pt x="57" y="459"/>
                    </a:lnTo>
                    <a:lnTo>
                      <a:pt x="57" y="461"/>
                    </a:lnTo>
                    <a:lnTo>
                      <a:pt x="61" y="463"/>
                    </a:lnTo>
                    <a:lnTo>
                      <a:pt x="62" y="464"/>
                    </a:lnTo>
                    <a:lnTo>
                      <a:pt x="61" y="465"/>
                    </a:lnTo>
                    <a:lnTo>
                      <a:pt x="59" y="465"/>
                    </a:lnTo>
                    <a:lnTo>
                      <a:pt x="59" y="466"/>
                    </a:lnTo>
                    <a:lnTo>
                      <a:pt x="60" y="466"/>
                    </a:lnTo>
                    <a:lnTo>
                      <a:pt x="61" y="467"/>
                    </a:lnTo>
                    <a:lnTo>
                      <a:pt x="62" y="467"/>
                    </a:lnTo>
                    <a:lnTo>
                      <a:pt x="63" y="468"/>
                    </a:lnTo>
                    <a:lnTo>
                      <a:pt x="64" y="469"/>
                    </a:lnTo>
                    <a:lnTo>
                      <a:pt x="64" y="472"/>
                    </a:lnTo>
                    <a:lnTo>
                      <a:pt x="63" y="472"/>
                    </a:lnTo>
                    <a:lnTo>
                      <a:pt x="63" y="473"/>
                    </a:lnTo>
                    <a:lnTo>
                      <a:pt x="64" y="477"/>
                    </a:lnTo>
                    <a:lnTo>
                      <a:pt x="64" y="479"/>
                    </a:lnTo>
                    <a:lnTo>
                      <a:pt x="64" y="482"/>
                    </a:lnTo>
                    <a:lnTo>
                      <a:pt x="63" y="481"/>
                    </a:lnTo>
                    <a:lnTo>
                      <a:pt x="62" y="482"/>
                    </a:lnTo>
                    <a:lnTo>
                      <a:pt x="65" y="485"/>
                    </a:lnTo>
                    <a:lnTo>
                      <a:pt x="66" y="486"/>
                    </a:lnTo>
                    <a:lnTo>
                      <a:pt x="69" y="485"/>
                    </a:lnTo>
                    <a:lnTo>
                      <a:pt x="69" y="486"/>
                    </a:lnTo>
                    <a:lnTo>
                      <a:pt x="70" y="486"/>
                    </a:lnTo>
                    <a:lnTo>
                      <a:pt x="70" y="487"/>
                    </a:lnTo>
                    <a:lnTo>
                      <a:pt x="69" y="490"/>
                    </a:lnTo>
                    <a:lnTo>
                      <a:pt x="70" y="490"/>
                    </a:lnTo>
                    <a:lnTo>
                      <a:pt x="70" y="492"/>
                    </a:lnTo>
                    <a:lnTo>
                      <a:pt x="69" y="491"/>
                    </a:lnTo>
                    <a:lnTo>
                      <a:pt x="69" y="494"/>
                    </a:lnTo>
                    <a:lnTo>
                      <a:pt x="72" y="494"/>
                    </a:lnTo>
                    <a:lnTo>
                      <a:pt x="71" y="496"/>
                    </a:lnTo>
                    <a:lnTo>
                      <a:pt x="72" y="496"/>
                    </a:lnTo>
                    <a:lnTo>
                      <a:pt x="72" y="498"/>
                    </a:lnTo>
                    <a:lnTo>
                      <a:pt x="74" y="498"/>
                    </a:lnTo>
                    <a:lnTo>
                      <a:pt x="73" y="500"/>
                    </a:lnTo>
                    <a:lnTo>
                      <a:pt x="73" y="501"/>
                    </a:lnTo>
                    <a:lnTo>
                      <a:pt x="74" y="501"/>
                    </a:lnTo>
                    <a:lnTo>
                      <a:pt x="75" y="501"/>
                    </a:lnTo>
                    <a:lnTo>
                      <a:pt x="77" y="501"/>
                    </a:lnTo>
                    <a:lnTo>
                      <a:pt x="78" y="500"/>
                    </a:lnTo>
                    <a:lnTo>
                      <a:pt x="77" y="500"/>
                    </a:lnTo>
                    <a:lnTo>
                      <a:pt x="77" y="499"/>
                    </a:lnTo>
                    <a:lnTo>
                      <a:pt x="77" y="497"/>
                    </a:lnTo>
                    <a:lnTo>
                      <a:pt x="76" y="496"/>
                    </a:lnTo>
                    <a:lnTo>
                      <a:pt x="78" y="496"/>
                    </a:lnTo>
                    <a:lnTo>
                      <a:pt x="78" y="495"/>
                    </a:lnTo>
                    <a:lnTo>
                      <a:pt x="79" y="494"/>
                    </a:lnTo>
                    <a:lnTo>
                      <a:pt x="78" y="491"/>
                    </a:lnTo>
                    <a:lnTo>
                      <a:pt x="79" y="491"/>
                    </a:lnTo>
                    <a:lnTo>
                      <a:pt x="80" y="494"/>
                    </a:lnTo>
                    <a:lnTo>
                      <a:pt x="80" y="496"/>
                    </a:lnTo>
                    <a:lnTo>
                      <a:pt x="82" y="498"/>
                    </a:lnTo>
                    <a:lnTo>
                      <a:pt x="82" y="501"/>
                    </a:lnTo>
                    <a:lnTo>
                      <a:pt x="80" y="503"/>
                    </a:lnTo>
                    <a:lnTo>
                      <a:pt x="79" y="504"/>
                    </a:lnTo>
                    <a:lnTo>
                      <a:pt x="80" y="506"/>
                    </a:lnTo>
                    <a:lnTo>
                      <a:pt x="78" y="507"/>
                    </a:lnTo>
                    <a:lnTo>
                      <a:pt x="76" y="510"/>
                    </a:lnTo>
                    <a:lnTo>
                      <a:pt x="77" y="512"/>
                    </a:lnTo>
                    <a:lnTo>
                      <a:pt x="77" y="513"/>
                    </a:lnTo>
                    <a:lnTo>
                      <a:pt x="77" y="514"/>
                    </a:lnTo>
                    <a:lnTo>
                      <a:pt x="75" y="515"/>
                    </a:lnTo>
                    <a:lnTo>
                      <a:pt x="76" y="518"/>
                    </a:lnTo>
                    <a:lnTo>
                      <a:pt x="77" y="517"/>
                    </a:lnTo>
                    <a:lnTo>
                      <a:pt x="80" y="519"/>
                    </a:lnTo>
                    <a:lnTo>
                      <a:pt x="80" y="520"/>
                    </a:lnTo>
                    <a:lnTo>
                      <a:pt x="80" y="521"/>
                    </a:lnTo>
                    <a:lnTo>
                      <a:pt x="83" y="522"/>
                    </a:lnTo>
                    <a:lnTo>
                      <a:pt x="83" y="523"/>
                    </a:lnTo>
                    <a:lnTo>
                      <a:pt x="85" y="523"/>
                    </a:lnTo>
                    <a:lnTo>
                      <a:pt x="88" y="525"/>
                    </a:lnTo>
                    <a:lnTo>
                      <a:pt x="90" y="525"/>
                    </a:lnTo>
                    <a:lnTo>
                      <a:pt x="93" y="527"/>
                    </a:lnTo>
                    <a:lnTo>
                      <a:pt x="94" y="527"/>
                    </a:lnTo>
                    <a:lnTo>
                      <a:pt x="94" y="528"/>
                    </a:lnTo>
                    <a:lnTo>
                      <a:pt x="95" y="530"/>
                    </a:lnTo>
                    <a:lnTo>
                      <a:pt x="97" y="534"/>
                    </a:lnTo>
                    <a:lnTo>
                      <a:pt x="100" y="533"/>
                    </a:lnTo>
                    <a:lnTo>
                      <a:pt x="100" y="536"/>
                    </a:lnTo>
                    <a:lnTo>
                      <a:pt x="99" y="537"/>
                    </a:lnTo>
                    <a:lnTo>
                      <a:pt x="99" y="538"/>
                    </a:lnTo>
                    <a:lnTo>
                      <a:pt x="98" y="538"/>
                    </a:lnTo>
                    <a:lnTo>
                      <a:pt x="99" y="541"/>
                    </a:lnTo>
                    <a:lnTo>
                      <a:pt x="100" y="544"/>
                    </a:lnTo>
                    <a:lnTo>
                      <a:pt x="100" y="547"/>
                    </a:lnTo>
                    <a:lnTo>
                      <a:pt x="101" y="549"/>
                    </a:lnTo>
                    <a:lnTo>
                      <a:pt x="101" y="548"/>
                    </a:lnTo>
                    <a:lnTo>
                      <a:pt x="102" y="549"/>
                    </a:lnTo>
                    <a:lnTo>
                      <a:pt x="102" y="551"/>
                    </a:lnTo>
                    <a:lnTo>
                      <a:pt x="102" y="555"/>
                    </a:lnTo>
                    <a:lnTo>
                      <a:pt x="103" y="555"/>
                    </a:lnTo>
                    <a:lnTo>
                      <a:pt x="102" y="557"/>
                    </a:lnTo>
                    <a:lnTo>
                      <a:pt x="104" y="556"/>
                    </a:lnTo>
                    <a:lnTo>
                      <a:pt x="104" y="557"/>
                    </a:lnTo>
                    <a:lnTo>
                      <a:pt x="104" y="558"/>
                    </a:lnTo>
                    <a:lnTo>
                      <a:pt x="103" y="558"/>
                    </a:lnTo>
                    <a:lnTo>
                      <a:pt x="104" y="559"/>
                    </a:lnTo>
                    <a:lnTo>
                      <a:pt x="105" y="560"/>
                    </a:lnTo>
                    <a:lnTo>
                      <a:pt x="106" y="561"/>
                    </a:lnTo>
                    <a:lnTo>
                      <a:pt x="107" y="562"/>
                    </a:lnTo>
                    <a:lnTo>
                      <a:pt x="107" y="561"/>
                    </a:lnTo>
                    <a:lnTo>
                      <a:pt x="108" y="561"/>
                    </a:lnTo>
                    <a:lnTo>
                      <a:pt x="108" y="562"/>
                    </a:lnTo>
                    <a:lnTo>
                      <a:pt x="109" y="560"/>
                    </a:lnTo>
                    <a:lnTo>
                      <a:pt x="110" y="557"/>
                    </a:lnTo>
                    <a:lnTo>
                      <a:pt x="109" y="557"/>
                    </a:lnTo>
                    <a:lnTo>
                      <a:pt x="109" y="554"/>
                    </a:lnTo>
                    <a:lnTo>
                      <a:pt x="111" y="553"/>
                    </a:lnTo>
                    <a:lnTo>
                      <a:pt x="113" y="553"/>
                    </a:lnTo>
                    <a:lnTo>
                      <a:pt x="115" y="552"/>
                    </a:lnTo>
                    <a:lnTo>
                      <a:pt x="113" y="550"/>
                    </a:lnTo>
                    <a:lnTo>
                      <a:pt x="114" y="549"/>
                    </a:lnTo>
                    <a:lnTo>
                      <a:pt x="115" y="549"/>
                    </a:lnTo>
                    <a:lnTo>
                      <a:pt x="116" y="552"/>
                    </a:lnTo>
                    <a:lnTo>
                      <a:pt x="118" y="554"/>
                    </a:lnTo>
                    <a:lnTo>
                      <a:pt x="119" y="553"/>
                    </a:lnTo>
                    <a:lnTo>
                      <a:pt x="119" y="551"/>
                    </a:lnTo>
                    <a:lnTo>
                      <a:pt x="121" y="551"/>
                    </a:lnTo>
                    <a:lnTo>
                      <a:pt x="123" y="551"/>
                    </a:lnTo>
                    <a:lnTo>
                      <a:pt x="124" y="550"/>
                    </a:lnTo>
                    <a:lnTo>
                      <a:pt x="127" y="552"/>
                    </a:lnTo>
                    <a:lnTo>
                      <a:pt x="128" y="551"/>
                    </a:lnTo>
                    <a:lnTo>
                      <a:pt x="130" y="551"/>
                    </a:lnTo>
                    <a:lnTo>
                      <a:pt x="131" y="548"/>
                    </a:lnTo>
                    <a:lnTo>
                      <a:pt x="131" y="551"/>
                    </a:lnTo>
                    <a:lnTo>
                      <a:pt x="132" y="550"/>
                    </a:lnTo>
                    <a:lnTo>
                      <a:pt x="135" y="553"/>
                    </a:lnTo>
                    <a:lnTo>
                      <a:pt x="135" y="552"/>
                    </a:lnTo>
                    <a:lnTo>
                      <a:pt x="137" y="552"/>
                    </a:lnTo>
                    <a:lnTo>
                      <a:pt x="140" y="551"/>
                    </a:lnTo>
                    <a:lnTo>
                      <a:pt x="141" y="550"/>
                    </a:lnTo>
                    <a:lnTo>
                      <a:pt x="140" y="549"/>
                    </a:lnTo>
                    <a:lnTo>
                      <a:pt x="141" y="548"/>
                    </a:lnTo>
                    <a:lnTo>
                      <a:pt x="143" y="547"/>
                    </a:lnTo>
                    <a:lnTo>
                      <a:pt x="143" y="545"/>
                    </a:lnTo>
                    <a:lnTo>
                      <a:pt x="145" y="545"/>
                    </a:lnTo>
                    <a:lnTo>
                      <a:pt x="144" y="544"/>
                    </a:lnTo>
                    <a:lnTo>
                      <a:pt x="145" y="544"/>
                    </a:lnTo>
                    <a:lnTo>
                      <a:pt x="146" y="543"/>
                    </a:lnTo>
                    <a:lnTo>
                      <a:pt x="147" y="543"/>
                    </a:lnTo>
                    <a:lnTo>
                      <a:pt x="149" y="536"/>
                    </a:lnTo>
                    <a:lnTo>
                      <a:pt x="149" y="537"/>
                    </a:lnTo>
                    <a:lnTo>
                      <a:pt x="151" y="537"/>
                    </a:lnTo>
                    <a:lnTo>
                      <a:pt x="151" y="535"/>
                    </a:lnTo>
                    <a:lnTo>
                      <a:pt x="153" y="536"/>
                    </a:lnTo>
                    <a:lnTo>
                      <a:pt x="156" y="533"/>
                    </a:lnTo>
                    <a:lnTo>
                      <a:pt x="157" y="533"/>
                    </a:lnTo>
                    <a:lnTo>
                      <a:pt x="160" y="533"/>
                    </a:lnTo>
                    <a:lnTo>
                      <a:pt x="159" y="530"/>
                    </a:lnTo>
                    <a:lnTo>
                      <a:pt x="160" y="530"/>
                    </a:lnTo>
                    <a:lnTo>
                      <a:pt x="159" y="526"/>
                    </a:lnTo>
                    <a:lnTo>
                      <a:pt x="159" y="525"/>
                    </a:lnTo>
                    <a:lnTo>
                      <a:pt x="157" y="524"/>
                    </a:lnTo>
                    <a:lnTo>
                      <a:pt x="157" y="522"/>
                    </a:lnTo>
                    <a:lnTo>
                      <a:pt x="156" y="520"/>
                    </a:lnTo>
                    <a:lnTo>
                      <a:pt x="156" y="517"/>
                    </a:lnTo>
                    <a:lnTo>
                      <a:pt x="156" y="514"/>
                    </a:lnTo>
                    <a:lnTo>
                      <a:pt x="156" y="513"/>
                    </a:lnTo>
                    <a:lnTo>
                      <a:pt x="156" y="510"/>
                    </a:lnTo>
                    <a:lnTo>
                      <a:pt x="158" y="510"/>
                    </a:lnTo>
                    <a:lnTo>
                      <a:pt x="159" y="508"/>
                    </a:lnTo>
                    <a:lnTo>
                      <a:pt x="160" y="507"/>
                    </a:lnTo>
                    <a:lnTo>
                      <a:pt x="161" y="506"/>
                    </a:lnTo>
                    <a:lnTo>
                      <a:pt x="160" y="506"/>
                    </a:lnTo>
                    <a:lnTo>
                      <a:pt x="162" y="505"/>
                    </a:lnTo>
                    <a:lnTo>
                      <a:pt x="162" y="502"/>
                    </a:lnTo>
                    <a:lnTo>
                      <a:pt x="165" y="502"/>
                    </a:lnTo>
                    <a:lnTo>
                      <a:pt x="165" y="501"/>
                    </a:lnTo>
                    <a:lnTo>
                      <a:pt x="167" y="501"/>
                    </a:lnTo>
                    <a:lnTo>
                      <a:pt x="167" y="500"/>
                    </a:lnTo>
                    <a:lnTo>
                      <a:pt x="169" y="504"/>
                    </a:lnTo>
                    <a:lnTo>
                      <a:pt x="170" y="504"/>
                    </a:lnTo>
                    <a:lnTo>
                      <a:pt x="168" y="507"/>
                    </a:lnTo>
                    <a:lnTo>
                      <a:pt x="167" y="511"/>
                    </a:lnTo>
                    <a:lnTo>
                      <a:pt x="167" y="514"/>
                    </a:lnTo>
                    <a:lnTo>
                      <a:pt x="167" y="515"/>
                    </a:lnTo>
                    <a:lnTo>
                      <a:pt x="170" y="515"/>
                    </a:lnTo>
                    <a:lnTo>
                      <a:pt x="171" y="516"/>
                    </a:lnTo>
                    <a:lnTo>
                      <a:pt x="171" y="512"/>
                    </a:lnTo>
                    <a:lnTo>
                      <a:pt x="175" y="514"/>
                    </a:lnTo>
                    <a:lnTo>
                      <a:pt x="176" y="514"/>
                    </a:lnTo>
                    <a:lnTo>
                      <a:pt x="178" y="516"/>
                    </a:lnTo>
                    <a:lnTo>
                      <a:pt x="177" y="518"/>
                    </a:lnTo>
                    <a:lnTo>
                      <a:pt x="181" y="518"/>
                    </a:lnTo>
                    <a:lnTo>
                      <a:pt x="181" y="520"/>
                    </a:lnTo>
                    <a:lnTo>
                      <a:pt x="182" y="519"/>
                    </a:lnTo>
                    <a:lnTo>
                      <a:pt x="181" y="517"/>
                    </a:lnTo>
                    <a:lnTo>
                      <a:pt x="183" y="518"/>
                    </a:lnTo>
                    <a:lnTo>
                      <a:pt x="183" y="517"/>
                    </a:lnTo>
                    <a:lnTo>
                      <a:pt x="184" y="518"/>
                    </a:lnTo>
                    <a:lnTo>
                      <a:pt x="187" y="518"/>
                    </a:lnTo>
                    <a:lnTo>
                      <a:pt x="186" y="519"/>
                    </a:lnTo>
                    <a:lnTo>
                      <a:pt x="189" y="520"/>
                    </a:lnTo>
                    <a:lnTo>
                      <a:pt x="191" y="523"/>
                    </a:lnTo>
                    <a:lnTo>
                      <a:pt x="192" y="525"/>
                    </a:lnTo>
                    <a:lnTo>
                      <a:pt x="192" y="530"/>
                    </a:lnTo>
                    <a:lnTo>
                      <a:pt x="200" y="524"/>
                    </a:lnTo>
                    <a:lnTo>
                      <a:pt x="202" y="520"/>
                    </a:lnTo>
                    <a:lnTo>
                      <a:pt x="203" y="520"/>
                    </a:lnTo>
                    <a:lnTo>
                      <a:pt x="204" y="520"/>
                    </a:lnTo>
                    <a:lnTo>
                      <a:pt x="205" y="519"/>
                    </a:lnTo>
                    <a:lnTo>
                      <a:pt x="206" y="514"/>
                    </a:lnTo>
                    <a:lnTo>
                      <a:pt x="205" y="513"/>
                    </a:lnTo>
                    <a:lnTo>
                      <a:pt x="204" y="513"/>
                    </a:lnTo>
                    <a:lnTo>
                      <a:pt x="206" y="511"/>
                    </a:lnTo>
                    <a:lnTo>
                      <a:pt x="203" y="509"/>
                    </a:lnTo>
                    <a:lnTo>
                      <a:pt x="206" y="510"/>
                    </a:lnTo>
                    <a:lnTo>
                      <a:pt x="208" y="509"/>
                    </a:lnTo>
                    <a:lnTo>
                      <a:pt x="208" y="511"/>
                    </a:lnTo>
                    <a:lnTo>
                      <a:pt x="208" y="512"/>
                    </a:lnTo>
                    <a:lnTo>
                      <a:pt x="209" y="513"/>
                    </a:lnTo>
                    <a:lnTo>
                      <a:pt x="211" y="510"/>
                    </a:lnTo>
                    <a:lnTo>
                      <a:pt x="212" y="510"/>
                    </a:lnTo>
                    <a:lnTo>
                      <a:pt x="214" y="508"/>
                    </a:lnTo>
                    <a:lnTo>
                      <a:pt x="215" y="510"/>
                    </a:lnTo>
                    <a:lnTo>
                      <a:pt x="221" y="508"/>
                    </a:lnTo>
                    <a:lnTo>
                      <a:pt x="221" y="509"/>
                    </a:lnTo>
                    <a:lnTo>
                      <a:pt x="223" y="509"/>
                    </a:lnTo>
                    <a:lnTo>
                      <a:pt x="224" y="508"/>
                    </a:lnTo>
                    <a:lnTo>
                      <a:pt x="225" y="509"/>
                    </a:lnTo>
                    <a:lnTo>
                      <a:pt x="227" y="511"/>
                    </a:lnTo>
                    <a:lnTo>
                      <a:pt x="227" y="513"/>
                    </a:lnTo>
                    <a:lnTo>
                      <a:pt x="227" y="514"/>
                    </a:lnTo>
                    <a:lnTo>
                      <a:pt x="229" y="513"/>
                    </a:lnTo>
                    <a:lnTo>
                      <a:pt x="229" y="514"/>
                    </a:lnTo>
                    <a:lnTo>
                      <a:pt x="230" y="514"/>
                    </a:lnTo>
                    <a:lnTo>
                      <a:pt x="232" y="514"/>
                    </a:lnTo>
                    <a:lnTo>
                      <a:pt x="232" y="513"/>
                    </a:lnTo>
                    <a:lnTo>
                      <a:pt x="232" y="514"/>
                    </a:lnTo>
                    <a:lnTo>
                      <a:pt x="233" y="514"/>
                    </a:lnTo>
                    <a:lnTo>
                      <a:pt x="235" y="514"/>
                    </a:lnTo>
                    <a:lnTo>
                      <a:pt x="238" y="513"/>
                    </a:lnTo>
                    <a:lnTo>
                      <a:pt x="238" y="510"/>
                    </a:lnTo>
                    <a:lnTo>
                      <a:pt x="240" y="510"/>
                    </a:lnTo>
                    <a:lnTo>
                      <a:pt x="244" y="507"/>
                    </a:lnTo>
                    <a:lnTo>
                      <a:pt x="242" y="504"/>
                    </a:lnTo>
                    <a:lnTo>
                      <a:pt x="244" y="504"/>
                    </a:lnTo>
                    <a:lnTo>
                      <a:pt x="241" y="502"/>
                    </a:lnTo>
                    <a:lnTo>
                      <a:pt x="240" y="500"/>
                    </a:lnTo>
                    <a:lnTo>
                      <a:pt x="240" y="497"/>
                    </a:lnTo>
                    <a:lnTo>
                      <a:pt x="237" y="494"/>
                    </a:lnTo>
                    <a:lnTo>
                      <a:pt x="238" y="493"/>
                    </a:lnTo>
                    <a:lnTo>
                      <a:pt x="237" y="491"/>
                    </a:lnTo>
                    <a:lnTo>
                      <a:pt x="238" y="490"/>
                    </a:lnTo>
                    <a:lnTo>
                      <a:pt x="239" y="492"/>
                    </a:lnTo>
                    <a:lnTo>
                      <a:pt x="240" y="491"/>
                    </a:lnTo>
                    <a:lnTo>
                      <a:pt x="241" y="491"/>
                    </a:lnTo>
                    <a:lnTo>
                      <a:pt x="245" y="490"/>
                    </a:lnTo>
                    <a:lnTo>
                      <a:pt x="247" y="496"/>
                    </a:lnTo>
                    <a:lnTo>
                      <a:pt x="249" y="496"/>
                    </a:lnTo>
                    <a:lnTo>
                      <a:pt x="250" y="495"/>
                    </a:lnTo>
                    <a:lnTo>
                      <a:pt x="250" y="491"/>
                    </a:lnTo>
                    <a:lnTo>
                      <a:pt x="250" y="489"/>
                    </a:lnTo>
                    <a:lnTo>
                      <a:pt x="252" y="488"/>
                    </a:lnTo>
                    <a:lnTo>
                      <a:pt x="252" y="486"/>
                    </a:lnTo>
                    <a:lnTo>
                      <a:pt x="253" y="486"/>
                    </a:lnTo>
                    <a:lnTo>
                      <a:pt x="255" y="487"/>
                    </a:lnTo>
                    <a:lnTo>
                      <a:pt x="257" y="486"/>
                    </a:lnTo>
                    <a:lnTo>
                      <a:pt x="258" y="489"/>
                    </a:lnTo>
                    <a:lnTo>
                      <a:pt x="260" y="491"/>
                    </a:lnTo>
                    <a:lnTo>
                      <a:pt x="261" y="493"/>
                    </a:lnTo>
                    <a:lnTo>
                      <a:pt x="262" y="493"/>
                    </a:lnTo>
                    <a:lnTo>
                      <a:pt x="261" y="495"/>
                    </a:lnTo>
                    <a:lnTo>
                      <a:pt x="261" y="496"/>
                    </a:lnTo>
                    <a:lnTo>
                      <a:pt x="263" y="497"/>
                    </a:lnTo>
                    <a:lnTo>
                      <a:pt x="263" y="498"/>
                    </a:lnTo>
                    <a:lnTo>
                      <a:pt x="265" y="498"/>
                    </a:lnTo>
                    <a:lnTo>
                      <a:pt x="267" y="501"/>
                    </a:lnTo>
                    <a:lnTo>
                      <a:pt x="268" y="501"/>
                    </a:lnTo>
                    <a:lnTo>
                      <a:pt x="269" y="500"/>
                    </a:lnTo>
                    <a:lnTo>
                      <a:pt x="274" y="499"/>
                    </a:lnTo>
                    <a:lnTo>
                      <a:pt x="276" y="499"/>
                    </a:lnTo>
                    <a:lnTo>
                      <a:pt x="276" y="500"/>
                    </a:lnTo>
                    <a:lnTo>
                      <a:pt x="277" y="500"/>
                    </a:lnTo>
                    <a:lnTo>
                      <a:pt x="279" y="500"/>
                    </a:lnTo>
                    <a:lnTo>
                      <a:pt x="279" y="499"/>
                    </a:lnTo>
                    <a:lnTo>
                      <a:pt x="279" y="497"/>
                    </a:lnTo>
                    <a:lnTo>
                      <a:pt x="279" y="496"/>
                    </a:lnTo>
                    <a:lnTo>
                      <a:pt x="281" y="493"/>
                    </a:lnTo>
                    <a:lnTo>
                      <a:pt x="280" y="491"/>
                    </a:lnTo>
                    <a:lnTo>
                      <a:pt x="280" y="490"/>
                    </a:lnTo>
                    <a:lnTo>
                      <a:pt x="283" y="489"/>
                    </a:lnTo>
                    <a:lnTo>
                      <a:pt x="284" y="487"/>
                    </a:lnTo>
                    <a:lnTo>
                      <a:pt x="285" y="487"/>
                    </a:lnTo>
                    <a:lnTo>
                      <a:pt x="285" y="486"/>
                    </a:lnTo>
                    <a:lnTo>
                      <a:pt x="286" y="485"/>
                    </a:lnTo>
                    <a:lnTo>
                      <a:pt x="286" y="482"/>
                    </a:lnTo>
                    <a:lnTo>
                      <a:pt x="284" y="478"/>
                    </a:lnTo>
                    <a:lnTo>
                      <a:pt x="284" y="477"/>
                    </a:lnTo>
                    <a:lnTo>
                      <a:pt x="285" y="478"/>
                    </a:lnTo>
                    <a:lnTo>
                      <a:pt x="286" y="477"/>
                    </a:lnTo>
                    <a:lnTo>
                      <a:pt x="290" y="476"/>
                    </a:lnTo>
                    <a:lnTo>
                      <a:pt x="291" y="474"/>
                    </a:lnTo>
                    <a:lnTo>
                      <a:pt x="291" y="473"/>
                    </a:lnTo>
                    <a:lnTo>
                      <a:pt x="292" y="471"/>
                    </a:lnTo>
                    <a:lnTo>
                      <a:pt x="293" y="472"/>
                    </a:lnTo>
                    <a:lnTo>
                      <a:pt x="299" y="471"/>
                    </a:lnTo>
                    <a:lnTo>
                      <a:pt x="299" y="468"/>
                    </a:lnTo>
                    <a:lnTo>
                      <a:pt x="299" y="467"/>
                    </a:lnTo>
                    <a:lnTo>
                      <a:pt x="300" y="465"/>
                    </a:lnTo>
                    <a:lnTo>
                      <a:pt x="300" y="463"/>
                    </a:lnTo>
                    <a:lnTo>
                      <a:pt x="299" y="462"/>
                    </a:lnTo>
                    <a:lnTo>
                      <a:pt x="301" y="462"/>
                    </a:lnTo>
                    <a:lnTo>
                      <a:pt x="302" y="463"/>
                    </a:lnTo>
                    <a:lnTo>
                      <a:pt x="302" y="465"/>
                    </a:lnTo>
                    <a:lnTo>
                      <a:pt x="306" y="465"/>
                    </a:lnTo>
                    <a:lnTo>
                      <a:pt x="306" y="467"/>
                    </a:lnTo>
                    <a:lnTo>
                      <a:pt x="307" y="467"/>
                    </a:lnTo>
                    <a:lnTo>
                      <a:pt x="308" y="468"/>
                    </a:lnTo>
                    <a:lnTo>
                      <a:pt x="310" y="467"/>
                    </a:lnTo>
                    <a:lnTo>
                      <a:pt x="312" y="470"/>
                    </a:lnTo>
                    <a:lnTo>
                      <a:pt x="315" y="469"/>
                    </a:lnTo>
                    <a:lnTo>
                      <a:pt x="315" y="468"/>
                    </a:lnTo>
                    <a:lnTo>
                      <a:pt x="315" y="467"/>
                    </a:lnTo>
                    <a:lnTo>
                      <a:pt x="319" y="463"/>
                    </a:lnTo>
                    <a:lnTo>
                      <a:pt x="321" y="457"/>
                    </a:lnTo>
                    <a:lnTo>
                      <a:pt x="321" y="456"/>
                    </a:lnTo>
                    <a:lnTo>
                      <a:pt x="319" y="45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9" name="Freeform 133">
                <a:extLst>
                  <a:ext uri="{FF2B5EF4-FFF2-40B4-BE49-F238E27FC236}">
                    <a16:creationId xmlns:a16="http://schemas.microsoft.com/office/drawing/2014/main" id="{1EA32409-E617-9204-A82B-06A87A6684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7" y="3058"/>
                <a:ext cx="321" cy="562"/>
              </a:xfrm>
              <a:custGeom>
                <a:avLst/>
                <a:gdLst>
                  <a:gd name="T0" fmla="*/ 307 w 321"/>
                  <a:gd name="T1" fmla="*/ 452 h 562"/>
                  <a:gd name="T2" fmla="*/ 304 w 321"/>
                  <a:gd name="T3" fmla="*/ 431 h 562"/>
                  <a:gd name="T4" fmla="*/ 286 w 321"/>
                  <a:gd name="T5" fmla="*/ 405 h 562"/>
                  <a:gd name="T6" fmla="*/ 263 w 321"/>
                  <a:gd name="T7" fmla="*/ 372 h 562"/>
                  <a:gd name="T8" fmla="*/ 259 w 321"/>
                  <a:gd name="T9" fmla="*/ 355 h 562"/>
                  <a:gd name="T10" fmla="*/ 224 w 321"/>
                  <a:gd name="T11" fmla="*/ 345 h 562"/>
                  <a:gd name="T12" fmla="*/ 194 w 321"/>
                  <a:gd name="T13" fmla="*/ 336 h 562"/>
                  <a:gd name="T14" fmla="*/ 170 w 321"/>
                  <a:gd name="T15" fmla="*/ 316 h 562"/>
                  <a:gd name="T16" fmla="*/ 149 w 321"/>
                  <a:gd name="T17" fmla="*/ 302 h 562"/>
                  <a:gd name="T18" fmla="*/ 145 w 321"/>
                  <a:gd name="T19" fmla="*/ 286 h 562"/>
                  <a:gd name="T20" fmla="*/ 125 w 321"/>
                  <a:gd name="T21" fmla="*/ 275 h 562"/>
                  <a:gd name="T22" fmla="*/ 134 w 321"/>
                  <a:gd name="T23" fmla="*/ 254 h 562"/>
                  <a:gd name="T24" fmla="*/ 137 w 321"/>
                  <a:gd name="T25" fmla="*/ 221 h 562"/>
                  <a:gd name="T26" fmla="*/ 162 w 321"/>
                  <a:gd name="T27" fmla="*/ 157 h 562"/>
                  <a:gd name="T28" fmla="*/ 202 w 321"/>
                  <a:gd name="T29" fmla="*/ 121 h 562"/>
                  <a:gd name="T30" fmla="*/ 212 w 321"/>
                  <a:gd name="T31" fmla="*/ 98 h 562"/>
                  <a:gd name="T32" fmla="*/ 196 w 321"/>
                  <a:gd name="T33" fmla="*/ 73 h 562"/>
                  <a:gd name="T34" fmla="*/ 162 w 321"/>
                  <a:gd name="T35" fmla="*/ 40 h 562"/>
                  <a:gd name="T36" fmla="*/ 116 w 321"/>
                  <a:gd name="T37" fmla="*/ 17 h 562"/>
                  <a:gd name="T38" fmla="*/ 76 w 321"/>
                  <a:gd name="T39" fmla="*/ 7 h 562"/>
                  <a:gd name="T40" fmla="*/ 86 w 321"/>
                  <a:gd name="T41" fmla="*/ 48 h 562"/>
                  <a:gd name="T42" fmla="*/ 105 w 321"/>
                  <a:gd name="T43" fmla="*/ 92 h 562"/>
                  <a:gd name="T44" fmla="*/ 90 w 321"/>
                  <a:gd name="T45" fmla="*/ 106 h 562"/>
                  <a:gd name="T46" fmla="*/ 62 w 321"/>
                  <a:gd name="T47" fmla="*/ 123 h 562"/>
                  <a:gd name="T48" fmla="*/ 43 w 321"/>
                  <a:gd name="T49" fmla="*/ 157 h 562"/>
                  <a:gd name="T50" fmla="*/ 33 w 321"/>
                  <a:gd name="T51" fmla="*/ 196 h 562"/>
                  <a:gd name="T52" fmla="*/ 18 w 321"/>
                  <a:gd name="T53" fmla="*/ 221 h 562"/>
                  <a:gd name="T54" fmla="*/ 23 w 321"/>
                  <a:gd name="T55" fmla="*/ 265 h 562"/>
                  <a:gd name="T56" fmla="*/ 17 w 321"/>
                  <a:gd name="T57" fmla="*/ 293 h 562"/>
                  <a:gd name="T58" fmla="*/ 25 w 321"/>
                  <a:gd name="T59" fmla="*/ 332 h 562"/>
                  <a:gd name="T60" fmla="*/ 37 w 321"/>
                  <a:gd name="T61" fmla="*/ 347 h 562"/>
                  <a:gd name="T62" fmla="*/ 24 w 321"/>
                  <a:gd name="T63" fmla="*/ 381 h 562"/>
                  <a:gd name="T64" fmla="*/ 18 w 321"/>
                  <a:gd name="T65" fmla="*/ 398 h 562"/>
                  <a:gd name="T66" fmla="*/ 5 w 321"/>
                  <a:gd name="T67" fmla="*/ 401 h 562"/>
                  <a:gd name="T68" fmla="*/ 2 w 321"/>
                  <a:gd name="T69" fmla="*/ 420 h 562"/>
                  <a:gd name="T70" fmla="*/ 25 w 321"/>
                  <a:gd name="T71" fmla="*/ 427 h 562"/>
                  <a:gd name="T72" fmla="*/ 12 w 321"/>
                  <a:gd name="T73" fmla="*/ 449 h 562"/>
                  <a:gd name="T74" fmla="*/ 19 w 321"/>
                  <a:gd name="T75" fmla="*/ 474 h 562"/>
                  <a:gd name="T76" fmla="*/ 26 w 321"/>
                  <a:gd name="T77" fmla="*/ 499 h 562"/>
                  <a:gd name="T78" fmla="*/ 41 w 321"/>
                  <a:gd name="T79" fmla="*/ 475 h 562"/>
                  <a:gd name="T80" fmla="*/ 35 w 321"/>
                  <a:gd name="T81" fmla="*/ 458 h 562"/>
                  <a:gd name="T82" fmla="*/ 44 w 321"/>
                  <a:gd name="T83" fmla="*/ 446 h 562"/>
                  <a:gd name="T84" fmla="*/ 61 w 321"/>
                  <a:gd name="T85" fmla="*/ 463 h 562"/>
                  <a:gd name="T86" fmla="*/ 62 w 321"/>
                  <a:gd name="T87" fmla="*/ 482 h 562"/>
                  <a:gd name="T88" fmla="*/ 73 w 321"/>
                  <a:gd name="T89" fmla="*/ 500 h 562"/>
                  <a:gd name="T90" fmla="*/ 79 w 321"/>
                  <a:gd name="T91" fmla="*/ 491 h 562"/>
                  <a:gd name="T92" fmla="*/ 80 w 321"/>
                  <a:gd name="T93" fmla="*/ 520 h 562"/>
                  <a:gd name="T94" fmla="*/ 99 w 321"/>
                  <a:gd name="T95" fmla="*/ 538 h 562"/>
                  <a:gd name="T96" fmla="*/ 105 w 321"/>
                  <a:gd name="T97" fmla="*/ 560 h 562"/>
                  <a:gd name="T98" fmla="*/ 118 w 321"/>
                  <a:gd name="T99" fmla="*/ 554 h 562"/>
                  <a:gd name="T100" fmla="*/ 140 w 321"/>
                  <a:gd name="T101" fmla="*/ 549 h 562"/>
                  <a:gd name="T102" fmla="*/ 160 w 321"/>
                  <a:gd name="T103" fmla="*/ 533 h 562"/>
                  <a:gd name="T104" fmla="*/ 160 w 321"/>
                  <a:gd name="T105" fmla="*/ 507 h 562"/>
                  <a:gd name="T106" fmla="*/ 171 w 321"/>
                  <a:gd name="T107" fmla="*/ 516 h 562"/>
                  <a:gd name="T108" fmla="*/ 192 w 321"/>
                  <a:gd name="T109" fmla="*/ 525 h 562"/>
                  <a:gd name="T110" fmla="*/ 208 w 321"/>
                  <a:gd name="T111" fmla="*/ 512 h 562"/>
                  <a:gd name="T112" fmla="*/ 230 w 321"/>
                  <a:gd name="T113" fmla="*/ 514 h 562"/>
                  <a:gd name="T114" fmla="*/ 238 w 321"/>
                  <a:gd name="T115" fmla="*/ 493 h 562"/>
                  <a:gd name="T116" fmla="*/ 255 w 321"/>
                  <a:gd name="T117" fmla="*/ 487 h 562"/>
                  <a:gd name="T118" fmla="*/ 277 w 321"/>
                  <a:gd name="T119" fmla="*/ 500 h 562"/>
                  <a:gd name="T120" fmla="*/ 284 w 321"/>
                  <a:gd name="T121" fmla="*/ 477 h 562"/>
                  <a:gd name="T122" fmla="*/ 302 w 321"/>
                  <a:gd name="T123" fmla="*/ 465 h 56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21"/>
                  <a:gd name="T187" fmla="*/ 0 h 562"/>
                  <a:gd name="T188" fmla="*/ 321 w 321"/>
                  <a:gd name="T189" fmla="*/ 562 h 562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21" h="562">
                    <a:moveTo>
                      <a:pt x="319" y="456"/>
                    </a:moveTo>
                    <a:lnTo>
                      <a:pt x="320" y="453"/>
                    </a:lnTo>
                    <a:lnTo>
                      <a:pt x="319" y="452"/>
                    </a:lnTo>
                    <a:lnTo>
                      <a:pt x="319" y="451"/>
                    </a:lnTo>
                    <a:lnTo>
                      <a:pt x="318" y="451"/>
                    </a:lnTo>
                    <a:lnTo>
                      <a:pt x="320" y="448"/>
                    </a:lnTo>
                    <a:lnTo>
                      <a:pt x="317" y="446"/>
                    </a:lnTo>
                    <a:lnTo>
                      <a:pt x="318" y="444"/>
                    </a:lnTo>
                    <a:lnTo>
                      <a:pt x="318" y="443"/>
                    </a:lnTo>
                    <a:lnTo>
                      <a:pt x="317" y="443"/>
                    </a:lnTo>
                    <a:lnTo>
                      <a:pt x="317" y="445"/>
                    </a:lnTo>
                    <a:lnTo>
                      <a:pt x="313" y="443"/>
                    </a:lnTo>
                    <a:lnTo>
                      <a:pt x="312" y="444"/>
                    </a:lnTo>
                    <a:lnTo>
                      <a:pt x="312" y="446"/>
                    </a:lnTo>
                    <a:lnTo>
                      <a:pt x="310" y="446"/>
                    </a:lnTo>
                    <a:lnTo>
                      <a:pt x="309" y="446"/>
                    </a:lnTo>
                    <a:lnTo>
                      <a:pt x="307" y="452"/>
                    </a:lnTo>
                    <a:lnTo>
                      <a:pt x="304" y="449"/>
                    </a:lnTo>
                    <a:lnTo>
                      <a:pt x="304" y="446"/>
                    </a:lnTo>
                    <a:lnTo>
                      <a:pt x="303" y="444"/>
                    </a:lnTo>
                    <a:lnTo>
                      <a:pt x="302" y="444"/>
                    </a:lnTo>
                    <a:lnTo>
                      <a:pt x="302" y="443"/>
                    </a:lnTo>
                    <a:lnTo>
                      <a:pt x="305" y="440"/>
                    </a:lnTo>
                    <a:lnTo>
                      <a:pt x="307" y="440"/>
                    </a:lnTo>
                    <a:lnTo>
                      <a:pt x="309" y="438"/>
                    </a:lnTo>
                    <a:lnTo>
                      <a:pt x="307" y="437"/>
                    </a:lnTo>
                    <a:lnTo>
                      <a:pt x="308" y="436"/>
                    </a:lnTo>
                    <a:lnTo>
                      <a:pt x="307" y="436"/>
                    </a:lnTo>
                    <a:lnTo>
                      <a:pt x="309" y="435"/>
                    </a:lnTo>
                    <a:lnTo>
                      <a:pt x="307" y="435"/>
                    </a:lnTo>
                    <a:lnTo>
                      <a:pt x="306" y="434"/>
                    </a:lnTo>
                    <a:lnTo>
                      <a:pt x="306" y="431"/>
                    </a:lnTo>
                    <a:lnTo>
                      <a:pt x="304" y="431"/>
                    </a:lnTo>
                    <a:lnTo>
                      <a:pt x="304" y="429"/>
                    </a:lnTo>
                    <a:lnTo>
                      <a:pt x="304" y="427"/>
                    </a:lnTo>
                    <a:lnTo>
                      <a:pt x="302" y="427"/>
                    </a:lnTo>
                    <a:lnTo>
                      <a:pt x="302" y="424"/>
                    </a:lnTo>
                    <a:lnTo>
                      <a:pt x="301" y="423"/>
                    </a:lnTo>
                    <a:lnTo>
                      <a:pt x="300" y="422"/>
                    </a:lnTo>
                    <a:lnTo>
                      <a:pt x="298" y="419"/>
                    </a:lnTo>
                    <a:lnTo>
                      <a:pt x="297" y="414"/>
                    </a:lnTo>
                    <a:lnTo>
                      <a:pt x="294" y="414"/>
                    </a:lnTo>
                    <a:lnTo>
                      <a:pt x="291" y="411"/>
                    </a:lnTo>
                    <a:lnTo>
                      <a:pt x="289" y="408"/>
                    </a:lnTo>
                    <a:lnTo>
                      <a:pt x="288" y="408"/>
                    </a:lnTo>
                    <a:lnTo>
                      <a:pt x="287" y="409"/>
                    </a:lnTo>
                    <a:lnTo>
                      <a:pt x="286" y="409"/>
                    </a:lnTo>
                    <a:lnTo>
                      <a:pt x="286" y="405"/>
                    </a:lnTo>
                    <a:lnTo>
                      <a:pt x="285" y="403"/>
                    </a:lnTo>
                    <a:lnTo>
                      <a:pt x="286" y="399"/>
                    </a:lnTo>
                    <a:lnTo>
                      <a:pt x="282" y="395"/>
                    </a:lnTo>
                    <a:lnTo>
                      <a:pt x="280" y="388"/>
                    </a:lnTo>
                    <a:lnTo>
                      <a:pt x="277" y="385"/>
                    </a:lnTo>
                    <a:lnTo>
                      <a:pt x="276" y="388"/>
                    </a:lnTo>
                    <a:lnTo>
                      <a:pt x="276" y="392"/>
                    </a:lnTo>
                    <a:lnTo>
                      <a:pt x="275" y="392"/>
                    </a:lnTo>
                    <a:lnTo>
                      <a:pt x="274" y="392"/>
                    </a:lnTo>
                    <a:lnTo>
                      <a:pt x="273" y="393"/>
                    </a:lnTo>
                    <a:lnTo>
                      <a:pt x="272" y="393"/>
                    </a:lnTo>
                    <a:lnTo>
                      <a:pt x="272" y="392"/>
                    </a:lnTo>
                    <a:lnTo>
                      <a:pt x="265" y="385"/>
                    </a:lnTo>
                    <a:lnTo>
                      <a:pt x="264" y="383"/>
                    </a:lnTo>
                    <a:lnTo>
                      <a:pt x="264" y="378"/>
                    </a:lnTo>
                    <a:lnTo>
                      <a:pt x="263" y="372"/>
                    </a:lnTo>
                    <a:lnTo>
                      <a:pt x="264" y="371"/>
                    </a:lnTo>
                    <a:lnTo>
                      <a:pt x="267" y="365"/>
                    </a:lnTo>
                    <a:lnTo>
                      <a:pt x="268" y="365"/>
                    </a:lnTo>
                    <a:lnTo>
                      <a:pt x="268" y="363"/>
                    </a:lnTo>
                    <a:lnTo>
                      <a:pt x="269" y="363"/>
                    </a:lnTo>
                    <a:lnTo>
                      <a:pt x="268" y="362"/>
                    </a:lnTo>
                    <a:lnTo>
                      <a:pt x="269" y="359"/>
                    </a:lnTo>
                    <a:lnTo>
                      <a:pt x="268" y="359"/>
                    </a:lnTo>
                    <a:lnTo>
                      <a:pt x="267" y="361"/>
                    </a:lnTo>
                    <a:lnTo>
                      <a:pt x="266" y="361"/>
                    </a:lnTo>
                    <a:lnTo>
                      <a:pt x="265" y="360"/>
                    </a:lnTo>
                    <a:lnTo>
                      <a:pt x="264" y="359"/>
                    </a:lnTo>
                    <a:lnTo>
                      <a:pt x="263" y="359"/>
                    </a:lnTo>
                    <a:lnTo>
                      <a:pt x="264" y="357"/>
                    </a:lnTo>
                    <a:lnTo>
                      <a:pt x="263" y="355"/>
                    </a:lnTo>
                    <a:lnTo>
                      <a:pt x="261" y="355"/>
                    </a:lnTo>
                    <a:lnTo>
                      <a:pt x="259" y="355"/>
                    </a:lnTo>
                    <a:lnTo>
                      <a:pt x="257" y="352"/>
                    </a:lnTo>
                    <a:lnTo>
                      <a:pt x="255" y="352"/>
                    </a:lnTo>
                    <a:lnTo>
                      <a:pt x="252" y="349"/>
                    </a:lnTo>
                    <a:lnTo>
                      <a:pt x="251" y="352"/>
                    </a:lnTo>
                    <a:lnTo>
                      <a:pt x="250" y="351"/>
                    </a:lnTo>
                    <a:lnTo>
                      <a:pt x="248" y="353"/>
                    </a:lnTo>
                    <a:lnTo>
                      <a:pt x="245" y="354"/>
                    </a:lnTo>
                    <a:lnTo>
                      <a:pt x="245" y="356"/>
                    </a:lnTo>
                    <a:lnTo>
                      <a:pt x="240" y="356"/>
                    </a:lnTo>
                    <a:lnTo>
                      <a:pt x="237" y="355"/>
                    </a:lnTo>
                    <a:lnTo>
                      <a:pt x="233" y="347"/>
                    </a:lnTo>
                    <a:lnTo>
                      <a:pt x="230" y="345"/>
                    </a:lnTo>
                    <a:lnTo>
                      <a:pt x="227" y="344"/>
                    </a:lnTo>
                    <a:lnTo>
                      <a:pt x="227" y="342"/>
                    </a:lnTo>
                    <a:lnTo>
                      <a:pt x="225" y="342"/>
                    </a:lnTo>
                    <a:lnTo>
                      <a:pt x="224" y="344"/>
                    </a:lnTo>
                    <a:lnTo>
                      <a:pt x="224" y="345"/>
                    </a:lnTo>
                    <a:lnTo>
                      <a:pt x="224" y="346"/>
                    </a:lnTo>
                    <a:lnTo>
                      <a:pt x="221" y="351"/>
                    </a:lnTo>
                    <a:lnTo>
                      <a:pt x="216" y="349"/>
                    </a:lnTo>
                    <a:lnTo>
                      <a:pt x="214" y="348"/>
                    </a:lnTo>
                    <a:lnTo>
                      <a:pt x="212" y="342"/>
                    </a:lnTo>
                    <a:lnTo>
                      <a:pt x="211" y="341"/>
                    </a:lnTo>
                    <a:lnTo>
                      <a:pt x="209" y="342"/>
                    </a:lnTo>
                    <a:lnTo>
                      <a:pt x="208" y="341"/>
                    </a:lnTo>
                    <a:lnTo>
                      <a:pt x="202" y="338"/>
                    </a:lnTo>
                    <a:lnTo>
                      <a:pt x="199" y="340"/>
                    </a:lnTo>
                    <a:lnTo>
                      <a:pt x="197" y="341"/>
                    </a:lnTo>
                    <a:lnTo>
                      <a:pt x="195" y="341"/>
                    </a:lnTo>
                    <a:lnTo>
                      <a:pt x="195" y="342"/>
                    </a:lnTo>
                    <a:lnTo>
                      <a:pt x="194" y="341"/>
                    </a:lnTo>
                    <a:lnTo>
                      <a:pt x="192" y="338"/>
                    </a:lnTo>
                    <a:lnTo>
                      <a:pt x="194" y="337"/>
                    </a:lnTo>
                    <a:lnTo>
                      <a:pt x="194" y="336"/>
                    </a:lnTo>
                    <a:lnTo>
                      <a:pt x="191" y="333"/>
                    </a:lnTo>
                    <a:lnTo>
                      <a:pt x="191" y="332"/>
                    </a:lnTo>
                    <a:lnTo>
                      <a:pt x="192" y="331"/>
                    </a:lnTo>
                    <a:lnTo>
                      <a:pt x="192" y="329"/>
                    </a:lnTo>
                    <a:lnTo>
                      <a:pt x="189" y="327"/>
                    </a:lnTo>
                    <a:lnTo>
                      <a:pt x="189" y="325"/>
                    </a:lnTo>
                    <a:lnTo>
                      <a:pt x="188" y="325"/>
                    </a:lnTo>
                    <a:lnTo>
                      <a:pt x="187" y="324"/>
                    </a:lnTo>
                    <a:lnTo>
                      <a:pt x="183" y="317"/>
                    </a:lnTo>
                    <a:lnTo>
                      <a:pt x="183" y="315"/>
                    </a:lnTo>
                    <a:lnTo>
                      <a:pt x="182" y="316"/>
                    </a:lnTo>
                    <a:lnTo>
                      <a:pt x="180" y="312"/>
                    </a:lnTo>
                    <a:lnTo>
                      <a:pt x="176" y="314"/>
                    </a:lnTo>
                    <a:lnTo>
                      <a:pt x="173" y="314"/>
                    </a:lnTo>
                    <a:lnTo>
                      <a:pt x="172" y="315"/>
                    </a:lnTo>
                    <a:lnTo>
                      <a:pt x="170" y="318"/>
                    </a:lnTo>
                    <a:lnTo>
                      <a:pt x="170" y="316"/>
                    </a:lnTo>
                    <a:lnTo>
                      <a:pt x="170" y="314"/>
                    </a:lnTo>
                    <a:lnTo>
                      <a:pt x="166" y="312"/>
                    </a:lnTo>
                    <a:lnTo>
                      <a:pt x="164" y="313"/>
                    </a:lnTo>
                    <a:lnTo>
                      <a:pt x="162" y="312"/>
                    </a:lnTo>
                    <a:lnTo>
                      <a:pt x="162" y="311"/>
                    </a:lnTo>
                    <a:lnTo>
                      <a:pt x="160" y="309"/>
                    </a:lnTo>
                    <a:lnTo>
                      <a:pt x="159" y="309"/>
                    </a:lnTo>
                    <a:lnTo>
                      <a:pt x="159" y="310"/>
                    </a:lnTo>
                    <a:lnTo>
                      <a:pt x="159" y="308"/>
                    </a:lnTo>
                    <a:lnTo>
                      <a:pt x="158" y="307"/>
                    </a:lnTo>
                    <a:lnTo>
                      <a:pt x="156" y="308"/>
                    </a:lnTo>
                    <a:lnTo>
                      <a:pt x="155" y="307"/>
                    </a:lnTo>
                    <a:lnTo>
                      <a:pt x="152" y="306"/>
                    </a:lnTo>
                    <a:lnTo>
                      <a:pt x="151" y="303"/>
                    </a:lnTo>
                    <a:lnTo>
                      <a:pt x="151" y="304"/>
                    </a:lnTo>
                    <a:lnTo>
                      <a:pt x="149" y="302"/>
                    </a:lnTo>
                    <a:lnTo>
                      <a:pt x="147" y="303"/>
                    </a:lnTo>
                    <a:lnTo>
                      <a:pt x="147" y="302"/>
                    </a:lnTo>
                    <a:lnTo>
                      <a:pt x="146" y="303"/>
                    </a:lnTo>
                    <a:lnTo>
                      <a:pt x="145" y="303"/>
                    </a:lnTo>
                    <a:lnTo>
                      <a:pt x="145" y="305"/>
                    </a:lnTo>
                    <a:lnTo>
                      <a:pt x="144" y="305"/>
                    </a:lnTo>
                    <a:lnTo>
                      <a:pt x="143" y="304"/>
                    </a:lnTo>
                    <a:lnTo>
                      <a:pt x="142" y="305"/>
                    </a:lnTo>
                    <a:lnTo>
                      <a:pt x="142" y="304"/>
                    </a:lnTo>
                    <a:lnTo>
                      <a:pt x="141" y="303"/>
                    </a:lnTo>
                    <a:lnTo>
                      <a:pt x="141" y="302"/>
                    </a:lnTo>
                    <a:lnTo>
                      <a:pt x="140" y="302"/>
                    </a:lnTo>
                    <a:lnTo>
                      <a:pt x="141" y="299"/>
                    </a:lnTo>
                    <a:lnTo>
                      <a:pt x="144" y="293"/>
                    </a:lnTo>
                    <a:lnTo>
                      <a:pt x="146" y="286"/>
                    </a:lnTo>
                    <a:lnTo>
                      <a:pt x="145" y="286"/>
                    </a:lnTo>
                    <a:lnTo>
                      <a:pt x="143" y="290"/>
                    </a:lnTo>
                    <a:lnTo>
                      <a:pt x="141" y="288"/>
                    </a:lnTo>
                    <a:lnTo>
                      <a:pt x="140" y="289"/>
                    </a:lnTo>
                    <a:lnTo>
                      <a:pt x="140" y="291"/>
                    </a:lnTo>
                    <a:lnTo>
                      <a:pt x="139" y="290"/>
                    </a:lnTo>
                    <a:lnTo>
                      <a:pt x="137" y="290"/>
                    </a:lnTo>
                    <a:lnTo>
                      <a:pt x="134" y="293"/>
                    </a:lnTo>
                    <a:lnTo>
                      <a:pt x="134" y="291"/>
                    </a:lnTo>
                    <a:lnTo>
                      <a:pt x="132" y="290"/>
                    </a:lnTo>
                    <a:lnTo>
                      <a:pt x="131" y="285"/>
                    </a:lnTo>
                    <a:lnTo>
                      <a:pt x="131" y="283"/>
                    </a:lnTo>
                    <a:lnTo>
                      <a:pt x="131" y="282"/>
                    </a:lnTo>
                    <a:lnTo>
                      <a:pt x="129" y="281"/>
                    </a:lnTo>
                    <a:lnTo>
                      <a:pt x="128" y="283"/>
                    </a:lnTo>
                    <a:lnTo>
                      <a:pt x="129" y="280"/>
                    </a:lnTo>
                    <a:lnTo>
                      <a:pt x="128" y="277"/>
                    </a:lnTo>
                    <a:lnTo>
                      <a:pt x="125" y="275"/>
                    </a:lnTo>
                    <a:lnTo>
                      <a:pt x="126" y="273"/>
                    </a:lnTo>
                    <a:lnTo>
                      <a:pt x="127" y="273"/>
                    </a:lnTo>
                    <a:lnTo>
                      <a:pt x="126" y="270"/>
                    </a:lnTo>
                    <a:lnTo>
                      <a:pt x="128" y="270"/>
                    </a:lnTo>
                    <a:lnTo>
                      <a:pt x="129" y="269"/>
                    </a:lnTo>
                    <a:lnTo>
                      <a:pt x="131" y="267"/>
                    </a:lnTo>
                    <a:lnTo>
                      <a:pt x="132" y="264"/>
                    </a:lnTo>
                    <a:lnTo>
                      <a:pt x="132" y="265"/>
                    </a:lnTo>
                    <a:lnTo>
                      <a:pt x="133" y="264"/>
                    </a:lnTo>
                    <a:lnTo>
                      <a:pt x="133" y="263"/>
                    </a:lnTo>
                    <a:lnTo>
                      <a:pt x="134" y="261"/>
                    </a:lnTo>
                    <a:lnTo>
                      <a:pt x="131" y="260"/>
                    </a:lnTo>
                    <a:lnTo>
                      <a:pt x="132" y="258"/>
                    </a:lnTo>
                    <a:lnTo>
                      <a:pt x="131" y="255"/>
                    </a:lnTo>
                    <a:lnTo>
                      <a:pt x="134" y="255"/>
                    </a:lnTo>
                    <a:lnTo>
                      <a:pt x="134" y="254"/>
                    </a:lnTo>
                    <a:lnTo>
                      <a:pt x="136" y="253"/>
                    </a:lnTo>
                    <a:lnTo>
                      <a:pt x="137" y="251"/>
                    </a:lnTo>
                    <a:lnTo>
                      <a:pt x="139" y="251"/>
                    </a:lnTo>
                    <a:lnTo>
                      <a:pt x="140" y="247"/>
                    </a:lnTo>
                    <a:lnTo>
                      <a:pt x="141" y="248"/>
                    </a:lnTo>
                    <a:lnTo>
                      <a:pt x="142" y="246"/>
                    </a:lnTo>
                    <a:lnTo>
                      <a:pt x="142" y="245"/>
                    </a:lnTo>
                    <a:lnTo>
                      <a:pt x="143" y="244"/>
                    </a:lnTo>
                    <a:lnTo>
                      <a:pt x="142" y="241"/>
                    </a:lnTo>
                    <a:lnTo>
                      <a:pt x="142" y="240"/>
                    </a:lnTo>
                    <a:lnTo>
                      <a:pt x="141" y="237"/>
                    </a:lnTo>
                    <a:lnTo>
                      <a:pt x="136" y="231"/>
                    </a:lnTo>
                    <a:lnTo>
                      <a:pt x="133" y="229"/>
                    </a:lnTo>
                    <a:lnTo>
                      <a:pt x="132" y="226"/>
                    </a:lnTo>
                    <a:lnTo>
                      <a:pt x="133" y="226"/>
                    </a:lnTo>
                    <a:lnTo>
                      <a:pt x="137" y="224"/>
                    </a:lnTo>
                    <a:lnTo>
                      <a:pt x="137" y="221"/>
                    </a:lnTo>
                    <a:lnTo>
                      <a:pt x="137" y="219"/>
                    </a:lnTo>
                    <a:lnTo>
                      <a:pt x="137" y="213"/>
                    </a:lnTo>
                    <a:lnTo>
                      <a:pt x="140" y="210"/>
                    </a:lnTo>
                    <a:lnTo>
                      <a:pt x="143" y="204"/>
                    </a:lnTo>
                    <a:lnTo>
                      <a:pt x="146" y="204"/>
                    </a:lnTo>
                    <a:lnTo>
                      <a:pt x="149" y="201"/>
                    </a:lnTo>
                    <a:lnTo>
                      <a:pt x="150" y="199"/>
                    </a:lnTo>
                    <a:lnTo>
                      <a:pt x="153" y="199"/>
                    </a:lnTo>
                    <a:lnTo>
                      <a:pt x="157" y="191"/>
                    </a:lnTo>
                    <a:lnTo>
                      <a:pt x="157" y="188"/>
                    </a:lnTo>
                    <a:lnTo>
                      <a:pt x="156" y="186"/>
                    </a:lnTo>
                    <a:lnTo>
                      <a:pt x="157" y="182"/>
                    </a:lnTo>
                    <a:lnTo>
                      <a:pt x="155" y="172"/>
                    </a:lnTo>
                    <a:lnTo>
                      <a:pt x="162" y="167"/>
                    </a:lnTo>
                    <a:lnTo>
                      <a:pt x="164" y="165"/>
                    </a:lnTo>
                    <a:lnTo>
                      <a:pt x="162" y="162"/>
                    </a:lnTo>
                    <a:lnTo>
                      <a:pt x="162" y="157"/>
                    </a:lnTo>
                    <a:lnTo>
                      <a:pt x="162" y="154"/>
                    </a:lnTo>
                    <a:lnTo>
                      <a:pt x="166" y="152"/>
                    </a:lnTo>
                    <a:lnTo>
                      <a:pt x="167" y="152"/>
                    </a:lnTo>
                    <a:lnTo>
                      <a:pt x="171" y="147"/>
                    </a:lnTo>
                    <a:lnTo>
                      <a:pt x="173" y="145"/>
                    </a:lnTo>
                    <a:lnTo>
                      <a:pt x="175" y="141"/>
                    </a:lnTo>
                    <a:lnTo>
                      <a:pt x="177" y="143"/>
                    </a:lnTo>
                    <a:lnTo>
                      <a:pt x="178" y="142"/>
                    </a:lnTo>
                    <a:lnTo>
                      <a:pt x="180" y="141"/>
                    </a:lnTo>
                    <a:lnTo>
                      <a:pt x="180" y="138"/>
                    </a:lnTo>
                    <a:lnTo>
                      <a:pt x="182" y="136"/>
                    </a:lnTo>
                    <a:lnTo>
                      <a:pt x="184" y="135"/>
                    </a:lnTo>
                    <a:lnTo>
                      <a:pt x="189" y="138"/>
                    </a:lnTo>
                    <a:lnTo>
                      <a:pt x="192" y="136"/>
                    </a:lnTo>
                    <a:lnTo>
                      <a:pt x="196" y="129"/>
                    </a:lnTo>
                    <a:lnTo>
                      <a:pt x="200" y="125"/>
                    </a:lnTo>
                    <a:lnTo>
                      <a:pt x="202" y="121"/>
                    </a:lnTo>
                    <a:lnTo>
                      <a:pt x="203" y="121"/>
                    </a:lnTo>
                    <a:lnTo>
                      <a:pt x="205" y="126"/>
                    </a:lnTo>
                    <a:lnTo>
                      <a:pt x="207" y="128"/>
                    </a:lnTo>
                    <a:lnTo>
                      <a:pt x="208" y="127"/>
                    </a:lnTo>
                    <a:lnTo>
                      <a:pt x="211" y="129"/>
                    </a:lnTo>
                    <a:lnTo>
                      <a:pt x="214" y="127"/>
                    </a:lnTo>
                    <a:lnTo>
                      <a:pt x="214" y="125"/>
                    </a:lnTo>
                    <a:lnTo>
                      <a:pt x="215" y="124"/>
                    </a:lnTo>
                    <a:lnTo>
                      <a:pt x="215" y="121"/>
                    </a:lnTo>
                    <a:lnTo>
                      <a:pt x="216" y="119"/>
                    </a:lnTo>
                    <a:lnTo>
                      <a:pt x="215" y="115"/>
                    </a:lnTo>
                    <a:lnTo>
                      <a:pt x="216" y="112"/>
                    </a:lnTo>
                    <a:lnTo>
                      <a:pt x="217" y="107"/>
                    </a:lnTo>
                    <a:lnTo>
                      <a:pt x="217" y="105"/>
                    </a:lnTo>
                    <a:lnTo>
                      <a:pt x="218" y="104"/>
                    </a:lnTo>
                    <a:lnTo>
                      <a:pt x="216" y="96"/>
                    </a:lnTo>
                    <a:lnTo>
                      <a:pt x="212" y="98"/>
                    </a:lnTo>
                    <a:lnTo>
                      <a:pt x="211" y="95"/>
                    </a:lnTo>
                    <a:lnTo>
                      <a:pt x="208" y="92"/>
                    </a:lnTo>
                    <a:lnTo>
                      <a:pt x="202" y="92"/>
                    </a:lnTo>
                    <a:lnTo>
                      <a:pt x="201" y="93"/>
                    </a:lnTo>
                    <a:lnTo>
                      <a:pt x="200" y="101"/>
                    </a:lnTo>
                    <a:lnTo>
                      <a:pt x="197" y="101"/>
                    </a:lnTo>
                    <a:lnTo>
                      <a:pt x="196" y="99"/>
                    </a:lnTo>
                    <a:lnTo>
                      <a:pt x="195" y="93"/>
                    </a:lnTo>
                    <a:lnTo>
                      <a:pt x="194" y="91"/>
                    </a:lnTo>
                    <a:lnTo>
                      <a:pt x="197" y="90"/>
                    </a:lnTo>
                    <a:lnTo>
                      <a:pt x="196" y="88"/>
                    </a:lnTo>
                    <a:lnTo>
                      <a:pt x="197" y="85"/>
                    </a:lnTo>
                    <a:lnTo>
                      <a:pt x="200" y="80"/>
                    </a:lnTo>
                    <a:lnTo>
                      <a:pt x="198" y="78"/>
                    </a:lnTo>
                    <a:lnTo>
                      <a:pt x="196" y="78"/>
                    </a:lnTo>
                    <a:lnTo>
                      <a:pt x="195" y="77"/>
                    </a:lnTo>
                    <a:lnTo>
                      <a:pt x="196" y="73"/>
                    </a:lnTo>
                    <a:lnTo>
                      <a:pt x="198" y="74"/>
                    </a:lnTo>
                    <a:lnTo>
                      <a:pt x="200" y="72"/>
                    </a:lnTo>
                    <a:lnTo>
                      <a:pt x="199" y="70"/>
                    </a:lnTo>
                    <a:lnTo>
                      <a:pt x="192" y="70"/>
                    </a:lnTo>
                    <a:lnTo>
                      <a:pt x="189" y="73"/>
                    </a:lnTo>
                    <a:lnTo>
                      <a:pt x="186" y="73"/>
                    </a:lnTo>
                    <a:lnTo>
                      <a:pt x="182" y="74"/>
                    </a:lnTo>
                    <a:lnTo>
                      <a:pt x="178" y="71"/>
                    </a:lnTo>
                    <a:lnTo>
                      <a:pt x="176" y="68"/>
                    </a:lnTo>
                    <a:lnTo>
                      <a:pt x="172" y="66"/>
                    </a:lnTo>
                    <a:lnTo>
                      <a:pt x="171" y="63"/>
                    </a:lnTo>
                    <a:lnTo>
                      <a:pt x="168" y="61"/>
                    </a:lnTo>
                    <a:lnTo>
                      <a:pt x="166" y="58"/>
                    </a:lnTo>
                    <a:lnTo>
                      <a:pt x="164" y="54"/>
                    </a:lnTo>
                    <a:lnTo>
                      <a:pt x="160" y="49"/>
                    </a:lnTo>
                    <a:lnTo>
                      <a:pt x="160" y="44"/>
                    </a:lnTo>
                    <a:lnTo>
                      <a:pt x="162" y="40"/>
                    </a:lnTo>
                    <a:lnTo>
                      <a:pt x="160" y="38"/>
                    </a:lnTo>
                    <a:lnTo>
                      <a:pt x="157" y="37"/>
                    </a:lnTo>
                    <a:lnTo>
                      <a:pt x="156" y="38"/>
                    </a:lnTo>
                    <a:lnTo>
                      <a:pt x="151" y="39"/>
                    </a:lnTo>
                    <a:lnTo>
                      <a:pt x="149" y="40"/>
                    </a:lnTo>
                    <a:lnTo>
                      <a:pt x="145" y="40"/>
                    </a:lnTo>
                    <a:lnTo>
                      <a:pt x="141" y="32"/>
                    </a:lnTo>
                    <a:lnTo>
                      <a:pt x="138" y="32"/>
                    </a:lnTo>
                    <a:lnTo>
                      <a:pt x="138" y="27"/>
                    </a:lnTo>
                    <a:lnTo>
                      <a:pt x="136" y="27"/>
                    </a:lnTo>
                    <a:lnTo>
                      <a:pt x="131" y="27"/>
                    </a:lnTo>
                    <a:lnTo>
                      <a:pt x="131" y="28"/>
                    </a:lnTo>
                    <a:lnTo>
                      <a:pt x="123" y="24"/>
                    </a:lnTo>
                    <a:lnTo>
                      <a:pt x="119" y="20"/>
                    </a:lnTo>
                    <a:lnTo>
                      <a:pt x="117" y="20"/>
                    </a:lnTo>
                    <a:lnTo>
                      <a:pt x="116" y="17"/>
                    </a:lnTo>
                    <a:lnTo>
                      <a:pt x="115" y="17"/>
                    </a:lnTo>
                    <a:lnTo>
                      <a:pt x="113" y="18"/>
                    </a:lnTo>
                    <a:lnTo>
                      <a:pt x="111" y="15"/>
                    </a:lnTo>
                    <a:lnTo>
                      <a:pt x="109" y="14"/>
                    </a:lnTo>
                    <a:lnTo>
                      <a:pt x="105" y="17"/>
                    </a:lnTo>
                    <a:lnTo>
                      <a:pt x="102" y="17"/>
                    </a:lnTo>
                    <a:lnTo>
                      <a:pt x="101" y="15"/>
                    </a:lnTo>
                    <a:lnTo>
                      <a:pt x="96" y="10"/>
                    </a:lnTo>
                    <a:lnTo>
                      <a:pt x="90" y="6"/>
                    </a:lnTo>
                    <a:lnTo>
                      <a:pt x="85" y="0"/>
                    </a:lnTo>
                    <a:lnTo>
                      <a:pt x="85" y="1"/>
                    </a:lnTo>
                    <a:lnTo>
                      <a:pt x="83" y="0"/>
                    </a:lnTo>
                    <a:lnTo>
                      <a:pt x="82" y="3"/>
                    </a:lnTo>
                    <a:lnTo>
                      <a:pt x="80" y="2"/>
                    </a:lnTo>
                    <a:lnTo>
                      <a:pt x="78" y="3"/>
                    </a:lnTo>
                    <a:lnTo>
                      <a:pt x="78" y="6"/>
                    </a:lnTo>
                    <a:lnTo>
                      <a:pt x="76" y="7"/>
                    </a:lnTo>
                    <a:lnTo>
                      <a:pt x="76" y="10"/>
                    </a:lnTo>
                    <a:lnTo>
                      <a:pt x="74" y="12"/>
                    </a:lnTo>
                    <a:lnTo>
                      <a:pt x="74" y="15"/>
                    </a:lnTo>
                    <a:lnTo>
                      <a:pt x="72" y="17"/>
                    </a:lnTo>
                    <a:lnTo>
                      <a:pt x="71" y="19"/>
                    </a:lnTo>
                    <a:lnTo>
                      <a:pt x="72" y="19"/>
                    </a:lnTo>
                    <a:lnTo>
                      <a:pt x="75" y="22"/>
                    </a:lnTo>
                    <a:lnTo>
                      <a:pt x="77" y="24"/>
                    </a:lnTo>
                    <a:lnTo>
                      <a:pt x="79" y="25"/>
                    </a:lnTo>
                    <a:lnTo>
                      <a:pt x="80" y="28"/>
                    </a:lnTo>
                    <a:lnTo>
                      <a:pt x="83" y="28"/>
                    </a:lnTo>
                    <a:lnTo>
                      <a:pt x="83" y="29"/>
                    </a:lnTo>
                    <a:lnTo>
                      <a:pt x="83" y="31"/>
                    </a:lnTo>
                    <a:lnTo>
                      <a:pt x="84" y="32"/>
                    </a:lnTo>
                    <a:lnTo>
                      <a:pt x="85" y="38"/>
                    </a:lnTo>
                    <a:lnTo>
                      <a:pt x="83" y="41"/>
                    </a:lnTo>
                    <a:lnTo>
                      <a:pt x="86" y="48"/>
                    </a:lnTo>
                    <a:lnTo>
                      <a:pt x="88" y="51"/>
                    </a:lnTo>
                    <a:lnTo>
                      <a:pt x="88" y="56"/>
                    </a:lnTo>
                    <a:lnTo>
                      <a:pt x="87" y="57"/>
                    </a:lnTo>
                    <a:lnTo>
                      <a:pt x="88" y="62"/>
                    </a:lnTo>
                    <a:lnTo>
                      <a:pt x="91" y="66"/>
                    </a:lnTo>
                    <a:lnTo>
                      <a:pt x="93" y="67"/>
                    </a:lnTo>
                    <a:lnTo>
                      <a:pt x="94" y="66"/>
                    </a:lnTo>
                    <a:lnTo>
                      <a:pt x="96" y="66"/>
                    </a:lnTo>
                    <a:lnTo>
                      <a:pt x="96" y="68"/>
                    </a:lnTo>
                    <a:lnTo>
                      <a:pt x="102" y="72"/>
                    </a:lnTo>
                    <a:lnTo>
                      <a:pt x="104" y="72"/>
                    </a:lnTo>
                    <a:lnTo>
                      <a:pt x="104" y="75"/>
                    </a:lnTo>
                    <a:lnTo>
                      <a:pt x="106" y="76"/>
                    </a:lnTo>
                    <a:lnTo>
                      <a:pt x="108" y="84"/>
                    </a:lnTo>
                    <a:lnTo>
                      <a:pt x="107" y="89"/>
                    </a:lnTo>
                    <a:lnTo>
                      <a:pt x="105" y="92"/>
                    </a:lnTo>
                    <a:lnTo>
                      <a:pt x="102" y="93"/>
                    </a:lnTo>
                    <a:lnTo>
                      <a:pt x="102" y="95"/>
                    </a:lnTo>
                    <a:lnTo>
                      <a:pt x="104" y="98"/>
                    </a:lnTo>
                    <a:lnTo>
                      <a:pt x="104" y="101"/>
                    </a:lnTo>
                    <a:lnTo>
                      <a:pt x="108" y="107"/>
                    </a:lnTo>
                    <a:lnTo>
                      <a:pt x="106" y="108"/>
                    </a:lnTo>
                    <a:lnTo>
                      <a:pt x="104" y="112"/>
                    </a:lnTo>
                    <a:lnTo>
                      <a:pt x="100" y="112"/>
                    </a:lnTo>
                    <a:lnTo>
                      <a:pt x="99" y="112"/>
                    </a:lnTo>
                    <a:lnTo>
                      <a:pt x="98" y="107"/>
                    </a:lnTo>
                    <a:lnTo>
                      <a:pt x="96" y="104"/>
                    </a:lnTo>
                    <a:lnTo>
                      <a:pt x="96" y="100"/>
                    </a:lnTo>
                    <a:lnTo>
                      <a:pt x="94" y="98"/>
                    </a:lnTo>
                    <a:lnTo>
                      <a:pt x="91" y="101"/>
                    </a:lnTo>
                    <a:lnTo>
                      <a:pt x="91" y="103"/>
                    </a:lnTo>
                    <a:lnTo>
                      <a:pt x="91" y="104"/>
                    </a:lnTo>
                    <a:lnTo>
                      <a:pt x="90" y="106"/>
                    </a:lnTo>
                    <a:lnTo>
                      <a:pt x="89" y="108"/>
                    </a:lnTo>
                    <a:lnTo>
                      <a:pt x="87" y="108"/>
                    </a:lnTo>
                    <a:lnTo>
                      <a:pt x="86" y="107"/>
                    </a:lnTo>
                    <a:lnTo>
                      <a:pt x="81" y="107"/>
                    </a:lnTo>
                    <a:lnTo>
                      <a:pt x="80" y="106"/>
                    </a:lnTo>
                    <a:lnTo>
                      <a:pt x="78" y="105"/>
                    </a:lnTo>
                    <a:lnTo>
                      <a:pt x="74" y="106"/>
                    </a:lnTo>
                    <a:lnTo>
                      <a:pt x="73" y="108"/>
                    </a:lnTo>
                    <a:lnTo>
                      <a:pt x="70" y="109"/>
                    </a:lnTo>
                    <a:lnTo>
                      <a:pt x="69" y="111"/>
                    </a:lnTo>
                    <a:lnTo>
                      <a:pt x="69" y="115"/>
                    </a:lnTo>
                    <a:lnTo>
                      <a:pt x="68" y="117"/>
                    </a:lnTo>
                    <a:lnTo>
                      <a:pt x="66" y="118"/>
                    </a:lnTo>
                    <a:lnTo>
                      <a:pt x="63" y="117"/>
                    </a:lnTo>
                    <a:lnTo>
                      <a:pt x="62" y="119"/>
                    </a:lnTo>
                    <a:lnTo>
                      <a:pt x="63" y="121"/>
                    </a:lnTo>
                    <a:lnTo>
                      <a:pt x="62" y="123"/>
                    </a:lnTo>
                    <a:lnTo>
                      <a:pt x="62" y="126"/>
                    </a:lnTo>
                    <a:lnTo>
                      <a:pt x="61" y="129"/>
                    </a:lnTo>
                    <a:lnTo>
                      <a:pt x="58" y="131"/>
                    </a:lnTo>
                    <a:lnTo>
                      <a:pt x="57" y="133"/>
                    </a:lnTo>
                    <a:lnTo>
                      <a:pt x="55" y="136"/>
                    </a:lnTo>
                    <a:lnTo>
                      <a:pt x="55" y="139"/>
                    </a:lnTo>
                    <a:lnTo>
                      <a:pt x="54" y="141"/>
                    </a:lnTo>
                    <a:lnTo>
                      <a:pt x="52" y="145"/>
                    </a:lnTo>
                    <a:lnTo>
                      <a:pt x="52" y="148"/>
                    </a:lnTo>
                    <a:lnTo>
                      <a:pt x="51" y="150"/>
                    </a:lnTo>
                    <a:lnTo>
                      <a:pt x="50" y="150"/>
                    </a:lnTo>
                    <a:lnTo>
                      <a:pt x="50" y="148"/>
                    </a:lnTo>
                    <a:lnTo>
                      <a:pt x="49" y="148"/>
                    </a:lnTo>
                    <a:lnTo>
                      <a:pt x="49" y="154"/>
                    </a:lnTo>
                    <a:lnTo>
                      <a:pt x="47" y="156"/>
                    </a:lnTo>
                    <a:lnTo>
                      <a:pt x="44" y="156"/>
                    </a:lnTo>
                    <a:lnTo>
                      <a:pt x="43" y="157"/>
                    </a:lnTo>
                    <a:lnTo>
                      <a:pt x="44" y="158"/>
                    </a:lnTo>
                    <a:lnTo>
                      <a:pt x="46" y="164"/>
                    </a:lnTo>
                    <a:lnTo>
                      <a:pt x="46" y="166"/>
                    </a:lnTo>
                    <a:lnTo>
                      <a:pt x="47" y="169"/>
                    </a:lnTo>
                    <a:lnTo>
                      <a:pt x="44" y="170"/>
                    </a:lnTo>
                    <a:lnTo>
                      <a:pt x="41" y="174"/>
                    </a:lnTo>
                    <a:lnTo>
                      <a:pt x="39" y="176"/>
                    </a:lnTo>
                    <a:lnTo>
                      <a:pt x="43" y="180"/>
                    </a:lnTo>
                    <a:lnTo>
                      <a:pt x="41" y="183"/>
                    </a:lnTo>
                    <a:lnTo>
                      <a:pt x="44" y="187"/>
                    </a:lnTo>
                    <a:lnTo>
                      <a:pt x="41" y="189"/>
                    </a:lnTo>
                    <a:lnTo>
                      <a:pt x="41" y="191"/>
                    </a:lnTo>
                    <a:lnTo>
                      <a:pt x="41" y="192"/>
                    </a:lnTo>
                    <a:lnTo>
                      <a:pt x="40" y="193"/>
                    </a:lnTo>
                    <a:lnTo>
                      <a:pt x="37" y="193"/>
                    </a:lnTo>
                    <a:lnTo>
                      <a:pt x="36" y="195"/>
                    </a:lnTo>
                    <a:lnTo>
                      <a:pt x="33" y="196"/>
                    </a:lnTo>
                    <a:lnTo>
                      <a:pt x="31" y="199"/>
                    </a:lnTo>
                    <a:lnTo>
                      <a:pt x="30" y="198"/>
                    </a:lnTo>
                    <a:lnTo>
                      <a:pt x="29" y="199"/>
                    </a:lnTo>
                    <a:lnTo>
                      <a:pt x="29" y="202"/>
                    </a:lnTo>
                    <a:lnTo>
                      <a:pt x="28" y="203"/>
                    </a:lnTo>
                    <a:lnTo>
                      <a:pt x="26" y="204"/>
                    </a:lnTo>
                    <a:lnTo>
                      <a:pt x="25" y="207"/>
                    </a:lnTo>
                    <a:lnTo>
                      <a:pt x="25" y="208"/>
                    </a:lnTo>
                    <a:lnTo>
                      <a:pt x="23" y="208"/>
                    </a:lnTo>
                    <a:lnTo>
                      <a:pt x="21" y="205"/>
                    </a:lnTo>
                    <a:lnTo>
                      <a:pt x="16" y="204"/>
                    </a:lnTo>
                    <a:lnTo>
                      <a:pt x="13" y="204"/>
                    </a:lnTo>
                    <a:lnTo>
                      <a:pt x="14" y="212"/>
                    </a:lnTo>
                    <a:lnTo>
                      <a:pt x="16" y="213"/>
                    </a:lnTo>
                    <a:lnTo>
                      <a:pt x="17" y="216"/>
                    </a:lnTo>
                    <a:lnTo>
                      <a:pt x="17" y="218"/>
                    </a:lnTo>
                    <a:lnTo>
                      <a:pt x="18" y="221"/>
                    </a:lnTo>
                    <a:lnTo>
                      <a:pt x="17" y="224"/>
                    </a:lnTo>
                    <a:lnTo>
                      <a:pt x="17" y="228"/>
                    </a:lnTo>
                    <a:lnTo>
                      <a:pt x="17" y="230"/>
                    </a:lnTo>
                    <a:lnTo>
                      <a:pt x="18" y="231"/>
                    </a:lnTo>
                    <a:lnTo>
                      <a:pt x="18" y="236"/>
                    </a:lnTo>
                    <a:lnTo>
                      <a:pt x="21" y="238"/>
                    </a:lnTo>
                    <a:lnTo>
                      <a:pt x="19" y="241"/>
                    </a:lnTo>
                    <a:lnTo>
                      <a:pt x="22" y="243"/>
                    </a:lnTo>
                    <a:lnTo>
                      <a:pt x="21" y="245"/>
                    </a:lnTo>
                    <a:lnTo>
                      <a:pt x="21" y="247"/>
                    </a:lnTo>
                    <a:lnTo>
                      <a:pt x="20" y="249"/>
                    </a:lnTo>
                    <a:lnTo>
                      <a:pt x="20" y="251"/>
                    </a:lnTo>
                    <a:lnTo>
                      <a:pt x="21" y="253"/>
                    </a:lnTo>
                    <a:lnTo>
                      <a:pt x="19" y="255"/>
                    </a:lnTo>
                    <a:lnTo>
                      <a:pt x="21" y="261"/>
                    </a:lnTo>
                    <a:lnTo>
                      <a:pt x="21" y="264"/>
                    </a:lnTo>
                    <a:lnTo>
                      <a:pt x="23" y="265"/>
                    </a:lnTo>
                    <a:lnTo>
                      <a:pt x="22" y="266"/>
                    </a:lnTo>
                    <a:lnTo>
                      <a:pt x="23" y="267"/>
                    </a:lnTo>
                    <a:lnTo>
                      <a:pt x="19" y="268"/>
                    </a:lnTo>
                    <a:lnTo>
                      <a:pt x="17" y="268"/>
                    </a:lnTo>
                    <a:lnTo>
                      <a:pt x="15" y="270"/>
                    </a:lnTo>
                    <a:lnTo>
                      <a:pt x="14" y="271"/>
                    </a:lnTo>
                    <a:lnTo>
                      <a:pt x="13" y="277"/>
                    </a:lnTo>
                    <a:lnTo>
                      <a:pt x="13" y="279"/>
                    </a:lnTo>
                    <a:lnTo>
                      <a:pt x="14" y="280"/>
                    </a:lnTo>
                    <a:lnTo>
                      <a:pt x="12" y="283"/>
                    </a:lnTo>
                    <a:lnTo>
                      <a:pt x="13" y="286"/>
                    </a:lnTo>
                    <a:lnTo>
                      <a:pt x="15" y="287"/>
                    </a:lnTo>
                    <a:lnTo>
                      <a:pt x="16" y="289"/>
                    </a:lnTo>
                    <a:lnTo>
                      <a:pt x="17" y="290"/>
                    </a:lnTo>
                    <a:lnTo>
                      <a:pt x="18" y="291"/>
                    </a:lnTo>
                    <a:lnTo>
                      <a:pt x="17" y="293"/>
                    </a:lnTo>
                    <a:lnTo>
                      <a:pt x="17" y="295"/>
                    </a:lnTo>
                    <a:lnTo>
                      <a:pt x="17" y="298"/>
                    </a:lnTo>
                    <a:lnTo>
                      <a:pt x="19" y="304"/>
                    </a:lnTo>
                    <a:lnTo>
                      <a:pt x="23" y="311"/>
                    </a:lnTo>
                    <a:lnTo>
                      <a:pt x="25" y="313"/>
                    </a:lnTo>
                    <a:lnTo>
                      <a:pt x="26" y="314"/>
                    </a:lnTo>
                    <a:lnTo>
                      <a:pt x="28" y="316"/>
                    </a:lnTo>
                    <a:lnTo>
                      <a:pt x="26" y="317"/>
                    </a:lnTo>
                    <a:lnTo>
                      <a:pt x="26" y="318"/>
                    </a:lnTo>
                    <a:lnTo>
                      <a:pt x="26" y="319"/>
                    </a:lnTo>
                    <a:lnTo>
                      <a:pt x="25" y="320"/>
                    </a:lnTo>
                    <a:lnTo>
                      <a:pt x="28" y="325"/>
                    </a:lnTo>
                    <a:lnTo>
                      <a:pt x="30" y="326"/>
                    </a:lnTo>
                    <a:lnTo>
                      <a:pt x="28" y="329"/>
                    </a:lnTo>
                    <a:lnTo>
                      <a:pt x="26" y="329"/>
                    </a:lnTo>
                    <a:lnTo>
                      <a:pt x="25" y="332"/>
                    </a:lnTo>
                    <a:lnTo>
                      <a:pt x="23" y="333"/>
                    </a:lnTo>
                    <a:lnTo>
                      <a:pt x="23" y="335"/>
                    </a:lnTo>
                    <a:lnTo>
                      <a:pt x="25" y="335"/>
                    </a:lnTo>
                    <a:lnTo>
                      <a:pt x="26" y="335"/>
                    </a:lnTo>
                    <a:lnTo>
                      <a:pt x="27" y="333"/>
                    </a:lnTo>
                    <a:lnTo>
                      <a:pt x="29" y="333"/>
                    </a:lnTo>
                    <a:lnTo>
                      <a:pt x="29" y="335"/>
                    </a:lnTo>
                    <a:lnTo>
                      <a:pt x="30" y="336"/>
                    </a:lnTo>
                    <a:lnTo>
                      <a:pt x="31" y="335"/>
                    </a:lnTo>
                    <a:lnTo>
                      <a:pt x="34" y="335"/>
                    </a:lnTo>
                    <a:lnTo>
                      <a:pt x="35" y="338"/>
                    </a:lnTo>
                    <a:lnTo>
                      <a:pt x="38" y="340"/>
                    </a:lnTo>
                    <a:lnTo>
                      <a:pt x="37" y="342"/>
                    </a:lnTo>
                    <a:lnTo>
                      <a:pt x="35" y="346"/>
                    </a:lnTo>
                    <a:lnTo>
                      <a:pt x="36" y="346"/>
                    </a:lnTo>
                    <a:lnTo>
                      <a:pt x="36" y="348"/>
                    </a:lnTo>
                    <a:lnTo>
                      <a:pt x="37" y="347"/>
                    </a:lnTo>
                    <a:lnTo>
                      <a:pt x="37" y="349"/>
                    </a:lnTo>
                    <a:lnTo>
                      <a:pt x="35" y="356"/>
                    </a:lnTo>
                    <a:lnTo>
                      <a:pt x="36" y="359"/>
                    </a:lnTo>
                    <a:lnTo>
                      <a:pt x="33" y="361"/>
                    </a:lnTo>
                    <a:lnTo>
                      <a:pt x="32" y="361"/>
                    </a:lnTo>
                    <a:lnTo>
                      <a:pt x="30" y="362"/>
                    </a:lnTo>
                    <a:lnTo>
                      <a:pt x="30" y="364"/>
                    </a:lnTo>
                    <a:lnTo>
                      <a:pt x="30" y="365"/>
                    </a:lnTo>
                    <a:lnTo>
                      <a:pt x="29" y="365"/>
                    </a:lnTo>
                    <a:lnTo>
                      <a:pt x="26" y="365"/>
                    </a:lnTo>
                    <a:lnTo>
                      <a:pt x="25" y="367"/>
                    </a:lnTo>
                    <a:lnTo>
                      <a:pt x="25" y="369"/>
                    </a:lnTo>
                    <a:lnTo>
                      <a:pt x="23" y="369"/>
                    </a:lnTo>
                    <a:lnTo>
                      <a:pt x="23" y="374"/>
                    </a:lnTo>
                    <a:lnTo>
                      <a:pt x="22" y="375"/>
                    </a:lnTo>
                    <a:lnTo>
                      <a:pt x="22" y="377"/>
                    </a:lnTo>
                    <a:lnTo>
                      <a:pt x="24" y="381"/>
                    </a:lnTo>
                    <a:lnTo>
                      <a:pt x="26" y="384"/>
                    </a:lnTo>
                    <a:lnTo>
                      <a:pt x="26" y="385"/>
                    </a:lnTo>
                    <a:lnTo>
                      <a:pt x="25" y="384"/>
                    </a:lnTo>
                    <a:lnTo>
                      <a:pt x="25" y="382"/>
                    </a:lnTo>
                    <a:lnTo>
                      <a:pt x="24" y="382"/>
                    </a:lnTo>
                    <a:lnTo>
                      <a:pt x="24" y="383"/>
                    </a:lnTo>
                    <a:lnTo>
                      <a:pt x="23" y="384"/>
                    </a:lnTo>
                    <a:lnTo>
                      <a:pt x="22" y="388"/>
                    </a:lnTo>
                    <a:lnTo>
                      <a:pt x="20" y="389"/>
                    </a:lnTo>
                    <a:lnTo>
                      <a:pt x="21" y="391"/>
                    </a:lnTo>
                    <a:lnTo>
                      <a:pt x="21" y="392"/>
                    </a:lnTo>
                    <a:lnTo>
                      <a:pt x="19" y="393"/>
                    </a:lnTo>
                    <a:lnTo>
                      <a:pt x="20" y="395"/>
                    </a:lnTo>
                    <a:lnTo>
                      <a:pt x="21" y="396"/>
                    </a:lnTo>
                    <a:lnTo>
                      <a:pt x="18" y="397"/>
                    </a:lnTo>
                    <a:lnTo>
                      <a:pt x="18" y="398"/>
                    </a:lnTo>
                    <a:lnTo>
                      <a:pt x="17" y="399"/>
                    </a:lnTo>
                    <a:lnTo>
                      <a:pt x="16" y="398"/>
                    </a:lnTo>
                    <a:lnTo>
                      <a:pt x="15" y="401"/>
                    </a:lnTo>
                    <a:lnTo>
                      <a:pt x="17" y="401"/>
                    </a:lnTo>
                    <a:lnTo>
                      <a:pt x="17" y="404"/>
                    </a:lnTo>
                    <a:lnTo>
                      <a:pt x="19" y="405"/>
                    </a:lnTo>
                    <a:lnTo>
                      <a:pt x="18" y="406"/>
                    </a:lnTo>
                    <a:lnTo>
                      <a:pt x="17" y="406"/>
                    </a:lnTo>
                    <a:lnTo>
                      <a:pt x="13" y="407"/>
                    </a:lnTo>
                    <a:lnTo>
                      <a:pt x="13" y="406"/>
                    </a:lnTo>
                    <a:lnTo>
                      <a:pt x="12" y="405"/>
                    </a:lnTo>
                    <a:lnTo>
                      <a:pt x="11" y="403"/>
                    </a:lnTo>
                    <a:lnTo>
                      <a:pt x="9" y="404"/>
                    </a:lnTo>
                    <a:lnTo>
                      <a:pt x="9" y="402"/>
                    </a:lnTo>
                    <a:lnTo>
                      <a:pt x="8" y="404"/>
                    </a:lnTo>
                    <a:lnTo>
                      <a:pt x="8" y="403"/>
                    </a:lnTo>
                    <a:lnTo>
                      <a:pt x="5" y="401"/>
                    </a:lnTo>
                    <a:lnTo>
                      <a:pt x="3" y="399"/>
                    </a:lnTo>
                    <a:lnTo>
                      <a:pt x="5" y="401"/>
                    </a:lnTo>
                    <a:lnTo>
                      <a:pt x="3" y="401"/>
                    </a:lnTo>
                    <a:lnTo>
                      <a:pt x="4" y="403"/>
                    </a:lnTo>
                    <a:lnTo>
                      <a:pt x="3" y="404"/>
                    </a:lnTo>
                    <a:lnTo>
                      <a:pt x="3" y="405"/>
                    </a:lnTo>
                    <a:lnTo>
                      <a:pt x="3" y="407"/>
                    </a:lnTo>
                    <a:lnTo>
                      <a:pt x="3" y="410"/>
                    </a:lnTo>
                    <a:lnTo>
                      <a:pt x="5" y="410"/>
                    </a:lnTo>
                    <a:lnTo>
                      <a:pt x="5" y="411"/>
                    </a:lnTo>
                    <a:lnTo>
                      <a:pt x="5" y="412"/>
                    </a:lnTo>
                    <a:lnTo>
                      <a:pt x="3" y="413"/>
                    </a:lnTo>
                    <a:lnTo>
                      <a:pt x="2" y="416"/>
                    </a:lnTo>
                    <a:lnTo>
                      <a:pt x="1" y="417"/>
                    </a:lnTo>
                    <a:lnTo>
                      <a:pt x="0" y="420"/>
                    </a:lnTo>
                    <a:lnTo>
                      <a:pt x="2" y="420"/>
                    </a:lnTo>
                    <a:lnTo>
                      <a:pt x="5" y="420"/>
                    </a:lnTo>
                    <a:lnTo>
                      <a:pt x="6" y="420"/>
                    </a:lnTo>
                    <a:lnTo>
                      <a:pt x="8" y="421"/>
                    </a:lnTo>
                    <a:lnTo>
                      <a:pt x="9" y="420"/>
                    </a:lnTo>
                    <a:lnTo>
                      <a:pt x="11" y="422"/>
                    </a:lnTo>
                    <a:lnTo>
                      <a:pt x="12" y="423"/>
                    </a:lnTo>
                    <a:lnTo>
                      <a:pt x="15" y="426"/>
                    </a:lnTo>
                    <a:lnTo>
                      <a:pt x="18" y="426"/>
                    </a:lnTo>
                    <a:lnTo>
                      <a:pt x="20" y="425"/>
                    </a:lnTo>
                    <a:lnTo>
                      <a:pt x="19" y="426"/>
                    </a:lnTo>
                    <a:lnTo>
                      <a:pt x="19" y="427"/>
                    </a:lnTo>
                    <a:lnTo>
                      <a:pt x="20" y="426"/>
                    </a:lnTo>
                    <a:lnTo>
                      <a:pt x="21" y="426"/>
                    </a:lnTo>
                    <a:lnTo>
                      <a:pt x="23" y="427"/>
                    </a:lnTo>
                    <a:lnTo>
                      <a:pt x="24" y="427"/>
                    </a:lnTo>
                    <a:lnTo>
                      <a:pt x="25" y="427"/>
                    </a:lnTo>
                    <a:lnTo>
                      <a:pt x="25" y="428"/>
                    </a:lnTo>
                    <a:lnTo>
                      <a:pt x="22" y="428"/>
                    </a:lnTo>
                    <a:lnTo>
                      <a:pt x="20" y="427"/>
                    </a:lnTo>
                    <a:lnTo>
                      <a:pt x="18" y="427"/>
                    </a:lnTo>
                    <a:lnTo>
                      <a:pt x="17" y="430"/>
                    </a:lnTo>
                    <a:lnTo>
                      <a:pt x="17" y="431"/>
                    </a:lnTo>
                    <a:lnTo>
                      <a:pt x="17" y="435"/>
                    </a:lnTo>
                    <a:lnTo>
                      <a:pt x="15" y="436"/>
                    </a:lnTo>
                    <a:lnTo>
                      <a:pt x="14" y="435"/>
                    </a:lnTo>
                    <a:lnTo>
                      <a:pt x="11" y="437"/>
                    </a:lnTo>
                    <a:lnTo>
                      <a:pt x="12" y="439"/>
                    </a:lnTo>
                    <a:lnTo>
                      <a:pt x="10" y="443"/>
                    </a:lnTo>
                    <a:lnTo>
                      <a:pt x="11" y="445"/>
                    </a:lnTo>
                    <a:lnTo>
                      <a:pt x="11" y="448"/>
                    </a:lnTo>
                    <a:lnTo>
                      <a:pt x="12" y="449"/>
                    </a:lnTo>
                    <a:lnTo>
                      <a:pt x="12" y="451"/>
                    </a:lnTo>
                    <a:lnTo>
                      <a:pt x="13" y="454"/>
                    </a:lnTo>
                    <a:lnTo>
                      <a:pt x="12" y="454"/>
                    </a:lnTo>
                    <a:lnTo>
                      <a:pt x="13" y="455"/>
                    </a:lnTo>
                    <a:lnTo>
                      <a:pt x="12" y="462"/>
                    </a:lnTo>
                    <a:lnTo>
                      <a:pt x="14" y="463"/>
                    </a:lnTo>
                    <a:lnTo>
                      <a:pt x="15" y="464"/>
                    </a:lnTo>
                    <a:lnTo>
                      <a:pt x="17" y="464"/>
                    </a:lnTo>
                    <a:lnTo>
                      <a:pt x="17" y="465"/>
                    </a:lnTo>
                    <a:lnTo>
                      <a:pt x="17" y="468"/>
                    </a:lnTo>
                    <a:lnTo>
                      <a:pt x="18" y="470"/>
                    </a:lnTo>
                    <a:lnTo>
                      <a:pt x="17" y="471"/>
                    </a:lnTo>
                    <a:lnTo>
                      <a:pt x="19" y="471"/>
                    </a:lnTo>
                    <a:lnTo>
                      <a:pt x="19" y="473"/>
                    </a:lnTo>
                    <a:lnTo>
                      <a:pt x="19" y="474"/>
                    </a:lnTo>
                    <a:lnTo>
                      <a:pt x="18" y="474"/>
                    </a:lnTo>
                    <a:lnTo>
                      <a:pt x="17" y="474"/>
                    </a:lnTo>
                    <a:lnTo>
                      <a:pt x="15" y="474"/>
                    </a:lnTo>
                    <a:lnTo>
                      <a:pt x="15" y="475"/>
                    </a:lnTo>
                    <a:lnTo>
                      <a:pt x="12" y="474"/>
                    </a:lnTo>
                    <a:lnTo>
                      <a:pt x="11" y="477"/>
                    </a:lnTo>
                    <a:lnTo>
                      <a:pt x="11" y="478"/>
                    </a:lnTo>
                    <a:lnTo>
                      <a:pt x="9" y="480"/>
                    </a:lnTo>
                    <a:lnTo>
                      <a:pt x="9" y="483"/>
                    </a:lnTo>
                    <a:lnTo>
                      <a:pt x="11" y="484"/>
                    </a:lnTo>
                    <a:lnTo>
                      <a:pt x="11" y="482"/>
                    </a:lnTo>
                    <a:lnTo>
                      <a:pt x="13" y="483"/>
                    </a:lnTo>
                    <a:lnTo>
                      <a:pt x="12" y="486"/>
                    </a:lnTo>
                    <a:lnTo>
                      <a:pt x="18" y="490"/>
                    </a:lnTo>
                    <a:lnTo>
                      <a:pt x="21" y="494"/>
                    </a:lnTo>
                    <a:lnTo>
                      <a:pt x="25" y="496"/>
                    </a:lnTo>
                    <a:lnTo>
                      <a:pt x="26" y="499"/>
                    </a:lnTo>
                    <a:lnTo>
                      <a:pt x="27" y="498"/>
                    </a:lnTo>
                    <a:lnTo>
                      <a:pt x="27" y="497"/>
                    </a:lnTo>
                    <a:lnTo>
                      <a:pt x="30" y="493"/>
                    </a:lnTo>
                    <a:lnTo>
                      <a:pt x="32" y="491"/>
                    </a:lnTo>
                    <a:lnTo>
                      <a:pt x="34" y="491"/>
                    </a:lnTo>
                    <a:lnTo>
                      <a:pt x="36" y="490"/>
                    </a:lnTo>
                    <a:lnTo>
                      <a:pt x="37" y="491"/>
                    </a:lnTo>
                    <a:lnTo>
                      <a:pt x="36" y="489"/>
                    </a:lnTo>
                    <a:lnTo>
                      <a:pt x="36" y="486"/>
                    </a:lnTo>
                    <a:lnTo>
                      <a:pt x="36" y="484"/>
                    </a:lnTo>
                    <a:lnTo>
                      <a:pt x="37" y="484"/>
                    </a:lnTo>
                    <a:lnTo>
                      <a:pt x="39" y="478"/>
                    </a:lnTo>
                    <a:lnTo>
                      <a:pt x="40" y="481"/>
                    </a:lnTo>
                    <a:lnTo>
                      <a:pt x="41" y="480"/>
                    </a:lnTo>
                    <a:lnTo>
                      <a:pt x="44" y="478"/>
                    </a:lnTo>
                    <a:lnTo>
                      <a:pt x="41" y="475"/>
                    </a:lnTo>
                    <a:lnTo>
                      <a:pt x="42" y="473"/>
                    </a:lnTo>
                    <a:lnTo>
                      <a:pt x="41" y="472"/>
                    </a:lnTo>
                    <a:lnTo>
                      <a:pt x="38" y="471"/>
                    </a:lnTo>
                    <a:lnTo>
                      <a:pt x="38" y="469"/>
                    </a:lnTo>
                    <a:lnTo>
                      <a:pt x="38" y="468"/>
                    </a:lnTo>
                    <a:lnTo>
                      <a:pt x="40" y="467"/>
                    </a:lnTo>
                    <a:lnTo>
                      <a:pt x="41" y="466"/>
                    </a:lnTo>
                    <a:lnTo>
                      <a:pt x="39" y="465"/>
                    </a:lnTo>
                    <a:lnTo>
                      <a:pt x="39" y="463"/>
                    </a:lnTo>
                    <a:lnTo>
                      <a:pt x="38" y="463"/>
                    </a:lnTo>
                    <a:lnTo>
                      <a:pt x="37" y="464"/>
                    </a:lnTo>
                    <a:lnTo>
                      <a:pt x="37" y="462"/>
                    </a:lnTo>
                    <a:lnTo>
                      <a:pt x="36" y="462"/>
                    </a:lnTo>
                    <a:lnTo>
                      <a:pt x="36" y="459"/>
                    </a:lnTo>
                    <a:lnTo>
                      <a:pt x="35" y="459"/>
                    </a:lnTo>
                    <a:lnTo>
                      <a:pt x="35" y="458"/>
                    </a:lnTo>
                    <a:lnTo>
                      <a:pt x="34" y="459"/>
                    </a:lnTo>
                    <a:lnTo>
                      <a:pt x="33" y="458"/>
                    </a:lnTo>
                    <a:lnTo>
                      <a:pt x="32" y="458"/>
                    </a:lnTo>
                    <a:lnTo>
                      <a:pt x="33" y="456"/>
                    </a:lnTo>
                    <a:lnTo>
                      <a:pt x="32" y="454"/>
                    </a:lnTo>
                    <a:lnTo>
                      <a:pt x="30" y="454"/>
                    </a:lnTo>
                    <a:lnTo>
                      <a:pt x="31" y="452"/>
                    </a:lnTo>
                    <a:lnTo>
                      <a:pt x="33" y="454"/>
                    </a:lnTo>
                    <a:lnTo>
                      <a:pt x="34" y="453"/>
                    </a:lnTo>
                    <a:lnTo>
                      <a:pt x="35" y="451"/>
                    </a:lnTo>
                    <a:lnTo>
                      <a:pt x="36" y="451"/>
                    </a:lnTo>
                    <a:lnTo>
                      <a:pt x="36" y="450"/>
                    </a:lnTo>
                    <a:lnTo>
                      <a:pt x="35" y="450"/>
                    </a:lnTo>
                    <a:lnTo>
                      <a:pt x="34" y="450"/>
                    </a:lnTo>
                    <a:lnTo>
                      <a:pt x="36" y="449"/>
                    </a:lnTo>
                    <a:lnTo>
                      <a:pt x="38" y="449"/>
                    </a:lnTo>
                    <a:lnTo>
                      <a:pt x="44" y="446"/>
                    </a:lnTo>
                    <a:lnTo>
                      <a:pt x="45" y="446"/>
                    </a:lnTo>
                    <a:lnTo>
                      <a:pt x="46" y="445"/>
                    </a:lnTo>
                    <a:lnTo>
                      <a:pt x="47" y="446"/>
                    </a:lnTo>
                    <a:lnTo>
                      <a:pt x="50" y="451"/>
                    </a:lnTo>
                    <a:lnTo>
                      <a:pt x="52" y="448"/>
                    </a:lnTo>
                    <a:lnTo>
                      <a:pt x="54" y="449"/>
                    </a:lnTo>
                    <a:lnTo>
                      <a:pt x="54" y="450"/>
                    </a:lnTo>
                    <a:lnTo>
                      <a:pt x="55" y="450"/>
                    </a:lnTo>
                    <a:lnTo>
                      <a:pt x="54" y="451"/>
                    </a:lnTo>
                    <a:lnTo>
                      <a:pt x="55" y="452"/>
                    </a:lnTo>
                    <a:lnTo>
                      <a:pt x="57" y="454"/>
                    </a:lnTo>
                    <a:lnTo>
                      <a:pt x="57" y="458"/>
                    </a:lnTo>
                    <a:lnTo>
                      <a:pt x="55" y="458"/>
                    </a:lnTo>
                    <a:lnTo>
                      <a:pt x="55" y="459"/>
                    </a:lnTo>
                    <a:lnTo>
                      <a:pt x="57" y="459"/>
                    </a:lnTo>
                    <a:lnTo>
                      <a:pt x="57" y="461"/>
                    </a:lnTo>
                    <a:lnTo>
                      <a:pt x="61" y="463"/>
                    </a:lnTo>
                    <a:lnTo>
                      <a:pt x="62" y="464"/>
                    </a:lnTo>
                    <a:lnTo>
                      <a:pt x="61" y="465"/>
                    </a:lnTo>
                    <a:lnTo>
                      <a:pt x="59" y="465"/>
                    </a:lnTo>
                    <a:lnTo>
                      <a:pt x="59" y="466"/>
                    </a:lnTo>
                    <a:lnTo>
                      <a:pt x="60" y="466"/>
                    </a:lnTo>
                    <a:lnTo>
                      <a:pt x="61" y="467"/>
                    </a:lnTo>
                    <a:lnTo>
                      <a:pt x="62" y="467"/>
                    </a:lnTo>
                    <a:lnTo>
                      <a:pt x="63" y="468"/>
                    </a:lnTo>
                    <a:lnTo>
                      <a:pt x="64" y="469"/>
                    </a:lnTo>
                    <a:lnTo>
                      <a:pt x="64" y="472"/>
                    </a:lnTo>
                    <a:lnTo>
                      <a:pt x="63" y="472"/>
                    </a:lnTo>
                    <a:lnTo>
                      <a:pt x="63" y="473"/>
                    </a:lnTo>
                    <a:lnTo>
                      <a:pt x="64" y="477"/>
                    </a:lnTo>
                    <a:lnTo>
                      <a:pt x="64" y="479"/>
                    </a:lnTo>
                    <a:lnTo>
                      <a:pt x="64" y="482"/>
                    </a:lnTo>
                    <a:lnTo>
                      <a:pt x="63" y="481"/>
                    </a:lnTo>
                    <a:lnTo>
                      <a:pt x="62" y="482"/>
                    </a:lnTo>
                    <a:lnTo>
                      <a:pt x="65" y="485"/>
                    </a:lnTo>
                    <a:lnTo>
                      <a:pt x="66" y="486"/>
                    </a:lnTo>
                    <a:lnTo>
                      <a:pt x="69" y="485"/>
                    </a:lnTo>
                    <a:lnTo>
                      <a:pt x="69" y="486"/>
                    </a:lnTo>
                    <a:lnTo>
                      <a:pt x="70" y="486"/>
                    </a:lnTo>
                    <a:lnTo>
                      <a:pt x="70" y="487"/>
                    </a:lnTo>
                    <a:lnTo>
                      <a:pt x="69" y="490"/>
                    </a:lnTo>
                    <a:lnTo>
                      <a:pt x="70" y="490"/>
                    </a:lnTo>
                    <a:lnTo>
                      <a:pt x="70" y="492"/>
                    </a:lnTo>
                    <a:lnTo>
                      <a:pt x="69" y="491"/>
                    </a:lnTo>
                    <a:lnTo>
                      <a:pt x="69" y="494"/>
                    </a:lnTo>
                    <a:lnTo>
                      <a:pt x="72" y="494"/>
                    </a:lnTo>
                    <a:lnTo>
                      <a:pt x="71" y="496"/>
                    </a:lnTo>
                    <a:lnTo>
                      <a:pt x="72" y="496"/>
                    </a:lnTo>
                    <a:lnTo>
                      <a:pt x="72" y="498"/>
                    </a:lnTo>
                    <a:lnTo>
                      <a:pt x="74" y="498"/>
                    </a:lnTo>
                    <a:lnTo>
                      <a:pt x="73" y="500"/>
                    </a:lnTo>
                    <a:lnTo>
                      <a:pt x="73" y="501"/>
                    </a:lnTo>
                    <a:lnTo>
                      <a:pt x="74" y="501"/>
                    </a:lnTo>
                    <a:lnTo>
                      <a:pt x="75" y="501"/>
                    </a:lnTo>
                    <a:lnTo>
                      <a:pt x="77" y="501"/>
                    </a:lnTo>
                    <a:lnTo>
                      <a:pt x="78" y="500"/>
                    </a:lnTo>
                    <a:lnTo>
                      <a:pt x="77" y="500"/>
                    </a:lnTo>
                    <a:lnTo>
                      <a:pt x="77" y="499"/>
                    </a:lnTo>
                    <a:lnTo>
                      <a:pt x="77" y="497"/>
                    </a:lnTo>
                    <a:lnTo>
                      <a:pt x="76" y="496"/>
                    </a:lnTo>
                    <a:lnTo>
                      <a:pt x="78" y="496"/>
                    </a:lnTo>
                    <a:lnTo>
                      <a:pt x="78" y="495"/>
                    </a:lnTo>
                    <a:lnTo>
                      <a:pt x="79" y="494"/>
                    </a:lnTo>
                    <a:lnTo>
                      <a:pt x="78" y="491"/>
                    </a:lnTo>
                    <a:lnTo>
                      <a:pt x="79" y="491"/>
                    </a:lnTo>
                    <a:lnTo>
                      <a:pt x="80" y="494"/>
                    </a:lnTo>
                    <a:lnTo>
                      <a:pt x="80" y="496"/>
                    </a:lnTo>
                    <a:lnTo>
                      <a:pt x="82" y="498"/>
                    </a:lnTo>
                    <a:lnTo>
                      <a:pt x="82" y="501"/>
                    </a:lnTo>
                    <a:lnTo>
                      <a:pt x="80" y="503"/>
                    </a:lnTo>
                    <a:lnTo>
                      <a:pt x="79" y="504"/>
                    </a:lnTo>
                    <a:lnTo>
                      <a:pt x="80" y="506"/>
                    </a:lnTo>
                    <a:lnTo>
                      <a:pt x="78" y="507"/>
                    </a:lnTo>
                    <a:lnTo>
                      <a:pt x="76" y="510"/>
                    </a:lnTo>
                    <a:lnTo>
                      <a:pt x="77" y="512"/>
                    </a:lnTo>
                    <a:lnTo>
                      <a:pt x="77" y="513"/>
                    </a:lnTo>
                    <a:lnTo>
                      <a:pt x="77" y="514"/>
                    </a:lnTo>
                    <a:lnTo>
                      <a:pt x="75" y="515"/>
                    </a:lnTo>
                    <a:lnTo>
                      <a:pt x="76" y="518"/>
                    </a:lnTo>
                    <a:lnTo>
                      <a:pt x="77" y="517"/>
                    </a:lnTo>
                    <a:lnTo>
                      <a:pt x="80" y="519"/>
                    </a:lnTo>
                    <a:lnTo>
                      <a:pt x="80" y="520"/>
                    </a:lnTo>
                    <a:lnTo>
                      <a:pt x="80" y="521"/>
                    </a:lnTo>
                    <a:lnTo>
                      <a:pt x="83" y="522"/>
                    </a:lnTo>
                    <a:lnTo>
                      <a:pt x="83" y="523"/>
                    </a:lnTo>
                    <a:lnTo>
                      <a:pt x="85" y="523"/>
                    </a:lnTo>
                    <a:lnTo>
                      <a:pt x="88" y="525"/>
                    </a:lnTo>
                    <a:lnTo>
                      <a:pt x="90" y="525"/>
                    </a:lnTo>
                    <a:lnTo>
                      <a:pt x="93" y="527"/>
                    </a:lnTo>
                    <a:lnTo>
                      <a:pt x="94" y="527"/>
                    </a:lnTo>
                    <a:lnTo>
                      <a:pt x="94" y="528"/>
                    </a:lnTo>
                    <a:lnTo>
                      <a:pt x="95" y="530"/>
                    </a:lnTo>
                    <a:lnTo>
                      <a:pt x="97" y="534"/>
                    </a:lnTo>
                    <a:lnTo>
                      <a:pt x="100" y="533"/>
                    </a:lnTo>
                    <a:lnTo>
                      <a:pt x="100" y="536"/>
                    </a:lnTo>
                    <a:lnTo>
                      <a:pt x="99" y="537"/>
                    </a:lnTo>
                    <a:lnTo>
                      <a:pt x="99" y="538"/>
                    </a:lnTo>
                    <a:lnTo>
                      <a:pt x="98" y="538"/>
                    </a:lnTo>
                    <a:lnTo>
                      <a:pt x="99" y="541"/>
                    </a:lnTo>
                    <a:lnTo>
                      <a:pt x="100" y="544"/>
                    </a:lnTo>
                    <a:lnTo>
                      <a:pt x="100" y="547"/>
                    </a:lnTo>
                    <a:lnTo>
                      <a:pt x="101" y="549"/>
                    </a:lnTo>
                    <a:lnTo>
                      <a:pt x="101" y="548"/>
                    </a:lnTo>
                    <a:lnTo>
                      <a:pt x="102" y="549"/>
                    </a:lnTo>
                    <a:lnTo>
                      <a:pt x="102" y="551"/>
                    </a:lnTo>
                    <a:lnTo>
                      <a:pt x="102" y="555"/>
                    </a:lnTo>
                    <a:lnTo>
                      <a:pt x="103" y="555"/>
                    </a:lnTo>
                    <a:lnTo>
                      <a:pt x="102" y="557"/>
                    </a:lnTo>
                    <a:lnTo>
                      <a:pt x="104" y="556"/>
                    </a:lnTo>
                    <a:lnTo>
                      <a:pt x="104" y="557"/>
                    </a:lnTo>
                    <a:lnTo>
                      <a:pt x="104" y="558"/>
                    </a:lnTo>
                    <a:lnTo>
                      <a:pt x="103" y="558"/>
                    </a:lnTo>
                    <a:lnTo>
                      <a:pt x="104" y="559"/>
                    </a:lnTo>
                    <a:lnTo>
                      <a:pt x="105" y="560"/>
                    </a:lnTo>
                    <a:lnTo>
                      <a:pt x="106" y="561"/>
                    </a:lnTo>
                    <a:lnTo>
                      <a:pt x="107" y="562"/>
                    </a:lnTo>
                    <a:lnTo>
                      <a:pt x="107" y="561"/>
                    </a:lnTo>
                    <a:lnTo>
                      <a:pt x="108" y="561"/>
                    </a:lnTo>
                    <a:lnTo>
                      <a:pt x="108" y="562"/>
                    </a:lnTo>
                    <a:lnTo>
                      <a:pt x="109" y="560"/>
                    </a:lnTo>
                    <a:lnTo>
                      <a:pt x="110" y="557"/>
                    </a:lnTo>
                    <a:lnTo>
                      <a:pt x="109" y="557"/>
                    </a:lnTo>
                    <a:lnTo>
                      <a:pt x="109" y="554"/>
                    </a:lnTo>
                    <a:lnTo>
                      <a:pt x="111" y="553"/>
                    </a:lnTo>
                    <a:lnTo>
                      <a:pt x="113" y="553"/>
                    </a:lnTo>
                    <a:lnTo>
                      <a:pt x="115" y="552"/>
                    </a:lnTo>
                    <a:lnTo>
                      <a:pt x="113" y="550"/>
                    </a:lnTo>
                    <a:lnTo>
                      <a:pt x="114" y="549"/>
                    </a:lnTo>
                    <a:lnTo>
                      <a:pt x="115" y="549"/>
                    </a:lnTo>
                    <a:lnTo>
                      <a:pt x="116" y="552"/>
                    </a:lnTo>
                    <a:lnTo>
                      <a:pt x="118" y="554"/>
                    </a:lnTo>
                    <a:lnTo>
                      <a:pt x="119" y="553"/>
                    </a:lnTo>
                    <a:lnTo>
                      <a:pt x="119" y="551"/>
                    </a:lnTo>
                    <a:lnTo>
                      <a:pt x="121" y="551"/>
                    </a:lnTo>
                    <a:lnTo>
                      <a:pt x="123" y="551"/>
                    </a:lnTo>
                    <a:lnTo>
                      <a:pt x="124" y="550"/>
                    </a:lnTo>
                    <a:lnTo>
                      <a:pt x="127" y="552"/>
                    </a:lnTo>
                    <a:lnTo>
                      <a:pt x="128" y="551"/>
                    </a:lnTo>
                    <a:lnTo>
                      <a:pt x="130" y="551"/>
                    </a:lnTo>
                    <a:lnTo>
                      <a:pt x="131" y="548"/>
                    </a:lnTo>
                    <a:lnTo>
                      <a:pt x="131" y="551"/>
                    </a:lnTo>
                    <a:lnTo>
                      <a:pt x="132" y="550"/>
                    </a:lnTo>
                    <a:lnTo>
                      <a:pt x="135" y="553"/>
                    </a:lnTo>
                    <a:lnTo>
                      <a:pt x="135" y="552"/>
                    </a:lnTo>
                    <a:lnTo>
                      <a:pt x="137" y="552"/>
                    </a:lnTo>
                    <a:lnTo>
                      <a:pt x="140" y="551"/>
                    </a:lnTo>
                    <a:lnTo>
                      <a:pt x="141" y="550"/>
                    </a:lnTo>
                    <a:lnTo>
                      <a:pt x="140" y="549"/>
                    </a:lnTo>
                    <a:lnTo>
                      <a:pt x="141" y="548"/>
                    </a:lnTo>
                    <a:lnTo>
                      <a:pt x="143" y="547"/>
                    </a:lnTo>
                    <a:lnTo>
                      <a:pt x="143" y="545"/>
                    </a:lnTo>
                    <a:lnTo>
                      <a:pt x="145" y="545"/>
                    </a:lnTo>
                    <a:lnTo>
                      <a:pt x="144" y="544"/>
                    </a:lnTo>
                    <a:lnTo>
                      <a:pt x="145" y="544"/>
                    </a:lnTo>
                    <a:lnTo>
                      <a:pt x="146" y="543"/>
                    </a:lnTo>
                    <a:lnTo>
                      <a:pt x="147" y="543"/>
                    </a:lnTo>
                    <a:lnTo>
                      <a:pt x="149" y="536"/>
                    </a:lnTo>
                    <a:lnTo>
                      <a:pt x="149" y="537"/>
                    </a:lnTo>
                    <a:lnTo>
                      <a:pt x="151" y="537"/>
                    </a:lnTo>
                    <a:lnTo>
                      <a:pt x="151" y="535"/>
                    </a:lnTo>
                    <a:lnTo>
                      <a:pt x="153" y="536"/>
                    </a:lnTo>
                    <a:lnTo>
                      <a:pt x="156" y="533"/>
                    </a:lnTo>
                    <a:lnTo>
                      <a:pt x="157" y="533"/>
                    </a:lnTo>
                    <a:lnTo>
                      <a:pt x="160" y="533"/>
                    </a:lnTo>
                    <a:lnTo>
                      <a:pt x="159" y="530"/>
                    </a:lnTo>
                    <a:lnTo>
                      <a:pt x="160" y="530"/>
                    </a:lnTo>
                    <a:lnTo>
                      <a:pt x="159" y="526"/>
                    </a:lnTo>
                    <a:lnTo>
                      <a:pt x="159" y="525"/>
                    </a:lnTo>
                    <a:lnTo>
                      <a:pt x="157" y="524"/>
                    </a:lnTo>
                    <a:lnTo>
                      <a:pt x="157" y="522"/>
                    </a:lnTo>
                    <a:lnTo>
                      <a:pt x="156" y="520"/>
                    </a:lnTo>
                    <a:lnTo>
                      <a:pt x="156" y="517"/>
                    </a:lnTo>
                    <a:lnTo>
                      <a:pt x="156" y="514"/>
                    </a:lnTo>
                    <a:lnTo>
                      <a:pt x="156" y="513"/>
                    </a:lnTo>
                    <a:lnTo>
                      <a:pt x="156" y="510"/>
                    </a:lnTo>
                    <a:lnTo>
                      <a:pt x="158" y="510"/>
                    </a:lnTo>
                    <a:lnTo>
                      <a:pt x="159" y="508"/>
                    </a:lnTo>
                    <a:lnTo>
                      <a:pt x="160" y="507"/>
                    </a:lnTo>
                    <a:lnTo>
                      <a:pt x="161" y="506"/>
                    </a:lnTo>
                    <a:lnTo>
                      <a:pt x="160" y="506"/>
                    </a:lnTo>
                    <a:lnTo>
                      <a:pt x="162" y="505"/>
                    </a:lnTo>
                    <a:lnTo>
                      <a:pt x="162" y="502"/>
                    </a:lnTo>
                    <a:lnTo>
                      <a:pt x="165" y="502"/>
                    </a:lnTo>
                    <a:lnTo>
                      <a:pt x="165" y="501"/>
                    </a:lnTo>
                    <a:lnTo>
                      <a:pt x="167" y="501"/>
                    </a:lnTo>
                    <a:lnTo>
                      <a:pt x="167" y="500"/>
                    </a:lnTo>
                    <a:lnTo>
                      <a:pt x="169" y="504"/>
                    </a:lnTo>
                    <a:lnTo>
                      <a:pt x="170" y="504"/>
                    </a:lnTo>
                    <a:lnTo>
                      <a:pt x="168" y="507"/>
                    </a:lnTo>
                    <a:lnTo>
                      <a:pt x="167" y="511"/>
                    </a:lnTo>
                    <a:lnTo>
                      <a:pt x="167" y="514"/>
                    </a:lnTo>
                    <a:lnTo>
                      <a:pt x="167" y="515"/>
                    </a:lnTo>
                    <a:lnTo>
                      <a:pt x="170" y="515"/>
                    </a:lnTo>
                    <a:lnTo>
                      <a:pt x="171" y="516"/>
                    </a:lnTo>
                    <a:lnTo>
                      <a:pt x="171" y="512"/>
                    </a:lnTo>
                    <a:lnTo>
                      <a:pt x="175" y="514"/>
                    </a:lnTo>
                    <a:lnTo>
                      <a:pt x="176" y="514"/>
                    </a:lnTo>
                    <a:lnTo>
                      <a:pt x="178" y="516"/>
                    </a:lnTo>
                    <a:lnTo>
                      <a:pt x="177" y="518"/>
                    </a:lnTo>
                    <a:lnTo>
                      <a:pt x="181" y="518"/>
                    </a:lnTo>
                    <a:lnTo>
                      <a:pt x="181" y="520"/>
                    </a:lnTo>
                    <a:lnTo>
                      <a:pt x="182" y="519"/>
                    </a:lnTo>
                    <a:lnTo>
                      <a:pt x="181" y="517"/>
                    </a:lnTo>
                    <a:lnTo>
                      <a:pt x="183" y="518"/>
                    </a:lnTo>
                    <a:lnTo>
                      <a:pt x="183" y="517"/>
                    </a:lnTo>
                    <a:lnTo>
                      <a:pt x="184" y="518"/>
                    </a:lnTo>
                    <a:lnTo>
                      <a:pt x="187" y="518"/>
                    </a:lnTo>
                    <a:lnTo>
                      <a:pt x="186" y="519"/>
                    </a:lnTo>
                    <a:lnTo>
                      <a:pt x="189" y="520"/>
                    </a:lnTo>
                    <a:lnTo>
                      <a:pt x="191" y="523"/>
                    </a:lnTo>
                    <a:lnTo>
                      <a:pt x="192" y="525"/>
                    </a:lnTo>
                    <a:lnTo>
                      <a:pt x="192" y="530"/>
                    </a:lnTo>
                    <a:lnTo>
                      <a:pt x="200" y="524"/>
                    </a:lnTo>
                    <a:lnTo>
                      <a:pt x="202" y="520"/>
                    </a:lnTo>
                    <a:lnTo>
                      <a:pt x="203" y="520"/>
                    </a:lnTo>
                    <a:lnTo>
                      <a:pt x="204" y="520"/>
                    </a:lnTo>
                    <a:lnTo>
                      <a:pt x="205" y="519"/>
                    </a:lnTo>
                    <a:lnTo>
                      <a:pt x="206" y="514"/>
                    </a:lnTo>
                    <a:lnTo>
                      <a:pt x="205" y="513"/>
                    </a:lnTo>
                    <a:lnTo>
                      <a:pt x="204" y="513"/>
                    </a:lnTo>
                    <a:lnTo>
                      <a:pt x="206" y="511"/>
                    </a:lnTo>
                    <a:lnTo>
                      <a:pt x="203" y="509"/>
                    </a:lnTo>
                    <a:lnTo>
                      <a:pt x="206" y="510"/>
                    </a:lnTo>
                    <a:lnTo>
                      <a:pt x="208" y="509"/>
                    </a:lnTo>
                    <a:lnTo>
                      <a:pt x="208" y="511"/>
                    </a:lnTo>
                    <a:lnTo>
                      <a:pt x="208" y="512"/>
                    </a:lnTo>
                    <a:lnTo>
                      <a:pt x="209" y="513"/>
                    </a:lnTo>
                    <a:lnTo>
                      <a:pt x="211" y="510"/>
                    </a:lnTo>
                    <a:lnTo>
                      <a:pt x="212" y="510"/>
                    </a:lnTo>
                    <a:lnTo>
                      <a:pt x="214" y="508"/>
                    </a:lnTo>
                    <a:lnTo>
                      <a:pt x="215" y="510"/>
                    </a:lnTo>
                    <a:lnTo>
                      <a:pt x="221" y="508"/>
                    </a:lnTo>
                    <a:lnTo>
                      <a:pt x="221" y="509"/>
                    </a:lnTo>
                    <a:lnTo>
                      <a:pt x="223" y="509"/>
                    </a:lnTo>
                    <a:lnTo>
                      <a:pt x="224" y="508"/>
                    </a:lnTo>
                    <a:lnTo>
                      <a:pt x="225" y="509"/>
                    </a:lnTo>
                    <a:lnTo>
                      <a:pt x="227" y="511"/>
                    </a:lnTo>
                    <a:lnTo>
                      <a:pt x="227" y="513"/>
                    </a:lnTo>
                    <a:lnTo>
                      <a:pt x="227" y="514"/>
                    </a:lnTo>
                    <a:lnTo>
                      <a:pt x="229" y="513"/>
                    </a:lnTo>
                    <a:lnTo>
                      <a:pt x="229" y="514"/>
                    </a:lnTo>
                    <a:lnTo>
                      <a:pt x="230" y="514"/>
                    </a:lnTo>
                    <a:lnTo>
                      <a:pt x="232" y="514"/>
                    </a:lnTo>
                    <a:lnTo>
                      <a:pt x="232" y="513"/>
                    </a:lnTo>
                    <a:lnTo>
                      <a:pt x="232" y="514"/>
                    </a:lnTo>
                    <a:lnTo>
                      <a:pt x="233" y="514"/>
                    </a:lnTo>
                    <a:lnTo>
                      <a:pt x="235" y="514"/>
                    </a:lnTo>
                    <a:lnTo>
                      <a:pt x="238" y="513"/>
                    </a:lnTo>
                    <a:lnTo>
                      <a:pt x="238" y="510"/>
                    </a:lnTo>
                    <a:lnTo>
                      <a:pt x="240" y="510"/>
                    </a:lnTo>
                    <a:lnTo>
                      <a:pt x="244" y="507"/>
                    </a:lnTo>
                    <a:lnTo>
                      <a:pt x="242" y="504"/>
                    </a:lnTo>
                    <a:lnTo>
                      <a:pt x="244" y="504"/>
                    </a:lnTo>
                    <a:lnTo>
                      <a:pt x="241" y="502"/>
                    </a:lnTo>
                    <a:lnTo>
                      <a:pt x="240" y="500"/>
                    </a:lnTo>
                    <a:lnTo>
                      <a:pt x="240" y="497"/>
                    </a:lnTo>
                    <a:lnTo>
                      <a:pt x="237" y="494"/>
                    </a:lnTo>
                    <a:lnTo>
                      <a:pt x="238" y="493"/>
                    </a:lnTo>
                    <a:lnTo>
                      <a:pt x="237" y="491"/>
                    </a:lnTo>
                    <a:lnTo>
                      <a:pt x="238" y="490"/>
                    </a:lnTo>
                    <a:lnTo>
                      <a:pt x="239" y="492"/>
                    </a:lnTo>
                    <a:lnTo>
                      <a:pt x="240" y="491"/>
                    </a:lnTo>
                    <a:lnTo>
                      <a:pt x="241" y="491"/>
                    </a:lnTo>
                    <a:lnTo>
                      <a:pt x="245" y="490"/>
                    </a:lnTo>
                    <a:lnTo>
                      <a:pt x="247" y="496"/>
                    </a:lnTo>
                    <a:lnTo>
                      <a:pt x="249" y="496"/>
                    </a:lnTo>
                    <a:lnTo>
                      <a:pt x="250" y="495"/>
                    </a:lnTo>
                    <a:lnTo>
                      <a:pt x="250" y="491"/>
                    </a:lnTo>
                    <a:lnTo>
                      <a:pt x="250" y="489"/>
                    </a:lnTo>
                    <a:lnTo>
                      <a:pt x="252" y="488"/>
                    </a:lnTo>
                    <a:lnTo>
                      <a:pt x="252" y="486"/>
                    </a:lnTo>
                    <a:lnTo>
                      <a:pt x="253" y="486"/>
                    </a:lnTo>
                    <a:lnTo>
                      <a:pt x="255" y="487"/>
                    </a:lnTo>
                    <a:lnTo>
                      <a:pt x="257" y="486"/>
                    </a:lnTo>
                    <a:lnTo>
                      <a:pt x="258" y="489"/>
                    </a:lnTo>
                    <a:lnTo>
                      <a:pt x="260" y="491"/>
                    </a:lnTo>
                    <a:lnTo>
                      <a:pt x="261" y="493"/>
                    </a:lnTo>
                    <a:lnTo>
                      <a:pt x="262" y="493"/>
                    </a:lnTo>
                    <a:lnTo>
                      <a:pt x="261" y="495"/>
                    </a:lnTo>
                    <a:lnTo>
                      <a:pt x="261" y="496"/>
                    </a:lnTo>
                    <a:lnTo>
                      <a:pt x="263" y="497"/>
                    </a:lnTo>
                    <a:lnTo>
                      <a:pt x="263" y="498"/>
                    </a:lnTo>
                    <a:lnTo>
                      <a:pt x="265" y="498"/>
                    </a:lnTo>
                    <a:lnTo>
                      <a:pt x="267" y="501"/>
                    </a:lnTo>
                    <a:lnTo>
                      <a:pt x="268" y="501"/>
                    </a:lnTo>
                    <a:lnTo>
                      <a:pt x="269" y="500"/>
                    </a:lnTo>
                    <a:lnTo>
                      <a:pt x="274" y="499"/>
                    </a:lnTo>
                    <a:lnTo>
                      <a:pt x="276" y="499"/>
                    </a:lnTo>
                    <a:lnTo>
                      <a:pt x="276" y="500"/>
                    </a:lnTo>
                    <a:lnTo>
                      <a:pt x="277" y="500"/>
                    </a:lnTo>
                    <a:lnTo>
                      <a:pt x="279" y="500"/>
                    </a:lnTo>
                    <a:lnTo>
                      <a:pt x="279" y="499"/>
                    </a:lnTo>
                    <a:lnTo>
                      <a:pt x="279" y="497"/>
                    </a:lnTo>
                    <a:lnTo>
                      <a:pt x="279" y="496"/>
                    </a:lnTo>
                    <a:lnTo>
                      <a:pt x="281" y="493"/>
                    </a:lnTo>
                    <a:lnTo>
                      <a:pt x="280" y="491"/>
                    </a:lnTo>
                    <a:lnTo>
                      <a:pt x="280" y="490"/>
                    </a:lnTo>
                    <a:lnTo>
                      <a:pt x="283" y="489"/>
                    </a:lnTo>
                    <a:lnTo>
                      <a:pt x="284" y="487"/>
                    </a:lnTo>
                    <a:lnTo>
                      <a:pt x="285" y="487"/>
                    </a:lnTo>
                    <a:lnTo>
                      <a:pt x="285" y="486"/>
                    </a:lnTo>
                    <a:lnTo>
                      <a:pt x="286" y="485"/>
                    </a:lnTo>
                    <a:lnTo>
                      <a:pt x="286" y="482"/>
                    </a:lnTo>
                    <a:lnTo>
                      <a:pt x="284" y="478"/>
                    </a:lnTo>
                    <a:lnTo>
                      <a:pt x="284" y="477"/>
                    </a:lnTo>
                    <a:lnTo>
                      <a:pt x="285" y="478"/>
                    </a:lnTo>
                    <a:lnTo>
                      <a:pt x="286" y="477"/>
                    </a:lnTo>
                    <a:lnTo>
                      <a:pt x="290" y="476"/>
                    </a:lnTo>
                    <a:lnTo>
                      <a:pt x="291" y="474"/>
                    </a:lnTo>
                    <a:lnTo>
                      <a:pt x="291" y="473"/>
                    </a:lnTo>
                    <a:lnTo>
                      <a:pt x="292" y="471"/>
                    </a:lnTo>
                    <a:lnTo>
                      <a:pt x="293" y="472"/>
                    </a:lnTo>
                    <a:lnTo>
                      <a:pt x="299" y="471"/>
                    </a:lnTo>
                    <a:lnTo>
                      <a:pt x="299" y="468"/>
                    </a:lnTo>
                    <a:lnTo>
                      <a:pt x="299" y="467"/>
                    </a:lnTo>
                    <a:lnTo>
                      <a:pt x="300" y="465"/>
                    </a:lnTo>
                    <a:lnTo>
                      <a:pt x="300" y="463"/>
                    </a:lnTo>
                    <a:lnTo>
                      <a:pt x="299" y="462"/>
                    </a:lnTo>
                    <a:lnTo>
                      <a:pt x="301" y="462"/>
                    </a:lnTo>
                    <a:lnTo>
                      <a:pt x="302" y="463"/>
                    </a:lnTo>
                    <a:lnTo>
                      <a:pt x="302" y="465"/>
                    </a:lnTo>
                    <a:lnTo>
                      <a:pt x="306" y="465"/>
                    </a:lnTo>
                    <a:lnTo>
                      <a:pt x="306" y="467"/>
                    </a:lnTo>
                    <a:lnTo>
                      <a:pt x="307" y="467"/>
                    </a:lnTo>
                    <a:lnTo>
                      <a:pt x="308" y="468"/>
                    </a:lnTo>
                    <a:lnTo>
                      <a:pt x="310" y="467"/>
                    </a:lnTo>
                    <a:lnTo>
                      <a:pt x="312" y="470"/>
                    </a:lnTo>
                    <a:lnTo>
                      <a:pt x="315" y="469"/>
                    </a:lnTo>
                    <a:lnTo>
                      <a:pt x="315" y="468"/>
                    </a:lnTo>
                    <a:lnTo>
                      <a:pt x="315" y="467"/>
                    </a:lnTo>
                    <a:lnTo>
                      <a:pt x="319" y="463"/>
                    </a:lnTo>
                    <a:lnTo>
                      <a:pt x="321" y="457"/>
                    </a:lnTo>
                    <a:lnTo>
                      <a:pt x="321" y="456"/>
                    </a:lnTo>
                    <a:lnTo>
                      <a:pt x="319" y="456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47" name="Group 137">
              <a:extLst>
                <a:ext uri="{FF2B5EF4-FFF2-40B4-BE49-F238E27FC236}">
                  <a16:creationId xmlns:a16="http://schemas.microsoft.com/office/drawing/2014/main" id="{36B18E40-8510-F68A-27E1-D6CC2B536EF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7" y="2893"/>
              <a:ext cx="313" cy="258"/>
              <a:chOff x="457" y="2893"/>
              <a:chExt cx="313" cy="258"/>
            </a:xfrm>
          </p:grpSpPr>
          <p:sp>
            <p:nvSpPr>
              <p:cNvPr id="136" name="Freeform 135">
                <a:extLst>
                  <a:ext uri="{FF2B5EF4-FFF2-40B4-BE49-F238E27FC236}">
                    <a16:creationId xmlns:a16="http://schemas.microsoft.com/office/drawing/2014/main" id="{EC991FE0-FCFC-D62A-3ECE-B4C4C59047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7" y="2893"/>
                <a:ext cx="313" cy="258"/>
              </a:xfrm>
              <a:custGeom>
                <a:avLst/>
                <a:gdLst>
                  <a:gd name="T0" fmla="*/ 302 w 313"/>
                  <a:gd name="T1" fmla="*/ 176 h 258"/>
                  <a:gd name="T2" fmla="*/ 301 w 313"/>
                  <a:gd name="T3" fmla="*/ 168 h 258"/>
                  <a:gd name="T4" fmla="*/ 311 w 313"/>
                  <a:gd name="T5" fmla="*/ 169 h 258"/>
                  <a:gd name="T6" fmla="*/ 311 w 313"/>
                  <a:gd name="T7" fmla="*/ 156 h 258"/>
                  <a:gd name="T8" fmla="*/ 306 w 313"/>
                  <a:gd name="T9" fmla="*/ 139 h 258"/>
                  <a:gd name="T10" fmla="*/ 306 w 313"/>
                  <a:gd name="T11" fmla="*/ 125 h 258"/>
                  <a:gd name="T12" fmla="*/ 305 w 313"/>
                  <a:gd name="T13" fmla="*/ 111 h 258"/>
                  <a:gd name="T14" fmla="*/ 305 w 313"/>
                  <a:gd name="T15" fmla="*/ 98 h 258"/>
                  <a:gd name="T16" fmla="*/ 305 w 313"/>
                  <a:gd name="T17" fmla="*/ 86 h 258"/>
                  <a:gd name="T18" fmla="*/ 305 w 313"/>
                  <a:gd name="T19" fmla="*/ 65 h 258"/>
                  <a:gd name="T20" fmla="*/ 289 w 313"/>
                  <a:gd name="T21" fmla="*/ 65 h 258"/>
                  <a:gd name="T22" fmla="*/ 277 w 313"/>
                  <a:gd name="T23" fmla="*/ 63 h 258"/>
                  <a:gd name="T24" fmla="*/ 274 w 313"/>
                  <a:gd name="T25" fmla="*/ 50 h 258"/>
                  <a:gd name="T26" fmla="*/ 250 w 313"/>
                  <a:gd name="T27" fmla="*/ 40 h 258"/>
                  <a:gd name="T28" fmla="*/ 228 w 313"/>
                  <a:gd name="T29" fmla="*/ 21 h 258"/>
                  <a:gd name="T30" fmla="*/ 200 w 313"/>
                  <a:gd name="T31" fmla="*/ 4 h 258"/>
                  <a:gd name="T32" fmla="*/ 166 w 313"/>
                  <a:gd name="T33" fmla="*/ 13 h 258"/>
                  <a:gd name="T34" fmla="*/ 140 w 313"/>
                  <a:gd name="T35" fmla="*/ 13 h 258"/>
                  <a:gd name="T36" fmla="*/ 118 w 313"/>
                  <a:gd name="T37" fmla="*/ 19 h 258"/>
                  <a:gd name="T38" fmla="*/ 99 w 313"/>
                  <a:gd name="T39" fmla="*/ 37 h 258"/>
                  <a:gd name="T40" fmla="*/ 85 w 313"/>
                  <a:gd name="T41" fmla="*/ 50 h 258"/>
                  <a:gd name="T42" fmla="*/ 69 w 313"/>
                  <a:gd name="T43" fmla="*/ 74 h 258"/>
                  <a:gd name="T44" fmla="*/ 62 w 313"/>
                  <a:gd name="T45" fmla="*/ 82 h 258"/>
                  <a:gd name="T46" fmla="*/ 61 w 313"/>
                  <a:gd name="T47" fmla="*/ 101 h 258"/>
                  <a:gd name="T48" fmla="*/ 49 w 313"/>
                  <a:gd name="T49" fmla="*/ 107 h 258"/>
                  <a:gd name="T50" fmla="*/ 49 w 313"/>
                  <a:gd name="T51" fmla="*/ 93 h 258"/>
                  <a:gd name="T52" fmla="*/ 47 w 313"/>
                  <a:gd name="T53" fmla="*/ 79 h 258"/>
                  <a:gd name="T54" fmla="*/ 44 w 313"/>
                  <a:gd name="T55" fmla="*/ 70 h 258"/>
                  <a:gd name="T56" fmla="*/ 31 w 313"/>
                  <a:gd name="T57" fmla="*/ 56 h 258"/>
                  <a:gd name="T58" fmla="*/ 15 w 313"/>
                  <a:gd name="T59" fmla="*/ 32 h 258"/>
                  <a:gd name="T60" fmla="*/ 11 w 313"/>
                  <a:gd name="T61" fmla="*/ 40 h 258"/>
                  <a:gd name="T62" fmla="*/ 2 w 313"/>
                  <a:gd name="T63" fmla="*/ 57 h 258"/>
                  <a:gd name="T64" fmla="*/ 12 w 313"/>
                  <a:gd name="T65" fmla="*/ 73 h 258"/>
                  <a:gd name="T66" fmla="*/ 15 w 313"/>
                  <a:gd name="T67" fmla="*/ 84 h 258"/>
                  <a:gd name="T68" fmla="*/ 24 w 313"/>
                  <a:gd name="T69" fmla="*/ 91 h 258"/>
                  <a:gd name="T70" fmla="*/ 22 w 313"/>
                  <a:gd name="T71" fmla="*/ 114 h 258"/>
                  <a:gd name="T72" fmla="*/ 26 w 313"/>
                  <a:gd name="T73" fmla="*/ 138 h 258"/>
                  <a:gd name="T74" fmla="*/ 36 w 313"/>
                  <a:gd name="T75" fmla="*/ 152 h 258"/>
                  <a:gd name="T76" fmla="*/ 47 w 313"/>
                  <a:gd name="T77" fmla="*/ 172 h 258"/>
                  <a:gd name="T78" fmla="*/ 62 w 313"/>
                  <a:gd name="T79" fmla="*/ 187 h 258"/>
                  <a:gd name="T80" fmla="*/ 71 w 313"/>
                  <a:gd name="T81" fmla="*/ 199 h 258"/>
                  <a:gd name="T82" fmla="*/ 87 w 313"/>
                  <a:gd name="T83" fmla="*/ 207 h 258"/>
                  <a:gd name="T84" fmla="*/ 86 w 313"/>
                  <a:gd name="T85" fmla="*/ 229 h 258"/>
                  <a:gd name="T86" fmla="*/ 110 w 313"/>
                  <a:gd name="T87" fmla="*/ 253 h 258"/>
                  <a:gd name="T88" fmla="*/ 130 w 313"/>
                  <a:gd name="T89" fmla="*/ 249 h 258"/>
                  <a:gd name="T90" fmla="*/ 142 w 313"/>
                  <a:gd name="T91" fmla="*/ 246 h 258"/>
                  <a:gd name="T92" fmla="*/ 158 w 313"/>
                  <a:gd name="T93" fmla="*/ 241 h 258"/>
                  <a:gd name="T94" fmla="*/ 172 w 313"/>
                  <a:gd name="T95" fmla="*/ 244 h 258"/>
                  <a:gd name="T96" fmla="*/ 187 w 313"/>
                  <a:gd name="T97" fmla="*/ 252 h 258"/>
                  <a:gd name="T98" fmla="*/ 203 w 313"/>
                  <a:gd name="T99" fmla="*/ 254 h 258"/>
                  <a:gd name="T100" fmla="*/ 212 w 313"/>
                  <a:gd name="T101" fmla="*/ 243 h 258"/>
                  <a:gd name="T102" fmla="*/ 224 w 313"/>
                  <a:gd name="T103" fmla="*/ 232 h 258"/>
                  <a:gd name="T104" fmla="*/ 235 w 313"/>
                  <a:gd name="T105" fmla="*/ 225 h 258"/>
                  <a:gd name="T106" fmla="*/ 245 w 313"/>
                  <a:gd name="T107" fmla="*/ 216 h 258"/>
                  <a:gd name="T108" fmla="*/ 254 w 313"/>
                  <a:gd name="T109" fmla="*/ 215 h 258"/>
                  <a:gd name="T110" fmla="*/ 269 w 313"/>
                  <a:gd name="T111" fmla="*/ 219 h 258"/>
                  <a:gd name="T112" fmla="*/ 274 w 313"/>
                  <a:gd name="T113" fmla="*/ 226 h 258"/>
                  <a:gd name="T114" fmla="*/ 287 w 313"/>
                  <a:gd name="T115" fmla="*/ 231 h 258"/>
                  <a:gd name="T116" fmla="*/ 290 w 313"/>
                  <a:gd name="T117" fmla="*/ 210 h 258"/>
                  <a:gd name="T118" fmla="*/ 303 w 313"/>
                  <a:gd name="T119" fmla="*/ 211 h 258"/>
                  <a:gd name="T120" fmla="*/ 309 w 313"/>
                  <a:gd name="T121" fmla="*/ 200 h 258"/>
                  <a:gd name="T122" fmla="*/ 312 w 313"/>
                  <a:gd name="T123" fmla="*/ 190 h 25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13"/>
                  <a:gd name="T187" fmla="*/ 0 h 258"/>
                  <a:gd name="T188" fmla="*/ 313 w 313"/>
                  <a:gd name="T189" fmla="*/ 258 h 25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13" h="258">
                    <a:moveTo>
                      <a:pt x="311" y="188"/>
                    </a:moveTo>
                    <a:lnTo>
                      <a:pt x="311" y="183"/>
                    </a:lnTo>
                    <a:lnTo>
                      <a:pt x="311" y="182"/>
                    </a:lnTo>
                    <a:lnTo>
                      <a:pt x="308" y="182"/>
                    </a:lnTo>
                    <a:lnTo>
                      <a:pt x="310" y="181"/>
                    </a:lnTo>
                    <a:lnTo>
                      <a:pt x="308" y="179"/>
                    </a:lnTo>
                    <a:lnTo>
                      <a:pt x="307" y="176"/>
                    </a:lnTo>
                    <a:lnTo>
                      <a:pt x="305" y="175"/>
                    </a:lnTo>
                    <a:lnTo>
                      <a:pt x="302" y="176"/>
                    </a:lnTo>
                    <a:lnTo>
                      <a:pt x="300" y="174"/>
                    </a:lnTo>
                    <a:lnTo>
                      <a:pt x="299" y="176"/>
                    </a:lnTo>
                    <a:lnTo>
                      <a:pt x="297" y="173"/>
                    </a:lnTo>
                    <a:lnTo>
                      <a:pt x="296" y="173"/>
                    </a:lnTo>
                    <a:lnTo>
                      <a:pt x="295" y="171"/>
                    </a:lnTo>
                    <a:lnTo>
                      <a:pt x="298" y="171"/>
                    </a:lnTo>
                    <a:lnTo>
                      <a:pt x="298" y="170"/>
                    </a:lnTo>
                    <a:lnTo>
                      <a:pt x="297" y="169"/>
                    </a:lnTo>
                    <a:lnTo>
                      <a:pt x="298" y="168"/>
                    </a:lnTo>
                    <a:lnTo>
                      <a:pt x="301" y="167"/>
                    </a:lnTo>
                    <a:lnTo>
                      <a:pt x="301" y="168"/>
                    </a:lnTo>
                    <a:lnTo>
                      <a:pt x="301" y="167"/>
                    </a:lnTo>
                    <a:lnTo>
                      <a:pt x="305" y="169"/>
                    </a:lnTo>
                    <a:lnTo>
                      <a:pt x="305" y="168"/>
                    </a:lnTo>
                    <a:lnTo>
                      <a:pt x="305" y="169"/>
                    </a:lnTo>
                    <a:lnTo>
                      <a:pt x="306" y="168"/>
                    </a:lnTo>
                    <a:lnTo>
                      <a:pt x="307" y="169"/>
                    </a:lnTo>
                    <a:lnTo>
                      <a:pt x="306" y="169"/>
                    </a:lnTo>
                    <a:lnTo>
                      <a:pt x="309" y="172"/>
                    </a:lnTo>
                    <a:lnTo>
                      <a:pt x="310" y="172"/>
                    </a:lnTo>
                    <a:lnTo>
                      <a:pt x="309" y="169"/>
                    </a:lnTo>
                    <a:lnTo>
                      <a:pt x="311" y="169"/>
                    </a:lnTo>
                    <a:lnTo>
                      <a:pt x="309" y="167"/>
                    </a:lnTo>
                    <a:lnTo>
                      <a:pt x="309" y="166"/>
                    </a:lnTo>
                    <a:lnTo>
                      <a:pt x="306" y="164"/>
                    </a:lnTo>
                    <a:lnTo>
                      <a:pt x="307" y="162"/>
                    </a:lnTo>
                    <a:lnTo>
                      <a:pt x="306" y="162"/>
                    </a:lnTo>
                    <a:lnTo>
                      <a:pt x="308" y="162"/>
                    </a:lnTo>
                    <a:lnTo>
                      <a:pt x="311" y="163"/>
                    </a:lnTo>
                    <a:lnTo>
                      <a:pt x="313" y="158"/>
                    </a:lnTo>
                    <a:lnTo>
                      <a:pt x="309" y="157"/>
                    </a:lnTo>
                    <a:lnTo>
                      <a:pt x="311" y="156"/>
                    </a:lnTo>
                    <a:lnTo>
                      <a:pt x="311" y="153"/>
                    </a:lnTo>
                    <a:lnTo>
                      <a:pt x="311" y="152"/>
                    </a:lnTo>
                    <a:lnTo>
                      <a:pt x="311" y="149"/>
                    </a:lnTo>
                    <a:lnTo>
                      <a:pt x="309" y="146"/>
                    </a:lnTo>
                    <a:lnTo>
                      <a:pt x="310" y="145"/>
                    </a:lnTo>
                    <a:lnTo>
                      <a:pt x="308" y="142"/>
                    </a:lnTo>
                    <a:lnTo>
                      <a:pt x="307" y="142"/>
                    </a:lnTo>
                    <a:lnTo>
                      <a:pt x="306" y="141"/>
                    </a:lnTo>
                    <a:lnTo>
                      <a:pt x="308" y="139"/>
                    </a:lnTo>
                    <a:lnTo>
                      <a:pt x="306" y="139"/>
                    </a:lnTo>
                    <a:lnTo>
                      <a:pt x="303" y="137"/>
                    </a:lnTo>
                    <a:lnTo>
                      <a:pt x="303" y="135"/>
                    </a:lnTo>
                    <a:lnTo>
                      <a:pt x="306" y="135"/>
                    </a:lnTo>
                    <a:lnTo>
                      <a:pt x="306" y="132"/>
                    </a:lnTo>
                    <a:lnTo>
                      <a:pt x="306" y="131"/>
                    </a:lnTo>
                    <a:lnTo>
                      <a:pt x="307" y="131"/>
                    </a:lnTo>
                    <a:lnTo>
                      <a:pt x="306" y="129"/>
                    </a:lnTo>
                    <a:lnTo>
                      <a:pt x="308" y="129"/>
                    </a:lnTo>
                    <a:lnTo>
                      <a:pt x="308" y="128"/>
                    </a:lnTo>
                    <a:lnTo>
                      <a:pt x="306" y="127"/>
                    </a:lnTo>
                    <a:lnTo>
                      <a:pt x="306" y="125"/>
                    </a:lnTo>
                    <a:lnTo>
                      <a:pt x="305" y="125"/>
                    </a:lnTo>
                    <a:lnTo>
                      <a:pt x="303" y="126"/>
                    </a:lnTo>
                    <a:lnTo>
                      <a:pt x="301" y="125"/>
                    </a:lnTo>
                    <a:lnTo>
                      <a:pt x="300" y="122"/>
                    </a:lnTo>
                    <a:lnTo>
                      <a:pt x="301" y="121"/>
                    </a:lnTo>
                    <a:lnTo>
                      <a:pt x="300" y="120"/>
                    </a:lnTo>
                    <a:lnTo>
                      <a:pt x="301" y="119"/>
                    </a:lnTo>
                    <a:lnTo>
                      <a:pt x="303" y="119"/>
                    </a:lnTo>
                    <a:lnTo>
                      <a:pt x="305" y="118"/>
                    </a:lnTo>
                    <a:lnTo>
                      <a:pt x="305" y="115"/>
                    </a:lnTo>
                    <a:lnTo>
                      <a:pt x="305" y="111"/>
                    </a:lnTo>
                    <a:lnTo>
                      <a:pt x="303" y="111"/>
                    </a:lnTo>
                    <a:lnTo>
                      <a:pt x="304" y="108"/>
                    </a:lnTo>
                    <a:lnTo>
                      <a:pt x="305" y="107"/>
                    </a:lnTo>
                    <a:lnTo>
                      <a:pt x="301" y="105"/>
                    </a:lnTo>
                    <a:lnTo>
                      <a:pt x="300" y="105"/>
                    </a:lnTo>
                    <a:lnTo>
                      <a:pt x="301" y="105"/>
                    </a:lnTo>
                    <a:lnTo>
                      <a:pt x="303" y="101"/>
                    </a:lnTo>
                    <a:lnTo>
                      <a:pt x="302" y="100"/>
                    </a:lnTo>
                    <a:lnTo>
                      <a:pt x="303" y="100"/>
                    </a:lnTo>
                    <a:lnTo>
                      <a:pt x="305" y="98"/>
                    </a:lnTo>
                    <a:lnTo>
                      <a:pt x="304" y="98"/>
                    </a:lnTo>
                    <a:lnTo>
                      <a:pt x="304" y="96"/>
                    </a:lnTo>
                    <a:lnTo>
                      <a:pt x="306" y="95"/>
                    </a:lnTo>
                    <a:lnTo>
                      <a:pt x="307" y="93"/>
                    </a:lnTo>
                    <a:lnTo>
                      <a:pt x="305" y="92"/>
                    </a:lnTo>
                    <a:lnTo>
                      <a:pt x="306" y="90"/>
                    </a:lnTo>
                    <a:lnTo>
                      <a:pt x="305" y="90"/>
                    </a:lnTo>
                    <a:lnTo>
                      <a:pt x="305" y="89"/>
                    </a:lnTo>
                    <a:lnTo>
                      <a:pt x="305" y="88"/>
                    </a:lnTo>
                    <a:lnTo>
                      <a:pt x="305" y="86"/>
                    </a:lnTo>
                    <a:lnTo>
                      <a:pt x="306" y="85"/>
                    </a:lnTo>
                    <a:lnTo>
                      <a:pt x="307" y="84"/>
                    </a:lnTo>
                    <a:lnTo>
                      <a:pt x="309" y="84"/>
                    </a:lnTo>
                    <a:lnTo>
                      <a:pt x="309" y="82"/>
                    </a:lnTo>
                    <a:lnTo>
                      <a:pt x="309" y="78"/>
                    </a:lnTo>
                    <a:lnTo>
                      <a:pt x="310" y="77"/>
                    </a:lnTo>
                    <a:lnTo>
                      <a:pt x="308" y="75"/>
                    </a:lnTo>
                    <a:lnTo>
                      <a:pt x="307" y="70"/>
                    </a:lnTo>
                    <a:lnTo>
                      <a:pt x="303" y="67"/>
                    </a:lnTo>
                    <a:lnTo>
                      <a:pt x="305" y="65"/>
                    </a:lnTo>
                    <a:lnTo>
                      <a:pt x="302" y="65"/>
                    </a:lnTo>
                    <a:lnTo>
                      <a:pt x="300" y="67"/>
                    </a:lnTo>
                    <a:lnTo>
                      <a:pt x="298" y="67"/>
                    </a:lnTo>
                    <a:lnTo>
                      <a:pt x="297" y="68"/>
                    </a:lnTo>
                    <a:lnTo>
                      <a:pt x="297" y="67"/>
                    </a:lnTo>
                    <a:lnTo>
                      <a:pt x="293" y="67"/>
                    </a:lnTo>
                    <a:lnTo>
                      <a:pt x="292" y="66"/>
                    </a:lnTo>
                    <a:lnTo>
                      <a:pt x="290" y="66"/>
                    </a:lnTo>
                    <a:lnTo>
                      <a:pt x="290" y="65"/>
                    </a:lnTo>
                    <a:lnTo>
                      <a:pt x="289" y="65"/>
                    </a:lnTo>
                    <a:lnTo>
                      <a:pt x="289" y="63"/>
                    </a:lnTo>
                    <a:lnTo>
                      <a:pt x="285" y="63"/>
                    </a:lnTo>
                    <a:lnTo>
                      <a:pt x="284" y="62"/>
                    </a:lnTo>
                    <a:lnTo>
                      <a:pt x="281" y="63"/>
                    </a:lnTo>
                    <a:lnTo>
                      <a:pt x="281" y="65"/>
                    </a:lnTo>
                    <a:lnTo>
                      <a:pt x="280" y="65"/>
                    </a:lnTo>
                    <a:lnTo>
                      <a:pt x="279" y="66"/>
                    </a:lnTo>
                    <a:lnTo>
                      <a:pt x="277" y="65"/>
                    </a:lnTo>
                    <a:lnTo>
                      <a:pt x="278" y="64"/>
                    </a:lnTo>
                    <a:lnTo>
                      <a:pt x="277" y="63"/>
                    </a:lnTo>
                    <a:lnTo>
                      <a:pt x="276" y="63"/>
                    </a:lnTo>
                    <a:lnTo>
                      <a:pt x="274" y="61"/>
                    </a:lnTo>
                    <a:lnTo>
                      <a:pt x="273" y="62"/>
                    </a:lnTo>
                    <a:lnTo>
                      <a:pt x="273" y="60"/>
                    </a:lnTo>
                    <a:lnTo>
                      <a:pt x="275" y="60"/>
                    </a:lnTo>
                    <a:lnTo>
                      <a:pt x="276" y="56"/>
                    </a:lnTo>
                    <a:lnTo>
                      <a:pt x="279" y="56"/>
                    </a:lnTo>
                    <a:lnTo>
                      <a:pt x="279" y="55"/>
                    </a:lnTo>
                    <a:lnTo>
                      <a:pt x="276" y="50"/>
                    </a:lnTo>
                    <a:lnTo>
                      <a:pt x="276" y="49"/>
                    </a:lnTo>
                    <a:lnTo>
                      <a:pt x="274" y="50"/>
                    </a:lnTo>
                    <a:lnTo>
                      <a:pt x="272" y="49"/>
                    </a:lnTo>
                    <a:lnTo>
                      <a:pt x="269" y="44"/>
                    </a:lnTo>
                    <a:lnTo>
                      <a:pt x="269" y="46"/>
                    </a:lnTo>
                    <a:lnTo>
                      <a:pt x="263" y="44"/>
                    </a:lnTo>
                    <a:lnTo>
                      <a:pt x="262" y="46"/>
                    </a:lnTo>
                    <a:lnTo>
                      <a:pt x="257" y="43"/>
                    </a:lnTo>
                    <a:lnTo>
                      <a:pt x="257" y="39"/>
                    </a:lnTo>
                    <a:lnTo>
                      <a:pt x="254" y="40"/>
                    </a:lnTo>
                    <a:lnTo>
                      <a:pt x="250" y="42"/>
                    </a:lnTo>
                    <a:lnTo>
                      <a:pt x="249" y="41"/>
                    </a:lnTo>
                    <a:lnTo>
                      <a:pt x="250" y="40"/>
                    </a:lnTo>
                    <a:lnTo>
                      <a:pt x="249" y="40"/>
                    </a:lnTo>
                    <a:lnTo>
                      <a:pt x="248" y="39"/>
                    </a:lnTo>
                    <a:lnTo>
                      <a:pt x="244" y="40"/>
                    </a:lnTo>
                    <a:lnTo>
                      <a:pt x="243" y="37"/>
                    </a:lnTo>
                    <a:lnTo>
                      <a:pt x="242" y="34"/>
                    </a:lnTo>
                    <a:lnTo>
                      <a:pt x="238" y="32"/>
                    </a:lnTo>
                    <a:lnTo>
                      <a:pt x="235" y="31"/>
                    </a:lnTo>
                    <a:lnTo>
                      <a:pt x="235" y="28"/>
                    </a:lnTo>
                    <a:lnTo>
                      <a:pt x="230" y="22"/>
                    </a:lnTo>
                    <a:lnTo>
                      <a:pt x="229" y="21"/>
                    </a:lnTo>
                    <a:lnTo>
                      <a:pt x="228" y="21"/>
                    </a:lnTo>
                    <a:lnTo>
                      <a:pt x="225" y="18"/>
                    </a:lnTo>
                    <a:lnTo>
                      <a:pt x="215" y="8"/>
                    </a:lnTo>
                    <a:lnTo>
                      <a:pt x="212" y="4"/>
                    </a:lnTo>
                    <a:lnTo>
                      <a:pt x="207" y="0"/>
                    </a:lnTo>
                    <a:lnTo>
                      <a:pt x="206" y="4"/>
                    </a:lnTo>
                    <a:lnTo>
                      <a:pt x="203" y="7"/>
                    </a:lnTo>
                    <a:lnTo>
                      <a:pt x="203" y="9"/>
                    </a:lnTo>
                    <a:lnTo>
                      <a:pt x="203" y="11"/>
                    </a:lnTo>
                    <a:lnTo>
                      <a:pt x="203" y="13"/>
                    </a:lnTo>
                    <a:lnTo>
                      <a:pt x="202" y="9"/>
                    </a:lnTo>
                    <a:lnTo>
                      <a:pt x="200" y="4"/>
                    </a:lnTo>
                    <a:lnTo>
                      <a:pt x="183" y="9"/>
                    </a:lnTo>
                    <a:lnTo>
                      <a:pt x="181" y="14"/>
                    </a:lnTo>
                    <a:lnTo>
                      <a:pt x="178" y="15"/>
                    </a:lnTo>
                    <a:lnTo>
                      <a:pt x="175" y="19"/>
                    </a:lnTo>
                    <a:lnTo>
                      <a:pt x="173" y="21"/>
                    </a:lnTo>
                    <a:lnTo>
                      <a:pt x="174" y="22"/>
                    </a:lnTo>
                    <a:lnTo>
                      <a:pt x="173" y="24"/>
                    </a:lnTo>
                    <a:lnTo>
                      <a:pt x="171" y="21"/>
                    </a:lnTo>
                    <a:lnTo>
                      <a:pt x="170" y="20"/>
                    </a:lnTo>
                    <a:lnTo>
                      <a:pt x="168" y="17"/>
                    </a:lnTo>
                    <a:lnTo>
                      <a:pt x="166" y="13"/>
                    </a:lnTo>
                    <a:lnTo>
                      <a:pt x="161" y="15"/>
                    </a:lnTo>
                    <a:lnTo>
                      <a:pt x="158" y="15"/>
                    </a:lnTo>
                    <a:lnTo>
                      <a:pt x="157" y="14"/>
                    </a:lnTo>
                    <a:lnTo>
                      <a:pt x="153" y="11"/>
                    </a:lnTo>
                    <a:lnTo>
                      <a:pt x="150" y="11"/>
                    </a:lnTo>
                    <a:lnTo>
                      <a:pt x="150" y="12"/>
                    </a:lnTo>
                    <a:lnTo>
                      <a:pt x="146" y="15"/>
                    </a:lnTo>
                    <a:lnTo>
                      <a:pt x="145" y="15"/>
                    </a:lnTo>
                    <a:lnTo>
                      <a:pt x="144" y="14"/>
                    </a:lnTo>
                    <a:lnTo>
                      <a:pt x="142" y="14"/>
                    </a:lnTo>
                    <a:lnTo>
                      <a:pt x="140" y="13"/>
                    </a:lnTo>
                    <a:lnTo>
                      <a:pt x="139" y="15"/>
                    </a:lnTo>
                    <a:lnTo>
                      <a:pt x="134" y="16"/>
                    </a:lnTo>
                    <a:lnTo>
                      <a:pt x="132" y="16"/>
                    </a:lnTo>
                    <a:lnTo>
                      <a:pt x="131" y="15"/>
                    </a:lnTo>
                    <a:lnTo>
                      <a:pt x="130" y="16"/>
                    </a:lnTo>
                    <a:lnTo>
                      <a:pt x="127" y="14"/>
                    </a:lnTo>
                    <a:lnTo>
                      <a:pt x="126" y="16"/>
                    </a:lnTo>
                    <a:lnTo>
                      <a:pt x="122" y="15"/>
                    </a:lnTo>
                    <a:lnTo>
                      <a:pt x="121" y="14"/>
                    </a:lnTo>
                    <a:lnTo>
                      <a:pt x="121" y="17"/>
                    </a:lnTo>
                    <a:lnTo>
                      <a:pt x="118" y="19"/>
                    </a:lnTo>
                    <a:lnTo>
                      <a:pt x="116" y="22"/>
                    </a:lnTo>
                    <a:lnTo>
                      <a:pt x="114" y="24"/>
                    </a:lnTo>
                    <a:lnTo>
                      <a:pt x="113" y="26"/>
                    </a:lnTo>
                    <a:lnTo>
                      <a:pt x="114" y="33"/>
                    </a:lnTo>
                    <a:lnTo>
                      <a:pt x="113" y="35"/>
                    </a:lnTo>
                    <a:lnTo>
                      <a:pt x="111" y="37"/>
                    </a:lnTo>
                    <a:lnTo>
                      <a:pt x="107" y="32"/>
                    </a:lnTo>
                    <a:lnTo>
                      <a:pt x="104" y="33"/>
                    </a:lnTo>
                    <a:lnTo>
                      <a:pt x="104" y="34"/>
                    </a:lnTo>
                    <a:lnTo>
                      <a:pt x="101" y="36"/>
                    </a:lnTo>
                    <a:lnTo>
                      <a:pt x="99" y="37"/>
                    </a:lnTo>
                    <a:lnTo>
                      <a:pt x="98" y="39"/>
                    </a:lnTo>
                    <a:lnTo>
                      <a:pt x="96" y="40"/>
                    </a:lnTo>
                    <a:lnTo>
                      <a:pt x="97" y="43"/>
                    </a:lnTo>
                    <a:lnTo>
                      <a:pt x="95" y="45"/>
                    </a:lnTo>
                    <a:lnTo>
                      <a:pt x="94" y="44"/>
                    </a:lnTo>
                    <a:lnTo>
                      <a:pt x="93" y="45"/>
                    </a:lnTo>
                    <a:lnTo>
                      <a:pt x="91" y="44"/>
                    </a:lnTo>
                    <a:lnTo>
                      <a:pt x="88" y="44"/>
                    </a:lnTo>
                    <a:lnTo>
                      <a:pt x="86" y="44"/>
                    </a:lnTo>
                    <a:lnTo>
                      <a:pt x="86" y="46"/>
                    </a:lnTo>
                    <a:lnTo>
                      <a:pt x="85" y="50"/>
                    </a:lnTo>
                    <a:lnTo>
                      <a:pt x="86" y="53"/>
                    </a:lnTo>
                    <a:lnTo>
                      <a:pt x="85" y="57"/>
                    </a:lnTo>
                    <a:lnTo>
                      <a:pt x="83" y="59"/>
                    </a:lnTo>
                    <a:lnTo>
                      <a:pt x="80" y="59"/>
                    </a:lnTo>
                    <a:lnTo>
                      <a:pt x="76" y="60"/>
                    </a:lnTo>
                    <a:lnTo>
                      <a:pt x="76" y="61"/>
                    </a:lnTo>
                    <a:lnTo>
                      <a:pt x="75" y="62"/>
                    </a:lnTo>
                    <a:lnTo>
                      <a:pt x="73" y="63"/>
                    </a:lnTo>
                    <a:lnTo>
                      <a:pt x="73" y="67"/>
                    </a:lnTo>
                    <a:lnTo>
                      <a:pt x="70" y="69"/>
                    </a:lnTo>
                    <a:lnTo>
                      <a:pt x="69" y="74"/>
                    </a:lnTo>
                    <a:lnTo>
                      <a:pt x="70" y="77"/>
                    </a:lnTo>
                    <a:lnTo>
                      <a:pt x="70" y="79"/>
                    </a:lnTo>
                    <a:lnTo>
                      <a:pt x="68" y="80"/>
                    </a:lnTo>
                    <a:lnTo>
                      <a:pt x="69" y="81"/>
                    </a:lnTo>
                    <a:lnTo>
                      <a:pt x="67" y="81"/>
                    </a:lnTo>
                    <a:lnTo>
                      <a:pt x="67" y="82"/>
                    </a:lnTo>
                    <a:lnTo>
                      <a:pt x="66" y="78"/>
                    </a:lnTo>
                    <a:lnTo>
                      <a:pt x="63" y="77"/>
                    </a:lnTo>
                    <a:lnTo>
                      <a:pt x="63" y="79"/>
                    </a:lnTo>
                    <a:lnTo>
                      <a:pt x="62" y="81"/>
                    </a:lnTo>
                    <a:lnTo>
                      <a:pt x="62" y="82"/>
                    </a:lnTo>
                    <a:lnTo>
                      <a:pt x="62" y="85"/>
                    </a:lnTo>
                    <a:lnTo>
                      <a:pt x="62" y="88"/>
                    </a:lnTo>
                    <a:lnTo>
                      <a:pt x="62" y="90"/>
                    </a:lnTo>
                    <a:lnTo>
                      <a:pt x="60" y="88"/>
                    </a:lnTo>
                    <a:lnTo>
                      <a:pt x="60" y="92"/>
                    </a:lnTo>
                    <a:lnTo>
                      <a:pt x="59" y="94"/>
                    </a:lnTo>
                    <a:lnTo>
                      <a:pt x="59" y="97"/>
                    </a:lnTo>
                    <a:lnTo>
                      <a:pt x="61" y="97"/>
                    </a:lnTo>
                    <a:lnTo>
                      <a:pt x="60" y="99"/>
                    </a:lnTo>
                    <a:lnTo>
                      <a:pt x="61" y="101"/>
                    </a:lnTo>
                    <a:lnTo>
                      <a:pt x="61" y="103"/>
                    </a:lnTo>
                    <a:lnTo>
                      <a:pt x="59" y="103"/>
                    </a:lnTo>
                    <a:lnTo>
                      <a:pt x="58" y="105"/>
                    </a:lnTo>
                    <a:lnTo>
                      <a:pt x="57" y="105"/>
                    </a:lnTo>
                    <a:lnTo>
                      <a:pt x="58" y="107"/>
                    </a:lnTo>
                    <a:lnTo>
                      <a:pt x="58" y="108"/>
                    </a:lnTo>
                    <a:lnTo>
                      <a:pt x="60" y="110"/>
                    </a:lnTo>
                    <a:lnTo>
                      <a:pt x="59" y="111"/>
                    </a:lnTo>
                    <a:lnTo>
                      <a:pt x="54" y="109"/>
                    </a:lnTo>
                    <a:lnTo>
                      <a:pt x="50" y="107"/>
                    </a:lnTo>
                    <a:lnTo>
                      <a:pt x="49" y="107"/>
                    </a:lnTo>
                    <a:lnTo>
                      <a:pt x="47" y="106"/>
                    </a:lnTo>
                    <a:lnTo>
                      <a:pt x="49" y="103"/>
                    </a:lnTo>
                    <a:lnTo>
                      <a:pt x="48" y="101"/>
                    </a:lnTo>
                    <a:lnTo>
                      <a:pt x="47" y="102"/>
                    </a:lnTo>
                    <a:lnTo>
                      <a:pt x="47" y="99"/>
                    </a:lnTo>
                    <a:lnTo>
                      <a:pt x="45" y="100"/>
                    </a:lnTo>
                    <a:lnTo>
                      <a:pt x="45" y="98"/>
                    </a:lnTo>
                    <a:lnTo>
                      <a:pt x="45" y="96"/>
                    </a:lnTo>
                    <a:lnTo>
                      <a:pt x="45" y="95"/>
                    </a:lnTo>
                    <a:lnTo>
                      <a:pt x="49" y="94"/>
                    </a:lnTo>
                    <a:lnTo>
                      <a:pt x="49" y="93"/>
                    </a:lnTo>
                    <a:lnTo>
                      <a:pt x="48" y="92"/>
                    </a:lnTo>
                    <a:lnTo>
                      <a:pt x="49" y="91"/>
                    </a:lnTo>
                    <a:lnTo>
                      <a:pt x="47" y="91"/>
                    </a:lnTo>
                    <a:lnTo>
                      <a:pt x="48" y="89"/>
                    </a:lnTo>
                    <a:lnTo>
                      <a:pt x="51" y="86"/>
                    </a:lnTo>
                    <a:lnTo>
                      <a:pt x="49" y="84"/>
                    </a:lnTo>
                    <a:lnTo>
                      <a:pt x="47" y="84"/>
                    </a:lnTo>
                    <a:lnTo>
                      <a:pt x="49" y="84"/>
                    </a:lnTo>
                    <a:lnTo>
                      <a:pt x="48" y="84"/>
                    </a:lnTo>
                    <a:lnTo>
                      <a:pt x="50" y="84"/>
                    </a:lnTo>
                    <a:lnTo>
                      <a:pt x="47" y="79"/>
                    </a:lnTo>
                    <a:lnTo>
                      <a:pt x="45" y="80"/>
                    </a:lnTo>
                    <a:lnTo>
                      <a:pt x="44" y="78"/>
                    </a:lnTo>
                    <a:lnTo>
                      <a:pt x="42" y="76"/>
                    </a:lnTo>
                    <a:lnTo>
                      <a:pt x="42" y="74"/>
                    </a:lnTo>
                    <a:lnTo>
                      <a:pt x="39" y="71"/>
                    </a:lnTo>
                    <a:lnTo>
                      <a:pt x="40" y="70"/>
                    </a:lnTo>
                    <a:lnTo>
                      <a:pt x="42" y="68"/>
                    </a:lnTo>
                    <a:lnTo>
                      <a:pt x="41" y="66"/>
                    </a:lnTo>
                    <a:lnTo>
                      <a:pt x="42" y="68"/>
                    </a:lnTo>
                    <a:lnTo>
                      <a:pt x="44" y="70"/>
                    </a:lnTo>
                    <a:lnTo>
                      <a:pt x="46" y="71"/>
                    </a:lnTo>
                    <a:lnTo>
                      <a:pt x="45" y="69"/>
                    </a:lnTo>
                    <a:lnTo>
                      <a:pt x="46" y="67"/>
                    </a:lnTo>
                    <a:lnTo>
                      <a:pt x="45" y="65"/>
                    </a:lnTo>
                    <a:lnTo>
                      <a:pt x="44" y="61"/>
                    </a:lnTo>
                    <a:lnTo>
                      <a:pt x="42" y="61"/>
                    </a:lnTo>
                    <a:lnTo>
                      <a:pt x="39" y="61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1" y="57"/>
                    </a:lnTo>
                    <a:lnTo>
                      <a:pt x="31" y="56"/>
                    </a:lnTo>
                    <a:lnTo>
                      <a:pt x="32" y="50"/>
                    </a:lnTo>
                    <a:lnTo>
                      <a:pt x="31" y="48"/>
                    </a:lnTo>
                    <a:lnTo>
                      <a:pt x="33" y="40"/>
                    </a:lnTo>
                    <a:lnTo>
                      <a:pt x="32" y="41"/>
                    </a:lnTo>
                    <a:lnTo>
                      <a:pt x="31" y="39"/>
                    </a:lnTo>
                    <a:lnTo>
                      <a:pt x="29" y="38"/>
                    </a:lnTo>
                    <a:lnTo>
                      <a:pt x="29" y="36"/>
                    </a:lnTo>
                    <a:lnTo>
                      <a:pt x="29" y="33"/>
                    </a:lnTo>
                    <a:lnTo>
                      <a:pt x="24" y="33"/>
                    </a:lnTo>
                    <a:lnTo>
                      <a:pt x="20" y="31"/>
                    </a:lnTo>
                    <a:lnTo>
                      <a:pt x="15" y="32"/>
                    </a:lnTo>
                    <a:lnTo>
                      <a:pt x="13" y="33"/>
                    </a:lnTo>
                    <a:lnTo>
                      <a:pt x="10" y="33"/>
                    </a:lnTo>
                    <a:lnTo>
                      <a:pt x="11" y="31"/>
                    </a:lnTo>
                    <a:lnTo>
                      <a:pt x="10" y="31"/>
                    </a:lnTo>
                    <a:lnTo>
                      <a:pt x="9" y="29"/>
                    </a:lnTo>
                    <a:lnTo>
                      <a:pt x="7" y="31"/>
                    </a:lnTo>
                    <a:lnTo>
                      <a:pt x="8" y="33"/>
                    </a:lnTo>
                    <a:lnTo>
                      <a:pt x="10" y="34"/>
                    </a:lnTo>
                    <a:lnTo>
                      <a:pt x="13" y="37"/>
                    </a:lnTo>
                    <a:lnTo>
                      <a:pt x="13" y="38"/>
                    </a:lnTo>
                    <a:lnTo>
                      <a:pt x="11" y="40"/>
                    </a:lnTo>
                    <a:lnTo>
                      <a:pt x="11" y="44"/>
                    </a:lnTo>
                    <a:lnTo>
                      <a:pt x="14" y="49"/>
                    </a:lnTo>
                    <a:lnTo>
                      <a:pt x="14" y="50"/>
                    </a:lnTo>
                    <a:lnTo>
                      <a:pt x="15" y="51"/>
                    </a:lnTo>
                    <a:lnTo>
                      <a:pt x="14" y="53"/>
                    </a:lnTo>
                    <a:lnTo>
                      <a:pt x="10" y="55"/>
                    </a:lnTo>
                    <a:lnTo>
                      <a:pt x="9" y="55"/>
                    </a:lnTo>
                    <a:lnTo>
                      <a:pt x="9" y="56"/>
                    </a:lnTo>
                    <a:lnTo>
                      <a:pt x="7" y="55"/>
                    </a:lnTo>
                    <a:lnTo>
                      <a:pt x="5" y="56"/>
                    </a:lnTo>
                    <a:lnTo>
                      <a:pt x="2" y="57"/>
                    </a:lnTo>
                    <a:lnTo>
                      <a:pt x="4" y="59"/>
                    </a:lnTo>
                    <a:lnTo>
                      <a:pt x="3" y="60"/>
                    </a:lnTo>
                    <a:lnTo>
                      <a:pt x="2" y="61"/>
                    </a:lnTo>
                    <a:lnTo>
                      <a:pt x="0" y="61"/>
                    </a:lnTo>
                    <a:lnTo>
                      <a:pt x="0" y="62"/>
                    </a:lnTo>
                    <a:lnTo>
                      <a:pt x="2" y="65"/>
                    </a:lnTo>
                    <a:lnTo>
                      <a:pt x="4" y="65"/>
                    </a:lnTo>
                    <a:lnTo>
                      <a:pt x="4" y="68"/>
                    </a:lnTo>
                    <a:lnTo>
                      <a:pt x="8" y="72"/>
                    </a:lnTo>
                    <a:lnTo>
                      <a:pt x="12" y="74"/>
                    </a:lnTo>
                    <a:lnTo>
                      <a:pt x="12" y="73"/>
                    </a:lnTo>
                    <a:lnTo>
                      <a:pt x="15" y="72"/>
                    </a:lnTo>
                    <a:lnTo>
                      <a:pt x="15" y="73"/>
                    </a:lnTo>
                    <a:lnTo>
                      <a:pt x="12" y="74"/>
                    </a:lnTo>
                    <a:lnTo>
                      <a:pt x="15" y="75"/>
                    </a:lnTo>
                    <a:lnTo>
                      <a:pt x="16" y="77"/>
                    </a:lnTo>
                    <a:lnTo>
                      <a:pt x="15" y="78"/>
                    </a:lnTo>
                    <a:lnTo>
                      <a:pt x="17" y="78"/>
                    </a:lnTo>
                    <a:lnTo>
                      <a:pt x="16" y="80"/>
                    </a:lnTo>
                    <a:lnTo>
                      <a:pt x="17" y="80"/>
                    </a:lnTo>
                    <a:lnTo>
                      <a:pt x="15" y="82"/>
                    </a:lnTo>
                    <a:lnTo>
                      <a:pt x="15" y="84"/>
                    </a:lnTo>
                    <a:lnTo>
                      <a:pt x="17" y="83"/>
                    </a:lnTo>
                    <a:lnTo>
                      <a:pt x="20" y="84"/>
                    </a:lnTo>
                    <a:lnTo>
                      <a:pt x="20" y="88"/>
                    </a:lnTo>
                    <a:lnTo>
                      <a:pt x="21" y="88"/>
                    </a:lnTo>
                    <a:lnTo>
                      <a:pt x="21" y="89"/>
                    </a:lnTo>
                    <a:lnTo>
                      <a:pt x="20" y="90"/>
                    </a:lnTo>
                    <a:lnTo>
                      <a:pt x="22" y="90"/>
                    </a:lnTo>
                    <a:lnTo>
                      <a:pt x="23" y="91"/>
                    </a:lnTo>
                    <a:lnTo>
                      <a:pt x="24" y="91"/>
                    </a:lnTo>
                    <a:lnTo>
                      <a:pt x="22" y="91"/>
                    </a:lnTo>
                    <a:lnTo>
                      <a:pt x="21" y="93"/>
                    </a:lnTo>
                    <a:lnTo>
                      <a:pt x="25" y="97"/>
                    </a:lnTo>
                    <a:lnTo>
                      <a:pt x="25" y="101"/>
                    </a:lnTo>
                    <a:lnTo>
                      <a:pt x="25" y="103"/>
                    </a:lnTo>
                    <a:lnTo>
                      <a:pt x="25" y="105"/>
                    </a:lnTo>
                    <a:lnTo>
                      <a:pt x="27" y="107"/>
                    </a:lnTo>
                    <a:lnTo>
                      <a:pt x="25" y="110"/>
                    </a:lnTo>
                    <a:lnTo>
                      <a:pt x="21" y="113"/>
                    </a:lnTo>
                    <a:lnTo>
                      <a:pt x="22" y="114"/>
                    </a:lnTo>
                    <a:lnTo>
                      <a:pt x="22" y="116"/>
                    </a:lnTo>
                    <a:lnTo>
                      <a:pt x="20" y="116"/>
                    </a:lnTo>
                    <a:lnTo>
                      <a:pt x="19" y="118"/>
                    </a:lnTo>
                    <a:lnTo>
                      <a:pt x="20" y="120"/>
                    </a:lnTo>
                    <a:lnTo>
                      <a:pt x="19" y="127"/>
                    </a:lnTo>
                    <a:lnTo>
                      <a:pt x="20" y="130"/>
                    </a:lnTo>
                    <a:lnTo>
                      <a:pt x="19" y="132"/>
                    </a:lnTo>
                    <a:lnTo>
                      <a:pt x="20" y="135"/>
                    </a:lnTo>
                    <a:lnTo>
                      <a:pt x="21" y="137"/>
                    </a:lnTo>
                    <a:lnTo>
                      <a:pt x="24" y="137"/>
                    </a:lnTo>
                    <a:lnTo>
                      <a:pt x="26" y="138"/>
                    </a:lnTo>
                    <a:lnTo>
                      <a:pt x="25" y="140"/>
                    </a:lnTo>
                    <a:lnTo>
                      <a:pt x="26" y="142"/>
                    </a:lnTo>
                    <a:lnTo>
                      <a:pt x="28" y="141"/>
                    </a:lnTo>
                    <a:lnTo>
                      <a:pt x="29" y="141"/>
                    </a:lnTo>
                    <a:lnTo>
                      <a:pt x="29" y="142"/>
                    </a:lnTo>
                    <a:lnTo>
                      <a:pt x="29" y="144"/>
                    </a:lnTo>
                    <a:lnTo>
                      <a:pt x="31" y="145"/>
                    </a:lnTo>
                    <a:lnTo>
                      <a:pt x="31" y="146"/>
                    </a:lnTo>
                    <a:lnTo>
                      <a:pt x="33" y="148"/>
                    </a:lnTo>
                    <a:lnTo>
                      <a:pt x="34" y="150"/>
                    </a:lnTo>
                    <a:lnTo>
                      <a:pt x="36" y="152"/>
                    </a:lnTo>
                    <a:lnTo>
                      <a:pt x="31" y="158"/>
                    </a:lnTo>
                    <a:lnTo>
                      <a:pt x="31" y="160"/>
                    </a:lnTo>
                    <a:lnTo>
                      <a:pt x="34" y="159"/>
                    </a:lnTo>
                    <a:lnTo>
                      <a:pt x="36" y="162"/>
                    </a:lnTo>
                    <a:lnTo>
                      <a:pt x="41" y="162"/>
                    </a:lnTo>
                    <a:lnTo>
                      <a:pt x="45" y="163"/>
                    </a:lnTo>
                    <a:lnTo>
                      <a:pt x="45" y="165"/>
                    </a:lnTo>
                    <a:lnTo>
                      <a:pt x="46" y="165"/>
                    </a:lnTo>
                    <a:lnTo>
                      <a:pt x="46" y="167"/>
                    </a:lnTo>
                    <a:lnTo>
                      <a:pt x="45" y="168"/>
                    </a:lnTo>
                    <a:lnTo>
                      <a:pt x="47" y="172"/>
                    </a:lnTo>
                    <a:lnTo>
                      <a:pt x="47" y="175"/>
                    </a:lnTo>
                    <a:lnTo>
                      <a:pt x="48" y="175"/>
                    </a:lnTo>
                    <a:lnTo>
                      <a:pt x="50" y="173"/>
                    </a:lnTo>
                    <a:lnTo>
                      <a:pt x="53" y="173"/>
                    </a:lnTo>
                    <a:lnTo>
                      <a:pt x="53" y="175"/>
                    </a:lnTo>
                    <a:lnTo>
                      <a:pt x="53" y="176"/>
                    </a:lnTo>
                    <a:lnTo>
                      <a:pt x="57" y="182"/>
                    </a:lnTo>
                    <a:lnTo>
                      <a:pt x="58" y="184"/>
                    </a:lnTo>
                    <a:lnTo>
                      <a:pt x="60" y="184"/>
                    </a:lnTo>
                    <a:lnTo>
                      <a:pt x="60" y="186"/>
                    </a:lnTo>
                    <a:lnTo>
                      <a:pt x="62" y="187"/>
                    </a:lnTo>
                    <a:lnTo>
                      <a:pt x="66" y="187"/>
                    </a:lnTo>
                    <a:lnTo>
                      <a:pt x="66" y="188"/>
                    </a:lnTo>
                    <a:lnTo>
                      <a:pt x="64" y="190"/>
                    </a:lnTo>
                    <a:lnTo>
                      <a:pt x="66" y="190"/>
                    </a:lnTo>
                    <a:lnTo>
                      <a:pt x="66" y="192"/>
                    </a:lnTo>
                    <a:lnTo>
                      <a:pt x="70" y="192"/>
                    </a:lnTo>
                    <a:lnTo>
                      <a:pt x="71" y="194"/>
                    </a:lnTo>
                    <a:lnTo>
                      <a:pt x="73" y="194"/>
                    </a:lnTo>
                    <a:lnTo>
                      <a:pt x="74" y="196"/>
                    </a:lnTo>
                    <a:lnTo>
                      <a:pt x="74" y="198"/>
                    </a:lnTo>
                    <a:lnTo>
                      <a:pt x="71" y="199"/>
                    </a:lnTo>
                    <a:lnTo>
                      <a:pt x="72" y="201"/>
                    </a:lnTo>
                    <a:lnTo>
                      <a:pt x="72" y="203"/>
                    </a:lnTo>
                    <a:lnTo>
                      <a:pt x="75" y="202"/>
                    </a:lnTo>
                    <a:lnTo>
                      <a:pt x="76" y="201"/>
                    </a:lnTo>
                    <a:lnTo>
                      <a:pt x="78" y="200"/>
                    </a:lnTo>
                    <a:lnTo>
                      <a:pt x="79" y="199"/>
                    </a:lnTo>
                    <a:lnTo>
                      <a:pt x="80" y="199"/>
                    </a:lnTo>
                    <a:lnTo>
                      <a:pt x="83" y="202"/>
                    </a:lnTo>
                    <a:lnTo>
                      <a:pt x="82" y="203"/>
                    </a:lnTo>
                    <a:lnTo>
                      <a:pt x="84" y="206"/>
                    </a:lnTo>
                    <a:lnTo>
                      <a:pt x="87" y="207"/>
                    </a:lnTo>
                    <a:lnTo>
                      <a:pt x="89" y="211"/>
                    </a:lnTo>
                    <a:lnTo>
                      <a:pt x="88" y="213"/>
                    </a:lnTo>
                    <a:lnTo>
                      <a:pt x="86" y="217"/>
                    </a:lnTo>
                    <a:lnTo>
                      <a:pt x="83" y="217"/>
                    </a:lnTo>
                    <a:lnTo>
                      <a:pt x="83" y="218"/>
                    </a:lnTo>
                    <a:lnTo>
                      <a:pt x="80" y="221"/>
                    </a:lnTo>
                    <a:lnTo>
                      <a:pt x="80" y="223"/>
                    </a:lnTo>
                    <a:lnTo>
                      <a:pt x="81" y="227"/>
                    </a:lnTo>
                    <a:lnTo>
                      <a:pt x="85" y="228"/>
                    </a:lnTo>
                    <a:lnTo>
                      <a:pt x="85" y="229"/>
                    </a:lnTo>
                    <a:lnTo>
                      <a:pt x="86" y="229"/>
                    </a:lnTo>
                    <a:lnTo>
                      <a:pt x="87" y="232"/>
                    </a:lnTo>
                    <a:lnTo>
                      <a:pt x="90" y="233"/>
                    </a:lnTo>
                    <a:lnTo>
                      <a:pt x="93" y="233"/>
                    </a:lnTo>
                    <a:lnTo>
                      <a:pt x="95" y="236"/>
                    </a:lnTo>
                    <a:lnTo>
                      <a:pt x="98" y="237"/>
                    </a:lnTo>
                    <a:lnTo>
                      <a:pt x="98" y="238"/>
                    </a:lnTo>
                    <a:lnTo>
                      <a:pt x="98" y="245"/>
                    </a:lnTo>
                    <a:lnTo>
                      <a:pt x="102" y="247"/>
                    </a:lnTo>
                    <a:lnTo>
                      <a:pt x="106" y="247"/>
                    </a:lnTo>
                    <a:lnTo>
                      <a:pt x="109" y="250"/>
                    </a:lnTo>
                    <a:lnTo>
                      <a:pt x="110" y="253"/>
                    </a:lnTo>
                    <a:lnTo>
                      <a:pt x="111" y="250"/>
                    </a:lnTo>
                    <a:lnTo>
                      <a:pt x="114" y="252"/>
                    </a:lnTo>
                    <a:lnTo>
                      <a:pt x="114" y="247"/>
                    </a:lnTo>
                    <a:lnTo>
                      <a:pt x="116" y="247"/>
                    </a:lnTo>
                    <a:lnTo>
                      <a:pt x="118" y="247"/>
                    </a:lnTo>
                    <a:lnTo>
                      <a:pt x="118" y="245"/>
                    </a:lnTo>
                    <a:lnTo>
                      <a:pt x="119" y="246"/>
                    </a:lnTo>
                    <a:lnTo>
                      <a:pt x="119" y="244"/>
                    </a:lnTo>
                    <a:lnTo>
                      <a:pt x="124" y="244"/>
                    </a:lnTo>
                    <a:lnTo>
                      <a:pt x="128" y="247"/>
                    </a:lnTo>
                    <a:lnTo>
                      <a:pt x="130" y="249"/>
                    </a:lnTo>
                    <a:lnTo>
                      <a:pt x="130" y="255"/>
                    </a:lnTo>
                    <a:lnTo>
                      <a:pt x="130" y="256"/>
                    </a:lnTo>
                    <a:lnTo>
                      <a:pt x="130" y="257"/>
                    </a:lnTo>
                    <a:lnTo>
                      <a:pt x="133" y="258"/>
                    </a:lnTo>
                    <a:lnTo>
                      <a:pt x="133" y="256"/>
                    </a:lnTo>
                    <a:lnTo>
                      <a:pt x="133" y="252"/>
                    </a:lnTo>
                    <a:lnTo>
                      <a:pt x="132" y="250"/>
                    </a:lnTo>
                    <a:lnTo>
                      <a:pt x="137" y="249"/>
                    </a:lnTo>
                    <a:lnTo>
                      <a:pt x="142" y="250"/>
                    </a:lnTo>
                    <a:lnTo>
                      <a:pt x="142" y="246"/>
                    </a:lnTo>
                    <a:lnTo>
                      <a:pt x="140" y="243"/>
                    </a:lnTo>
                    <a:lnTo>
                      <a:pt x="141" y="243"/>
                    </a:lnTo>
                    <a:lnTo>
                      <a:pt x="143" y="244"/>
                    </a:lnTo>
                    <a:lnTo>
                      <a:pt x="146" y="246"/>
                    </a:lnTo>
                    <a:lnTo>
                      <a:pt x="148" y="246"/>
                    </a:lnTo>
                    <a:lnTo>
                      <a:pt x="151" y="243"/>
                    </a:lnTo>
                    <a:lnTo>
                      <a:pt x="152" y="241"/>
                    </a:lnTo>
                    <a:lnTo>
                      <a:pt x="154" y="243"/>
                    </a:lnTo>
                    <a:lnTo>
                      <a:pt x="157" y="243"/>
                    </a:lnTo>
                    <a:lnTo>
                      <a:pt x="157" y="242"/>
                    </a:lnTo>
                    <a:lnTo>
                      <a:pt x="158" y="241"/>
                    </a:lnTo>
                    <a:lnTo>
                      <a:pt x="158" y="243"/>
                    </a:lnTo>
                    <a:lnTo>
                      <a:pt x="160" y="244"/>
                    </a:lnTo>
                    <a:lnTo>
                      <a:pt x="162" y="243"/>
                    </a:lnTo>
                    <a:lnTo>
                      <a:pt x="164" y="242"/>
                    </a:lnTo>
                    <a:lnTo>
                      <a:pt x="165" y="240"/>
                    </a:lnTo>
                    <a:lnTo>
                      <a:pt x="167" y="240"/>
                    </a:lnTo>
                    <a:lnTo>
                      <a:pt x="168" y="242"/>
                    </a:lnTo>
                    <a:lnTo>
                      <a:pt x="170" y="242"/>
                    </a:lnTo>
                    <a:lnTo>
                      <a:pt x="171" y="243"/>
                    </a:lnTo>
                    <a:lnTo>
                      <a:pt x="171" y="244"/>
                    </a:lnTo>
                    <a:lnTo>
                      <a:pt x="172" y="244"/>
                    </a:lnTo>
                    <a:lnTo>
                      <a:pt x="171" y="245"/>
                    </a:lnTo>
                    <a:lnTo>
                      <a:pt x="172" y="247"/>
                    </a:lnTo>
                    <a:lnTo>
                      <a:pt x="173" y="247"/>
                    </a:lnTo>
                    <a:lnTo>
                      <a:pt x="173" y="245"/>
                    </a:lnTo>
                    <a:lnTo>
                      <a:pt x="175" y="247"/>
                    </a:lnTo>
                    <a:lnTo>
                      <a:pt x="178" y="245"/>
                    </a:lnTo>
                    <a:lnTo>
                      <a:pt x="180" y="248"/>
                    </a:lnTo>
                    <a:lnTo>
                      <a:pt x="180" y="251"/>
                    </a:lnTo>
                    <a:lnTo>
                      <a:pt x="181" y="250"/>
                    </a:lnTo>
                    <a:lnTo>
                      <a:pt x="184" y="250"/>
                    </a:lnTo>
                    <a:lnTo>
                      <a:pt x="187" y="252"/>
                    </a:lnTo>
                    <a:lnTo>
                      <a:pt x="191" y="248"/>
                    </a:lnTo>
                    <a:lnTo>
                      <a:pt x="193" y="249"/>
                    </a:lnTo>
                    <a:lnTo>
                      <a:pt x="195" y="250"/>
                    </a:lnTo>
                    <a:lnTo>
                      <a:pt x="195" y="251"/>
                    </a:lnTo>
                    <a:lnTo>
                      <a:pt x="196" y="253"/>
                    </a:lnTo>
                    <a:lnTo>
                      <a:pt x="199" y="256"/>
                    </a:lnTo>
                    <a:lnTo>
                      <a:pt x="200" y="256"/>
                    </a:lnTo>
                    <a:lnTo>
                      <a:pt x="200" y="253"/>
                    </a:lnTo>
                    <a:lnTo>
                      <a:pt x="203" y="254"/>
                    </a:lnTo>
                    <a:lnTo>
                      <a:pt x="203" y="253"/>
                    </a:lnTo>
                    <a:lnTo>
                      <a:pt x="204" y="253"/>
                    </a:lnTo>
                    <a:lnTo>
                      <a:pt x="206" y="251"/>
                    </a:lnTo>
                    <a:lnTo>
                      <a:pt x="207" y="250"/>
                    </a:lnTo>
                    <a:lnTo>
                      <a:pt x="208" y="249"/>
                    </a:lnTo>
                    <a:lnTo>
                      <a:pt x="210" y="250"/>
                    </a:lnTo>
                    <a:lnTo>
                      <a:pt x="211" y="249"/>
                    </a:lnTo>
                    <a:lnTo>
                      <a:pt x="212" y="247"/>
                    </a:lnTo>
                    <a:lnTo>
                      <a:pt x="212" y="245"/>
                    </a:lnTo>
                    <a:lnTo>
                      <a:pt x="211" y="244"/>
                    </a:lnTo>
                    <a:lnTo>
                      <a:pt x="212" y="243"/>
                    </a:lnTo>
                    <a:lnTo>
                      <a:pt x="211" y="243"/>
                    </a:lnTo>
                    <a:lnTo>
                      <a:pt x="212" y="242"/>
                    </a:lnTo>
                    <a:lnTo>
                      <a:pt x="214" y="243"/>
                    </a:lnTo>
                    <a:lnTo>
                      <a:pt x="214" y="241"/>
                    </a:lnTo>
                    <a:lnTo>
                      <a:pt x="211" y="236"/>
                    </a:lnTo>
                    <a:lnTo>
                      <a:pt x="212" y="233"/>
                    </a:lnTo>
                    <a:lnTo>
                      <a:pt x="214" y="232"/>
                    </a:lnTo>
                    <a:lnTo>
                      <a:pt x="217" y="232"/>
                    </a:lnTo>
                    <a:lnTo>
                      <a:pt x="220" y="233"/>
                    </a:lnTo>
                    <a:lnTo>
                      <a:pt x="222" y="231"/>
                    </a:lnTo>
                    <a:lnTo>
                      <a:pt x="224" y="232"/>
                    </a:lnTo>
                    <a:lnTo>
                      <a:pt x="223" y="233"/>
                    </a:lnTo>
                    <a:lnTo>
                      <a:pt x="224" y="233"/>
                    </a:lnTo>
                    <a:lnTo>
                      <a:pt x="224" y="227"/>
                    </a:lnTo>
                    <a:lnTo>
                      <a:pt x="228" y="227"/>
                    </a:lnTo>
                    <a:lnTo>
                      <a:pt x="229" y="229"/>
                    </a:lnTo>
                    <a:lnTo>
                      <a:pt x="230" y="228"/>
                    </a:lnTo>
                    <a:lnTo>
                      <a:pt x="230" y="227"/>
                    </a:lnTo>
                    <a:lnTo>
                      <a:pt x="232" y="226"/>
                    </a:lnTo>
                    <a:lnTo>
                      <a:pt x="234" y="226"/>
                    </a:lnTo>
                    <a:lnTo>
                      <a:pt x="235" y="225"/>
                    </a:lnTo>
                    <a:lnTo>
                      <a:pt x="235" y="223"/>
                    </a:lnTo>
                    <a:lnTo>
                      <a:pt x="238" y="223"/>
                    </a:lnTo>
                    <a:lnTo>
                      <a:pt x="239" y="223"/>
                    </a:lnTo>
                    <a:lnTo>
                      <a:pt x="240" y="221"/>
                    </a:lnTo>
                    <a:lnTo>
                      <a:pt x="241" y="220"/>
                    </a:lnTo>
                    <a:lnTo>
                      <a:pt x="244" y="222"/>
                    </a:lnTo>
                    <a:lnTo>
                      <a:pt x="246" y="220"/>
                    </a:lnTo>
                    <a:lnTo>
                      <a:pt x="246" y="219"/>
                    </a:lnTo>
                    <a:lnTo>
                      <a:pt x="244" y="219"/>
                    </a:lnTo>
                    <a:lnTo>
                      <a:pt x="245" y="216"/>
                    </a:lnTo>
                    <a:lnTo>
                      <a:pt x="247" y="218"/>
                    </a:lnTo>
                    <a:lnTo>
                      <a:pt x="249" y="218"/>
                    </a:lnTo>
                    <a:lnTo>
                      <a:pt x="249" y="214"/>
                    </a:lnTo>
                    <a:lnTo>
                      <a:pt x="249" y="213"/>
                    </a:lnTo>
                    <a:lnTo>
                      <a:pt x="249" y="214"/>
                    </a:lnTo>
                    <a:lnTo>
                      <a:pt x="251" y="213"/>
                    </a:lnTo>
                    <a:lnTo>
                      <a:pt x="254" y="210"/>
                    </a:lnTo>
                    <a:lnTo>
                      <a:pt x="254" y="213"/>
                    </a:lnTo>
                    <a:lnTo>
                      <a:pt x="254" y="215"/>
                    </a:lnTo>
                    <a:lnTo>
                      <a:pt x="256" y="216"/>
                    </a:lnTo>
                    <a:lnTo>
                      <a:pt x="257" y="215"/>
                    </a:lnTo>
                    <a:lnTo>
                      <a:pt x="259" y="218"/>
                    </a:lnTo>
                    <a:lnTo>
                      <a:pt x="260" y="216"/>
                    </a:lnTo>
                    <a:lnTo>
                      <a:pt x="262" y="218"/>
                    </a:lnTo>
                    <a:lnTo>
                      <a:pt x="262" y="217"/>
                    </a:lnTo>
                    <a:lnTo>
                      <a:pt x="264" y="218"/>
                    </a:lnTo>
                    <a:lnTo>
                      <a:pt x="267" y="216"/>
                    </a:lnTo>
                    <a:lnTo>
                      <a:pt x="267" y="218"/>
                    </a:lnTo>
                    <a:lnTo>
                      <a:pt x="266" y="218"/>
                    </a:lnTo>
                    <a:lnTo>
                      <a:pt x="269" y="219"/>
                    </a:lnTo>
                    <a:lnTo>
                      <a:pt x="270" y="219"/>
                    </a:lnTo>
                    <a:lnTo>
                      <a:pt x="270" y="221"/>
                    </a:lnTo>
                    <a:lnTo>
                      <a:pt x="271" y="221"/>
                    </a:lnTo>
                    <a:lnTo>
                      <a:pt x="271" y="220"/>
                    </a:lnTo>
                    <a:lnTo>
                      <a:pt x="272" y="222"/>
                    </a:lnTo>
                    <a:lnTo>
                      <a:pt x="273" y="222"/>
                    </a:lnTo>
                    <a:lnTo>
                      <a:pt x="273" y="223"/>
                    </a:lnTo>
                    <a:lnTo>
                      <a:pt x="274" y="223"/>
                    </a:lnTo>
                    <a:lnTo>
                      <a:pt x="274" y="226"/>
                    </a:lnTo>
                    <a:lnTo>
                      <a:pt x="275" y="227"/>
                    </a:lnTo>
                    <a:lnTo>
                      <a:pt x="276" y="223"/>
                    </a:lnTo>
                    <a:lnTo>
                      <a:pt x="276" y="225"/>
                    </a:lnTo>
                    <a:lnTo>
                      <a:pt x="276" y="226"/>
                    </a:lnTo>
                    <a:lnTo>
                      <a:pt x="278" y="228"/>
                    </a:lnTo>
                    <a:lnTo>
                      <a:pt x="281" y="233"/>
                    </a:lnTo>
                    <a:lnTo>
                      <a:pt x="285" y="236"/>
                    </a:lnTo>
                    <a:lnTo>
                      <a:pt x="287" y="235"/>
                    </a:lnTo>
                    <a:lnTo>
                      <a:pt x="289" y="234"/>
                    </a:lnTo>
                    <a:lnTo>
                      <a:pt x="287" y="231"/>
                    </a:lnTo>
                    <a:lnTo>
                      <a:pt x="287" y="227"/>
                    </a:lnTo>
                    <a:lnTo>
                      <a:pt x="290" y="223"/>
                    </a:lnTo>
                    <a:lnTo>
                      <a:pt x="292" y="223"/>
                    </a:lnTo>
                    <a:lnTo>
                      <a:pt x="292" y="222"/>
                    </a:lnTo>
                    <a:lnTo>
                      <a:pt x="290" y="216"/>
                    </a:lnTo>
                    <a:lnTo>
                      <a:pt x="292" y="216"/>
                    </a:lnTo>
                    <a:lnTo>
                      <a:pt x="290" y="214"/>
                    </a:lnTo>
                    <a:lnTo>
                      <a:pt x="289" y="214"/>
                    </a:lnTo>
                    <a:lnTo>
                      <a:pt x="290" y="213"/>
                    </a:lnTo>
                    <a:lnTo>
                      <a:pt x="291" y="212"/>
                    </a:lnTo>
                    <a:lnTo>
                      <a:pt x="290" y="210"/>
                    </a:lnTo>
                    <a:lnTo>
                      <a:pt x="292" y="210"/>
                    </a:lnTo>
                    <a:lnTo>
                      <a:pt x="293" y="212"/>
                    </a:lnTo>
                    <a:lnTo>
                      <a:pt x="294" y="213"/>
                    </a:lnTo>
                    <a:lnTo>
                      <a:pt x="295" y="210"/>
                    </a:lnTo>
                    <a:lnTo>
                      <a:pt x="295" y="213"/>
                    </a:lnTo>
                    <a:lnTo>
                      <a:pt x="297" y="213"/>
                    </a:lnTo>
                    <a:lnTo>
                      <a:pt x="297" y="210"/>
                    </a:lnTo>
                    <a:lnTo>
                      <a:pt x="300" y="211"/>
                    </a:lnTo>
                    <a:lnTo>
                      <a:pt x="301" y="210"/>
                    </a:lnTo>
                    <a:lnTo>
                      <a:pt x="303" y="211"/>
                    </a:lnTo>
                    <a:lnTo>
                      <a:pt x="304" y="210"/>
                    </a:lnTo>
                    <a:lnTo>
                      <a:pt x="303" y="206"/>
                    </a:lnTo>
                    <a:lnTo>
                      <a:pt x="303" y="207"/>
                    </a:lnTo>
                    <a:lnTo>
                      <a:pt x="305" y="209"/>
                    </a:lnTo>
                    <a:lnTo>
                      <a:pt x="308" y="208"/>
                    </a:lnTo>
                    <a:lnTo>
                      <a:pt x="308" y="205"/>
                    </a:lnTo>
                    <a:lnTo>
                      <a:pt x="309" y="204"/>
                    </a:lnTo>
                    <a:lnTo>
                      <a:pt x="309" y="202"/>
                    </a:lnTo>
                    <a:lnTo>
                      <a:pt x="309" y="200"/>
                    </a:lnTo>
                    <a:lnTo>
                      <a:pt x="306" y="201"/>
                    </a:lnTo>
                    <a:lnTo>
                      <a:pt x="305" y="199"/>
                    </a:lnTo>
                    <a:lnTo>
                      <a:pt x="309" y="192"/>
                    </a:lnTo>
                    <a:lnTo>
                      <a:pt x="308" y="191"/>
                    </a:lnTo>
                    <a:lnTo>
                      <a:pt x="307" y="190"/>
                    </a:lnTo>
                    <a:lnTo>
                      <a:pt x="309" y="190"/>
                    </a:lnTo>
                    <a:lnTo>
                      <a:pt x="309" y="191"/>
                    </a:lnTo>
                    <a:lnTo>
                      <a:pt x="311" y="192"/>
                    </a:lnTo>
                    <a:lnTo>
                      <a:pt x="312" y="191"/>
                    </a:lnTo>
                    <a:lnTo>
                      <a:pt x="312" y="190"/>
                    </a:lnTo>
                    <a:lnTo>
                      <a:pt x="311" y="190"/>
                    </a:lnTo>
                    <a:lnTo>
                      <a:pt x="311" y="18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7" name="Freeform 136">
                <a:extLst>
                  <a:ext uri="{FF2B5EF4-FFF2-40B4-BE49-F238E27FC236}">
                    <a16:creationId xmlns:a16="http://schemas.microsoft.com/office/drawing/2014/main" id="{59FDFF8A-6FE7-DD79-E5FF-44C4B4ECA0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7" y="2893"/>
                <a:ext cx="313" cy="258"/>
              </a:xfrm>
              <a:custGeom>
                <a:avLst/>
                <a:gdLst>
                  <a:gd name="T0" fmla="*/ 302 w 313"/>
                  <a:gd name="T1" fmla="*/ 176 h 258"/>
                  <a:gd name="T2" fmla="*/ 301 w 313"/>
                  <a:gd name="T3" fmla="*/ 168 h 258"/>
                  <a:gd name="T4" fmla="*/ 311 w 313"/>
                  <a:gd name="T5" fmla="*/ 169 h 258"/>
                  <a:gd name="T6" fmla="*/ 311 w 313"/>
                  <a:gd name="T7" fmla="*/ 156 h 258"/>
                  <a:gd name="T8" fmla="*/ 306 w 313"/>
                  <a:gd name="T9" fmla="*/ 139 h 258"/>
                  <a:gd name="T10" fmla="*/ 306 w 313"/>
                  <a:gd name="T11" fmla="*/ 125 h 258"/>
                  <a:gd name="T12" fmla="*/ 305 w 313"/>
                  <a:gd name="T13" fmla="*/ 111 h 258"/>
                  <a:gd name="T14" fmla="*/ 305 w 313"/>
                  <a:gd name="T15" fmla="*/ 98 h 258"/>
                  <a:gd name="T16" fmla="*/ 305 w 313"/>
                  <a:gd name="T17" fmla="*/ 86 h 258"/>
                  <a:gd name="T18" fmla="*/ 305 w 313"/>
                  <a:gd name="T19" fmla="*/ 65 h 258"/>
                  <a:gd name="T20" fmla="*/ 289 w 313"/>
                  <a:gd name="T21" fmla="*/ 65 h 258"/>
                  <a:gd name="T22" fmla="*/ 277 w 313"/>
                  <a:gd name="T23" fmla="*/ 63 h 258"/>
                  <a:gd name="T24" fmla="*/ 274 w 313"/>
                  <a:gd name="T25" fmla="*/ 50 h 258"/>
                  <a:gd name="T26" fmla="*/ 250 w 313"/>
                  <a:gd name="T27" fmla="*/ 40 h 258"/>
                  <a:gd name="T28" fmla="*/ 228 w 313"/>
                  <a:gd name="T29" fmla="*/ 21 h 258"/>
                  <a:gd name="T30" fmla="*/ 200 w 313"/>
                  <a:gd name="T31" fmla="*/ 4 h 258"/>
                  <a:gd name="T32" fmla="*/ 166 w 313"/>
                  <a:gd name="T33" fmla="*/ 13 h 258"/>
                  <a:gd name="T34" fmla="*/ 140 w 313"/>
                  <a:gd name="T35" fmla="*/ 13 h 258"/>
                  <a:gd name="T36" fmla="*/ 118 w 313"/>
                  <a:gd name="T37" fmla="*/ 19 h 258"/>
                  <a:gd name="T38" fmla="*/ 99 w 313"/>
                  <a:gd name="T39" fmla="*/ 37 h 258"/>
                  <a:gd name="T40" fmla="*/ 85 w 313"/>
                  <a:gd name="T41" fmla="*/ 50 h 258"/>
                  <a:gd name="T42" fmla="*/ 69 w 313"/>
                  <a:gd name="T43" fmla="*/ 74 h 258"/>
                  <a:gd name="T44" fmla="*/ 62 w 313"/>
                  <a:gd name="T45" fmla="*/ 82 h 258"/>
                  <a:gd name="T46" fmla="*/ 61 w 313"/>
                  <a:gd name="T47" fmla="*/ 101 h 258"/>
                  <a:gd name="T48" fmla="*/ 49 w 313"/>
                  <a:gd name="T49" fmla="*/ 107 h 258"/>
                  <a:gd name="T50" fmla="*/ 49 w 313"/>
                  <a:gd name="T51" fmla="*/ 93 h 258"/>
                  <a:gd name="T52" fmla="*/ 47 w 313"/>
                  <a:gd name="T53" fmla="*/ 79 h 258"/>
                  <a:gd name="T54" fmla="*/ 44 w 313"/>
                  <a:gd name="T55" fmla="*/ 70 h 258"/>
                  <a:gd name="T56" fmla="*/ 31 w 313"/>
                  <a:gd name="T57" fmla="*/ 56 h 258"/>
                  <a:gd name="T58" fmla="*/ 15 w 313"/>
                  <a:gd name="T59" fmla="*/ 32 h 258"/>
                  <a:gd name="T60" fmla="*/ 11 w 313"/>
                  <a:gd name="T61" fmla="*/ 40 h 258"/>
                  <a:gd name="T62" fmla="*/ 2 w 313"/>
                  <a:gd name="T63" fmla="*/ 57 h 258"/>
                  <a:gd name="T64" fmla="*/ 12 w 313"/>
                  <a:gd name="T65" fmla="*/ 73 h 258"/>
                  <a:gd name="T66" fmla="*/ 15 w 313"/>
                  <a:gd name="T67" fmla="*/ 84 h 258"/>
                  <a:gd name="T68" fmla="*/ 24 w 313"/>
                  <a:gd name="T69" fmla="*/ 91 h 258"/>
                  <a:gd name="T70" fmla="*/ 22 w 313"/>
                  <a:gd name="T71" fmla="*/ 114 h 258"/>
                  <a:gd name="T72" fmla="*/ 26 w 313"/>
                  <a:gd name="T73" fmla="*/ 138 h 258"/>
                  <a:gd name="T74" fmla="*/ 36 w 313"/>
                  <a:gd name="T75" fmla="*/ 152 h 258"/>
                  <a:gd name="T76" fmla="*/ 47 w 313"/>
                  <a:gd name="T77" fmla="*/ 172 h 258"/>
                  <a:gd name="T78" fmla="*/ 62 w 313"/>
                  <a:gd name="T79" fmla="*/ 187 h 258"/>
                  <a:gd name="T80" fmla="*/ 71 w 313"/>
                  <a:gd name="T81" fmla="*/ 199 h 258"/>
                  <a:gd name="T82" fmla="*/ 87 w 313"/>
                  <a:gd name="T83" fmla="*/ 207 h 258"/>
                  <a:gd name="T84" fmla="*/ 86 w 313"/>
                  <a:gd name="T85" fmla="*/ 229 h 258"/>
                  <a:gd name="T86" fmla="*/ 110 w 313"/>
                  <a:gd name="T87" fmla="*/ 253 h 258"/>
                  <a:gd name="T88" fmla="*/ 130 w 313"/>
                  <a:gd name="T89" fmla="*/ 249 h 258"/>
                  <a:gd name="T90" fmla="*/ 142 w 313"/>
                  <a:gd name="T91" fmla="*/ 246 h 258"/>
                  <a:gd name="T92" fmla="*/ 158 w 313"/>
                  <a:gd name="T93" fmla="*/ 241 h 258"/>
                  <a:gd name="T94" fmla="*/ 172 w 313"/>
                  <a:gd name="T95" fmla="*/ 244 h 258"/>
                  <a:gd name="T96" fmla="*/ 187 w 313"/>
                  <a:gd name="T97" fmla="*/ 252 h 258"/>
                  <a:gd name="T98" fmla="*/ 203 w 313"/>
                  <a:gd name="T99" fmla="*/ 254 h 258"/>
                  <a:gd name="T100" fmla="*/ 212 w 313"/>
                  <a:gd name="T101" fmla="*/ 243 h 258"/>
                  <a:gd name="T102" fmla="*/ 224 w 313"/>
                  <a:gd name="T103" fmla="*/ 232 h 258"/>
                  <a:gd name="T104" fmla="*/ 235 w 313"/>
                  <a:gd name="T105" fmla="*/ 225 h 258"/>
                  <a:gd name="T106" fmla="*/ 245 w 313"/>
                  <a:gd name="T107" fmla="*/ 216 h 258"/>
                  <a:gd name="T108" fmla="*/ 254 w 313"/>
                  <a:gd name="T109" fmla="*/ 215 h 258"/>
                  <a:gd name="T110" fmla="*/ 269 w 313"/>
                  <a:gd name="T111" fmla="*/ 219 h 258"/>
                  <a:gd name="T112" fmla="*/ 274 w 313"/>
                  <a:gd name="T113" fmla="*/ 226 h 258"/>
                  <a:gd name="T114" fmla="*/ 287 w 313"/>
                  <a:gd name="T115" fmla="*/ 231 h 258"/>
                  <a:gd name="T116" fmla="*/ 290 w 313"/>
                  <a:gd name="T117" fmla="*/ 210 h 258"/>
                  <a:gd name="T118" fmla="*/ 303 w 313"/>
                  <a:gd name="T119" fmla="*/ 211 h 258"/>
                  <a:gd name="T120" fmla="*/ 309 w 313"/>
                  <a:gd name="T121" fmla="*/ 200 h 258"/>
                  <a:gd name="T122" fmla="*/ 312 w 313"/>
                  <a:gd name="T123" fmla="*/ 190 h 25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13"/>
                  <a:gd name="T187" fmla="*/ 0 h 258"/>
                  <a:gd name="T188" fmla="*/ 313 w 313"/>
                  <a:gd name="T189" fmla="*/ 258 h 25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13" h="258">
                    <a:moveTo>
                      <a:pt x="311" y="188"/>
                    </a:moveTo>
                    <a:lnTo>
                      <a:pt x="311" y="183"/>
                    </a:lnTo>
                    <a:lnTo>
                      <a:pt x="311" y="182"/>
                    </a:lnTo>
                    <a:lnTo>
                      <a:pt x="308" y="182"/>
                    </a:lnTo>
                    <a:lnTo>
                      <a:pt x="310" y="181"/>
                    </a:lnTo>
                    <a:lnTo>
                      <a:pt x="308" y="179"/>
                    </a:lnTo>
                    <a:lnTo>
                      <a:pt x="307" y="176"/>
                    </a:lnTo>
                    <a:lnTo>
                      <a:pt x="305" y="175"/>
                    </a:lnTo>
                    <a:lnTo>
                      <a:pt x="302" y="176"/>
                    </a:lnTo>
                    <a:lnTo>
                      <a:pt x="300" y="174"/>
                    </a:lnTo>
                    <a:lnTo>
                      <a:pt x="299" y="176"/>
                    </a:lnTo>
                    <a:lnTo>
                      <a:pt x="297" y="173"/>
                    </a:lnTo>
                    <a:lnTo>
                      <a:pt x="296" y="173"/>
                    </a:lnTo>
                    <a:lnTo>
                      <a:pt x="295" y="171"/>
                    </a:lnTo>
                    <a:lnTo>
                      <a:pt x="298" y="171"/>
                    </a:lnTo>
                    <a:lnTo>
                      <a:pt x="298" y="170"/>
                    </a:lnTo>
                    <a:lnTo>
                      <a:pt x="297" y="169"/>
                    </a:lnTo>
                    <a:lnTo>
                      <a:pt x="298" y="168"/>
                    </a:lnTo>
                    <a:lnTo>
                      <a:pt x="301" y="167"/>
                    </a:lnTo>
                    <a:lnTo>
                      <a:pt x="301" y="168"/>
                    </a:lnTo>
                    <a:lnTo>
                      <a:pt x="301" y="167"/>
                    </a:lnTo>
                    <a:lnTo>
                      <a:pt x="305" y="169"/>
                    </a:lnTo>
                    <a:lnTo>
                      <a:pt x="305" y="168"/>
                    </a:lnTo>
                    <a:lnTo>
                      <a:pt x="305" y="169"/>
                    </a:lnTo>
                    <a:lnTo>
                      <a:pt x="306" y="168"/>
                    </a:lnTo>
                    <a:lnTo>
                      <a:pt x="307" y="169"/>
                    </a:lnTo>
                    <a:lnTo>
                      <a:pt x="306" y="169"/>
                    </a:lnTo>
                    <a:lnTo>
                      <a:pt x="309" y="172"/>
                    </a:lnTo>
                    <a:lnTo>
                      <a:pt x="310" y="172"/>
                    </a:lnTo>
                    <a:lnTo>
                      <a:pt x="309" y="169"/>
                    </a:lnTo>
                    <a:lnTo>
                      <a:pt x="311" y="169"/>
                    </a:lnTo>
                    <a:lnTo>
                      <a:pt x="309" y="167"/>
                    </a:lnTo>
                    <a:lnTo>
                      <a:pt x="309" y="166"/>
                    </a:lnTo>
                    <a:lnTo>
                      <a:pt x="306" y="164"/>
                    </a:lnTo>
                    <a:lnTo>
                      <a:pt x="307" y="162"/>
                    </a:lnTo>
                    <a:lnTo>
                      <a:pt x="306" y="162"/>
                    </a:lnTo>
                    <a:lnTo>
                      <a:pt x="308" y="162"/>
                    </a:lnTo>
                    <a:lnTo>
                      <a:pt x="311" y="163"/>
                    </a:lnTo>
                    <a:lnTo>
                      <a:pt x="313" y="158"/>
                    </a:lnTo>
                    <a:lnTo>
                      <a:pt x="309" y="157"/>
                    </a:lnTo>
                    <a:lnTo>
                      <a:pt x="311" y="156"/>
                    </a:lnTo>
                    <a:lnTo>
                      <a:pt x="311" y="153"/>
                    </a:lnTo>
                    <a:lnTo>
                      <a:pt x="311" y="152"/>
                    </a:lnTo>
                    <a:lnTo>
                      <a:pt x="311" y="149"/>
                    </a:lnTo>
                    <a:lnTo>
                      <a:pt x="309" y="146"/>
                    </a:lnTo>
                    <a:lnTo>
                      <a:pt x="310" y="145"/>
                    </a:lnTo>
                    <a:lnTo>
                      <a:pt x="308" y="142"/>
                    </a:lnTo>
                    <a:lnTo>
                      <a:pt x="307" y="142"/>
                    </a:lnTo>
                    <a:lnTo>
                      <a:pt x="306" y="141"/>
                    </a:lnTo>
                    <a:lnTo>
                      <a:pt x="308" y="139"/>
                    </a:lnTo>
                    <a:lnTo>
                      <a:pt x="306" y="139"/>
                    </a:lnTo>
                    <a:lnTo>
                      <a:pt x="303" y="137"/>
                    </a:lnTo>
                    <a:lnTo>
                      <a:pt x="303" y="135"/>
                    </a:lnTo>
                    <a:lnTo>
                      <a:pt x="306" y="135"/>
                    </a:lnTo>
                    <a:lnTo>
                      <a:pt x="306" y="132"/>
                    </a:lnTo>
                    <a:lnTo>
                      <a:pt x="306" y="131"/>
                    </a:lnTo>
                    <a:lnTo>
                      <a:pt x="307" y="131"/>
                    </a:lnTo>
                    <a:lnTo>
                      <a:pt x="306" y="129"/>
                    </a:lnTo>
                    <a:lnTo>
                      <a:pt x="308" y="129"/>
                    </a:lnTo>
                    <a:lnTo>
                      <a:pt x="308" y="128"/>
                    </a:lnTo>
                    <a:lnTo>
                      <a:pt x="306" y="127"/>
                    </a:lnTo>
                    <a:lnTo>
                      <a:pt x="306" y="125"/>
                    </a:lnTo>
                    <a:lnTo>
                      <a:pt x="305" y="125"/>
                    </a:lnTo>
                    <a:lnTo>
                      <a:pt x="303" y="126"/>
                    </a:lnTo>
                    <a:lnTo>
                      <a:pt x="301" y="125"/>
                    </a:lnTo>
                    <a:lnTo>
                      <a:pt x="300" y="122"/>
                    </a:lnTo>
                    <a:lnTo>
                      <a:pt x="301" y="121"/>
                    </a:lnTo>
                    <a:lnTo>
                      <a:pt x="300" y="120"/>
                    </a:lnTo>
                    <a:lnTo>
                      <a:pt x="301" y="119"/>
                    </a:lnTo>
                    <a:lnTo>
                      <a:pt x="303" y="119"/>
                    </a:lnTo>
                    <a:lnTo>
                      <a:pt x="305" y="118"/>
                    </a:lnTo>
                    <a:lnTo>
                      <a:pt x="305" y="115"/>
                    </a:lnTo>
                    <a:lnTo>
                      <a:pt x="305" y="111"/>
                    </a:lnTo>
                    <a:lnTo>
                      <a:pt x="303" y="111"/>
                    </a:lnTo>
                    <a:lnTo>
                      <a:pt x="304" y="108"/>
                    </a:lnTo>
                    <a:lnTo>
                      <a:pt x="305" y="107"/>
                    </a:lnTo>
                    <a:lnTo>
                      <a:pt x="301" y="105"/>
                    </a:lnTo>
                    <a:lnTo>
                      <a:pt x="300" y="105"/>
                    </a:lnTo>
                    <a:lnTo>
                      <a:pt x="301" y="105"/>
                    </a:lnTo>
                    <a:lnTo>
                      <a:pt x="303" y="101"/>
                    </a:lnTo>
                    <a:lnTo>
                      <a:pt x="302" y="100"/>
                    </a:lnTo>
                    <a:lnTo>
                      <a:pt x="303" y="100"/>
                    </a:lnTo>
                    <a:lnTo>
                      <a:pt x="305" y="98"/>
                    </a:lnTo>
                    <a:lnTo>
                      <a:pt x="304" y="98"/>
                    </a:lnTo>
                    <a:lnTo>
                      <a:pt x="304" y="96"/>
                    </a:lnTo>
                    <a:lnTo>
                      <a:pt x="306" y="95"/>
                    </a:lnTo>
                    <a:lnTo>
                      <a:pt x="307" y="93"/>
                    </a:lnTo>
                    <a:lnTo>
                      <a:pt x="305" y="92"/>
                    </a:lnTo>
                    <a:lnTo>
                      <a:pt x="306" y="90"/>
                    </a:lnTo>
                    <a:lnTo>
                      <a:pt x="305" y="90"/>
                    </a:lnTo>
                    <a:lnTo>
                      <a:pt x="305" y="89"/>
                    </a:lnTo>
                    <a:lnTo>
                      <a:pt x="305" y="88"/>
                    </a:lnTo>
                    <a:lnTo>
                      <a:pt x="305" y="86"/>
                    </a:lnTo>
                    <a:lnTo>
                      <a:pt x="306" y="85"/>
                    </a:lnTo>
                    <a:lnTo>
                      <a:pt x="307" y="84"/>
                    </a:lnTo>
                    <a:lnTo>
                      <a:pt x="309" y="84"/>
                    </a:lnTo>
                    <a:lnTo>
                      <a:pt x="309" y="82"/>
                    </a:lnTo>
                    <a:lnTo>
                      <a:pt x="309" y="78"/>
                    </a:lnTo>
                    <a:lnTo>
                      <a:pt x="310" y="77"/>
                    </a:lnTo>
                    <a:lnTo>
                      <a:pt x="308" y="75"/>
                    </a:lnTo>
                    <a:lnTo>
                      <a:pt x="307" y="70"/>
                    </a:lnTo>
                    <a:lnTo>
                      <a:pt x="303" y="67"/>
                    </a:lnTo>
                    <a:lnTo>
                      <a:pt x="305" y="65"/>
                    </a:lnTo>
                    <a:lnTo>
                      <a:pt x="302" y="65"/>
                    </a:lnTo>
                    <a:lnTo>
                      <a:pt x="300" y="67"/>
                    </a:lnTo>
                    <a:lnTo>
                      <a:pt x="298" y="67"/>
                    </a:lnTo>
                    <a:lnTo>
                      <a:pt x="297" y="68"/>
                    </a:lnTo>
                    <a:lnTo>
                      <a:pt x="297" y="67"/>
                    </a:lnTo>
                    <a:lnTo>
                      <a:pt x="293" y="67"/>
                    </a:lnTo>
                    <a:lnTo>
                      <a:pt x="292" y="66"/>
                    </a:lnTo>
                    <a:lnTo>
                      <a:pt x="290" y="66"/>
                    </a:lnTo>
                    <a:lnTo>
                      <a:pt x="290" y="65"/>
                    </a:lnTo>
                    <a:lnTo>
                      <a:pt x="289" y="65"/>
                    </a:lnTo>
                    <a:lnTo>
                      <a:pt x="289" y="63"/>
                    </a:lnTo>
                    <a:lnTo>
                      <a:pt x="285" y="63"/>
                    </a:lnTo>
                    <a:lnTo>
                      <a:pt x="284" y="62"/>
                    </a:lnTo>
                    <a:lnTo>
                      <a:pt x="281" y="63"/>
                    </a:lnTo>
                    <a:lnTo>
                      <a:pt x="281" y="65"/>
                    </a:lnTo>
                    <a:lnTo>
                      <a:pt x="280" y="65"/>
                    </a:lnTo>
                    <a:lnTo>
                      <a:pt x="279" y="66"/>
                    </a:lnTo>
                    <a:lnTo>
                      <a:pt x="277" y="65"/>
                    </a:lnTo>
                    <a:lnTo>
                      <a:pt x="278" y="64"/>
                    </a:lnTo>
                    <a:lnTo>
                      <a:pt x="277" y="63"/>
                    </a:lnTo>
                    <a:lnTo>
                      <a:pt x="276" y="63"/>
                    </a:lnTo>
                    <a:lnTo>
                      <a:pt x="274" y="61"/>
                    </a:lnTo>
                    <a:lnTo>
                      <a:pt x="273" y="62"/>
                    </a:lnTo>
                    <a:lnTo>
                      <a:pt x="273" y="60"/>
                    </a:lnTo>
                    <a:lnTo>
                      <a:pt x="275" y="60"/>
                    </a:lnTo>
                    <a:lnTo>
                      <a:pt x="276" y="56"/>
                    </a:lnTo>
                    <a:lnTo>
                      <a:pt x="279" y="56"/>
                    </a:lnTo>
                    <a:lnTo>
                      <a:pt x="279" y="55"/>
                    </a:lnTo>
                    <a:lnTo>
                      <a:pt x="276" y="50"/>
                    </a:lnTo>
                    <a:lnTo>
                      <a:pt x="276" y="49"/>
                    </a:lnTo>
                    <a:lnTo>
                      <a:pt x="274" y="50"/>
                    </a:lnTo>
                    <a:lnTo>
                      <a:pt x="272" y="49"/>
                    </a:lnTo>
                    <a:lnTo>
                      <a:pt x="269" y="44"/>
                    </a:lnTo>
                    <a:lnTo>
                      <a:pt x="269" y="46"/>
                    </a:lnTo>
                    <a:lnTo>
                      <a:pt x="263" y="44"/>
                    </a:lnTo>
                    <a:lnTo>
                      <a:pt x="262" y="46"/>
                    </a:lnTo>
                    <a:lnTo>
                      <a:pt x="257" y="43"/>
                    </a:lnTo>
                    <a:lnTo>
                      <a:pt x="257" y="39"/>
                    </a:lnTo>
                    <a:lnTo>
                      <a:pt x="254" y="40"/>
                    </a:lnTo>
                    <a:lnTo>
                      <a:pt x="250" y="42"/>
                    </a:lnTo>
                    <a:lnTo>
                      <a:pt x="249" y="41"/>
                    </a:lnTo>
                    <a:lnTo>
                      <a:pt x="250" y="40"/>
                    </a:lnTo>
                    <a:lnTo>
                      <a:pt x="249" y="40"/>
                    </a:lnTo>
                    <a:lnTo>
                      <a:pt x="248" y="39"/>
                    </a:lnTo>
                    <a:lnTo>
                      <a:pt x="244" y="40"/>
                    </a:lnTo>
                    <a:lnTo>
                      <a:pt x="243" y="37"/>
                    </a:lnTo>
                    <a:lnTo>
                      <a:pt x="242" y="34"/>
                    </a:lnTo>
                    <a:lnTo>
                      <a:pt x="238" y="32"/>
                    </a:lnTo>
                    <a:lnTo>
                      <a:pt x="235" y="31"/>
                    </a:lnTo>
                    <a:lnTo>
                      <a:pt x="235" y="28"/>
                    </a:lnTo>
                    <a:lnTo>
                      <a:pt x="230" y="22"/>
                    </a:lnTo>
                    <a:lnTo>
                      <a:pt x="229" y="21"/>
                    </a:lnTo>
                    <a:lnTo>
                      <a:pt x="228" y="21"/>
                    </a:lnTo>
                    <a:lnTo>
                      <a:pt x="225" y="18"/>
                    </a:lnTo>
                    <a:lnTo>
                      <a:pt x="215" y="8"/>
                    </a:lnTo>
                    <a:lnTo>
                      <a:pt x="212" y="4"/>
                    </a:lnTo>
                    <a:lnTo>
                      <a:pt x="207" y="0"/>
                    </a:lnTo>
                    <a:lnTo>
                      <a:pt x="206" y="4"/>
                    </a:lnTo>
                    <a:lnTo>
                      <a:pt x="203" y="7"/>
                    </a:lnTo>
                    <a:lnTo>
                      <a:pt x="203" y="9"/>
                    </a:lnTo>
                    <a:lnTo>
                      <a:pt x="203" y="11"/>
                    </a:lnTo>
                    <a:lnTo>
                      <a:pt x="203" y="13"/>
                    </a:lnTo>
                    <a:lnTo>
                      <a:pt x="202" y="9"/>
                    </a:lnTo>
                    <a:lnTo>
                      <a:pt x="200" y="4"/>
                    </a:lnTo>
                    <a:lnTo>
                      <a:pt x="183" y="9"/>
                    </a:lnTo>
                    <a:lnTo>
                      <a:pt x="181" y="14"/>
                    </a:lnTo>
                    <a:lnTo>
                      <a:pt x="178" y="15"/>
                    </a:lnTo>
                    <a:lnTo>
                      <a:pt x="175" y="19"/>
                    </a:lnTo>
                    <a:lnTo>
                      <a:pt x="173" y="21"/>
                    </a:lnTo>
                    <a:lnTo>
                      <a:pt x="174" y="22"/>
                    </a:lnTo>
                    <a:lnTo>
                      <a:pt x="173" y="24"/>
                    </a:lnTo>
                    <a:lnTo>
                      <a:pt x="171" y="21"/>
                    </a:lnTo>
                    <a:lnTo>
                      <a:pt x="170" y="20"/>
                    </a:lnTo>
                    <a:lnTo>
                      <a:pt x="168" y="17"/>
                    </a:lnTo>
                    <a:lnTo>
                      <a:pt x="166" y="13"/>
                    </a:lnTo>
                    <a:lnTo>
                      <a:pt x="161" y="15"/>
                    </a:lnTo>
                    <a:lnTo>
                      <a:pt x="158" y="15"/>
                    </a:lnTo>
                    <a:lnTo>
                      <a:pt x="157" y="14"/>
                    </a:lnTo>
                    <a:lnTo>
                      <a:pt x="153" y="11"/>
                    </a:lnTo>
                    <a:lnTo>
                      <a:pt x="150" y="11"/>
                    </a:lnTo>
                    <a:lnTo>
                      <a:pt x="150" y="12"/>
                    </a:lnTo>
                    <a:lnTo>
                      <a:pt x="146" y="15"/>
                    </a:lnTo>
                    <a:lnTo>
                      <a:pt x="145" y="15"/>
                    </a:lnTo>
                    <a:lnTo>
                      <a:pt x="144" y="14"/>
                    </a:lnTo>
                    <a:lnTo>
                      <a:pt x="142" y="14"/>
                    </a:lnTo>
                    <a:lnTo>
                      <a:pt x="140" y="13"/>
                    </a:lnTo>
                    <a:lnTo>
                      <a:pt x="139" y="15"/>
                    </a:lnTo>
                    <a:lnTo>
                      <a:pt x="134" y="16"/>
                    </a:lnTo>
                    <a:lnTo>
                      <a:pt x="132" y="16"/>
                    </a:lnTo>
                    <a:lnTo>
                      <a:pt x="131" y="15"/>
                    </a:lnTo>
                    <a:lnTo>
                      <a:pt x="130" y="16"/>
                    </a:lnTo>
                    <a:lnTo>
                      <a:pt x="127" y="14"/>
                    </a:lnTo>
                    <a:lnTo>
                      <a:pt x="126" y="16"/>
                    </a:lnTo>
                    <a:lnTo>
                      <a:pt x="122" y="15"/>
                    </a:lnTo>
                    <a:lnTo>
                      <a:pt x="121" y="14"/>
                    </a:lnTo>
                    <a:lnTo>
                      <a:pt x="121" y="17"/>
                    </a:lnTo>
                    <a:lnTo>
                      <a:pt x="118" y="19"/>
                    </a:lnTo>
                    <a:lnTo>
                      <a:pt x="116" y="22"/>
                    </a:lnTo>
                    <a:lnTo>
                      <a:pt x="114" y="24"/>
                    </a:lnTo>
                    <a:lnTo>
                      <a:pt x="113" y="26"/>
                    </a:lnTo>
                    <a:lnTo>
                      <a:pt x="114" y="33"/>
                    </a:lnTo>
                    <a:lnTo>
                      <a:pt x="113" y="35"/>
                    </a:lnTo>
                    <a:lnTo>
                      <a:pt x="111" y="37"/>
                    </a:lnTo>
                    <a:lnTo>
                      <a:pt x="107" y="32"/>
                    </a:lnTo>
                    <a:lnTo>
                      <a:pt x="104" y="33"/>
                    </a:lnTo>
                    <a:lnTo>
                      <a:pt x="104" y="34"/>
                    </a:lnTo>
                    <a:lnTo>
                      <a:pt x="101" y="36"/>
                    </a:lnTo>
                    <a:lnTo>
                      <a:pt x="99" y="37"/>
                    </a:lnTo>
                    <a:lnTo>
                      <a:pt x="98" y="39"/>
                    </a:lnTo>
                    <a:lnTo>
                      <a:pt x="96" y="40"/>
                    </a:lnTo>
                    <a:lnTo>
                      <a:pt x="97" y="43"/>
                    </a:lnTo>
                    <a:lnTo>
                      <a:pt x="95" y="45"/>
                    </a:lnTo>
                    <a:lnTo>
                      <a:pt x="94" y="44"/>
                    </a:lnTo>
                    <a:lnTo>
                      <a:pt x="93" y="45"/>
                    </a:lnTo>
                    <a:lnTo>
                      <a:pt x="91" y="44"/>
                    </a:lnTo>
                    <a:lnTo>
                      <a:pt x="88" y="44"/>
                    </a:lnTo>
                    <a:lnTo>
                      <a:pt x="86" y="44"/>
                    </a:lnTo>
                    <a:lnTo>
                      <a:pt x="86" y="46"/>
                    </a:lnTo>
                    <a:lnTo>
                      <a:pt x="85" y="50"/>
                    </a:lnTo>
                    <a:lnTo>
                      <a:pt x="86" y="53"/>
                    </a:lnTo>
                    <a:lnTo>
                      <a:pt x="85" y="57"/>
                    </a:lnTo>
                    <a:lnTo>
                      <a:pt x="83" y="59"/>
                    </a:lnTo>
                    <a:lnTo>
                      <a:pt x="80" y="59"/>
                    </a:lnTo>
                    <a:lnTo>
                      <a:pt x="76" y="60"/>
                    </a:lnTo>
                    <a:lnTo>
                      <a:pt x="76" y="61"/>
                    </a:lnTo>
                    <a:lnTo>
                      <a:pt x="75" y="62"/>
                    </a:lnTo>
                    <a:lnTo>
                      <a:pt x="73" y="63"/>
                    </a:lnTo>
                    <a:lnTo>
                      <a:pt x="73" y="67"/>
                    </a:lnTo>
                    <a:lnTo>
                      <a:pt x="70" y="69"/>
                    </a:lnTo>
                    <a:lnTo>
                      <a:pt x="69" y="74"/>
                    </a:lnTo>
                    <a:lnTo>
                      <a:pt x="70" y="77"/>
                    </a:lnTo>
                    <a:lnTo>
                      <a:pt x="70" y="79"/>
                    </a:lnTo>
                    <a:lnTo>
                      <a:pt x="68" y="80"/>
                    </a:lnTo>
                    <a:lnTo>
                      <a:pt x="69" y="81"/>
                    </a:lnTo>
                    <a:lnTo>
                      <a:pt x="67" y="81"/>
                    </a:lnTo>
                    <a:lnTo>
                      <a:pt x="67" y="82"/>
                    </a:lnTo>
                    <a:lnTo>
                      <a:pt x="66" y="78"/>
                    </a:lnTo>
                    <a:lnTo>
                      <a:pt x="63" y="77"/>
                    </a:lnTo>
                    <a:lnTo>
                      <a:pt x="63" y="79"/>
                    </a:lnTo>
                    <a:lnTo>
                      <a:pt x="62" y="81"/>
                    </a:lnTo>
                    <a:lnTo>
                      <a:pt x="62" y="82"/>
                    </a:lnTo>
                    <a:lnTo>
                      <a:pt x="62" y="85"/>
                    </a:lnTo>
                    <a:lnTo>
                      <a:pt x="62" y="88"/>
                    </a:lnTo>
                    <a:lnTo>
                      <a:pt x="62" y="90"/>
                    </a:lnTo>
                    <a:lnTo>
                      <a:pt x="60" y="88"/>
                    </a:lnTo>
                    <a:lnTo>
                      <a:pt x="60" y="92"/>
                    </a:lnTo>
                    <a:lnTo>
                      <a:pt x="59" y="94"/>
                    </a:lnTo>
                    <a:lnTo>
                      <a:pt x="59" y="97"/>
                    </a:lnTo>
                    <a:lnTo>
                      <a:pt x="61" y="97"/>
                    </a:lnTo>
                    <a:lnTo>
                      <a:pt x="60" y="99"/>
                    </a:lnTo>
                    <a:lnTo>
                      <a:pt x="61" y="101"/>
                    </a:lnTo>
                    <a:lnTo>
                      <a:pt x="61" y="103"/>
                    </a:lnTo>
                    <a:lnTo>
                      <a:pt x="59" y="103"/>
                    </a:lnTo>
                    <a:lnTo>
                      <a:pt x="58" y="105"/>
                    </a:lnTo>
                    <a:lnTo>
                      <a:pt x="57" y="105"/>
                    </a:lnTo>
                    <a:lnTo>
                      <a:pt x="58" y="107"/>
                    </a:lnTo>
                    <a:lnTo>
                      <a:pt x="58" y="108"/>
                    </a:lnTo>
                    <a:lnTo>
                      <a:pt x="60" y="110"/>
                    </a:lnTo>
                    <a:lnTo>
                      <a:pt x="59" y="111"/>
                    </a:lnTo>
                    <a:lnTo>
                      <a:pt x="54" y="109"/>
                    </a:lnTo>
                    <a:lnTo>
                      <a:pt x="50" y="107"/>
                    </a:lnTo>
                    <a:lnTo>
                      <a:pt x="49" y="107"/>
                    </a:lnTo>
                    <a:lnTo>
                      <a:pt x="47" y="106"/>
                    </a:lnTo>
                    <a:lnTo>
                      <a:pt x="49" y="103"/>
                    </a:lnTo>
                    <a:lnTo>
                      <a:pt x="48" y="101"/>
                    </a:lnTo>
                    <a:lnTo>
                      <a:pt x="47" y="102"/>
                    </a:lnTo>
                    <a:lnTo>
                      <a:pt x="47" y="99"/>
                    </a:lnTo>
                    <a:lnTo>
                      <a:pt x="45" y="100"/>
                    </a:lnTo>
                    <a:lnTo>
                      <a:pt x="45" y="98"/>
                    </a:lnTo>
                    <a:lnTo>
                      <a:pt x="45" y="96"/>
                    </a:lnTo>
                    <a:lnTo>
                      <a:pt x="45" y="95"/>
                    </a:lnTo>
                    <a:lnTo>
                      <a:pt x="49" y="94"/>
                    </a:lnTo>
                    <a:lnTo>
                      <a:pt x="49" y="93"/>
                    </a:lnTo>
                    <a:lnTo>
                      <a:pt x="48" y="92"/>
                    </a:lnTo>
                    <a:lnTo>
                      <a:pt x="49" y="91"/>
                    </a:lnTo>
                    <a:lnTo>
                      <a:pt x="47" y="91"/>
                    </a:lnTo>
                    <a:lnTo>
                      <a:pt x="48" y="89"/>
                    </a:lnTo>
                    <a:lnTo>
                      <a:pt x="51" y="86"/>
                    </a:lnTo>
                    <a:lnTo>
                      <a:pt x="49" y="84"/>
                    </a:lnTo>
                    <a:lnTo>
                      <a:pt x="47" y="84"/>
                    </a:lnTo>
                    <a:lnTo>
                      <a:pt x="49" y="84"/>
                    </a:lnTo>
                    <a:lnTo>
                      <a:pt x="48" y="84"/>
                    </a:lnTo>
                    <a:lnTo>
                      <a:pt x="50" y="84"/>
                    </a:lnTo>
                    <a:lnTo>
                      <a:pt x="47" y="79"/>
                    </a:lnTo>
                    <a:lnTo>
                      <a:pt x="45" y="80"/>
                    </a:lnTo>
                    <a:lnTo>
                      <a:pt x="44" y="78"/>
                    </a:lnTo>
                    <a:lnTo>
                      <a:pt x="42" y="76"/>
                    </a:lnTo>
                    <a:lnTo>
                      <a:pt x="42" y="74"/>
                    </a:lnTo>
                    <a:lnTo>
                      <a:pt x="39" y="71"/>
                    </a:lnTo>
                    <a:lnTo>
                      <a:pt x="40" y="70"/>
                    </a:lnTo>
                    <a:lnTo>
                      <a:pt x="42" y="68"/>
                    </a:lnTo>
                    <a:lnTo>
                      <a:pt x="41" y="66"/>
                    </a:lnTo>
                    <a:lnTo>
                      <a:pt x="42" y="68"/>
                    </a:lnTo>
                    <a:lnTo>
                      <a:pt x="44" y="70"/>
                    </a:lnTo>
                    <a:lnTo>
                      <a:pt x="46" y="71"/>
                    </a:lnTo>
                    <a:lnTo>
                      <a:pt x="45" y="69"/>
                    </a:lnTo>
                    <a:lnTo>
                      <a:pt x="46" y="67"/>
                    </a:lnTo>
                    <a:lnTo>
                      <a:pt x="45" y="65"/>
                    </a:lnTo>
                    <a:lnTo>
                      <a:pt x="44" y="61"/>
                    </a:lnTo>
                    <a:lnTo>
                      <a:pt x="42" y="61"/>
                    </a:lnTo>
                    <a:lnTo>
                      <a:pt x="39" y="61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1" y="57"/>
                    </a:lnTo>
                    <a:lnTo>
                      <a:pt x="31" y="56"/>
                    </a:lnTo>
                    <a:lnTo>
                      <a:pt x="32" y="50"/>
                    </a:lnTo>
                    <a:lnTo>
                      <a:pt x="31" y="48"/>
                    </a:lnTo>
                    <a:lnTo>
                      <a:pt x="33" y="40"/>
                    </a:lnTo>
                    <a:lnTo>
                      <a:pt x="32" y="41"/>
                    </a:lnTo>
                    <a:lnTo>
                      <a:pt x="31" y="39"/>
                    </a:lnTo>
                    <a:lnTo>
                      <a:pt x="29" y="38"/>
                    </a:lnTo>
                    <a:lnTo>
                      <a:pt x="29" y="36"/>
                    </a:lnTo>
                    <a:lnTo>
                      <a:pt x="29" y="33"/>
                    </a:lnTo>
                    <a:lnTo>
                      <a:pt x="24" y="33"/>
                    </a:lnTo>
                    <a:lnTo>
                      <a:pt x="20" y="31"/>
                    </a:lnTo>
                    <a:lnTo>
                      <a:pt x="15" y="32"/>
                    </a:lnTo>
                    <a:lnTo>
                      <a:pt x="13" y="33"/>
                    </a:lnTo>
                    <a:lnTo>
                      <a:pt x="10" y="33"/>
                    </a:lnTo>
                    <a:lnTo>
                      <a:pt x="11" y="31"/>
                    </a:lnTo>
                    <a:lnTo>
                      <a:pt x="10" y="31"/>
                    </a:lnTo>
                    <a:lnTo>
                      <a:pt x="9" y="29"/>
                    </a:lnTo>
                    <a:lnTo>
                      <a:pt x="7" y="31"/>
                    </a:lnTo>
                    <a:lnTo>
                      <a:pt x="8" y="33"/>
                    </a:lnTo>
                    <a:lnTo>
                      <a:pt x="10" y="34"/>
                    </a:lnTo>
                    <a:lnTo>
                      <a:pt x="13" y="37"/>
                    </a:lnTo>
                    <a:lnTo>
                      <a:pt x="13" y="38"/>
                    </a:lnTo>
                    <a:lnTo>
                      <a:pt x="11" y="40"/>
                    </a:lnTo>
                    <a:lnTo>
                      <a:pt x="11" y="44"/>
                    </a:lnTo>
                    <a:lnTo>
                      <a:pt x="14" y="49"/>
                    </a:lnTo>
                    <a:lnTo>
                      <a:pt x="14" y="50"/>
                    </a:lnTo>
                    <a:lnTo>
                      <a:pt x="15" y="51"/>
                    </a:lnTo>
                    <a:lnTo>
                      <a:pt x="14" y="53"/>
                    </a:lnTo>
                    <a:lnTo>
                      <a:pt x="10" y="55"/>
                    </a:lnTo>
                    <a:lnTo>
                      <a:pt x="9" y="55"/>
                    </a:lnTo>
                    <a:lnTo>
                      <a:pt x="9" y="56"/>
                    </a:lnTo>
                    <a:lnTo>
                      <a:pt x="7" y="55"/>
                    </a:lnTo>
                    <a:lnTo>
                      <a:pt x="5" y="56"/>
                    </a:lnTo>
                    <a:lnTo>
                      <a:pt x="2" y="57"/>
                    </a:lnTo>
                    <a:lnTo>
                      <a:pt x="4" y="59"/>
                    </a:lnTo>
                    <a:lnTo>
                      <a:pt x="3" y="60"/>
                    </a:lnTo>
                    <a:lnTo>
                      <a:pt x="2" y="61"/>
                    </a:lnTo>
                    <a:lnTo>
                      <a:pt x="0" y="61"/>
                    </a:lnTo>
                    <a:lnTo>
                      <a:pt x="0" y="62"/>
                    </a:lnTo>
                    <a:lnTo>
                      <a:pt x="2" y="65"/>
                    </a:lnTo>
                    <a:lnTo>
                      <a:pt x="4" y="65"/>
                    </a:lnTo>
                    <a:lnTo>
                      <a:pt x="4" y="68"/>
                    </a:lnTo>
                    <a:lnTo>
                      <a:pt x="8" y="72"/>
                    </a:lnTo>
                    <a:lnTo>
                      <a:pt x="12" y="74"/>
                    </a:lnTo>
                    <a:lnTo>
                      <a:pt x="12" y="73"/>
                    </a:lnTo>
                    <a:lnTo>
                      <a:pt x="15" y="72"/>
                    </a:lnTo>
                    <a:lnTo>
                      <a:pt x="15" y="73"/>
                    </a:lnTo>
                    <a:lnTo>
                      <a:pt x="12" y="74"/>
                    </a:lnTo>
                    <a:lnTo>
                      <a:pt x="15" y="75"/>
                    </a:lnTo>
                    <a:lnTo>
                      <a:pt x="16" y="77"/>
                    </a:lnTo>
                    <a:lnTo>
                      <a:pt x="15" y="78"/>
                    </a:lnTo>
                    <a:lnTo>
                      <a:pt x="17" y="78"/>
                    </a:lnTo>
                    <a:lnTo>
                      <a:pt x="16" y="80"/>
                    </a:lnTo>
                    <a:lnTo>
                      <a:pt x="17" y="80"/>
                    </a:lnTo>
                    <a:lnTo>
                      <a:pt x="15" y="82"/>
                    </a:lnTo>
                    <a:lnTo>
                      <a:pt x="15" y="84"/>
                    </a:lnTo>
                    <a:lnTo>
                      <a:pt x="17" y="83"/>
                    </a:lnTo>
                    <a:lnTo>
                      <a:pt x="20" y="84"/>
                    </a:lnTo>
                    <a:lnTo>
                      <a:pt x="20" y="88"/>
                    </a:lnTo>
                    <a:lnTo>
                      <a:pt x="21" y="88"/>
                    </a:lnTo>
                    <a:lnTo>
                      <a:pt x="21" y="89"/>
                    </a:lnTo>
                    <a:lnTo>
                      <a:pt x="20" y="90"/>
                    </a:lnTo>
                    <a:lnTo>
                      <a:pt x="22" y="90"/>
                    </a:lnTo>
                    <a:lnTo>
                      <a:pt x="23" y="91"/>
                    </a:lnTo>
                    <a:lnTo>
                      <a:pt x="24" y="91"/>
                    </a:lnTo>
                    <a:lnTo>
                      <a:pt x="22" y="91"/>
                    </a:lnTo>
                    <a:lnTo>
                      <a:pt x="21" y="93"/>
                    </a:lnTo>
                    <a:lnTo>
                      <a:pt x="25" y="97"/>
                    </a:lnTo>
                    <a:lnTo>
                      <a:pt x="25" y="101"/>
                    </a:lnTo>
                    <a:lnTo>
                      <a:pt x="25" y="103"/>
                    </a:lnTo>
                    <a:lnTo>
                      <a:pt x="25" y="105"/>
                    </a:lnTo>
                    <a:lnTo>
                      <a:pt x="27" y="107"/>
                    </a:lnTo>
                    <a:lnTo>
                      <a:pt x="25" y="110"/>
                    </a:lnTo>
                    <a:lnTo>
                      <a:pt x="21" y="113"/>
                    </a:lnTo>
                    <a:lnTo>
                      <a:pt x="22" y="114"/>
                    </a:lnTo>
                    <a:lnTo>
                      <a:pt x="22" y="116"/>
                    </a:lnTo>
                    <a:lnTo>
                      <a:pt x="20" y="116"/>
                    </a:lnTo>
                    <a:lnTo>
                      <a:pt x="19" y="118"/>
                    </a:lnTo>
                    <a:lnTo>
                      <a:pt x="20" y="120"/>
                    </a:lnTo>
                    <a:lnTo>
                      <a:pt x="19" y="127"/>
                    </a:lnTo>
                    <a:lnTo>
                      <a:pt x="20" y="130"/>
                    </a:lnTo>
                    <a:lnTo>
                      <a:pt x="19" y="132"/>
                    </a:lnTo>
                    <a:lnTo>
                      <a:pt x="20" y="135"/>
                    </a:lnTo>
                    <a:lnTo>
                      <a:pt x="21" y="137"/>
                    </a:lnTo>
                    <a:lnTo>
                      <a:pt x="24" y="137"/>
                    </a:lnTo>
                    <a:lnTo>
                      <a:pt x="26" y="138"/>
                    </a:lnTo>
                    <a:lnTo>
                      <a:pt x="25" y="140"/>
                    </a:lnTo>
                    <a:lnTo>
                      <a:pt x="26" y="142"/>
                    </a:lnTo>
                    <a:lnTo>
                      <a:pt x="28" y="141"/>
                    </a:lnTo>
                    <a:lnTo>
                      <a:pt x="29" y="141"/>
                    </a:lnTo>
                    <a:lnTo>
                      <a:pt x="29" y="142"/>
                    </a:lnTo>
                    <a:lnTo>
                      <a:pt x="29" y="144"/>
                    </a:lnTo>
                    <a:lnTo>
                      <a:pt x="31" y="145"/>
                    </a:lnTo>
                    <a:lnTo>
                      <a:pt x="31" y="146"/>
                    </a:lnTo>
                    <a:lnTo>
                      <a:pt x="33" y="148"/>
                    </a:lnTo>
                    <a:lnTo>
                      <a:pt x="34" y="150"/>
                    </a:lnTo>
                    <a:lnTo>
                      <a:pt x="36" y="152"/>
                    </a:lnTo>
                    <a:lnTo>
                      <a:pt x="31" y="158"/>
                    </a:lnTo>
                    <a:lnTo>
                      <a:pt x="31" y="160"/>
                    </a:lnTo>
                    <a:lnTo>
                      <a:pt x="34" y="159"/>
                    </a:lnTo>
                    <a:lnTo>
                      <a:pt x="36" y="162"/>
                    </a:lnTo>
                    <a:lnTo>
                      <a:pt x="41" y="162"/>
                    </a:lnTo>
                    <a:lnTo>
                      <a:pt x="45" y="163"/>
                    </a:lnTo>
                    <a:lnTo>
                      <a:pt x="45" y="165"/>
                    </a:lnTo>
                    <a:lnTo>
                      <a:pt x="46" y="165"/>
                    </a:lnTo>
                    <a:lnTo>
                      <a:pt x="46" y="167"/>
                    </a:lnTo>
                    <a:lnTo>
                      <a:pt x="45" y="168"/>
                    </a:lnTo>
                    <a:lnTo>
                      <a:pt x="47" y="172"/>
                    </a:lnTo>
                    <a:lnTo>
                      <a:pt x="47" y="175"/>
                    </a:lnTo>
                    <a:lnTo>
                      <a:pt x="48" y="175"/>
                    </a:lnTo>
                    <a:lnTo>
                      <a:pt x="50" y="173"/>
                    </a:lnTo>
                    <a:lnTo>
                      <a:pt x="53" y="173"/>
                    </a:lnTo>
                    <a:lnTo>
                      <a:pt x="53" y="175"/>
                    </a:lnTo>
                    <a:lnTo>
                      <a:pt x="53" y="176"/>
                    </a:lnTo>
                    <a:lnTo>
                      <a:pt x="57" y="182"/>
                    </a:lnTo>
                    <a:lnTo>
                      <a:pt x="58" y="184"/>
                    </a:lnTo>
                    <a:lnTo>
                      <a:pt x="60" y="184"/>
                    </a:lnTo>
                    <a:lnTo>
                      <a:pt x="60" y="186"/>
                    </a:lnTo>
                    <a:lnTo>
                      <a:pt x="62" y="187"/>
                    </a:lnTo>
                    <a:lnTo>
                      <a:pt x="66" y="187"/>
                    </a:lnTo>
                    <a:lnTo>
                      <a:pt x="66" y="188"/>
                    </a:lnTo>
                    <a:lnTo>
                      <a:pt x="64" y="190"/>
                    </a:lnTo>
                    <a:lnTo>
                      <a:pt x="66" y="190"/>
                    </a:lnTo>
                    <a:lnTo>
                      <a:pt x="66" y="192"/>
                    </a:lnTo>
                    <a:lnTo>
                      <a:pt x="70" y="192"/>
                    </a:lnTo>
                    <a:lnTo>
                      <a:pt x="71" y="194"/>
                    </a:lnTo>
                    <a:lnTo>
                      <a:pt x="73" y="194"/>
                    </a:lnTo>
                    <a:lnTo>
                      <a:pt x="74" y="196"/>
                    </a:lnTo>
                    <a:lnTo>
                      <a:pt x="74" y="198"/>
                    </a:lnTo>
                    <a:lnTo>
                      <a:pt x="71" y="199"/>
                    </a:lnTo>
                    <a:lnTo>
                      <a:pt x="72" y="201"/>
                    </a:lnTo>
                    <a:lnTo>
                      <a:pt x="72" y="203"/>
                    </a:lnTo>
                    <a:lnTo>
                      <a:pt x="75" y="202"/>
                    </a:lnTo>
                    <a:lnTo>
                      <a:pt x="76" y="201"/>
                    </a:lnTo>
                    <a:lnTo>
                      <a:pt x="78" y="200"/>
                    </a:lnTo>
                    <a:lnTo>
                      <a:pt x="79" y="199"/>
                    </a:lnTo>
                    <a:lnTo>
                      <a:pt x="80" y="199"/>
                    </a:lnTo>
                    <a:lnTo>
                      <a:pt x="83" y="202"/>
                    </a:lnTo>
                    <a:lnTo>
                      <a:pt x="82" y="203"/>
                    </a:lnTo>
                    <a:lnTo>
                      <a:pt x="84" y="206"/>
                    </a:lnTo>
                    <a:lnTo>
                      <a:pt x="87" y="207"/>
                    </a:lnTo>
                    <a:lnTo>
                      <a:pt x="89" y="211"/>
                    </a:lnTo>
                    <a:lnTo>
                      <a:pt x="88" y="213"/>
                    </a:lnTo>
                    <a:lnTo>
                      <a:pt x="86" y="217"/>
                    </a:lnTo>
                    <a:lnTo>
                      <a:pt x="83" y="217"/>
                    </a:lnTo>
                    <a:lnTo>
                      <a:pt x="83" y="218"/>
                    </a:lnTo>
                    <a:lnTo>
                      <a:pt x="80" y="221"/>
                    </a:lnTo>
                    <a:lnTo>
                      <a:pt x="80" y="223"/>
                    </a:lnTo>
                    <a:lnTo>
                      <a:pt x="81" y="227"/>
                    </a:lnTo>
                    <a:lnTo>
                      <a:pt x="85" y="228"/>
                    </a:lnTo>
                    <a:lnTo>
                      <a:pt x="85" y="229"/>
                    </a:lnTo>
                    <a:lnTo>
                      <a:pt x="86" y="229"/>
                    </a:lnTo>
                    <a:lnTo>
                      <a:pt x="87" y="232"/>
                    </a:lnTo>
                    <a:lnTo>
                      <a:pt x="90" y="233"/>
                    </a:lnTo>
                    <a:lnTo>
                      <a:pt x="93" y="233"/>
                    </a:lnTo>
                    <a:lnTo>
                      <a:pt x="95" y="236"/>
                    </a:lnTo>
                    <a:lnTo>
                      <a:pt x="98" y="237"/>
                    </a:lnTo>
                    <a:lnTo>
                      <a:pt x="98" y="238"/>
                    </a:lnTo>
                    <a:lnTo>
                      <a:pt x="98" y="245"/>
                    </a:lnTo>
                    <a:lnTo>
                      <a:pt x="102" y="247"/>
                    </a:lnTo>
                    <a:lnTo>
                      <a:pt x="106" y="247"/>
                    </a:lnTo>
                    <a:lnTo>
                      <a:pt x="109" y="250"/>
                    </a:lnTo>
                    <a:lnTo>
                      <a:pt x="110" y="253"/>
                    </a:lnTo>
                    <a:lnTo>
                      <a:pt x="111" y="250"/>
                    </a:lnTo>
                    <a:lnTo>
                      <a:pt x="114" y="252"/>
                    </a:lnTo>
                    <a:lnTo>
                      <a:pt x="114" y="247"/>
                    </a:lnTo>
                    <a:lnTo>
                      <a:pt x="116" y="247"/>
                    </a:lnTo>
                    <a:lnTo>
                      <a:pt x="118" y="247"/>
                    </a:lnTo>
                    <a:lnTo>
                      <a:pt x="118" y="245"/>
                    </a:lnTo>
                    <a:lnTo>
                      <a:pt x="119" y="246"/>
                    </a:lnTo>
                    <a:lnTo>
                      <a:pt x="119" y="244"/>
                    </a:lnTo>
                    <a:lnTo>
                      <a:pt x="124" y="244"/>
                    </a:lnTo>
                    <a:lnTo>
                      <a:pt x="128" y="247"/>
                    </a:lnTo>
                    <a:lnTo>
                      <a:pt x="130" y="249"/>
                    </a:lnTo>
                    <a:lnTo>
                      <a:pt x="130" y="255"/>
                    </a:lnTo>
                    <a:lnTo>
                      <a:pt x="130" y="256"/>
                    </a:lnTo>
                    <a:lnTo>
                      <a:pt x="130" y="257"/>
                    </a:lnTo>
                    <a:lnTo>
                      <a:pt x="133" y="258"/>
                    </a:lnTo>
                    <a:lnTo>
                      <a:pt x="133" y="256"/>
                    </a:lnTo>
                    <a:lnTo>
                      <a:pt x="133" y="252"/>
                    </a:lnTo>
                    <a:lnTo>
                      <a:pt x="132" y="250"/>
                    </a:lnTo>
                    <a:lnTo>
                      <a:pt x="137" y="249"/>
                    </a:lnTo>
                    <a:lnTo>
                      <a:pt x="142" y="250"/>
                    </a:lnTo>
                    <a:lnTo>
                      <a:pt x="142" y="246"/>
                    </a:lnTo>
                    <a:lnTo>
                      <a:pt x="140" y="243"/>
                    </a:lnTo>
                    <a:lnTo>
                      <a:pt x="141" y="243"/>
                    </a:lnTo>
                    <a:lnTo>
                      <a:pt x="143" y="244"/>
                    </a:lnTo>
                    <a:lnTo>
                      <a:pt x="146" y="246"/>
                    </a:lnTo>
                    <a:lnTo>
                      <a:pt x="148" y="246"/>
                    </a:lnTo>
                    <a:lnTo>
                      <a:pt x="151" y="243"/>
                    </a:lnTo>
                    <a:lnTo>
                      <a:pt x="152" y="241"/>
                    </a:lnTo>
                    <a:lnTo>
                      <a:pt x="154" y="243"/>
                    </a:lnTo>
                    <a:lnTo>
                      <a:pt x="157" y="243"/>
                    </a:lnTo>
                    <a:lnTo>
                      <a:pt x="157" y="242"/>
                    </a:lnTo>
                    <a:lnTo>
                      <a:pt x="158" y="241"/>
                    </a:lnTo>
                    <a:lnTo>
                      <a:pt x="158" y="243"/>
                    </a:lnTo>
                    <a:lnTo>
                      <a:pt x="160" y="244"/>
                    </a:lnTo>
                    <a:lnTo>
                      <a:pt x="162" y="243"/>
                    </a:lnTo>
                    <a:lnTo>
                      <a:pt x="164" y="242"/>
                    </a:lnTo>
                    <a:lnTo>
                      <a:pt x="165" y="240"/>
                    </a:lnTo>
                    <a:lnTo>
                      <a:pt x="167" y="240"/>
                    </a:lnTo>
                    <a:lnTo>
                      <a:pt x="168" y="242"/>
                    </a:lnTo>
                    <a:lnTo>
                      <a:pt x="170" y="242"/>
                    </a:lnTo>
                    <a:lnTo>
                      <a:pt x="171" y="243"/>
                    </a:lnTo>
                    <a:lnTo>
                      <a:pt x="171" y="244"/>
                    </a:lnTo>
                    <a:lnTo>
                      <a:pt x="172" y="244"/>
                    </a:lnTo>
                    <a:lnTo>
                      <a:pt x="171" y="245"/>
                    </a:lnTo>
                    <a:lnTo>
                      <a:pt x="172" y="247"/>
                    </a:lnTo>
                    <a:lnTo>
                      <a:pt x="173" y="247"/>
                    </a:lnTo>
                    <a:lnTo>
                      <a:pt x="173" y="245"/>
                    </a:lnTo>
                    <a:lnTo>
                      <a:pt x="175" y="247"/>
                    </a:lnTo>
                    <a:lnTo>
                      <a:pt x="178" y="245"/>
                    </a:lnTo>
                    <a:lnTo>
                      <a:pt x="180" y="248"/>
                    </a:lnTo>
                    <a:lnTo>
                      <a:pt x="180" y="251"/>
                    </a:lnTo>
                    <a:lnTo>
                      <a:pt x="181" y="250"/>
                    </a:lnTo>
                    <a:lnTo>
                      <a:pt x="184" y="250"/>
                    </a:lnTo>
                    <a:lnTo>
                      <a:pt x="187" y="252"/>
                    </a:lnTo>
                    <a:lnTo>
                      <a:pt x="191" y="248"/>
                    </a:lnTo>
                    <a:lnTo>
                      <a:pt x="193" y="249"/>
                    </a:lnTo>
                    <a:lnTo>
                      <a:pt x="195" y="250"/>
                    </a:lnTo>
                    <a:lnTo>
                      <a:pt x="195" y="251"/>
                    </a:lnTo>
                    <a:lnTo>
                      <a:pt x="196" y="253"/>
                    </a:lnTo>
                    <a:lnTo>
                      <a:pt x="199" y="256"/>
                    </a:lnTo>
                    <a:lnTo>
                      <a:pt x="200" y="256"/>
                    </a:lnTo>
                    <a:lnTo>
                      <a:pt x="200" y="253"/>
                    </a:lnTo>
                    <a:lnTo>
                      <a:pt x="203" y="254"/>
                    </a:lnTo>
                    <a:lnTo>
                      <a:pt x="203" y="253"/>
                    </a:lnTo>
                    <a:lnTo>
                      <a:pt x="204" y="253"/>
                    </a:lnTo>
                    <a:lnTo>
                      <a:pt x="206" y="251"/>
                    </a:lnTo>
                    <a:lnTo>
                      <a:pt x="207" y="250"/>
                    </a:lnTo>
                    <a:lnTo>
                      <a:pt x="208" y="249"/>
                    </a:lnTo>
                    <a:lnTo>
                      <a:pt x="210" y="250"/>
                    </a:lnTo>
                    <a:lnTo>
                      <a:pt x="211" y="249"/>
                    </a:lnTo>
                    <a:lnTo>
                      <a:pt x="212" y="247"/>
                    </a:lnTo>
                    <a:lnTo>
                      <a:pt x="212" y="245"/>
                    </a:lnTo>
                    <a:lnTo>
                      <a:pt x="211" y="244"/>
                    </a:lnTo>
                    <a:lnTo>
                      <a:pt x="212" y="243"/>
                    </a:lnTo>
                    <a:lnTo>
                      <a:pt x="211" y="243"/>
                    </a:lnTo>
                    <a:lnTo>
                      <a:pt x="212" y="242"/>
                    </a:lnTo>
                    <a:lnTo>
                      <a:pt x="214" y="243"/>
                    </a:lnTo>
                    <a:lnTo>
                      <a:pt x="214" y="241"/>
                    </a:lnTo>
                    <a:lnTo>
                      <a:pt x="211" y="236"/>
                    </a:lnTo>
                    <a:lnTo>
                      <a:pt x="212" y="233"/>
                    </a:lnTo>
                    <a:lnTo>
                      <a:pt x="214" y="232"/>
                    </a:lnTo>
                    <a:lnTo>
                      <a:pt x="217" y="232"/>
                    </a:lnTo>
                    <a:lnTo>
                      <a:pt x="220" y="233"/>
                    </a:lnTo>
                    <a:lnTo>
                      <a:pt x="222" y="231"/>
                    </a:lnTo>
                    <a:lnTo>
                      <a:pt x="224" y="232"/>
                    </a:lnTo>
                    <a:lnTo>
                      <a:pt x="223" y="233"/>
                    </a:lnTo>
                    <a:lnTo>
                      <a:pt x="224" y="233"/>
                    </a:lnTo>
                    <a:lnTo>
                      <a:pt x="224" y="227"/>
                    </a:lnTo>
                    <a:lnTo>
                      <a:pt x="228" y="227"/>
                    </a:lnTo>
                    <a:lnTo>
                      <a:pt x="229" y="229"/>
                    </a:lnTo>
                    <a:lnTo>
                      <a:pt x="230" y="228"/>
                    </a:lnTo>
                    <a:lnTo>
                      <a:pt x="230" y="227"/>
                    </a:lnTo>
                    <a:lnTo>
                      <a:pt x="232" y="226"/>
                    </a:lnTo>
                    <a:lnTo>
                      <a:pt x="234" y="226"/>
                    </a:lnTo>
                    <a:lnTo>
                      <a:pt x="235" y="225"/>
                    </a:lnTo>
                    <a:lnTo>
                      <a:pt x="235" y="223"/>
                    </a:lnTo>
                    <a:lnTo>
                      <a:pt x="238" y="223"/>
                    </a:lnTo>
                    <a:lnTo>
                      <a:pt x="239" y="223"/>
                    </a:lnTo>
                    <a:lnTo>
                      <a:pt x="240" y="221"/>
                    </a:lnTo>
                    <a:lnTo>
                      <a:pt x="241" y="220"/>
                    </a:lnTo>
                    <a:lnTo>
                      <a:pt x="244" y="222"/>
                    </a:lnTo>
                    <a:lnTo>
                      <a:pt x="246" y="220"/>
                    </a:lnTo>
                    <a:lnTo>
                      <a:pt x="246" y="219"/>
                    </a:lnTo>
                    <a:lnTo>
                      <a:pt x="244" y="219"/>
                    </a:lnTo>
                    <a:lnTo>
                      <a:pt x="245" y="216"/>
                    </a:lnTo>
                    <a:lnTo>
                      <a:pt x="247" y="218"/>
                    </a:lnTo>
                    <a:lnTo>
                      <a:pt x="249" y="218"/>
                    </a:lnTo>
                    <a:lnTo>
                      <a:pt x="249" y="214"/>
                    </a:lnTo>
                    <a:lnTo>
                      <a:pt x="249" y="213"/>
                    </a:lnTo>
                    <a:lnTo>
                      <a:pt x="249" y="214"/>
                    </a:lnTo>
                    <a:lnTo>
                      <a:pt x="251" y="213"/>
                    </a:lnTo>
                    <a:lnTo>
                      <a:pt x="254" y="210"/>
                    </a:lnTo>
                    <a:lnTo>
                      <a:pt x="254" y="213"/>
                    </a:lnTo>
                    <a:lnTo>
                      <a:pt x="254" y="215"/>
                    </a:lnTo>
                    <a:lnTo>
                      <a:pt x="256" y="216"/>
                    </a:lnTo>
                    <a:lnTo>
                      <a:pt x="257" y="215"/>
                    </a:lnTo>
                    <a:lnTo>
                      <a:pt x="259" y="218"/>
                    </a:lnTo>
                    <a:lnTo>
                      <a:pt x="260" y="216"/>
                    </a:lnTo>
                    <a:lnTo>
                      <a:pt x="262" y="218"/>
                    </a:lnTo>
                    <a:lnTo>
                      <a:pt x="262" y="217"/>
                    </a:lnTo>
                    <a:lnTo>
                      <a:pt x="264" y="218"/>
                    </a:lnTo>
                    <a:lnTo>
                      <a:pt x="267" y="216"/>
                    </a:lnTo>
                    <a:lnTo>
                      <a:pt x="267" y="218"/>
                    </a:lnTo>
                    <a:lnTo>
                      <a:pt x="266" y="218"/>
                    </a:lnTo>
                    <a:lnTo>
                      <a:pt x="269" y="219"/>
                    </a:lnTo>
                    <a:lnTo>
                      <a:pt x="270" y="219"/>
                    </a:lnTo>
                    <a:lnTo>
                      <a:pt x="270" y="221"/>
                    </a:lnTo>
                    <a:lnTo>
                      <a:pt x="271" y="221"/>
                    </a:lnTo>
                    <a:lnTo>
                      <a:pt x="271" y="220"/>
                    </a:lnTo>
                    <a:lnTo>
                      <a:pt x="272" y="222"/>
                    </a:lnTo>
                    <a:lnTo>
                      <a:pt x="273" y="222"/>
                    </a:lnTo>
                    <a:lnTo>
                      <a:pt x="273" y="223"/>
                    </a:lnTo>
                    <a:lnTo>
                      <a:pt x="274" y="223"/>
                    </a:lnTo>
                    <a:lnTo>
                      <a:pt x="274" y="226"/>
                    </a:lnTo>
                    <a:lnTo>
                      <a:pt x="275" y="227"/>
                    </a:lnTo>
                    <a:lnTo>
                      <a:pt x="276" y="223"/>
                    </a:lnTo>
                    <a:lnTo>
                      <a:pt x="276" y="225"/>
                    </a:lnTo>
                    <a:lnTo>
                      <a:pt x="276" y="226"/>
                    </a:lnTo>
                    <a:lnTo>
                      <a:pt x="278" y="228"/>
                    </a:lnTo>
                    <a:lnTo>
                      <a:pt x="281" y="233"/>
                    </a:lnTo>
                    <a:lnTo>
                      <a:pt x="285" y="236"/>
                    </a:lnTo>
                    <a:lnTo>
                      <a:pt x="287" y="235"/>
                    </a:lnTo>
                    <a:lnTo>
                      <a:pt x="289" y="234"/>
                    </a:lnTo>
                    <a:lnTo>
                      <a:pt x="287" y="231"/>
                    </a:lnTo>
                    <a:lnTo>
                      <a:pt x="287" y="227"/>
                    </a:lnTo>
                    <a:lnTo>
                      <a:pt x="290" y="223"/>
                    </a:lnTo>
                    <a:lnTo>
                      <a:pt x="292" y="223"/>
                    </a:lnTo>
                    <a:lnTo>
                      <a:pt x="292" y="222"/>
                    </a:lnTo>
                    <a:lnTo>
                      <a:pt x="290" y="216"/>
                    </a:lnTo>
                    <a:lnTo>
                      <a:pt x="292" y="216"/>
                    </a:lnTo>
                    <a:lnTo>
                      <a:pt x="290" y="214"/>
                    </a:lnTo>
                    <a:lnTo>
                      <a:pt x="289" y="214"/>
                    </a:lnTo>
                    <a:lnTo>
                      <a:pt x="290" y="213"/>
                    </a:lnTo>
                    <a:lnTo>
                      <a:pt x="291" y="212"/>
                    </a:lnTo>
                    <a:lnTo>
                      <a:pt x="290" y="210"/>
                    </a:lnTo>
                    <a:lnTo>
                      <a:pt x="292" y="210"/>
                    </a:lnTo>
                    <a:lnTo>
                      <a:pt x="293" y="212"/>
                    </a:lnTo>
                    <a:lnTo>
                      <a:pt x="294" y="213"/>
                    </a:lnTo>
                    <a:lnTo>
                      <a:pt x="295" y="210"/>
                    </a:lnTo>
                    <a:lnTo>
                      <a:pt x="295" y="213"/>
                    </a:lnTo>
                    <a:lnTo>
                      <a:pt x="297" y="213"/>
                    </a:lnTo>
                    <a:lnTo>
                      <a:pt x="297" y="210"/>
                    </a:lnTo>
                    <a:lnTo>
                      <a:pt x="300" y="211"/>
                    </a:lnTo>
                    <a:lnTo>
                      <a:pt x="301" y="210"/>
                    </a:lnTo>
                    <a:lnTo>
                      <a:pt x="303" y="211"/>
                    </a:lnTo>
                    <a:lnTo>
                      <a:pt x="304" y="210"/>
                    </a:lnTo>
                    <a:lnTo>
                      <a:pt x="303" y="206"/>
                    </a:lnTo>
                    <a:lnTo>
                      <a:pt x="303" y="207"/>
                    </a:lnTo>
                    <a:lnTo>
                      <a:pt x="305" y="209"/>
                    </a:lnTo>
                    <a:lnTo>
                      <a:pt x="308" y="208"/>
                    </a:lnTo>
                    <a:lnTo>
                      <a:pt x="308" y="205"/>
                    </a:lnTo>
                    <a:lnTo>
                      <a:pt x="309" y="204"/>
                    </a:lnTo>
                    <a:lnTo>
                      <a:pt x="309" y="202"/>
                    </a:lnTo>
                    <a:lnTo>
                      <a:pt x="309" y="200"/>
                    </a:lnTo>
                    <a:lnTo>
                      <a:pt x="306" y="201"/>
                    </a:lnTo>
                    <a:lnTo>
                      <a:pt x="305" y="199"/>
                    </a:lnTo>
                    <a:lnTo>
                      <a:pt x="309" y="192"/>
                    </a:lnTo>
                    <a:lnTo>
                      <a:pt x="308" y="191"/>
                    </a:lnTo>
                    <a:lnTo>
                      <a:pt x="307" y="190"/>
                    </a:lnTo>
                    <a:lnTo>
                      <a:pt x="309" y="190"/>
                    </a:lnTo>
                    <a:lnTo>
                      <a:pt x="309" y="191"/>
                    </a:lnTo>
                    <a:lnTo>
                      <a:pt x="311" y="192"/>
                    </a:lnTo>
                    <a:lnTo>
                      <a:pt x="312" y="191"/>
                    </a:lnTo>
                    <a:lnTo>
                      <a:pt x="312" y="190"/>
                    </a:lnTo>
                    <a:lnTo>
                      <a:pt x="311" y="190"/>
                    </a:lnTo>
                    <a:lnTo>
                      <a:pt x="311" y="188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48" name="Group 140">
              <a:extLst>
                <a:ext uri="{FF2B5EF4-FFF2-40B4-BE49-F238E27FC236}">
                  <a16:creationId xmlns:a16="http://schemas.microsoft.com/office/drawing/2014/main" id="{48B36C12-4853-A88E-CD24-170713524EA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17" y="3100"/>
              <a:ext cx="129" cy="104"/>
              <a:chOff x="1017" y="3100"/>
              <a:chExt cx="129" cy="104"/>
            </a:xfrm>
          </p:grpSpPr>
          <p:sp>
            <p:nvSpPr>
              <p:cNvPr id="134" name="Freeform 138">
                <a:extLst>
                  <a:ext uri="{FF2B5EF4-FFF2-40B4-BE49-F238E27FC236}">
                    <a16:creationId xmlns:a16="http://schemas.microsoft.com/office/drawing/2014/main" id="{C4F863AC-CDF2-00A0-ECBA-35128E92BA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7" y="3100"/>
                <a:ext cx="129" cy="104"/>
              </a:xfrm>
              <a:custGeom>
                <a:avLst/>
                <a:gdLst>
                  <a:gd name="T0" fmla="*/ 111 w 129"/>
                  <a:gd name="T1" fmla="*/ 86 h 104"/>
                  <a:gd name="T2" fmla="*/ 107 w 129"/>
                  <a:gd name="T3" fmla="*/ 84 h 104"/>
                  <a:gd name="T4" fmla="*/ 100 w 129"/>
                  <a:gd name="T5" fmla="*/ 87 h 104"/>
                  <a:gd name="T6" fmla="*/ 98 w 129"/>
                  <a:gd name="T7" fmla="*/ 87 h 104"/>
                  <a:gd name="T8" fmla="*/ 94 w 129"/>
                  <a:gd name="T9" fmla="*/ 82 h 104"/>
                  <a:gd name="T10" fmla="*/ 92 w 129"/>
                  <a:gd name="T11" fmla="*/ 79 h 104"/>
                  <a:gd name="T12" fmla="*/ 88 w 129"/>
                  <a:gd name="T13" fmla="*/ 80 h 104"/>
                  <a:gd name="T14" fmla="*/ 85 w 129"/>
                  <a:gd name="T15" fmla="*/ 79 h 104"/>
                  <a:gd name="T16" fmla="*/ 78 w 129"/>
                  <a:gd name="T17" fmla="*/ 77 h 104"/>
                  <a:gd name="T18" fmla="*/ 73 w 129"/>
                  <a:gd name="T19" fmla="*/ 85 h 104"/>
                  <a:gd name="T20" fmla="*/ 70 w 129"/>
                  <a:gd name="T21" fmla="*/ 83 h 104"/>
                  <a:gd name="T22" fmla="*/ 60 w 129"/>
                  <a:gd name="T23" fmla="*/ 88 h 104"/>
                  <a:gd name="T24" fmla="*/ 54 w 129"/>
                  <a:gd name="T25" fmla="*/ 93 h 104"/>
                  <a:gd name="T26" fmla="*/ 44 w 129"/>
                  <a:gd name="T27" fmla="*/ 95 h 104"/>
                  <a:gd name="T28" fmla="*/ 37 w 129"/>
                  <a:gd name="T29" fmla="*/ 103 h 104"/>
                  <a:gd name="T30" fmla="*/ 31 w 129"/>
                  <a:gd name="T31" fmla="*/ 102 h 104"/>
                  <a:gd name="T32" fmla="*/ 27 w 129"/>
                  <a:gd name="T33" fmla="*/ 99 h 104"/>
                  <a:gd name="T34" fmla="*/ 20 w 129"/>
                  <a:gd name="T35" fmla="*/ 90 h 104"/>
                  <a:gd name="T36" fmla="*/ 25 w 129"/>
                  <a:gd name="T37" fmla="*/ 87 h 104"/>
                  <a:gd name="T38" fmla="*/ 24 w 129"/>
                  <a:gd name="T39" fmla="*/ 82 h 104"/>
                  <a:gd name="T40" fmla="*/ 18 w 129"/>
                  <a:gd name="T41" fmla="*/ 79 h 104"/>
                  <a:gd name="T42" fmla="*/ 14 w 129"/>
                  <a:gd name="T43" fmla="*/ 74 h 104"/>
                  <a:gd name="T44" fmla="*/ 20 w 129"/>
                  <a:gd name="T45" fmla="*/ 63 h 104"/>
                  <a:gd name="T46" fmla="*/ 8 w 129"/>
                  <a:gd name="T47" fmla="*/ 53 h 104"/>
                  <a:gd name="T48" fmla="*/ 9 w 129"/>
                  <a:gd name="T49" fmla="*/ 47 h 104"/>
                  <a:gd name="T50" fmla="*/ 4 w 129"/>
                  <a:gd name="T51" fmla="*/ 44 h 104"/>
                  <a:gd name="T52" fmla="*/ 12 w 129"/>
                  <a:gd name="T53" fmla="*/ 38 h 104"/>
                  <a:gd name="T54" fmla="*/ 16 w 129"/>
                  <a:gd name="T55" fmla="*/ 37 h 104"/>
                  <a:gd name="T56" fmla="*/ 12 w 129"/>
                  <a:gd name="T57" fmla="*/ 31 h 104"/>
                  <a:gd name="T58" fmla="*/ 9 w 129"/>
                  <a:gd name="T59" fmla="*/ 25 h 104"/>
                  <a:gd name="T60" fmla="*/ 0 w 129"/>
                  <a:gd name="T61" fmla="*/ 24 h 104"/>
                  <a:gd name="T62" fmla="*/ 5 w 129"/>
                  <a:gd name="T63" fmla="*/ 18 h 104"/>
                  <a:gd name="T64" fmla="*/ 9 w 129"/>
                  <a:gd name="T65" fmla="*/ 18 h 104"/>
                  <a:gd name="T66" fmla="*/ 18 w 129"/>
                  <a:gd name="T67" fmla="*/ 18 h 104"/>
                  <a:gd name="T68" fmla="*/ 24 w 129"/>
                  <a:gd name="T69" fmla="*/ 13 h 104"/>
                  <a:gd name="T70" fmla="*/ 26 w 129"/>
                  <a:gd name="T71" fmla="*/ 20 h 104"/>
                  <a:gd name="T72" fmla="*/ 38 w 129"/>
                  <a:gd name="T73" fmla="*/ 15 h 104"/>
                  <a:gd name="T74" fmla="*/ 38 w 129"/>
                  <a:gd name="T75" fmla="*/ 10 h 104"/>
                  <a:gd name="T76" fmla="*/ 47 w 129"/>
                  <a:gd name="T77" fmla="*/ 11 h 104"/>
                  <a:gd name="T78" fmla="*/ 55 w 129"/>
                  <a:gd name="T79" fmla="*/ 7 h 104"/>
                  <a:gd name="T80" fmla="*/ 68 w 129"/>
                  <a:gd name="T81" fmla="*/ 6 h 104"/>
                  <a:gd name="T82" fmla="*/ 72 w 129"/>
                  <a:gd name="T83" fmla="*/ 0 h 104"/>
                  <a:gd name="T84" fmla="*/ 85 w 129"/>
                  <a:gd name="T85" fmla="*/ 0 h 104"/>
                  <a:gd name="T86" fmla="*/ 88 w 129"/>
                  <a:gd name="T87" fmla="*/ 7 h 104"/>
                  <a:gd name="T88" fmla="*/ 93 w 129"/>
                  <a:gd name="T89" fmla="*/ 8 h 104"/>
                  <a:gd name="T90" fmla="*/ 95 w 129"/>
                  <a:gd name="T91" fmla="*/ 14 h 104"/>
                  <a:gd name="T92" fmla="*/ 101 w 129"/>
                  <a:gd name="T93" fmla="*/ 16 h 104"/>
                  <a:gd name="T94" fmla="*/ 103 w 129"/>
                  <a:gd name="T95" fmla="*/ 25 h 104"/>
                  <a:gd name="T96" fmla="*/ 111 w 129"/>
                  <a:gd name="T97" fmla="*/ 26 h 104"/>
                  <a:gd name="T98" fmla="*/ 119 w 129"/>
                  <a:gd name="T99" fmla="*/ 39 h 104"/>
                  <a:gd name="T100" fmla="*/ 128 w 129"/>
                  <a:gd name="T101" fmla="*/ 46 h 104"/>
                  <a:gd name="T102" fmla="*/ 118 w 129"/>
                  <a:gd name="T103" fmla="*/ 58 h 104"/>
                  <a:gd name="T104" fmla="*/ 110 w 129"/>
                  <a:gd name="T105" fmla="*/ 59 h 104"/>
                  <a:gd name="T106" fmla="*/ 109 w 129"/>
                  <a:gd name="T107" fmla="*/ 68 h 104"/>
                  <a:gd name="T108" fmla="*/ 113 w 129"/>
                  <a:gd name="T109" fmla="*/ 70 h 10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29"/>
                  <a:gd name="T166" fmla="*/ 0 h 104"/>
                  <a:gd name="T167" fmla="*/ 129 w 129"/>
                  <a:gd name="T168" fmla="*/ 104 h 10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29" h="104">
                    <a:moveTo>
                      <a:pt x="114" y="80"/>
                    </a:moveTo>
                    <a:lnTo>
                      <a:pt x="114" y="82"/>
                    </a:lnTo>
                    <a:lnTo>
                      <a:pt x="112" y="82"/>
                    </a:lnTo>
                    <a:lnTo>
                      <a:pt x="112" y="84"/>
                    </a:lnTo>
                    <a:lnTo>
                      <a:pt x="111" y="86"/>
                    </a:lnTo>
                    <a:lnTo>
                      <a:pt x="109" y="83"/>
                    </a:lnTo>
                    <a:lnTo>
                      <a:pt x="108" y="84"/>
                    </a:lnTo>
                    <a:lnTo>
                      <a:pt x="108" y="86"/>
                    </a:lnTo>
                    <a:lnTo>
                      <a:pt x="107" y="84"/>
                    </a:lnTo>
                    <a:lnTo>
                      <a:pt x="108" y="88"/>
                    </a:lnTo>
                    <a:lnTo>
                      <a:pt x="106" y="90"/>
                    </a:lnTo>
                    <a:lnTo>
                      <a:pt x="104" y="88"/>
                    </a:lnTo>
                    <a:lnTo>
                      <a:pt x="102" y="88"/>
                    </a:lnTo>
                    <a:lnTo>
                      <a:pt x="100" y="87"/>
                    </a:lnTo>
                    <a:lnTo>
                      <a:pt x="100" y="88"/>
                    </a:lnTo>
                    <a:lnTo>
                      <a:pt x="99" y="87"/>
                    </a:lnTo>
                    <a:lnTo>
                      <a:pt x="99" y="88"/>
                    </a:lnTo>
                    <a:lnTo>
                      <a:pt x="98" y="86"/>
                    </a:lnTo>
                    <a:lnTo>
                      <a:pt x="98" y="87"/>
                    </a:lnTo>
                    <a:lnTo>
                      <a:pt x="97" y="86"/>
                    </a:lnTo>
                    <a:lnTo>
                      <a:pt x="97" y="84"/>
                    </a:lnTo>
                    <a:lnTo>
                      <a:pt x="96" y="85"/>
                    </a:lnTo>
                    <a:lnTo>
                      <a:pt x="96" y="81"/>
                    </a:lnTo>
                    <a:lnTo>
                      <a:pt x="94" y="82"/>
                    </a:lnTo>
                    <a:lnTo>
                      <a:pt x="94" y="81"/>
                    </a:lnTo>
                    <a:lnTo>
                      <a:pt x="93" y="80"/>
                    </a:lnTo>
                    <a:lnTo>
                      <a:pt x="92" y="81"/>
                    </a:lnTo>
                    <a:lnTo>
                      <a:pt x="92" y="80"/>
                    </a:lnTo>
                    <a:lnTo>
                      <a:pt x="92" y="79"/>
                    </a:lnTo>
                    <a:lnTo>
                      <a:pt x="91" y="80"/>
                    </a:lnTo>
                    <a:lnTo>
                      <a:pt x="91" y="77"/>
                    </a:lnTo>
                    <a:lnTo>
                      <a:pt x="90" y="78"/>
                    </a:lnTo>
                    <a:lnTo>
                      <a:pt x="89" y="79"/>
                    </a:lnTo>
                    <a:lnTo>
                      <a:pt x="88" y="80"/>
                    </a:lnTo>
                    <a:lnTo>
                      <a:pt x="87" y="80"/>
                    </a:lnTo>
                    <a:lnTo>
                      <a:pt x="86" y="80"/>
                    </a:lnTo>
                    <a:lnTo>
                      <a:pt x="86" y="79"/>
                    </a:lnTo>
                    <a:lnTo>
                      <a:pt x="85" y="79"/>
                    </a:lnTo>
                    <a:lnTo>
                      <a:pt x="83" y="78"/>
                    </a:lnTo>
                    <a:lnTo>
                      <a:pt x="83" y="79"/>
                    </a:lnTo>
                    <a:lnTo>
                      <a:pt x="82" y="80"/>
                    </a:lnTo>
                    <a:lnTo>
                      <a:pt x="80" y="80"/>
                    </a:lnTo>
                    <a:lnTo>
                      <a:pt x="78" y="77"/>
                    </a:lnTo>
                    <a:lnTo>
                      <a:pt x="77" y="78"/>
                    </a:lnTo>
                    <a:lnTo>
                      <a:pt x="74" y="79"/>
                    </a:lnTo>
                    <a:lnTo>
                      <a:pt x="76" y="82"/>
                    </a:lnTo>
                    <a:lnTo>
                      <a:pt x="73" y="84"/>
                    </a:lnTo>
                    <a:lnTo>
                      <a:pt x="73" y="85"/>
                    </a:lnTo>
                    <a:lnTo>
                      <a:pt x="72" y="84"/>
                    </a:lnTo>
                    <a:lnTo>
                      <a:pt x="72" y="85"/>
                    </a:lnTo>
                    <a:lnTo>
                      <a:pt x="71" y="86"/>
                    </a:lnTo>
                    <a:lnTo>
                      <a:pt x="70" y="86"/>
                    </a:lnTo>
                    <a:lnTo>
                      <a:pt x="70" y="83"/>
                    </a:lnTo>
                    <a:lnTo>
                      <a:pt x="64" y="84"/>
                    </a:lnTo>
                    <a:lnTo>
                      <a:pt x="64" y="87"/>
                    </a:lnTo>
                    <a:lnTo>
                      <a:pt x="64" y="88"/>
                    </a:lnTo>
                    <a:lnTo>
                      <a:pt x="60" y="88"/>
                    </a:lnTo>
                    <a:lnTo>
                      <a:pt x="60" y="90"/>
                    </a:lnTo>
                    <a:lnTo>
                      <a:pt x="58" y="88"/>
                    </a:lnTo>
                    <a:lnTo>
                      <a:pt x="57" y="92"/>
                    </a:lnTo>
                    <a:lnTo>
                      <a:pt x="56" y="93"/>
                    </a:lnTo>
                    <a:lnTo>
                      <a:pt x="54" y="93"/>
                    </a:lnTo>
                    <a:lnTo>
                      <a:pt x="53" y="92"/>
                    </a:lnTo>
                    <a:lnTo>
                      <a:pt x="52" y="92"/>
                    </a:lnTo>
                    <a:lnTo>
                      <a:pt x="50" y="93"/>
                    </a:lnTo>
                    <a:lnTo>
                      <a:pt x="46" y="95"/>
                    </a:lnTo>
                    <a:lnTo>
                      <a:pt x="44" y="95"/>
                    </a:lnTo>
                    <a:lnTo>
                      <a:pt x="40" y="90"/>
                    </a:lnTo>
                    <a:lnTo>
                      <a:pt x="39" y="91"/>
                    </a:lnTo>
                    <a:lnTo>
                      <a:pt x="37" y="99"/>
                    </a:lnTo>
                    <a:lnTo>
                      <a:pt x="37" y="102"/>
                    </a:lnTo>
                    <a:lnTo>
                      <a:pt x="37" y="103"/>
                    </a:lnTo>
                    <a:lnTo>
                      <a:pt x="37" y="104"/>
                    </a:lnTo>
                    <a:lnTo>
                      <a:pt x="36" y="103"/>
                    </a:lnTo>
                    <a:lnTo>
                      <a:pt x="35" y="101"/>
                    </a:lnTo>
                    <a:lnTo>
                      <a:pt x="33" y="100"/>
                    </a:lnTo>
                    <a:lnTo>
                      <a:pt x="31" y="102"/>
                    </a:lnTo>
                    <a:lnTo>
                      <a:pt x="31" y="101"/>
                    </a:lnTo>
                    <a:lnTo>
                      <a:pt x="31" y="99"/>
                    </a:lnTo>
                    <a:lnTo>
                      <a:pt x="30" y="99"/>
                    </a:lnTo>
                    <a:lnTo>
                      <a:pt x="27" y="100"/>
                    </a:lnTo>
                    <a:lnTo>
                      <a:pt x="27" y="99"/>
                    </a:lnTo>
                    <a:lnTo>
                      <a:pt x="22" y="99"/>
                    </a:lnTo>
                    <a:lnTo>
                      <a:pt x="21" y="97"/>
                    </a:lnTo>
                    <a:lnTo>
                      <a:pt x="19" y="95"/>
                    </a:lnTo>
                    <a:lnTo>
                      <a:pt x="18" y="93"/>
                    </a:lnTo>
                    <a:lnTo>
                      <a:pt x="20" y="90"/>
                    </a:lnTo>
                    <a:lnTo>
                      <a:pt x="22" y="90"/>
                    </a:lnTo>
                    <a:lnTo>
                      <a:pt x="23" y="91"/>
                    </a:lnTo>
                    <a:lnTo>
                      <a:pt x="25" y="88"/>
                    </a:lnTo>
                    <a:lnTo>
                      <a:pt x="25" y="87"/>
                    </a:lnTo>
                    <a:lnTo>
                      <a:pt x="21" y="88"/>
                    </a:lnTo>
                    <a:lnTo>
                      <a:pt x="20" y="88"/>
                    </a:lnTo>
                    <a:lnTo>
                      <a:pt x="20" y="87"/>
                    </a:lnTo>
                    <a:lnTo>
                      <a:pt x="24" y="84"/>
                    </a:lnTo>
                    <a:lnTo>
                      <a:pt x="24" y="82"/>
                    </a:lnTo>
                    <a:lnTo>
                      <a:pt x="23" y="80"/>
                    </a:lnTo>
                    <a:lnTo>
                      <a:pt x="25" y="80"/>
                    </a:lnTo>
                    <a:lnTo>
                      <a:pt x="23" y="78"/>
                    </a:lnTo>
                    <a:lnTo>
                      <a:pt x="18" y="79"/>
                    </a:lnTo>
                    <a:lnTo>
                      <a:pt x="18" y="76"/>
                    </a:lnTo>
                    <a:lnTo>
                      <a:pt x="17" y="76"/>
                    </a:lnTo>
                    <a:lnTo>
                      <a:pt x="16" y="75"/>
                    </a:lnTo>
                    <a:lnTo>
                      <a:pt x="14" y="75"/>
                    </a:lnTo>
                    <a:lnTo>
                      <a:pt x="14" y="74"/>
                    </a:lnTo>
                    <a:lnTo>
                      <a:pt x="14" y="72"/>
                    </a:lnTo>
                    <a:lnTo>
                      <a:pt x="14" y="71"/>
                    </a:lnTo>
                    <a:lnTo>
                      <a:pt x="15" y="67"/>
                    </a:lnTo>
                    <a:lnTo>
                      <a:pt x="18" y="70"/>
                    </a:lnTo>
                    <a:lnTo>
                      <a:pt x="20" y="63"/>
                    </a:lnTo>
                    <a:lnTo>
                      <a:pt x="15" y="62"/>
                    </a:lnTo>
                    <a:lnTo>
                      <a:pt x="13" y="59"/>
                    </a:lnTo>
                    <a:lnTo>
                      <a:pt x="12" y="58"/>
                    </a:lnTo>
                    <a:lnTo>
                      <a:pt x="8" y="53"/>
                    </a:lnTo>
                    <a:lnTo>
                      <a:pt x="8" y="52"/>
                    </a:lnTo>
                    <a:lnTo>
                      <a:pt x="9" y="50"/>
                    </a:lnTo>
                    <a:lnTo>
                      <a:pt x="8" y="50"/>
                    </a:lnTo>
                    <a:lnTo>
                      <a:pt x="9" y="48"/>
                    </a:lnTo>
                    <a:lnTo>
                      <a:pt x="9" y="47"/>
                    </a:lnTo>
                    <a:lnTo>
                      <a:pt x="8" y="47"/>
                    </a:lnTo>
                    <a:lnTo>
                      <a:pt x="8" y="46"/>
                    </a:lnTo>
                    <a:lnTo>
                      <a:pt x="6" y="46"/>
                    </a:lnTo>
                    <a:lnTo>
                      <a:pt x="6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5" y="42"/>
                    </a:lnTo>
                    <a:lnTo>
                      <a:pt x="7" y="41"/>
                    </a:lnTo>
                    <a:lnTo>
                      <a:pt x="7" y="38"/>
                    </a:lnTo>
                    <a:lnTo>
                      <a:pt x="12" y="38"/>
                    </a:lnTo>
                    <a:lnTo>
                      <a:pt x="13" y="39"/>
                    </a:lnTo>
                    <a:lnTo>
                      <a:pt x="14" y="38"/>
                    </a:lnTo>
                    <a:lnTo>
                      <a:pt x="16" y="38"/>
                    </a:lnTo>
                    <a:lnTo>
                      <a:pt x="16" y="37"/>
                    </a:lnTo>
                    <a:lnTo>
                      <a:pt x="14" y="36"/>
                    </a:lnTo>
                    <a:lnTo>
                      <a:pt x="15" y="35"/>
                    </a:lnTo>
                    <a:lnTo>
                      <a:pt x="12" y="35"/>
                    </a:lnTo>
                    <a:lnTo>
                      <a:pt x="12" y="31"/>
                    </a:lnTo>
                    <a:lnTo>
                      <a:pt x="11" y="32"/>
                    </a:lnTo>
                    <a:lnTo>
                      <a:pt x="9" y="31"/>
                    </a:lnTo>
                    <a:lnTo>
                      <a:pt x="9" y="27"/>
                    </a:lnTo>
                    <a:lnTo>
                      <a:pt x="8" y="25"/>
                    </a:lnTo>
                    <a:lnTo>
                      <a:pt x="9" y="25"/>
                    </a:lnTo>
                    <a:lnTo>
                      <a:pt x="8" y="22"/>
                    </a:lnTo>
                    <a:lnTo>
                      <a:pt x="5" y="23"/>
                    </a:lnTo>
                    <a:lnTo>
                      <a:pt x="3" y="24"/>
                    </a:lnTo>
                    <a:lnTo>
                      <a:pt x="2" y="22"/>
                    </a:lnTo>
                    <a:lnTo>
                      <a:pt x="0" y="24"/>
                    </a:lnTo>
                    <a:lnTo>
                      <a:pt x="0" y="22"/>
                    </a:lnTo>
                    <a:lnTo>
                      <a:pt x="0" y="21"/>
                    </a:lnTo>
                    <a:lnTo>
                      <a:pt x="4" y="21"/>
                    </a:lnTo>
                    <a:lnTo>
                      <a:pt x="4" y="19"/>
                    </a:lnTo>
                    <a:lnTo>
                      <a:pt x="5" y="18"/>
                    </a:lnTo>
                    <a:lnTo>
                      <a:pt x="5" y="19"/>
                    </a:lnTo>
                    <a:lnTo>
                      <a:pt x="6" y="20"/>
                    </a:lnTo>
                    <a:lnTo>
                      <a:pt x="9" y="19"/>
                    </a:lnTo>
                    <a:lnTo>
                      <a:pt x="9" y="18"/>
                    </a:lnTo>
                    <a:lnTo>
                      <a:pt x="14" y="17"/>
                    </a:lnTo>
                    <a:lnTo>
                      <a:pt x="16" y="16"/>
                    </a:lnTo>
                    <a:lnTo>
                      <a:pt x="17" y="19"/>
                    </a:lnTo>
                    <a:lnTo>
                      <a:pt x="18" y="18"/>
                    </a:lnTo>
                    <a:lnTo>
                      <a:pt x="21" y="16"/>
                    </a:lnTo>
                    <a:lnTo>
                      <a:pt x="20" y="14"/>
                    </a:lnTo>
                    <a:lnTo>
                      <a:pt x="22" y="14"/>
                    </a:lnTo>
                    <a:lnTo>
                      <a:pt x="22" y="12"/>
                    </a:lnTo>
                    <a:lnTo>
                      <a:pt x="24" y="13"/>
                    </a:lnTo>
                    <a:lnTo>
                      <a:pt x="25" y="14"/>
                    </a:lnTo>
                    <a:lnTo>
                      <a:pt x="26" y="14"/>
                    </a:lnTo>
                    <a:lnTo>
                      <a:pt x="26" y="15"/>
                    </a:lnTo>
                    <a:lnTo>
                      <a:pt x="26" y="18"/>
                    </a:lnTo>
                    <a:lnTo>
                      <a:pt x="26" y="20"/>
                    </a:lnTo>
                    <a:lnTo>
                      <a:pt x="29" y="20"/>
                    </a:lnTo>
                    <a:lnTo>
                      <a:pt x="36" y="21"/>
                    </a:lnTo>
                    <a:lnTo>
                      <a:pt x="38" y="21"/>
                    </a:lnTo>
                    <a:lnTo>
                      <a:pt x="36" y="18"/>
                    </a:lnTo>
                    <a:lnTo>
                      <a:pt x="38" y="15"/>
                    </a:lnTo>
                    <a:lnTo>
                      <a:pt x="37" y="15"/>
                    </a:lnTo>
                    <a:lnTo>
                      <a:pt x="37" y="14"/>
                    </a:lnTo>
                    <a:lnTo>
                      <a:pt x="37" y="11"/>
                    </a:lnTo>
                    <a:lnTo>
                      <a:pt x="38" y="11"/>
                    </a:lnTo>
                    <a:lnTo>
                      <a:pt x="38" y="10"/>
                    </a:lnTo>
                    <a:lnTo>
                      <a:pt x="40" y="7"/>
                    </a:lnTo>
                    <a:lnTo>
                      <a:pt x="42" y="7"/>
                    </a:lnTo>
                    <a:lnTo>
                      <a:pt x="44" y="8"/>
                    </a:lnTo>
                    <a:lnTo>
                      <a:pt x="46" y="8"/>
                    </a:lnTo>
                    <a:lnTo>
                      <a:pt x="47" y="11"/>
                    </a:lnTo>
                    <a:lnTo>
                      <a:pt x="49" y="10"/>
                    </a:lnTo>
                    <a:lnTo>
                      <a:pt x="50" y="8"/>
                    </a:lnTo>
                    <a:lnTo>
                      <a:pt x="51" y="9"/>
                    </a:lnTo>
                    <a:lnTo>
                      <a:pt x="55" y="8"/>
                    </a:lnTo>
                    <a:lnTo>
                      <a:pt x="55" y="7"/>
                    </a:lnTo>
                    <a:lnTo>
                      <a:pt x="57" y="7"/>
                    </a:lnTo>
                    <a:lnTo>
                      <a:pt x="57" y="4"/>
                    </a:lnTo>
                    <a:lnTo>
                      <a:pt x="61" y="6"/>
                    </a:lnTo>
                    <a:lnTo>
                      <a:pt x="66" y="6"/>
                    </a:lnTo>
                    <a:lnTo>
                      <a:pt x="68" y="6"/>
                    </a:lnTo>
                    <a:lnTo>
                      <a:pt x="68" y="3"/>
                    </a:lnTo>
                    <a:lnTo>
                      <a:pt x="69" y="3"/>
                    </a:lnTo>
                    <a:lnTo>
                      <a:pt x="69" y="1"/>
                    </a:lnTo>
                    <a:lnTo>
                      <a:pt x="72" y="1"/>
                    </a:lnTo>
                    <a:lnTo>
                      <a:pt x="72" y="0"/>
                    </a:lnTo>
                    <a:lnTo>
                      <a:pt x="77" y="1"/>
                    </a:lnTo>
                    <a:lnTo>
                      <a:pt x="80" y="2"/>
                    </a:lnTo>
                    <a:lnTo>
                      <a:pt x="80" y="0"/>
                    </a:lnTo>
                    <a:lnTo>
                      <a:pt x="83" y="1"/>
                    </a:lnTo>
                    <a:lnTo>
                      <a:pt x="85" y="0"/>
                    </a:lnTo>
                    <a:lnTo>
                      <a:pt x="87" y="0"/>
                    </a:lnTo>
                    <a:lnTo>
                      <a:pt x="87" y="5"/>
                    </a:lnTo>
                    <a:lnTo>
                      <a:pt x="86" y="5"/>
                    </a:lnTo>
                    <a:lnTo>
                      <a:pt x="86" y="8"/>
                    </a:lnTo>
                    <a:lnTo>
                      <a:pt x="88" y="7"/>
                    </a:lnTo>
                    <a:lnTo>
                      <a:pt x="88" y="8"/>
                    </a:lnTo>
                    <a:lnTo>
                      <a:pt x="90" y="7"/>
                    </a:lnTo>
                    <a:lnTo>
                      <a:pt x="90" y="6"/>
                    </a:lnTo>
                    <a:lnTo>
                      <a:pt x="91" y="8"/>
                    </a:lnTo>
                    <a:lnTo>
                      <a:pt x="93" y="8"/>
                    </a:lnTo>
                    <a:lnTo>
                      <a:pt x="94" y="11"/>
                    </a:lnTo>
                    <a:lnTo>
                      <a:pt x="93" y="11"/>
                    </a:lnTo>
                    <a:lnTo>
                      <a:pt x="93" y="14"/>
                    </a:lnTo>
                    <a:lnTo>
                      <a:pt x="95" y="14"/>
                    </a:lnTo>
                    <a:lnTo>
                      <a:pt x="98" y="15"/>
                    </a:lnTo>
                    <a:lnTo>
                      <a:pt x="99" y="13"/>
                    </a:lnTo>
                    <a:lnTo>
                      <a:pt x="101" y="13"/>
                    </a:lnTo>
                    <a:lnTo>
                      <a:pt x="103" y="14"/>
                    </a:lnTo>
                    <a:lnTo>
                      <a:pt x="101" y="16"/>
                    </a:lnTo>
                    <a:lnTo>
                      <a:pt x="99" y="17"/>
                    </a:lnTo>
                    <a:lnTo>
                      <a:pt x="100" y="19"/>
                    </a:lnTo>
                    <a:lnTo>
                      <a:pt x="100" y="20"/>
                    </a:lnTo>
                    <a:lnTo>
                      <a:pt x="101" y="22"/>
                    </a:lnTo>
                    <a:lnTo>
                      <a:pt x="103" y="25"/>
                    </a:lnTo>
                    <a:lnTo>
                      <a:pt x="103" y="26"/>
                    </a:lnTo>
                    <a:lnTo>
                      <a:pt x="104" y="27"/>
                    </a:lnTo>
                    <a:lnTo>
                      <a:pt x="108" y="26"/>
                    </a:lnTo>
                    <a:lnTo>
                      <a:pt x="108" y="27"/>
                    </a:lnTo>
                    <a:lnTo>
                      <a:pt x="111" y="26"/>
                    </a:lnTo>
                    <a:lnTo>
                      <a:pt x="111" y="29"/>
                    </a:lnTo>
                    <a:lnTo>
                      <a:pt x="118" y="31"/>
                    </a:lnTo>
                    <a:lnTo>
                      <a:pt x="116" y="38"/>
                    </a:lnTo>
                    <a:lnTo>
                      <a:pt x="118" y="40"/>
                    </a:lnTo>
                    <a:lnTo>
                      <a:pt x="119" y="39"/>
                    </a:lnTo>
                    <a:lnTo>
                      <a:pt x="121" y="41"/>
                    </a:lnTo>
                    <a:lnTo>
                      <a:pt x="125" y="42"/>
                    </a:lnTo>
                    <a:lnTo>
                      <a:pt x="124" y="43"/>
                    </a:lnTo>
                    <a:lnTo>
                      <a:pt x="124" y="44"/>
                    </a:lnTo>
                    <a:lnTo>
                      <a:pt x="128" y="46"/>
                    </a:lnTo>
                    <a:lnTo>
                      <a:pt x="129" y="49"/>
                    </a:lnTo>
                    <a:lnTo>
                      <a:pt x="126" y="55"/>
                    </a:lnTo>
                    <a:lnTo>
                      <a:pt x="123" y="55"/>
                    </a:lnTo>
                    <a:lnTo>
                      <a:pt x="123" y="56"/>
                    </a:lnTo>
                    <a:lnTo>
                      <a:pt x="118" y="58"/>
                    </a:lnTo>
                    <a:lnTo>
                      <a:pt x="115" y="58"/>
                    </a:lnTo>
                    <a:lnTo>
                      <a:pt x="114" y="59"/>
                    </a:lnTo>
                    <a:lnTo>
                      <a:pt x="112" y="59"/>
                    </a:lnTo>
                    <a:lnTo>
                      <a:pt x="110" y="59"/>
                    </a:lnTo>
                    <a:lnTo>
                      <a:pt x="111" y="60"/>
                    </a:lnTo>
                    <a:lnTo>
                      <a:pt x="110" y="61"/>
                    </a:lnTo>
                    <a:lnTo>
                      <a:pt x="109" y="61"/>
                    </a:lnTo>
                    <a:lnTo>
                      <a:pt x="108" y="64"/>
                    </a:lnTo>
                    <a:lnTo>
                      <a:pt x="109" y="68"/>
                    </a:lnTo>
                    <a:lnTo>
                      <a:pt x="111" y="67"/>
                    </a:lnTo>
                    <a:lnTo>
                      <a:pt x="112" y="65"/>
                    </a:lnTo>
                    <a:lnTo>
                      <a:pt x="114" y="67"/>
                    </a:lnTo>
                    <a:lnTo>
                      <a:pt x="115" y="70"/>
                    </a:lnTo>
                    <a:lnTo>
                      <a:pt x="113" y="70"/>
                    </a:lnTo>
                    <a:lnTo>
                      <a:pt x="112" y="73"/>
                    </a:lnTo>
                    <a:lnTo>
                      <a:pt x="113" y="76"/>
                    </a:lnTo>
                    <a:lnTo>
                      <a:pt x="115" y="79"/>
                    </a:lnTo>
                    <a:lnTo>
                      <a:pt x="114" y="8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5" name="Freeform 139">
                <a:extLst>
                  <a:ext uri="{FF2B5EF4-FFF2-40B4-BE49-F238E27FC236}">
                    <a16:creationId xmlns:a16="http://schemas.microsoft.com/office/drawing/2014/main" id="{CD9EE47F-15A1-19DC-4A24-8C2E0C4107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7" y="3100"/>
                <a:ext cx="129" cy="104"/>
              </a:xfrm>
              <a:custGeom>
                <a:avLst/>
                <a:gdLst>
                  <a:gd name="T0" fmla="*/ 111 w 129"/>
                  <a:gd name="T1" fmla="*/ 86 h 104"/>
                  <a:gd name="T2" fmla="*/ 107 w 129"/>
                  <a:gd name="T3" fmla="*/ 84 h 104"/>
                  <a:gd name="T4" fmla="*/ 100 w 129"/>
                  <a:gd name="T5" fmla="*/ 87 h 104"/>
                  <a:gd name="T6" fmla="*/ 98 w 129"/>
                  <a:gd name="T7" fmla="*/ 87 h 104"/>
                  <a:gd name="T8" fmla="*/ 94 w 129"/>
                  <a:gd name="T9" fmla="*/ 82 h 104"/>
                  <a:gd name="T10" fmla="*/ 92 w 129"/>
                  <a:gd name="T11" fmla="*/ 79 h 104"/>
                  <a:gd name="T12" fmla="*/ 88 w 129"/>
                  <a:gd name="T13" fmla="*/ 80 h 104"/>
                  <a:gd name="T14" fmla="*/ 85 w 129"/>
                  <a:gd name="T15" fmla="*/ 79 h 104"/>
                  <a:gd name="T16" fmla="*/ 78 w 129"/>
                  <a:gd name="T17" fmla="*/ 77 h 104"/>
                  <a:gd name="T18" fmla="*/ 73 w 129"/>
                  <a:gd name="T19" fmla="*/ 85 h 104"/>
                  <a:gd name="T20" fmla="*/ 70 w 129"/>
                  <a:gd name="T21" fmla="*/ 83 h 104"/>
                  <a:gd name="T22" fmla="*/ 60 w 129"/>
                  <a:gd name="T23" fmla="*/ 88 h 104"/>
                  <a:gd name="T24" fmla="*/ 54 w 129"/>
                  <a:gd name="T25" fmla="*/ 93 h 104"/>
                  <a:gd name="T26" fmla="*/ 44 w 129"/>
                  <a:gd name="T27" fmla="*/ 95 h 104"/>
                  <a:gd name="T28" fmla="*/ 37 w 129"/>
                  <a:gd name="T29" fmla="*/ 103 h 104"/>
                  <a:gd name="T30" fmla="*/ 31 w 129"/>
                  <a:gd name="T31" fmla="*/ 102 h 104"/>
                  <a:gd name="T32" fmla="*/ 27 w 129"/>
                  <a:gd name="T33" fmla="*/ 99 h 104"/>
                  <a:gd name="T34" fmla="*/ 20 w 129"/>
                  <a:gd name="T35" fmla="*/ 90 h 104"/>
                  <a:gd name="T36" fmla="*/ 25 w 129"/>
                  <a:gd name="T37" fmla="*/ 87 h 104"/>
                  <a:gd name="T38" fmla="*/ 24 w 129"/>
                  <a:gd name="T39" fmla="*/ 82 h 104"/>
                  <a:gd name="T40" fmla="*/ 18 w 129"/>
                  <a:gd name="T41" fmla="*/ 79 h 104"/>
                  <a:gd name="T42" fmla="*/ 14 w 129"/>
                  <a:gd name="T43" fmla="*/ 74 h 104"/>
                  <a:gd name="T44" fmla="*/ 20 w 129"/>
                  <a:gd name="T45" fmla="*/ 63 h 104"/>
                  <a:gd name="T46" fmla="*/ 8 w 129"/>
                  <a:gd name="T47" fmla="*/ 53 h 104"/>
                  <a:gd name="T48" fmla="*/ 9 w 129"/>
                  <a:gd name="T49" fmla="*/ 47 h 104"/>
                  <a:gd name="T50" fmla="*/ 4 w 129"/>
                  <a:gd name="T51" fmla="*/ 44 h 104"/>
                  <a:gd name="T52" fmla="*/ 12 w 129"/>
                  <a:gd name="T53" fmla="*/ 38 h 104"/>
                  <a:gd name="T54" fmla="*/ 16 w 129"/>
                  <a:gd name="T55" fmla="*/ 37 h 104"/>
                  <a:gd name="T56" fmla="*/ 12 w 129"/>
                  <a:gd name="T57" fmla="*/ 31 h 104"/>
                  <a:gd name="T58" fmla="*/ 9 w 129"/>
                  <a:gd name="T59" fmla="*/ 25 h 104"/>
                  <a:gd name="T60" fmla="*/ 0 w 129"/>
                  <a:gd name="T61" fmla="*/ 24 h 104"/>
                  <a:gd name="T62" fmla="*/ 5 w 129"/>
                  <a:gd name="T63" fmla="*/ 18 h 104"/>
                  <a:gd name="T64" fmla="*/ 9 w 129"/>
                  <a:gd name="T65" fmla="*/ 18 h 104"/>
                  <a:gd name="T66" fmla="*/ 18 w 129"/>
                  <a:gd name="T67" fmla="*/ 18 h 104"/>
                  <a:gd name="T68" fmla="*/ 24 w 129"/>
                  <a:gd name="T69" fmla="*/ 13 h 104"/>
                  <a:gd name="T70" fmla="*/ 26 w 129"/>
                  <a:gd name="T71" fmla="*/ 20 h 104"/>
                  <a:gd name="T72" fmla="*/ 38 w 129"/>
                  <a:gd name="T73" fmla="*/ 15 h 104"/>
                  <a:gd name="T74" fmla="*/ 38 w 129"/>
                  <a:gd name="T75" fmla="*/ 10 h 104"/>
                  <a:gd name="T76" fmla="*/ 47 w 129"/>
                  <a:gd name="T77" fmla="*/ 11 h 104"/>
                  <a:gd name="T78" fmla="*/ 55 w 129"/>
                  <a:gd name="T79" fmla="*/ 7 h 104"/>
                  <a:gd name="T80" fmla="*/ 68 w 129"/>
                  <a:gd name="T81" fmla="*/ 6 h 104"/>
                  <a:gd name="T82" fmla="*/ 72 w 129"/>
                  <a:gd name="T83" fmla="*/ 0 h 104"/>
                  <a:gd name="T84" fmla="*/ 85 w 129"/>
                  <a:gd name="T85" fmla="*/ 0 h 104"/>
                  <a:gd name="T86" fmla="*/ 88 w 129"/>
                  <a:gd name="T87" fmla="*/ 7 h 104"/>
                  <a:gd name="T88" fmla="*/ 93 w 129"/>
                  <a:gd name="T89" fmla="*/ 8 h 104"/>
                  <a:gd name="T90" fmla="*/ 95 w 129"/>
                  <a:gd name="T91" fmla="*/ 14 h 104"/>
                  <a:gd name="T92" fmla="*/ 101 w 129"/>
                  <a:gd name="T93" fmla="*/ 16 h 104"/>
                  <a:gd name="T94" fmla="*/ 103 w 129"/>
                  <a:gd name="T95" fmla="*/ 25 h 104"/>
                  <a:gd name="T96" fmla="*/ 111 w 129"/>
                  <a:gd name="T97" fmla="*/ 26 h 104"/>
                  <a:gd name="T98" fmla="*/ 119 w 129"/>
                  <a:gd name="T99" fmla="*/ 39 h 104"/>
                  <a:gd name="T100" fmla="*/ 128 w 129"/>
                  <a:gd name="T101" fmla="*/ 46 h 104"/>
                  <a:gd name="T102" fmla="*/ 118 w 129"/>
                  <a:gd name="T103" fmla="*/ 58 h 104"/>
                  <a:gd name="T104" fmla="*/ 110 w 129"/>
                  <a:gd name="T105" fmla="*/ 59 h 104"/>
                  <a:gd name="T106" fmla="*/ 109 w 129"/>
                  <a:gd name="T107" fmla="*/ 68 h 104"/>
                  <a:gd name="T108" fmla="*/ 113 w 129"/>
                  <a:gd name="T109" fmla="*/ 70 h 10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29"/>
                  <a:gd name="T166" fmla="*/ 0 h 104"/>
                  <a:gd name="T167" fmla="*/ 129 w 129"/>
                  <a:gd name="T168" fmla="*/ 104 h 10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29" h="104">
                    <a:moveTo>
                      <a:pt x="114" y="80"/>
                    </a:moveTo>
                    <a:lnTo>
                      <a:pt x="114" y="82"/>
                    </a:lnTo>
                    <a:lnTo>
                      <a:pt x="112" y="82"/>
                    </a:lnTo>
                    <a:lnTo>
                      <a:pt x="112" y="84"/>
                    </a:lnTo>
                    <a:lnTo>
                      <a:pt x="111" y="86"/>
                    </a:lnTo>
                    <a:lnTo>
                      <a:pt x="109" y="83"/>
                    </a:lnTo>
                    <a:lnTo>
                      <a:pt x="108" y="84"/>
                    </a:lnTo>
                    <a:lnTo>
                      <a:pt x="108" y="86"/>
                    </a:lnTo>
                    <a:lnTo>
                      <a:pt x="107" y="84"/>
                    </a:lnTo>
                    <a:lnTo>
                      <a:pt x="108" y="88"/>
                    </a:lnTo>
                    <a:lnTo>
                      <a:pt x="106" y="90"/>
                    </a:lnTo>
                    <a:lnTo>
                      <a:pt x="104" y="88"/>
                    </a:lnTo>
                    <a:lnTo>
                      <a:pt x="102" y="88"/>
                    </a:lnTo>
                    <a:lnTo>
                      <a:pt x="100" y="87"/>
                    </a:lnTo>
                    <a:lnTo>
                      <a:pt x="100" y="88"/>
                    </a:lnTo>
                    <a:lnTo>
                      <a:pt x="99" y="87"/>
                    </a:lnTo>
                    <a:lnTo>
                      <a:pt x="99" y="88"/>
                    </a:lnTo>
                    <a:lnTo>
                      <a:pt x="98" y="86"/>
                    </a:lnTo>
                    <a:lnTo>
                      <a:pt x="98" y="87"/>
                    </a:lnTo>
                    <a:lnTo>
                      <a:pt x="97" y="86"/>
                    </a:lnTo>
                    <a:lnTo>
                      <a:pt x="97" y="84"/>
                    </a:lnTo>
                    <a:lnTo>
                      <a:pt x="96" y="85"/>
                    </a:lnTo>
                    <a:lnTo>
                      <a:pt x="96" y="81"/>
                    </a:lnTo>
                    <a:lnTo>
                      <a:pt x="94" y="82"/>
                    </a:lnTo>
                    <a:lnTo>
                      <a:pt x="94" y="81"/>
                    </a:lnTo>
                    <a:lnTo>
                      <a:pt x="93" y="80"/>
                    </a:lnTo>
                    <a:lnTo>
                      <a:pt x="92" y="81"/>
                    </a:lnTo>
                    <a:lnTo>
                      <a:pt x="92" y="80"/>
                    </a:lnTo>
                    <a:lnTo>
                      <a:pt x="92" y="79"/>
                    </a:lnTo>
                    <a:lnTo>
                      <a:pt x="91" y="80"/>
                    </a:lnTo>
                    <a:lnTo>
                      <a:pt x="91" y="77"/>
                    </a:lnTo>
                    <a:lnTo>
                      <a:pt x="90" y="78"/>
                    </a:lnTo>
                    <a:lnTo>
                      <a:pt x="89" y="79"/>
                    </a:lnTo>
                    <a:lnTo>
                      <a:pt x="88" y="80"/>
                    </a:lnTo>
                    <a:lnTo>
                      <a:pt x="87" y="80"/>
                    </a:lnTo>
                    <a:lnTo>
                      <a:pt x="86" y="80"/>
                    </a:lnTo>
                    <a:lnTo>
                      <a:pt x="86" y="79"/>
                    </a:lnTo>
                    <a:lnTo>
                      <a:pt x="85" y="79"/>
                    </a:lnTo>
                    <a:lnTo>
                      <a:pt x="83" y="78"/>
                    </a:lnTo>
                    <a:lnTo>
                      <a:pt x="83" y="79"/>
                    </a:lnTo>
                    <a:lnTo>
                      <a:pt x="82" y="80"/>
                    </a:lnTo>
                    <a:lnTo>
                      <a:pt x="80" y="80"/>
                    </a:lnTo>
                    <a:lnTo>
                      <a:pt x="78" y="77"/>
                    </a:lnTo>
                    <a:lnTo>
                      <a:pt x="77" y="78"/>
                    </a:lnTo>
                    <a:lnTo>
                      <a:pt x="74" y="79"/>
                    </a:lnTo>
                    <a:lnTo>
                      <a:pt x="76" y="82"/>
                    </a:lnTo>
                    <a:lnTo>
                      <a:pt x="73" y="84"/>
                    </a:lnTo>
                    <a:lnTo>
                      <a:pt x="73" y="85"/>
                    </a:lnTo>
                    <a:lnTo>
                      <a:pt x="72" y="84"/>
                    </a:lnTo>
                    <a:lnTo>
                      <a:pt x="72" y="85"/>
                    </a:lnTo>
                    <a:lnTo>
                      <a:pt x="71" y="86"/>
                    </a:lnTo>
                    <a:lnTo>
                      <a:pt x="70" y="86"/>
                    </a:lnTo>
                    <a:lnTo>
                      <a:pt x="70" y="83"/>
                    </a:lnTo>
                    <a:lnTo>
                      <a:pt x="64" y="84"/>
                    </a:lnTo>
                    <a:lnTo>
                      <a:pt x="64" y="87"/>
                    </a:lnTo>
                    <a:lnTo>
                      <a:pt x="64" y="88"/>
                    </a:lnTo>
                    <a:lnTo>
                      <a:pt x="60" y="88"/>
                    </a:lnTo>
                    <a:lnTo>
                      <a:pt x="60" y="90"/>
                    </a:lnTo>
                    <a:lnTo>
                      <a:pt x="58" y="88"/>
                    </a:lnTo>
                    <a:lnTo>
                      <a:pt x="57" y="92"/>
                    </a:lnTo>
                    <a:lnTo>
                      <a:pt x="56" y="93"/>
                    </a:lnTo>
                    <a:lnTo>
                      <a:pt x="54" y="93"/>
                    </a:lnTo>
                    <a:lnTo>
                      <a:pt x="53" y="92"/>
                    </a:lnTo>
                    <a:lnTo>
                      <a:pt x="52" y="92"/>
                    </a:lnTo>
                    <a:lnTo>
                      <a:pt x="50" y="93"/>
                    </a:lnTo>
                    <a:lnTo>
                      <a:pt x="46" y="95"/>
                    </a:lnTo>
                    <a:lnTo>
                      <a:pt x="44" y="95"/>
                    </a:lnTo>
                    <a:lnTo>
                      <a:pt x="40" y="90"/>
                    </a:lnTo>
                    <a:lnTo>
                      <a:pt x="39" y="91"/>
                    </a:lnTo>
                    <a:lnTo>
                      <a:pt x="37" y="99"/>
                    </a:lnTo>
                    <a:lnTo>
                      <a:pt x="37" y="102"/>
                    </a:lnTo>
                    <a:lnTo>
                      <a:pt x="37" y="103"/>
                    </a:lnTo>
                    <a:lnTo>
                      <a:pt x="37" y="104"/>
                    </a:lnTo>
                    <a:lnTo>
                      <a:pt x="36" y="103"/>
                    </a:lnTo>
                    <a:lnTo>
                      <a:pt x="35" y="101"/>
                    </a:lnTo>
                    <a:lnTo>
                      <a:pt x="33" y="100"/>
                    </a:lnTo>
                    <a:lnTo>
                      <a:pt x="31" y="102"/>
                    </a:lnTo>
                    <a:lnTo>
                      <a:pt x="31" y="101"/>
                    </a:lnTo>
                    <a:lnTo>
                      <a:pt x="31" y="99"/>
                    </a:lnTo>
                    <a:lnTo>
                      <a:pt x="30" y="99"/>
                    </a:lnTo>
                    <a:lnTo>
                      <a:pt x="27" y="100"/>
                    </a:lnTo>
                    <a:lnTo>
                      <a:pt x="27" y="99"/>
                    </a:lnTo>
                    <a:lnTo>
                      <a:pt x="22" y="99"/>
                    </a:lnTo>
                    <a:lnTo>
                      <a:pt x="21" y="97"/>
                    </a:lnTo>
                    <a:lnTo>
                      <a:pt x="19" y="95"/>
                    </a:lnTo>
                    <a:lnTo>
                      <a:pt x="18" y="93"/>
                    </a:lnTo>
                    <a:lnTo>
                      <a:pt x="20" y="90"/>
                    </a:lnTo>
                    <a:lnTo>
                      <a:pt x="22" y="90"/>
                    </a:lnTo>
                    <a:lnTo>
                      <a:pt x="23" y="91"/>
                    </a:lnTo>
                    <a:lnTo>
                      <a:pt x="25" y="88"/>
                    </a:lnTo>
                    <a:lnTo>
                      <a:pt x="25" y="87"/>
                    </a:lnTo>
                    <a:lnTo>
                      <a:pt x="21" y="88"/>
                    </a:lnTo>
                    <a:lnTo>
                      <a:pt x="20" y="88"/>
                    </a:lnTo>
                    <a:lnTo>
                      <a:pt x="20" y="87"/>
                    </a:lnTo>
                    <a:lnTo>
                      <a:pt x="24" y="84"/>
                    </a:lnTo>
                    <a:lnTo>
                      <a:pt x="24" y="82"/>
                    </a:lnTo>
                    <a:lnTo>
                      <a:pt x="23" y="80"/>
                    </a:lnTo>
                    <a:lnTo>
                      <a:pt x="25" y="80"/>
                    </a:lnTo>
                    <a:lnTo>
                      <a:pt x="23" y="78"/>
                    </a:lnTo>
                    <a:lnTo>
                      <a:pt x="18" y="79"/>
                    </a:lnTo>
                    <a:lnTo>
                      <a:pt x="18" y="76"/>
                    </a:lnTo>
                    <a:lnTo>
                      <a:pt x="17" y="76"/>
                    </a:lnTo>
                    <a:lnTo>
                      <a:pt x="16" y="75"/>
                    </a:lnTo>
                    <a:lnTo>
                      <a:pt x="14" y="75"/>
                    </a:lnTo>
                    <a:lnTo>
                      <a:pt x="14" y="74"/>
                    </a:lnTo>
                    <a:lnTo>
                      <a:pt x="14" y="72"/>
                    </a:lnTo>
                    <a:lnTo>
                      <a:pt x="14" y="71"/>
                    </a:lnTo>
                    <a:lnTo>
                      <a:pt x="15" y="67"/>
                    </a:lnTo>
                    <a:lnTo>
                      <a:pt x="18" y="70"/>
                    </a:lnTo>
                    <a:lnTo>
                      <a:pt x="20" y="63"/>
                    </a:lnTo>
                    <a:lnTo>
                      <a:pt x="15" y="62"/>
                    </a:lnTo>
                    <a:lnTo>
                      <a:pt x="13" y="59"/>
                    </a:lnTo>
                    <a:lnTo>
                      <a:pt x="12" y="58"/>
                    </a:lnTo>
                    <a:lnTo>
                      <a:pt x="8" y="53"/>
                    </a:lnTo>
                    <a:lnTo>
                      <a:pt x="8" y="52"/>
                    </a:lnTo>
                    <a:lnTo>
                      <a:pt x="9" y="50"/>
                    </a:lnTo>
                    <a:lnTo>
                      <a:pt x="8" y="50"/>
                    </a:lnTo>
                    <a:lnTo>
                      <a:pt x="9" y="48"/>
                    </a:lnTo>
                    <a:lnTo>
                      <a:pt x="9" y="47"/>
                    </a:lnTo>
                    <a:lnTo>
                      <a:pt x="8" y="47"/>
                    </a:lnTo>
                    <a:lnTo>
                      <a:pt x="8" y="46"/>
                    </a:lnTo>
                    <a:lnTo>
                      <a:pt x="6" y="46"/>
                    </a:lnTo>
                    <a:lnTo>
                      <a:pt x="6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5" y="42"/>
                    </a:lnTo>
                    <a:lnTo>
                      <a:pt x="7" y="41"/>
                    </a:lnTo>
                    <a:lnTo>
                      <a:pt x="7" y="38"/>
                    </a:lnTo>
                    <a:lnTo>
                      <a:pt x="12" y="38"/>
                    </a:lnTo>
                    <a:lnTo>
                      <a:pt x="13" y="39"/>
                    </a:lnTo>
                    <a:lnTo>
                      <a:pt x="14" y="38"/>
                    </a:lnTo>
                    <a:lnTo>
                      <a:pt x="16" y="38"/>
                    </a:lnTo>
                    <a:lnTo>
                      <a:pt x="16" y="37"/>
                    </a:lnTo>
                    <a:lnTo>
                      <a:pt x="14" y="36"/>
                    </a:lnTo>
                    <a:lnTo>
                      <a:pt x="15" y="35"/>
                    </a:lnTo>
                    <a:lnTo>
                      <a:pt x="12" y="35"/>
                    </a:lnTo>
                    <a:lnTo>
                      <a:pt x="12" y="31"/>
                    </a:lnTo>
                    <a:lnTo>
                      <a:pt x="11" y="32"/>
                    </a:lnTo>
                    <a:lnTo>
                      <a:pt x="9" y="31"/>
                    </a:lnTo>
                    <a:lnTo>
                      <a:pt x="9" y="27"/>
                    </a:lnTo>
                    <a:lnTo>
                      <a:pt x="8" y="25"/>
                    </a:lnTo>
                    <a:lnTo>
                      <a:pt x="9" y="25"/>
                    </a:lnTo>
                    <a:lnTo>
                      <a:pt x="8" y="22"/>
                    </a:lnTo>
                    <a:lnTo>
                      <a:pt x="5" y="23"/>
                    </a:lnTo>
                    <a:lnTo>
                      <a:pt x="3" y="24"/>
                    </a:lnTo>
                    <a:lnTo>
                      <a:pt x="2" y="22"/>
                    </a:lnTo>
                    <a:lnTo>
                      <a:pt x="0" y="24"/>
                    </a:lnTo>
                    <a:lnTo>
                      <a:pt x="0" y="22"/>
                    </a:lnTo>
                    <a:lnTo>
                      <a:pt x="0" y="21"/>
                    </a:lnTo>
                    <a:lnTo>
                      <a:pt x="4" y="21"/>
                    </a:lnTo>
                    <a:lnTo>
                      <a:pt x="4" y="19"/>
                    </a:lnTo>
                    <a:lnTo>
                      <a:pt x="5" y="18"/>
                    </a:lnTo>
                    <a:lnTo>
                      <a:pt x="5" y="19"/>
                    </a:lnTo>
                    <a:lnTo>
                      <a:pt x="6" y="20"/>
                    </a:lnTo>
                    <a:lnTo>
                      <a:pt x="9" y="19"/>
                    </a:lnTo>
                    <a:lnTo>
                      <a:pt x="9" y="18"/>
                    </a:lnTo>
                    <a:lnTo>
                      <a:pt x="14" y="17"/>
                    </a:lnTo>
                    <a:lnTo>
                      <a:pt x="16" y="16"/>
                    </a:lnTo>
                    <a:lnTo>
                      <a:pt x="17" y="19"/>
                    </a:lnTo>
                    <a:lnTo>
                      <a:pt x="18" y="18"/>
                    </a:lnTo>
                    <a:lnTo>
                      <a:pt x="21" y="16"/>
                    </a:lnTo>
                    <a:lnTo>
                      <a:pt x="20" y="14"/>
                    </a:lnTo>
                    <a:lnTo>
                      <a:pt x="22" y="14"/>
                    </a:lnTo>
                    <a:lnTo>
                      <a:pt x="22" y="12"/>
                    </a:lnTo>
                    <a:lnTo>
                      <a:pt x="24" y="13"/>
                    </a:lnTo>
                    <a:lnTo>
                      <a:pt x="25" y="14"/>
                    </a:lnTo>
                    <a:lnTo>
                      <a:pt x="26" y="14"/>
                    </a:lnTo>
                    <a:lnTo>
                      <a:pt x="26" y="15"/>
                    </a:lnTo>
                    <a:lnTo>
                      <a:pt x="26" y="18"/>
                    </a:lnTo>
                    <a:lnTo>
                      <a:pt x="26" y="20"/>
                    </a:lnTo>
                    <a:lnTo>
                      <a:pt x="29" y="20"/>
                    </a:lnTo>
                    <a:lnTo>
                      <a:pt x="36" y="21"/>
                    </a:lnTo>
                    <a:lnTo>
                      <a:pt x="38" y="21"/>
                    </a:lnTo>
                    <a:lnTo>
                      <a:pt x="36" y="18"/>
                    </a:lnTo>
                    <a:lnTo>
                      <a:pt x="38" y="15"/>
                    </a:lnTo>
                    <a:lnTo>
                      <a:pt x="37" y="15"/>
                    </a:lnTo>
                    <a:lnTo>
                      <a:pt x="37" y="14"/>
                    </a:lnTo>
                    <a:lnTo>
                      <a:pt x="37" y="11"/>
                    </a:lnTo>
                    <a:lnTo>
                      <a:pt x="38" y="11"/>
                    </a:lnTo>
                    <a:lnTo>
                      <a:pt x="38" y="10"/>
                    </a:lnTo>
                    <a:lnTo>
                      <a:pt x="40" y="7"/>
                    </a:lnTo>
                    <a:lnTo>
                      <a:pt x="42" y="7"/>
                    </a:lnTo>
                    <a:lnTo>
                      <a:pt x="44" y="8"/>
                    </a:lnTo>
                    <a:lnTo>
                      <a:pt x="46" y="8"/>
                    </a:lnTo>
                    <a:lnTo>
                      <a:pt x="47" y="11"/>
                    </a:lnTo>
                    <a:lnTo>
                      <a:pt x="49" y="10"/>
                    </a:lnTo>
                    <a:lnTo>
                      <a:pt x="50" y="8"/>
                    </a:lnTo>
                    <a:lnTo>
                      <a:pt x="51" y="9"/>
                    </a:lnTo>
                    <a:lnTo>
                      <a:pt x="55" y="8"/>
                    </a:lnTo>
                    <a:lnTo>
                      <a:pt x="55" y="7"/>
                    </a:lnTo>
                    <a:lnTo>
                      <a:pt x="57" y="7"/>
                    </a:lnTo>
                    <a:lnTo>
                      <a:pt x="57" y="4"/>
                    </a:lnTo>
                    <a:lnTo>
                      <a:pt x="61" y="6"/>
                    </a:lnTo>
                    <a:lnTo>
                      <a:pt x="66" y="6"/>
                    </a:lnTo>
                    <a:lnTo>
                      <a:pt x="68" y="6"/>
                    </a:lnTo>
                    <a:lnTo>
                      <a:pt x="68" y="3"/>
                    </a:lnTo>
                    <a:lnTo>
                      <a:pt x="69" y="3"/>
                    </a:lnTo>
                    <a:lnTo>
                      <a:pt x="69" y="1"/>
                    </a:lnTo>
                    <a:lnTo>
                      <a:pt x="72" y="1"/>
                    </a:lnTo>
                    <a:lnTo>
                      <a:pt x="72" y="0"/>
                    </a:lnTo>
                    <a:lnTo>
                      <a:pt x="77" y="1"/>
                    </a:lnTo>
                    <a:lnTo>
                      <a:pt x="80" y="2"/>
                    </a:lnTo>
                    <a:lnTo>
                      <a:pt x="80" y="0"/>
                    </a:lnTo>
                    <a:lnTo>
                      <a:pt x="83" y="1"/>
                    </a:lnTo>
                    <a:lnTo>
                      <a:pt x="85" y="0"/>
                    </a:lnTo>
                    <a:lnTo>
                      <a:pt x="87" y="0"/>
                    </a:lnTo>
                    <a:lnTo>
                      <a:pt x="87" y="5"/>
                    </a:lnTo>
                    <a:lnTo>
                      <a:pt x="86" y="5"/>
                    </a:lnTo>
                    <a:lnTo>
                      <a:pt x="86" y="8"/>
                    </a:lnTo>
                    <a:lnTo>
                      <a:pt x="88" y="7"/>
                    </a:lnTo>
                    <a:lnTo>
                      <a:pt x="88" y="8"/>
                    </a:lnTo>
                    <a:lnTo>
                      <a:pt x="90" y="7"/>
                    </a:lnTo>
                    <a:lnTo>
                      <a:pt x="90" y="6"/>
                    </a:lnTo>
                    <a:lnTo>
                      <a:pt x="91" y="8"/>
                    </a:lnTo>
                    <a:lnTo>
                      <a:pt x="93" y="8"/>
                    </a:lnTo>
                    <a:lnTo>
                      <a:pt x="94" y="11"/>
                    </a:lnTo>
                    <a:lnTo>
                      <a:pt x="93" y="11"/>
                    </a:lnTo>
                    <a:lnTo>
                      <a:pt x="93" y="14"/>
                    </a:lnTo>
                    <a:lnTo>
                      <a:pt x="95" y="14"/>
                    </a:lnTo>
                    <a:lnTo>
                      <a:pt x="98" y="15"/>
                    </a:lnTo>
                    <a:lnTo>
                      <a:pt x="99" y="13"/>
                    </a:lnTo>
                    <a:lnTo>
                      <a:pt x="101" y="13"/>
                    </a:lnTo>
                    <a:lnTo>
                      <a:pt x="103" y="14"/>
                    </a:lnTo>
                    <a:lnTo>
                      <a:pt x="101" y="16"/>
                    </a:lnTo>
                    <a:lnTo>
                      <a:pt x="99" y="17"/>
                    </a:lnTo>
                    <a:lnTo>
                      <a:pt x="100" y="19"/>
                    </a:lnTo>
                    <a:lnTo>
                      <a:pt x="100" y="20"/>
                    </a:lnTo>
                    <a:lnTo>
                      <a:pt x="101" y="22"/>
                    </a:lnTo>
                    <a:lnTo>
                      <a:pt x="103" y="25"/>
                    </a:lnTo>
                    <a:lnTo>
                      <a:pt x="103" y="26"/>
                    </a:lnTo>
                    <a:lnTo>
                      <a:pt x="104" y="27"/>
                    </a:lnTo>
                    <a:lnTo>
                      <a:pt x="108" y="26"/>
                    </a:lnTo>
                    <a:lnTo>
                      <a:pt x="108" y="27"/>
                    </a:lnTo>
                    <a:lnTo>
                      <a:pt x="111" y="26"/>
                    </a:lnTo>
                    <a:lnTo>
                      <a:pt x="111" y="29"/>
                    </a:lnTo>
                    <a:lnTo>
                      <a:pt x="118" y="31"/>
                    </a:lnTo>
                    <a:lnTo>
                      <a:pt x="116" y="38"/>
                    </a:lnTo>
                    <a:lnTo>
                      <a:pt x="118" y="40"/>
                    </a:lnTo>
                    <a:lnTo>
                      <a:pt x="119" y="39"/>
                    </a:lnTo>
                    <a:lnTo>
                      <a:pt x="121" y="41"/>
                    </a:lnTo>
                    <a:lnTo>
                      <a:pt x="125" y="42"/>
                    </a:lnTo>
                    <a:lnTo>
                      <a:pt x="124" y="43"/>
                    </a:lnTo>
                    <a:lnTo>
                      <a:pt x="124" y="44"/>
                    </a:lnTo>
                    <a:lnTo>
                      <a:pt x="128" y="46"/>
                    </a:lnTo>
                    <a:lnTo>
                      <a:pt x="129" y="49"/>
                    </a:lnTo>
                    <a:lnTo>
                      <a:pt x="126" y="55"/>
                    </a:lnTo>
                    <a:lnTo>
                      <a:pt x="123" y="55"/>
                    </a:lnTo>
                    <a:lnTo>
                      <a:pt x="123" y="56"/>
                    </a:lnTo>
                    <a:lnTo>
                      <a:pt x="118" y="58"/>
                    </a:lnTo>
                    <a:lnTo>
                      <a:pt x="115" y="58"/>
                    </a:lnTo>
                    <a:lnTo>
                      <a:pt x="114" y="59"/>
                    </a:lnTo>
                    <a:lnTo>
                      <a:pt x="112" y="59"/>
                    </a:lnTo>
                    <a:lnTo>
                      <a:pt x="110" y="59"/>
                    </a:lnTo>
                    <a:lnTo>
                      <a:pt x="111" y="60"/>
                    </a:lnTo>
                    <a:lnTo>
                      <a:pt x="110" y="61"/>
                    </a:lnTo>
                    <a:lnTo>
                      <a:pt x="109" y="61"/>
                    </a:lnTo>
                    <a:lnTo>
                      <a:pt x="108" y="64"/>
                    </a:lnTo>
                    <a:lnTo>
                      <a:pt x="109" y="68"/>
                    </a:lnTo>
                    <a:lnTo>
                      <a:pt x="111" y="67"/>
                    </a:lnTo>
                    <a:lnTo>
                      <a:pt x="112" y="65"/>
                    </a:lnTo>
                    <a:lnTo>
                      <a:pt x="114" y="67"/>
                    </a:lnTo>
                    <a:lnTo>
                      <a:pt x="115" y="70"/>
                    </a:lnTo>
                    <a:lnTo>
                      <a:pt x="113" y="70"/>
                    </a:lnTo>
                    <a:lnTo>
                      <a:pt x="112" y="73"/>
                    </a:lnTo>
                    <a:lnTo>
                      <a:pt x="113" y="76"/>
                    </a:lnTo>
                    <a:lnTo>
                      <a:pt x="115" y="79"/>
                    </a:lnTo>
                    <a:lnTo>
                      <a:pt x="114" y="80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49" name="Group 143">
              <a:extLst>
                <a:ext uri="{FF2B5EF4-FFF2-40B4-BE49-F238E27FC236}">
                  <a16:creationId xmlns:a16="http://schemas.microsoft.com/office/drawing/2014/main" id="{FA3E1F68-1E1A-E8CA-B23C-3E383630E8D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96" y="3246"/>
              <a:ext cx="26" cy="26"/>
              <a:chOff x="696" y="3246"/>
              <a:chExt cx="26" cy="26"/>
            </a:xfrm>
          </p:grpSpPr>
          <p:sp>
            <p:nvSpPr>
              <p:cNvPr id="132" name="Rectangle 141">
                <a:extLst>
                  <a:ext uri="{FF2B5EF4-FFF2-40B4-BE49-F238E27FC236}">
                    <a16:creationId xmlns:a16="http://schemas.microsoft.com/office/drawing/2014/main" id="{19EF857D-856B-8975-8A7C-E621083B98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6" y="3246"/>
                <a:ext cx="26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33" name="Rectangle 142">
                <a:extLst>
                  <a:ext uri="{FF2B5EF4-FFF2-40B4-BE49-F238E27FC236}">
                    <a16:creationId xmlns:a16="http://schemas.microsoft.com/office/drawing/2014/main" id="{AB50280C-C3A9-E287-67EB-90E148B2EF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6" y="3246"/>
                <a:ext cx="26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50" name="Rectangle 144">
              <a:extLst>
                <a:ext uri="{FF2B5EF4-FFF2-40B4-BE49-F238E27FC236}">
                  <a16:creationId xmlns:a16="http://schemas.microsoft.com/office/drawing/2014/main" id="{4F0805FD-8276-077E-75E1-0B7C657FCE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" y="3279"/>
              <a:ext cx="150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FN Plzeň</a:t>
              </a: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grpSp>
          <p:nvGrpSpPr>
            <p:cNvPr id="51" name="Group 147">
              <a:extLst>
                <a:ext uri="{FF2B5EF4-FFF2-40B4-BE49-F238E27FC236}">
                  <a16:creationId xmlns:a16="http://schemas.microsoft.com/office/drawing/2014/main" id="{DB07DAD2-04D5-CE39-749E-F9230C0ED12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20" y="2889"/>
              <a:ext cx="26" cy="26"/>
              <a:chOff x="820" y="2889"/>
              <a:chExt cx="26" cy="26"/>
            </a:xfrm>
          </p:grpSpPr>
          <p:sp>
            <p:nvSpPr>
              <p:cNvPr id="130" name="Rectangle 145">
                <a:extLst>
                  <a:ext uri="{FF2B5EF4-FFF2-40B4-BE49-F238E27FC236}">
                    <a16:creationId xmlns:a16="http://schemas.microsoft.com/office/drawing/2014/main" id="{A2171AA0-C138-50FD-BB5C-0C82720A22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0" y="2889"/>
                <a:ext cx="26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31" name="Rectangle 146">
                <a:extLst>
                  <a:ext uri="{FF2B5EF4-FFF2-40B4-BE49-F238E27FC236}">
                    <a16:creationId xmlns:a16="http://schemas.microsoft.com/office/drawing/2014/main" id="{F55492F0-F81E-467E-9270-676FF633CA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0" y="2889"/>
                <a:ext cx="26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52" name="Rectangle 148">
              <a:extLst>
                <a:ext uri="{FF2B5EF4-FFF2-40B4-BE49-F238E27FC236}">
                  <a16:creationId xmlns:a16="http://schemas.microsoft.com/office/drawing/2014/main" id="{4F5697E9-AC4A-10E5-92AC-E5314F5EFC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1" y="2919"/>
              <a:ext cx="195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Nemocnice </a:t>
              </a: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53" name="Rectangle 149">
              <a:extLst>
                <a:ext uri="{FF2B5EF4-FFF2-40B4-BE49-F238E27FC236}">
                  <a16:creationId xmlns:a16="http://schemas.microsoft.com/office/drawing/2014/main" id="{849AD8C2-F1EA-3F5E-E1AE-D27FC159A0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1" y="2956"/>
              <a:ext cx="170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Chomutov</a:t>
              </a: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grpSp>
          <p:nvGrpSpPr>
            <p:cNvPr id="54" name="Group 152">
              <a:extLst>
                <a:ext uri="{FF2B5EF4-FFF2-40B4-BE49-F238E27FC236}">
                  <a16:creationId xmlns:a16="http://schemas.microsoft.com/office/drawing/2014/main" id="{5E3E9716-A9C5-9974-9042-D16DB768455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12" y="2820"/>
              <a:ext cx="26" cy="26"/>
              <a:chOff x="1012" y="2820"/>
              <a:chExt cx="26" cy="26"/>
            </a:xfrm>
          </p:grpSpPr>
          <p:sp>
            <p:nvSpPr>
              <p:cNvPr id="128" name="Rectangle 150">
                <a:extLst>
                  <a:ext uri="{FF2B5EF4-FFF2-40B4-BE49-F238E27FC236}">
                    <a16:creationId xmlns:a16="http://schemas.microsoft.com/office/drawing/2014/main" id="{C7167122-1FF5-58C5-E6E8-BD0073BA54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2" y="2820"/>
                <a:ext cx="26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29" name="Rectangle 151">
                <a:extLst>
                  <a:ext uri="{FF2B5EF4-FFF2-40B4-BE49-F238E27FC236}">
                    <a16:creationId xmlns:a16="http://schemas.microsoft.com/office/drawing/2014/main" id="{8DDFAB65-51A2-AFA1-4136-408C913626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2" y="2820"/>
                <a:ext cx="26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55" name="Rectangle 153">
              <a:extLst>
                <a:ext uri="{FF2B5EF4-FFF2-40B4-BE49-F238E27FC236}">
                  <a16:creationId xmlns:a16="http://schemas.microsoft.com/office/drawing/2014/main" id="{D9F4DD41-1A12-D11B-8433-BF695C6224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0" y="2849"/>
              <a:ext cx="207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Masarykova </a:t>
              </a:r>
              <a:endParaRPr kumimoji="1" lang="cs-CZ" alt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56" name="Rectangle 154">
              <a:extLst>
                <a:ext uri="{FF2B5EF4-FFF2-40B4-BE49-F238E27FC236}">
                  <a16:creationId xmlns:a16="http://schemas.microsoft.com/office/drawing/2014/main" id="{35D4E8D0-90FB-94B6-6F47-1A4BA3C629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0" y="2886"/>
              <a:ext cx="318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nemocnice               </a:t>
              </a: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57" name="Rectangle 155">
              <a:extLst>
                <a:ext uri="{FF2B5EF4-FFF2-40B4-BE49-F238E27FC236}">
                  <a16:creationId xmlns:a16="http://schemas.microsoft.com/office/drawing/2014/main" id="{352CD172-B292-0D6F-AFBC-64C7AC31A0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0" y="2922"/>
              <a:ext cx="254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Ústí nad Labem</a:t>
              </a: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grpSp>
          <p:nvGrpSpPr>
            <p:cNvPr id="58" name="Group 158">
              <a:extLst>
                <a:ext uri="{FF2B5EF4-FFF2-40B4-BE49-F238E27FC236}">
                  <a16:creationId xmlns:a16="http://schemas.microsoft.com/office/drawing/2014/main" id="{1F85A5DC-B011-300E-20B1-25CD04278CC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75" y="2816"/>
              <a:ext cx="26" cy="26"/>
              <a:chOff x="1275" y="2816"/>
              <a:chExt cx="26" cy="26"/>
            </a:xfrm>
          </p:grpSpPr>
          <p:sp>
            <p:nvSpPr>
              <p:cNvPr id="126" name="Rectangle 156">
                <a:extLst>
                  <a:ext uri="{FF2B5EF4-FFF2-40B4-BE49-F238E27FC236}">
                    <a16:creationId xmlns:a16="http://schemas.microsoft.com/office/drawing/2014/main" id="{9D063E57-D48A-536E-37FD-2C95D65158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5" y="2816"/>
                <a:ext cx="26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27" name="Rectangle 157">
                <a:extLst>
                  <a:ext uri="{FF2B5EF4-FFF2-40B4-BE49-F238E27FC236}">
                    <a16:creationId xmlns:a16="http://schemas.microsoft.com/office/drawing/2014/main" id="{0AA5E382-EB82-89AE-BBA2-B4741C75C9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5" y="2816"/>
                <a:ext cx="26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59" name="Rectangle 159">
              <a:extLst>
                <a:ext uri="{FF2B5EF4-FFF2-40B4-BE49-F238E27FC236}">
                  <a16:creationId xmlns:a16="http://schemas.microsoft.com/office/drawing/2014/main" id="{F8C0567D-E0EC-AF84-9C02-B009AE27C1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8" y="2866"/>
              <a:ext cx="195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Nemocnice </a:t>
              </a: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60" name="Rectangle 160">
              <a:extLst>
                <a:ext uri="{FF2B5EF4-FFF2-40B4-BE49-F238E27FC236}">
                  <a16:creationId xmlns:a16="http://schemas.microsoft.com/office/drawing/2014/main" id="{96B8DBDD-B3BE-B483-C42B-06576B90BE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8" y="2903"/>
              <a:ext cx="131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Liberec</a:t>
              </a: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grpSp>
          <p:nvGrpSpPr>
            <p:cNvPr id="61" name="Group 163">
              <a:extLst>
                <a:ext uri="{FF2B5EF4-FFF2-40B4-BE49-F238E27FC236}">
                  <a16:creationId xmlns:a16="http://schemas.microsoft.com/office/drawing/2014/main" id="{721EEBBE-EC06-0BDF-2320-FFB80DF3B7B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71" y="3111"/>
              <a:ext cx="26" cy="26"/>
              <a:chOff x="1471" y="3111"/>
              <a:chExt cx="26" cy="26"/>
            </a:xfrm>
          </p:grpSpPr>
          <p:sp>
            <p:nvSpPr>
              <p:cNvPr id="124" name="Rectangle 161">
                <a:extLst>
                  <a:ext uri="{FF2B5EF4-FFF2-40B4-BE49-F238E27FC236}">
                    <a16:creationId xmlns:a16="http://schemas.microsoft.com/office/drawing/2014/main" id="{52B03ECD-8C75-6501-DE59-E0BAFDB85B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1" y="3111"/>
                <a:ext cx="26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25" name="Rectangle 162">
                <a:extLst>
                  <a:ext uri="{FF2B5EF4-FFF2-40B4-BE49-F238E27FC236}">
                    <a16:creationId xmlns:a16="http://schemas.microsoft.com/office/drawing/2014/main" id="{AF9AD816-C49E-E240-CE63-71041C4D7B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1" y="3111"/>
                <a:ext cx="26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grpSp>
          <p:nvGrpSpPr>
            <p:cNvPr id="62" name="Group 166">
              <a:extLst>
                <a:ext uri="{FF2B5EF4-FFF2-40B4-BE49-F238E27FC236}">
                  <a16:creationId xmlns:a16="http://schemas.microsoft.com/office/drawing/2014/main" id="{26A8BD17-4B05-326B-0BF7-40093759950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49" y="3184"/>
              <a:ext cx="26" cy="26"/>
              <a:chOff x="1449" y="3184"/>
              <a:chExt cx="26" cy="26"/>
            </a:xfrm>
          </p:grpSpPr>
          <p:sp>
            <p:nvSpPr>
              <p:cNvPr id="122" name="Rectangle 164">
                <a:extLst>
                  <a:ext uri="{FF2B5EF4-FFF2-40B4-BE49-F238E27FC236}">
                    <a16:creationId xmlns:a16="http://schemas.microsoft.com/office/drawing/2014/main" id="{F5A9DD05-4435-4DF5-CF99-9781CC8B4D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9" y="3184"/>
                <a:ext cx="26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23" name="Rectangle 165">
                <a:extLst>
                  <a:ext uri="{FF2B5EF4-FFF2-40B4-BE49-F238E27FC236}">
                    <a16:creationId xmlns:a16="http://schemas.microsoft.com/office/drawing/2014/main" id="{0E707E5D-2A71-EC41-E4D0-AB89A7A84C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9" y="3184"/>
                <a:ext cx="26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63" name="Rectangle 167">
              <a:extLst>
                <a:ext uri="{FF2B5EF4-FFF2-40B4-BE49-F238E27FC236}">
                  <a16:creationId xmlns:a16="http://schemas.microsoft.com/office/drawing/2014/main" id="{E085DE39-0B2E-A412-FAE0-12276FA7E9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0" y="3078"/>
              <a:ext cx="183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FN Hradec </a:t>
              </a: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64" name="Rectangle 168">
              <a:extLst>
                <a:ext uri="{FF2B5EF4-FFF2-40B4-BE49-F238E27FC236}">
                  <a16:creationId xmlns:a16="http://schemas.microsoft.com/office/drawing/2014/main" id="{87E2A513-D96B-23E2-3ED8-77BB0EE9E1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0" y="3115"/>
              <a:ext cx="133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Králové</a:t>
              </a: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65" name="Rectangle 169">
              <a:extLst>
                <a:ext uri="{FF2B5EF4-FFF2-40B4-BE49-F238E27FC236}">
                  <a16:creationId xmlns:a16="http://schemas.microsoft.com/office/drawing/2014/main" id="{CBD2E37D-531C-466D-4CD5-A3C9BEE836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46" y="3225"/>
              <a:ext cx="195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Nemocnice </a:t>
              </a: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66" name="Rectangle 170">
              <a:extLst>
                <a:ext uri="{FF2B5EF4-FFF2-40B4-BE49-F238E27FC236}">
                  <a16:creationId xmlns:a16="http://schemas.microsoft.com/office/drawing/2014/main" id="{38BD7F6F-EF61-1343-293B-3E69D2EAE5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46" y="3262"/>
              <a:ext cx="169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Pardubice</a:t>
              </a:r>
              <a:endParaRPr kumimoji="1" lang="cs-CZ" alt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grpSp>
          <p:nvGrpSpPr>
            <p:cNvPr id="67" name="Group 173">
              <a:extLst>
                <a:ext uri="{FF2B5EF4-FFF2-40B4-BE49-F238E27FC236}">
                  <a16:creationId xmlns:a16="http://schemas.microsoft.com/office/drawing/2014/main" id="{FB75588B-9D80-843C-FD3E-B6D8F2B0100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89" y="3675"/>
              <a:ext cx="26" cy="26"/>
              <a:chOff x="989" y="3675"/>
              <a:chExt cx="26" cy="26"/>
            </a:xfrm>
          </p:grpSpPr>
          <p:sp>
            <p:nvSpPr>
              <p:cNvPr id="120" name="Rectangle 171">
                <a:extLst>
                  <a:ext uri="{FF2B5EF4-FFF2-40B4-BE49-F238E27FC236}">
                    <a16:creationId xmlns:a16="http://schemas.microsoft.com/office/drawing/2014/main" id="{6707497D-FA87-9C8D-38D0-EB19FEB094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9" y="3675"/>
                <a:ext cx="26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21" name="Rectangle 172">
                <a:extLst>
                  <a:ext uri="{FF2B5EF4-FFF2-40B4-BE49-F238E27FC236}">
                    <a16:creationId xmlns:a16="http://schemas.microsoft.com/office/drawing/2014/main" id="{A6725201-1F59-A9B1-6197-273F693898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9" y="3675"/>
                <a:ext cx="26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68" name="Rectangle 174">
              <a:extLst>
                <a:ext uri="{FF2B5EF4-FFF2-40B4-BE49-F238E27FC236}">
                  <a16:creationId xmlns:a16="http://schemas.microsoft.com/office/drawing/2014/main" id="{7E043BA0-D4EA-CE10-B5E6-2574837C29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0" y="3701"/>
              <a:ext cx="266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Nemocnice         </a:t>
              </a: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69" name="Rectangle 175">
              <a:extLst>
                <a:ext uri="{FF2B5EF4-FFF2-40B4-BE49-F238E27FC236}">
                  <a16:creationId xmlns:a16="http://schemas.microsoft.com/office/drawing/2014/main" id="{02302D6A-584A-57A8-C746-190E065E33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0" y="3738"/>
              <a:ext cx="119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České </a:t>
              </a: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70" name="Rectangle 176">
              <a:extLst>
                <a:ext uri="{FF2B5EF4-FFF2-40B4-BE49-F238E27FC236}">
                  <a16:creationId xmlns:a16="http://schemas.microsoft.com/office/drawing/2014/main" id="{FEB6A00C-C791-4E68-86E6-531C364AB9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0" y="3775"/>
              <a:ext cx="186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Budějovice</a:t>
              </a: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grpSp>
          <p:nvGrpSpPr>
            <p:cNvPr id="71" name="Group 179">
              <a:extLst>
                <a:ext uri="{FF2B5EF4-FFF2-40B4-BE49-F238E27FC236}">
                  <a16:creationId xmlns:a16="http://schemas.microsoft.com/office/drawing/2014/main" id="{76C60299-AC0A-594E-461F-020749E97E8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336" y="3534"/>
              <a:ext cx="26" cy="26"/>
              <a:chOff x="1336" y="3534"/>
              <a:chExt cx="26" cy="26"/>
            </a:xfrm>
          </p:grpSpPr>
          <p:sp>
            <p:nvSpPr>
              <p:cNvPr id="118" name="Rectangle 177">
                <a:extLst>
                  <a:ext uri="{FF2B5EF4-FFF2-40B4-BE49-F238E27FC236}">
                    <a16:creationId xmlns:a16="http://schemas.microsoft.com/office/drawing/2014/main" id="{F431F435-1118-AEBA-B386-A020D14B2C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6" y="3534"/>
                <a:ext cx="26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19" name="Rectangle 178">
                <a:extLst>
                  <a:ext uri="{FF2B5EF4-FFF2-40B4-BE49-F238E27FC236}">
                    <a16:creationId xmlns:a16="http://schemas.microsoft.com/office/drawing/2014/main" id="{693AA8E8-8066-761F-6526-B794F2BFD4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6" y="3534"/>
                <a:ext cx="26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72" name="Rectangle 180">
              <a:extLst>
                <a:ext uri="{FF2B5EF4-FFF2-40B4-BE49-F238E27FC236}">
                  <a16:creationId xmlns:a16="http://schemas.microsoft.com/office/drawing/2014/main" id="{5E365AFC-5BCD-C7B1-C217-22AF9E4C43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9" y="3567"/>
              <a:ext cx="266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Nemocnice         </a:t>
              </a: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73" name="Rectangle 181">
              <a:extLst>
                <a:ext uri="{FF2B5EF4-FFF2-40B4-BE49-F238E27FC236}">
                  <a16:creationId xmlns:a16="http://schemas.microsoft.com/office/drawing/2014/main" id="{40D646DA-697A-BB88-BCBD-66BE716C9B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9" y="3603"/>
              <a:ext cx="125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Jihlava</a:t>
              </a: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74" name="Rectangle 182">
              <a:extLst>
                <a:ext uri="{FF2B5EF4-FFF2-40B4-BE49-F238E27FC236}">
                  <a16:creationId xmlns:a16="http://schemas.microsoft.com/office/drawing/2014/main" id="{934E6E21-1BB7-24BD-256F-B8FAC85058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1" y="3487"/>
              <a:ext cx="203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FN Olomouc</a:t>
              </a: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grpSp>
          <p:nvGrpSpPr>
            <p:cNvPr id="75" name="Group 185">
              <a:extLst>
                <a:ext uri="{FF2B5EF4-FFF2-40B4-BE49-F238E27FC236}">
                  <a16:creationId xmlns:a16="http://schemas.microsoft.com/office/drawing/2014/main" id="{2D47F84B-AE31-C565-A045-6261AA9CBAF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802" y="3524"/>
              <a:ext cx="26" cy="26"/>
              <a:chOff x="1802" y="3524"/>
              <a:chExt cx="26" cy="26"/>
            </a:xfrm>
          </p:grpSpPr>
          <p:sp>
            <p:nvSpPr>
              <p:cNvPr id="116" name="Rectangle 183">
                <a:extLst>
                  <a:ext uri="{FF2B5EF4-FFF2-40B4-BE49-F238E27FC236}">
                    <a16:creationId xmlns:a16="http://schemas.microsoft.com/office/drawing/2014/main" id="{5A3A59A0-824E-F1DB-6DCA-8EFFDCFDD8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02" y="3524"/>
                <a:ext cx="26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17" name="Rectangle 184">
                <a:extLst>
                  <a:ext uri="{FF2B5EF4-FFF2-40B4-BE49-F238E27FC236}">
                    <a16:creationId xmlns:a16="http://schemas.microsoft.com/office/drawing/2014/main" id="{724FA5F6-4302-A816-D55D-90584FADDE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02" y="3524"/>
                <a:ext cx="26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grpSp>
          <p:nvGrpSpPr>
            <p:cNvPr id="76" name="Group 188">
              <a:extLst>
                <a:ext uri="{FF2B5EF4-FFF2-40B4-BE49-F238E27FC236}">
                  <a16:creationId xmlns:a16="http://schemas.microsoft.com/office/drawing/2014/main" id="{8D1130F6-6F47-300B-34A3-603A25EDBB7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861" y="3607"/>
              <a:ext cx="26" cy="26"/>
              <a:chOff x="1861" y="3607"/>
              <a:chExt cx="26" cy="26"/>
            </a:xfrm>
          </p:grpSpPr>
          <p:sp>
            <p:nvSpPr>
              <p:cNvPr id="114" name="Rectangle 186">
                <a:extLst>
                  <a:ext uri="{FF2B5EF4-FFF2-40B4-BE49-F238E27FC236}">
                    <a16:creationId xmlns:a16="http://schemas.microsoft.com/office/drawing/2014/main" id="{4287B0E9-6A5F-A1D7-BABA-956CA47EF0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61" y="3607"/>
                <a:ext cx="26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15" name="Rectangle 187">
                <a:extLst>
                  <a:ext uri="{FF2B5EF4-FFF2-40B4-BE49-F238E27FC236}">
                    <a16:creationId xmlns:a16="http://schemas.microsoft.com/office/drawing/2014/main" id="{9B62B538-C4D8-FE62-A76D-F8D6562A69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61" y="3607"/>
                <a:ext cx="26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77" name="Rectangle 189">
              <a:extLst>
                <a:ext uri="{FF2B5EF4-FFF2-40B4-BE49-F238E27FC236}">
                  <a16:creationId xmlns:a16="http://schemas.microsoft.com/office/drawing/2014/main" id="{5C46EE4D-E4E4-EDFD-C517-0E46AC95A1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33" y="3631"/>
              <a:ext cx="195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Nemocnice </a:t>
              </a: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78" name="Rectangle 190">
              <a:extLst>
                <a:ext uri="{FF2B5EF4-FFF2-40B4-BE49-F238E27FC236}">
                  <a16:creationId xmlns:a16="http://schemas.microsoft.com/office/drawing/2014/main" id="{77F77787-85EB-6642-8F1A-BEA44DECAE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33" y="3668"/>
              <a:ext cx="74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Zlín</a:t>
              </a: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grpSp>
          <p:nvGrpSpPr>
            <p:cNvPr id="79" name="Group 193">
              <a:extLst>
                <a:ext uri="{FF2B5EF4-FFF2-40B4-BE49-F238E27FC236}">
                  <a16:creationId xmlns:a16="http://schemas.microsoft.com/office/drawing/2014/main" id="{6B34AC03-A1FB-D7BA-5D87-01EF8A523FB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011" y="3461"/>
              <a:ext cx="26" cy="26"/>
              <a:chOff x="2011" y="3461"/>
              <a:chExt cx="26" cy="26"/>
            </a:xfrm>
          </p:grpSpPr>
          <p:sp>
            <p:nvSpPr>
              <p:cNvPr id="112" name="Rectangle 191">
                <a:extLst>
                  <a:ext uri="{FF2B5EF4-FFF2-40B4-BE49-F238E27FC236}">
                    <a16:creationId xmlns:a16="http://schemas.microsoft.com/office/drawing/2014/main" id="{72E125B1-4342-DFD7-3E4E-97060F660D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11" y="3461"/>
                <a:ext cx="26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13" name="Rectangle 192">
                <a:extLst>
                  <a:ext uri="{FF2B5EF4-FFF2-40B4-BE49-F238E27FC236}">
                    <a16:creationId xmlns:a16="http://schemas.microsoft.com/office/drawing/2014/main" id="{DC6E2D3A-748E-E073-C653-6C4685E5F7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11" y="3461"/>
                <a:ext cx="26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80" name="Rectangle 194">
              <a:extLst>
                <a:ext uri="{FF2B5EF4-FFF2-40B4-BE49-F238E27FC236}">
                  <a16:creationId xmlns:a16="http://schemas.microsoft.com/office/drawing/2014/main" id="{41B9180D-4A42-AF8A-A35E-71E2E5B832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55" y="3492"/>
              <a:ext cx="302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Nemocnice             </a:t>
              </a:r>
              <a:endParaRPr kumimoji="1" lang="cs-CZ" alt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81" name="Rectangle 195">
              <a:extLst>
                <a:ext uri="{FF2B5EF4-FFF2-40B4-BE49-F238E27FC236}">
                  <a16:creationId xmlns:a16="http://schemas.microsoft.com/office/drawing/2014/main" id="{D88DFA63-901A-2AFE-AB93-9ACECC839B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55" y="3529"/>
              <a:ext cx="173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Nový Jičín</a:t>
              </a: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grpSp>
          <p:nvGrpSpPr>
            <p:cNvPr id="82" name="Group 198">
              <a:extLst>
                <a:ext uri="{FF2B5EF4-FFF2-40B4-BE49-F238E27FC236}">
                  <a16:creationId xmlns:a16="http://schemas.microsoft.com/office/drawing/2014/main" id="{8874271C-6982-AC85-4181-2E7A20B6FCE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086" y="3372"/>
              <a:ext cx="27" cy="26"/>
              <a:chOff x="2086" y="3372"/>
              <a:chExt cx="27" cy="26"/>
            </a:xfrm>
          </p:grpSpPr>
          <p:sp>
            <p:nvSpPr>
              <p:cNvPr id="110" name="Rectangle 196">
                <a:extLst>
                  <a:ext uri="{FF2B5EF4-FFF2-40B4-BE49-F238E27FC236}">
                    <a16:creationId xmlns:a16="http://schemas.microsoft.com/office/drawing/2014/main" id="{C4936B71-4374-A95F-DB45-EFE74E7213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" y="3372"/>
                <a:ext cx="27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11" name="Rectangle 197">
                <a:extLst>
                  <a:ext uri="{FF2B5EF4-FFF2-40B4-BE49-F238E27FC236}">
                    <a16:creationId xmlns:a16="http://schemas.microsoft.com/office/drawing/2014/main" id="{37A25DC1-5500-34E8-D3A4-062E7EFD4B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" y="3372"/>
                <a:ext cx="27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83" name="Rectangle 199">
              <a:extLst>
                <a:ext uri="{FF2B5EF4-FFF2-40B4-BE49-F238E27FC236}">
                  <a16:creationId xmlns:a16="http://schemas.microsoft.com/office/drawing/2014/main" id="{BFCABEB8-B25A-5644-501F-477BBC478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6" y="3401"/>
              <a:ext cx="186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FN Ostrava</a:t>
              </a: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grpSp>
          <p:nvGrpSpPr>
            <p:cNvPr id="84" name="Group 202">
              <a:extLst>
                <a:ext uri="{FF2B5EF4-FFF2-40B4-BE49-F238E27FC236}">
                  <a16:creationId xmlns:a16="http://schemas.microsoft.com/office/drawing/2014/main" id="{8029D8D6-8071-F1A0-6E45-091056901E0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559" y="3610"/>
              <a:ext cx="26" cy="26"/>
              <a:chOff x="1559" y="3610"/>
              <a:chExt cx="26" cy="26"/>
            </a:xfrm>
          </p:grpSpPr>
          <p:sp>
            <p:nvSpPr>
              <p:cNvPr id="108" name="Rectangle 200">
                <a:extLst>
                  <a:ext uri="{FF2B5EF4-FFF2-40B4-BE49-F238E27FC236}">
                    <a16:creationId xmlns:a16="http://schemas.microsoft.com/office/drawing/2014/main" id="{73CE6DDB-A1FD-AC6F-788C-5988DBCFD8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59" y="3610"/>
                <a:ext cx="26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09" name="Rectangle 201">
                <a:extLst>
                  <a:ext uri="{FF2B5EF4-FFF2-40B4-BE49-F238E27FC236}">
                    <a16:creationId xmlns:a16="http://schemas.microsoft.com/office/drawing/2014/main" id="{D788FF2E-CB2E-54C0-1128-AC7FE4C472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59" y="3610"/>
                <a:ext cx="26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85" name="Rectangle 203">
              <a:extLst>
                <a:ext uri="{FF2B5EF4-FFF2-40B4-BE49-F238E27FC236}">
                  <a16:creationId xmlns:a16="http://schemas.microsoft.com/office/drawing/2014/main" id="{E9DEA1B6-5F07-25A5-2275-CFD25BB17F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20" y="3562"/>
              <a:ext cx="170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MOÚ Brno</a:t>
              </a: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grpSp>
          <p:nvGrpSpPr>
            <p:cNvPr id="86" name="Group 206">
              <a:extLst>
                <a:ext uri="{FF2B5EF4-FFF2-40B4-BE49-F238E27FC236}">
                  <a16:creationId xmlns:a16="http://schemas.microsoft.com/office/drawing/2014/main" id="{E0B39384-F5C7-62FE-104E-CB4B9056FC3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588" y="3610"/>
              <a:ext cx="26" cy="26"/>
              <a:chOff x="1588" y="3610"/>
              <a:chExt cx="26" cy="26"/>
            </a:xfrm>
          </p:grpSpPr>
          <p:sp>
            <p:nvSpPr>
              <p:cNvPr id="106" name="Rectangle 204">
                <a:extLst>
                  <a:ext uri="{FF2B5EF4-FFF2-40B4-BE49-F238E27FC236}">
                    <a16:creationId xmlns:a16="http://schemas.microsoft.com/office/drawing/2014/main" id="{85623835-F9A1-1093-1255-371A514C75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8" y="3610"/>
                <a:ext cx="26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07" name="Rectangle 205">
                <a:extLst>
                  <a:ext uri="{FF2B5EF4-FFF2-40B4-BE49-F238E27FC236}">
                    <a16:creationId xmlns:a16="http://schemas.microsoft.com/office/drawing/2014/main" id="{34D581B1-93A8-48B8-24CC-363C82E532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8" y="3610"/>
                <a:ext cx="26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87" name="Rectangle 207">
              <a:extLst>
                <a:ext uri="{FF2B5EF4-FFF2-40B4-BE49-F238E27FC236}">
                  <a16:creationId xmlns:a16="http://schemas.microsoft.com/office/drawing/2014/main" id="{591D8802-C783-223E-9C81-082153CB99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20" y="3642"/>
              <a:ext cx="139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FN Brno</a:t>
              </a: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grpSp>
          <p:nvGrpSpPr>
            <p:cNvPr id="88" name="Group 210">
              <a:extLst>
                <a:ext uri="{FF2B5EF4-FFF2-40B4-BE49-F238E27FC236}">
                  <a16:creationId xmlns:a16="http://schemas.microsoft.com/office/drawing/2014/main" id="{97AFEFC4-7332-7F6D-2CAB-F4DD75AEE90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618" y="3610"/>
              <a:ext cx="26" cy="26"/>
              <a:chOff x="1618" y="3610"/>
              <a:chExt cx="26" cy="26"/>
            </a:xfrm>
          </p:grpSpPr>
          <p:sp>
            <p:nvSpPr>
              <p:cNvPr id="104" name="Rectangle 208">
                <a:extLst>
                  <a:ext uri="{FF2B5EF4-FFF2-40B4-BE49-F238E27FC236}">
                    <a16:creationId xmlns:a16="http://schemas.microsoft.com/office/drawing/2014/main" id="{C1434456-E5B8-271C-0394-100F289A9D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18" y="3610"/>
                <a:ext cx="26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05" name="Rectangle 209">
                <a:extLst>
                  <a:ext uri="{FF2B5EF4-FFF2-40B4-BE49-F238E27FC236}">
                    <a16:creationId xmlns:a16="http://schemas.microsoft.com/office/drawing/2014/main" id="{8EC4A206-0843-94C6-0445-1677F83475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18" y="3610"/>
                <a:ext cx="26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89" name="Rectangle 211">
              <a:extLst>
                <a:ext uri="{FF2B5EF4-FFF2-40B4-BE49-F238E27FC236}">
                  <a16:creationId xmlns:a16="http://schemas.microsoft.com/office/drawing/2014/main" id="{23C38A51-299A-12C6-77E6-0F8F9B7CE3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3" y="3684"/>
              <a:ext cx="234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FN u sv. Anny </a:t>
              </a: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90" name="Rectangle 212">
              <a:extLst>
                <a:ext uri="{FF2B5EF4-FFF2-40B4-BE49-F238E27FC236}">
                  <a16:creationId xmlns:a16="http://schemas.microsoft.com/office/drawing/2014/main" id="{A866BF1B-DD90-6738-1EA2-AEEF2C5D29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3" y="3720"/>
              <a:ext cx="88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Brno</a:t>
              </a: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grpSp>
          <p:nvGrpSpPr>
            <p:cNvPr id="91" name="Group 215">
              <a:extLst>
                <a:ext uri="{FF2B5EF4-FFF2-40B4-BE49-F238E27FC236}">
                  <a16:creationId xmlns:a16="http://schemas.microsoft.com/office/drawing/2014/main" id="{0F695C6C-FA30-E2D0-1842-190011E75E8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39" y="3132"/>
              <a:ext cx="26" cy="26"/>
              <a:chOff x="1039" y="3132"/>
              <a:chExt cx="26" cy="26"/>
            </a:xfrm>
          </p:grpSpPr>
          <p:sp>
            <p:nvSpPr>
              <p:cNvPr id="102" name="Rectangle 213">
                <a:extLst>
                  <a:ext uri="{FF2B5EF4-FFF2-40B4-BE49-F238E27FC236}">
                    <a16:creationId xmlns:a16="http://schemas.microsoft.com/office/drawing/2014/main" id="{1F76F66C-3995-33A0-BE9A-EF60989484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9" y="3132"/>
                <a:ext cx="26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03" name="Rectangle 214">
                <a:extLst>
                  <a:ext uri="{FF2B5EF4-FFF2-40B4-BE49-F238E27FC236}">
                    <a16:creationId xmlns:a16="http://schemas.microsoft.com/office/drawing/2014/main" id="{50B2D0F5-2020-32CE-AD26-486A43111F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9" y="3132"/>
                <a:ext cx="26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grpSp>
          <p:nvGrpSpPr>
            <p:cNvPr id="92" name="Group 218">
              <a:extLst>
                <a:ext uri="{FF2B5EF4-FFF2-40B4-BE49-F238E27FC236}">
                  <a16:creationId xmlns:a16="http://schemas.microsoft.com/office/drawing/2014/main" id="{A4F313BA-F826-BCAA-6178-583FFFDFD00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68" y="3132"/>
              <a:ext cx="27" cy="26"/>
              <a:chOff x="1068" y="3132"/>
              <a:chExt cx="27" cy="26"/>
            </a:xfrm>
          </p:grpSpPr>
          <p:sp>
            <p:nvSpPr>
              <p:cNvPr id="100" name="Rectangle 216">
                <a:extLst>
                  <a:ext uri="{FF2B5EF4-FFF2-40B4-BE49-F238E27FC236}">
                    <a16:creationId xmlns:a16="http://schemas.microsoft.com/office/drawing/2014/main" id="{B64553D6-262D-4B93-623B-ED708F92FB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8" y="3132"/>
                <a:ext cx="27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01" name="Rectangle 217">
                <a:extLst>
                  <a:ext uri="{FF2B5EF4-FFF2-40B4-BE49-F238E27FC236}">
                    <a16:creationId xmlns:a16="http://schemas.microsoft.com/office/drawing/2014/main" id="{A341A103-6B79-167A-F710-0964CBB812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8" y="3132"/>
                <a:ext cx="27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grpSp>
          <p:nvGrpSpPr>
            <p:cNvPr id="93" name="Group 221">
              <a:extLst>
                <a:ext uri="{FF2B5EF4-FFF2-40B4-BE49-F238E27FC236}">
                  <a16:creationId xmlns:a16="http://schemas.microsoft.com/office/drawing/2014/main" id="{A87D080F-19D8-359B-4304-CEAEA936681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98" y="3132"/>
              <a:ext cx="26" cy="26"/>
              <a:chOff x="1098" y="3132"/>
              <a:chExt cx="26" cy="26"/>
            </a:xfrm>
          </p:grpSpPr>
          <p:sp>
            <p:nvSpPr>
              <p:cNvPr id="98" name="Rectangle 219">
                <a:extLst>
                  <a:ext uri="{FF2B5EF4-FFF2-40B4-BE49-F238E27FC236}">
                    <a16:creationId xmlns:a16="http://schemas.microsoft.com/office/drawing/2014/main" id="{3E777898-5414-E658-CF88-6082380383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98" y="3132"/>
                <a:ext cx="26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99" name="Rectangle 220">
                <a:extLst>
                  <a:ext uri="{FF2B5EF4-FFF2-40B4-BE49-F238E27FC236}">
                    <a16:creationId xmlns:a16="http://schemas.microsoft.com/office/drawing/2014/main" id="{33749F3C-F61B-041B-1C0D-2C5E37E61C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98" y="3132"/>
                <a:ext cx="26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120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94" name="Rectangle 222">
              <a:extLst>
                <a:ext uri="{FF2B5EF4-FFF2-40B4-BE49-F238E27FC236}">
                  <a16:creationId xmlns:a16="http://schemas.microsoft.com/office/drawing/2014/main" id="{73E7A8E8-A2CD-D31F-C16F-5DC27BA013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5" y="3162"/>
              <a:ext cx="249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FN Motol Praha</a:t>
              </a: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95" name="Rectangle 223">
              <a:extLst>
                <a:ext uri="{FF2B5EF4-FFF2-40B4-BE49-F238E27FC236}">
                  <a16:creationId xmlns:a16="http://schemas.microsoft.com/office/drawing/2014/main" id="{EA11A1B6-F542-3979-4851-7024528F2B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7" y="3076"/>
              <a:ext cx="207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FN KV Praha</a:t>
              </a: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96" name="Rectangle 224">
              <a:extLst>
                <a:ext uri="{FF2B5EF4-FFF2-40B4-BE49-F238E27FC236}">
                  <a16:creationId xmlns:a16="http://schemas.microsoft.com/office/drawing/2014/main" id="{B7A8BBBC-CAF4-14F3-8EB8-37FE34E4E8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9" y="3215"/>
              <a:ext cx="218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KOC Praha a </a:t>
              </a: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97" name="Rectangle 225">
              <a:extLst>
                <a:ext uri="{FF2B5EF4-FFF2-40B4-BE49-F238E27FC236}">
                  <a16:creationId xmlns:a16="http://schemas.microsoft.com/office/drawing/2014/main" id="{944F4B15-E08E-7E2E-9F83-F66A3B887D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9" y="3252"/>
              <a:ext cx="273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Středočeský kraj</a:t>
              </a: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grpSp>
        <p:nvGrpSpPr>
          <p:cNvPr id="194" name="Group 235">
            <a:extLst>
              <a:ext uri="{FF2B5EF4-FFF2-40B4-BE49-F238E27FC236}">
                <a16:creationId xmlns:a16="http://schemas.microsoft.com/office/drawing/2014/main" id="{D30EE87F-8910-E389-40FA-9A1C6C4515CD}"/>
              </a:ext>
            </a:extLst>
          </p:cNvPr>
          <p:cNvGrpSpPr>
            <a:grpSpLocks/>
          </p:cNvGrpSpPr>
          <p:nvPr/>
        </p:nvGrpSpPr>
        <p:grpSpPr bwMode="auto">
          <a:xfrm>
            <a:off x="8671028" y="4937862"/>
            <a:ext cx="350838" cy="354012"/>
            <a:chOff x="536" y="3123"/>
            <a:chExt cx="221" cy="223"/>
          </a:xfrm>
        </p:grpSpPr>
        <p:pic>
          <p:nvPicPr>
            <p:cNvPr id="195" name="Picture 233">
              <a:extLst>
                <a:ext uri="{FF2B5EF4-FFF2-40B4-BE49-F238E27FC236}">
                  <a16:creationId xmlns:a16="http://schemas.microsoft.com/office/drawing/2014/main" id="{4EF2BD76-3956-FF09-F074-AEA3096875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9" y="3127"/>
              <a:ext cx="216" cy="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6" name="Rectangle 234">
              <a:extLst>
                <a:ext uri="{FF2B5EF4-FFF2-40B4-BE49-F238E27FC236}">
                  <a16:creationId xmlns:a16="http://schemas.microsoft.com/office/drawing/2014/main" id="{1338AA2A-5D47-F006-62F3-50DAD34019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" y="3123"/>
              <a:ext cx="221" cy="223"/>
            </a:xfrm>
            <a:prstGeom prst="rect">
              <a:avLst/>
            </a:prstGeom>
            <a:noFill/>
            <a:ln w="7938" cap="rnd">
              <a:solidFill>
                <a:srgbClr val="990066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sp>
        <p:nvSpPr>
          <p:cNvPr id="197" name="Rectangle 236">
            <a:extLst>
              <a:ext uri="{FF2B5EF4-FFF2-40B4-BE49-F238E27FC236}">
                <a16:creationId xmlns:a16="http://schemas.microsoft.com/office/drawing/2014/main" id="{FD7374FC-4ED6-0D62-E955-EDCBD622EF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63091" y="4931512"/>
            <a:ext cx="365125" cy="365125"/>
          </a:xfrm>
          <a:prstGeom prst="rect">
            <a:avLst/>
          </a:prstGeom>
          <a:noFill/>
          <a:ln w="31750" cap="rnd">
            <a:solidFill>
              <a:srgbClr val="9900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600" b="0" i="0" u="none" strike="noStrike" kern="120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grpSp>
        <p:nvGrpSpPr>
          <p:cNvPr id="198" name="Group 239">
            <a:extLst>
              <a:ext uri="{FF2B5EF4-FFF2-40B4-BE49-F238E27FC236}">
                <a16:creationId xmlns:a16="http://schemas.microsoft.com/office/drawing/2014/main" id="{DE3AE5EA-C82E-16E4-8063-07FC383E2178}"/>
              </a:ext>
            </a:extLst>
          </p:cNvPr>
          <p:cNvGrpSpPr>
            <a:grpSpLocks/>
          </p:cNvGrpSpPr>
          <p:nvPr/>
        </p:nvGrpSpPr>
        <p:grpSpPr bwMode="auto">
          <a:xfrm>
            <a:off x="8665140" y="4946504"/>
            <a:ext cx="350838" cy="354012"/>
            <a:chOff x="536" y="3123"/>
            <a:chExt cx="221" cy="223"/>
          </a:xfrm>
        </p:grpSpPr>
        <p:pic>
          <p:nvPicPr>
            <p:cNvPr id="199" name="Picture 237">
              <a:extLst>
                <a:ext uri="{FF2B5EF4-FFF2-40B4-BE49-F238E27FC236}">
                  <a16:creationId xmlns:a16="http://schemas.microsoft.com/office/drawing/2014/main" id="{D5FA14EB-8C29-ECC0-1360-36F44E1686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9" y="3127"/>
              <a:ext cx="216" cy="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0" name="Rectangle 238">
              <a:extLst>
                <a:ext uri="{FF2B5EF4-FFF2-40B4-BE49-F238E27FC236}">
                  <a16:creationId xmlns:a16="http://schemas.microsoft.com/office/drawing/2014/main" id="{9B30BB5D-D386-64AD-9942-AB0160B09D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" y="3123"/>
              <a:ext cx="221" cy="223"/>
            </a:xfrm>
            <a:prstGeom prst="rect">
              <a:avLst/>
            </a:prstGeom>
            <a:noFill/>
            <a:ln w="7938" cap="rnd">
              <a:solidFill>
                <a:srgbClr val="990066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sp>
        <p:nvSpPr>
          <p:cNvPr id="201" name="Rectangle 240">
            <a:extLst>
              <a:ext uri="{FF2B5EF4-FFF2-40B4-BE49-F238E27FC236}">
                <a16:creationId xmlns:a16="http://schemas.microsoft.com/office/drawing/2014/main" id="{E77D4698-90A5-B649-190D-52BD260DD7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63091" y="4931512"/>
            <a:ext cx="365125" cy="365125"/>
          </a:xfrm>
          <a:prstGeom prst="rect">
            <a:avLst/>
          </a:prstGeom>
          <a:noFill/>
          <a:ln w="31750" cap="rnd">
            <a:solidFill>
              <a:srgbClr val="9900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600" b="0" i="0" u="none" strike="noStrike" kern="120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grpSp>
        <p:nvGrpSpPr>
          <p:cNvPr id="202" name="Group 243">
            <a:extLst>
              <a:ext uri="{FF2B5EF4-FFF2-40B4-BE49-F238E27FC236}">
                <a16:creationId xmlns:a16="http://schemas.microsoft.com/office/drawing/2014/main" id="{361764F1-B1EE-8CA1-3FEB-6A2776E75C5C}"/>
              </a:ext>
            </a:extLst>
          </p:cNvPr>
          <p:cNvGrpSpPr>
            <a:grpSpLocks/>
          </p:cNvGrpSpPr>
          <p:nvPr/>
        </p:nvGrpSpPr>
        <p:grpSpPr bwMode="auto">
          <a:xfrm>
            <a:off x="8974241" y="5544287"/>
            <a:ext cx="352425" cy="354012"/>
            <a:chOff x="727" y="3505"/>
            <a:chExt cx="222" cy="223"/>
          </a:xfrm>
        </p:grpSpPr>
        <p:pic>
          <p:nvPicPr>
            <p:cNvPr id="203" name="Picture 241">
              <a:extLst>
                <a:ext uri="{FF2B5EF4-FFF2-40B4-BE49-F238E27FC236}">
                  <a16:creationId xmlns:a16="http://schemas.microsoft.com/office/drawing/2014/main" id="{0421F1E7-F2A3-E505-EAC9-7AE4A482FD6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1" y="3509"/>
              <a:ext cx="215" cy="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4" name="Rectangle 242">
              <a:extLst>
                <a:ext uri="{FF2B5EF4-FFF2-40B4-BE49-F238E27FC236}">
                  <a16:creationId xmlns:a16="http://schemas.microsoft.com/office/drawing/2014/main" id="{A98E5DF0-C187-3507-58D0-B9E26A1648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7" y="3505"/>
              <a:ext cx="222" cy="223"/>
            </a:xfrm>
            <a:prstGeom prst="rect">
              <a:avLst/>
            </a:prstGeom>
            <a:noFill/>
            <a:ln w="7938" cap="rnd">
              <a:solidFill>
                <a:srgbClr val="990066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sp>
        <p:nvSpPr>
          <p:cNvPr id="205" name="Rectangle 244">
            <a:extLst>
              <a:ext uri="{FF2B5EF4-FFF2-40B4-BE49-F238E27FC236}">
                <a16:creationId xmlns:a16="http://schemas.microsoft.com/office/drawing/2014/main" id="{3F75D48E-74D1-3585-4F75-A9A631DD35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67891" y="5537937"/>
            <a:ext cx="363538" cy="365125"/>
          </a:xfrm>
          <a:prstGeom prst="rect">
            <a:avLst/>
          </a:prstGeom>
          <a:noFill/>
          <a:ln w="31750" cap="rnd">
            <a:solidFill>
              <a:srgbClr val="9900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600" b="0" i="0" u="none" strike="noStrike" kern="120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grpSp>
        <p:nvGrpSpPr>
          <p:cNvPr id="206" name="Group 247">
            <a:extLst>
              <a:ext uri="{FF2B5EF4-FFF2-40B4-BE49-F238E27FC236}">
                <a16:creationId xmlns:a16="http://schemas.microsoft.com/office/drawing/2014/main" id="{EA9929CE-F118-3EE3-0C37-9C08549BA790}"/>
              </a:ext>
            </a:extLst>
          </p:cNvPr>
          <p:cNvGrpSpPr>
            <a:grpSpLocks/>
          </p:cNvGrpSpPr>
          <p:nvPr/>
        </p:nvGrpSpPr>
        <p:grpSpPr bwMode="auto">
          <a:xfrm>
            <a:off x="8974241" y="5544287"/>
            <a:ext cx="352425" cy="354012"/>
            <a:chOff x="727" y="3505"/>
            <a:chExt cx="222" cy="223"/>
          </a:xfrm>
        </p:grpSpPr>
        <p:pic>
          <p:nvPicPr>
            <p:cNvPr id="207" name="Picture 245">
              <a:extLst>
                <a:ext uri="{FF2B5EF4-FFF2-40B4-BE49-F238E27FC236}">
                  <a16:creationId xmlns:a16="http://schemas.microsoft.com/office/drawing/2014/main" id="{B884440B-8D6B-AC65-8402-20FD95A1CFF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1" y="3509"/>
              <a:ext cx="215" cy="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8" name="Rectangle 246">
              <a:extLst>
                <a:ext uri="{FF2B5EF4-FFF2-40B4-BE49-F238E27FC236}">
                  <a16:creationId xmlns:a16="http://schemas.microsoft.com/office/drawing/2014/main" id="{95298ED0-B7C4-9258-2700-3631D36904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7" y="3505"/>
              <a:ext cx="222" cy="223"/>
            </a:xfrm>
            <a:prstGeom prst="rect">
              <a:avLst/>
            </a:prstGeom>
            <a:noFill/>
            <a:ln w="7938" cap="rnd">
              <a:solidFill>
                <a:srgbClr val="990066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sp>
        <p:nvSpPr>
          <p:cNvPr id="209" name="Rectangle 248">
            <a:extLst>
              <a:ext uri="{FF2B5EF4-FFF2-40B4-BE49-F238E27FC236}">
                <a16:creationId xmlns:a16="http://schemas.microsoft.com/office/drawing/2014/main" id="{201CC843-1D63-A190-BEF5-36B32D815C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67891" y="5537937"/>
            <a:ext cx="363538" cy="365125"/>
          </a:xfrm>
          <a:prstGeom prst="rect">
            <a:avLst/>
          </a:prstGeom>
          <a:noFill/>
          <a:ln w="31750" cap="rnd">
            <a:solidFill>
              <a:srgbClr val="9900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600" b="0" i="0" u="none" strike="noStrike" kern="120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grpSp>
        <p:nvGrpSpPr>
          <p:cNvPr id="210" name="Group 251">
            <a:extLst>
              <a:ext uri="{FF2B5EF4-FFF2-40B4-BE49-F238E27FC236}">
                <a16:creationId xmlns:a16="http://schemas.microsoft.com/office/drawing/2014/main" id="{433B8D8F-6FD2-37D7-72BE-FF411030BDB3}"/>
              </a:ext>
            </a:extLst>
          </p:cNvPr>
          <p:cNvGrpSpPr>
            <a:grpSpLocks/>
          </p:cNvGrpSpPr>
          <p:nvPr/>
        </p:nvGrpSpPr>
        <p:grpSpPr bwMode="auto">
          <a:xfrm>
            <a:off x="9823553" y="5726849"/>
            <a:ext cx="352425" cy="354012"/>
            <a:chOff x="1262" y="3620"/>
            <a:chExt cx="222" cy="223"/>
          </a:xfrm>
        </p:grpSpPr>
        <p:pic>
          <p:nvPicPr>
            <p:cNvPr id="211" name="Picture 249">
              <a:extLst>
                <a:ext uri="{FF2B5EF4-FFF2-40B4-BE49-F238E27FC236}">
                  <a16:creationId xmlns:a16="http://schemas.microsoft.com/office/drawing/2014/main" id="{7984F00D-459B-8F3B-A130-2CB68B4010A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66" y="3624"/>
              <a:ext cx="216" cy="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2" name="Rectangle 250">
              <a:extLst>
                <a:ext uri="{FF2B5EF4-FFF2-40B4-BE49-F238E27FC236}">
                  <a16:creationId xmlns:a16="http://schemas.microsoft.com/office/drawing/2014/main" id="{E6AFF4E6-CF75-A0C7-F529-4997E59CF8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62" y="3620"/>
              <a:ext cx="222" cy="223"/>
            </a:xfrm>
            <a:prstGeom prst="rect">
              <a:avLst/>
            </a:prstGeom>
            <a:noFill/>
            <a:ln w="7938" cap="rnd">
              <a:solidFill>
                <a:srgbClr val="990066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sp>
        <p:nvSpPr>
          <p:cNvPr id="213" name="Rectangle 252">
            <a:extLst>
              <a:ext uri="{FF2B5EF4-FFF2-40B4-BE49-F238E27FC236}">
                <a16:creationId xmlns:a16="http://schemas.microsoft.com/office/drawing/2014/main" id="{B6E78170-4098-41AE-F401-262273DD17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17203" y="5720499"/>
            <a:ext cx="363538" cy="365125"/>
          </a:xfrm>
          <a:prstGeom prst="rect">
            <a:avLst/>
          </a:prstGeom>
          <a:noFill/>
          <a:ln w="31750" cap="rnd">
            <a:solidFill>
              <a:srgbClr val="9900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600" b="0" i="0" u="none" strike="noStrike" kern="120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grpSp>
        <p:nvGrpSpPr>
          <p:cNvPr id="214" name="Group 255">
            <a:extLst>
              <a:ext uri="{FF2B5EF4-FFF2-40B4-BE49-F238E27FC236}">
                <a16:creationId xmlns:a16="http://schemas.microsoft.com/office/drawing/2014/main" id="{8CEBD2B1-5AEA-FBF3-3097-086BD1175F0D}"/>
              </a:ext>
            </a:extLst>
          </p:cNvPr>
          <p:cNvGrpSpPr>
            <a:grpSpLocks/>
          </p:cNvGrpSpPr>
          <p:nvPr/>
        </p:nvGrpSpPr>
        <p:grpSpPr bwMode="auto">
          <a:xfrm>
            <a:off x="9823553" y="5726849"/>
            <a:ext cx="352425" cy="354012"/>
            <a:chOff x="1262" y="3620"/>
            <a:chExt cx="222" cy="223"/>
          </a:xfrm>
        </p:grpSpPr>
        <p:pic>
          <p:nvPicPr>
            <p:cNvPr id="215" name="Picture 253">
              <a:extLst>
                <a:ext uri="{FF2B5EF4-FFF2-40B4-BE49-F238E27FC236}">
                  <a16:creationId xmlns:a16="http://schemas.microsoft.com/office/drawing/2014/main" id="{D189DD06-0EBA-B3ED-EC58-854304EA20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66" y="3624"/>
              <a:ext cx="216" cy="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6" name="Rectangle 254">
              <a:extLst>
                <a:ext uri="{FF2B5EF4-FFF2-40B4-BE49-F238E27FC236}">
                  <a16:creationId xmlns:a16="http://schemas.microsoft.com/office/drawing/2014/main" id="{74068529-7978-43AA-4989-7BDE19F42A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62" y="3620"/>
              <a:ext cx="222" cy="223"/>
            </a:xfrm>
            <a:prstGeom prst="rect">
              <a:avLst/>
            </a:prstGeom>
            <a:noFill/>
            <a:ln w="7938" cap="rnd">
              <a:solidFill>
                <a:srgbClr val="990066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sp>
        <p:nvSpPr>
          <p:cNvPr id="217" name="Rectangle 256">
            <a:extLst>
              <a:ext uri="{FF2B5EF4-FFF2-40B4-BE49-F238E27FC236}">
                <a16:creationId xmlns:a16="http://schemas.microsoft.com/office/drawing/2014/main" id="{F4DF4D83-166B-A047-5401-C789146840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17203" y="5720499"/>
            <a:ext cx="363538" cy="365125"/>
          </a:xfrm>
          <a:prstGeom prst="rect">
            <a:avLst/>
          </a:prstGeom>
          <a:noFill/>
          <a:ln w="31750" cap="rnd">
            <a:solidFill>
              <a:srgbClr val="9900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600" b="0" i="0" u="none" strike="noStrike" kern="120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grpSp>
        <p:nvGrpSpPr>
          <p:cNvPr id="218" name="Group 259">
            <a:extLst>
              <a:ext uri="{FF2B5EF4-FFF2-40B4-BE49-F238E27FC236}">
                <a16:creationId xmlns:a16="http://schemas.microsoft.com/office/drawing/2014/main" id="{335A3954-F2D9-D8F4-B1F1-AD0D9B035F14}"/>
              </a:ext>
            </a:extLst>
          </p:cNvPr>
          <p:cNvGrpSpPr>
            <a:grpSpLocks/>
          </p:cNvGrpSpPr>
          <p:nvPr/>
        </p:nvGrpSpPr>
        <p:grpSpPr bwMode="auto">
          <a:xfrm>
            <a:off x="10857016" y="5604612"/>
            <a:ext cx="350838" cy="354012"/>
            <a:chOff x="1913" y="3543"/>
            <a:chExt cx="221" cy="223"/>
          </a:xfrm>
        </p:grpSpPr>
        <p:pic>
          <p:nvPicPr>
            <p:cNvPr id="219" name="Picture 257">
              <a:extLst>
                <a:ext uri="{FF2B5EF4-FFF2-40B4-BE49-F238E27FC236}">
                  <a16:creationId xmlns:a16="http://schemas.microsoft.com/office/drawing/2014/main" id="{371E5CBB-F3BD-D50E-C71A-B16A951663B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16" y="3547"/>
              <a:ext cx="216" cy="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0" name="Rectangle 258">
              <a:extLst>
                <a:ext uri="{FF2B5EF4-FFF2-40B4-BE49-F238E27FC236}">
                  <a16:creationId xmlns:a16="http://schemas.microsoft.com/office/drawing/2014/main" id="{278188E4-48BD-D7BD-EDBE-66F137A86A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13" y="3543"/>
              <a:ext cx="221" cy="223"/>
            </a:xfrm>
            <a:prstGeom prst="rect">
              <a:avLst/>
            </a:prstGeom>
            <a:noFill/>
            <a:ln w="7938" cap="rnd">
              <a:solidFill>
                <a:srgbClr val="990066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sp>
        <p:nvSpPr>
          <p:cNvPr id="221" name="Rectangle 260">
            <a:extLst>
              <a:ext uri="{FF2B5EF4-FFF2-40B4-BE49-F238E27FC236}">
                <a16:creationId xmlns:a16="http://schemas.microsoft.com/office/drawing/2014/main" id="{E09C6B53-5A6D-DC5C-8E68-0C729C36A9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49078" y="5598262"/>
            <a:ext cx="365125" cy="365125"/>
          </a:xfrm>
          <a:prstGeom prst="rect">
            <a:avLst/>
          </a:prstGeom>
          <a:noFill/>
          <a:ln w="31750" cap="rnd">
            <a:solidFill>
              <a:srgbClr val="9900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600" b="0" i="0" u="none" strike="noStrike" kern="120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grpSp>
        <p:nvGrpSpPr>
          <p:cNvPr id="222" name="Group 263">
            <a:extLst>
              <a:ext uri="{FF2B5EF4-FFF2-40B4-BE49-F238E27FC236}">
                <a16:creationId xmlns:a16="http://schemas.microsoft.com/office/drawing/2014/main" id="{0D53B5E9-4A7A-02B6-9146-D6B497E86371}"/>
              </a:ext>
            </a:extLst>
          </p:cNvPr>
          <p:cNvGrpSpPr>
            <a:grpSpLocks/>
          </p:cNvGrpSpPr>
          <p:nvPr/>
        </p:nvGrpSpPr>
        <p:grpSpPr bwMode="auto">
          <a:xfrm>
            <a:off x="10857016" y="5604612"/>
            <a:ext cx="350838" cy="354012"/>
            <a:chOff x="1913" y="3543"/>
            <a:chExt cx="221" cy="223"/>
          </a:xfrm>
        </p:grpSpPr>
        <p:pic>
          <p:nvPicPr>
            <p:cNvPr id="223" name="Picture 261">
              <a:extLst>
                <a:ext uri="{FF2B5EF4-FFF2-40B4-BE49-F238E27FC236}">
                  <a16:creationId xmlns:a16="http://schemas.microsoft.com/office/drawing/2014/main" id="{24FC3BC9-1A80-0BC6-E3A3-B2F9175E150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16" y="3547"/>
              <a:ext cx="216" cy="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4" name="Rectangle 262">
              <a:extLst>
                <a:ext uri="{FF2B5EF4-FFF2-40B4-BE49-F238E27FC236}">
                  <a16:creationId xmlns:a16="http://schemas.microsoft.com/office/drawing/2014/main" id="{8219F769-C8D0-8C3A-CE1F-0F974044FD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13" y="3543"/>
              <a:ext cx="221" cy="223"/>
            </a:xfrm>
            <a:prstGeom prst="rect">
              <a:avLst/>
            </a:prstGeom>
            <a:noFill/>
            <a:ln w="7938" cap="rnd">
              <a:solidFill>
                <a:srgbClr val="990066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sp>
        <p:nvSpPr>
          <p:cNvPr id="225" name="Rectangle 264">
            <a:extLst>
              <a:ext uri="{FF2B5EF4-FFF2-40B4-BE49-F238E27FC236}">
                <a16:creationId xmlns:a16="http://schemas.microsoft.com/office/drawing/2014/main" id="{BD2F38B1-4702-96F0-D61F-1A51B821B7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49078" y="5598262"/>
            <a:ext cx="365125" cy="365125"/>
          </a:xfrm>
          <a:prstGeom prst="rect">
            <a:avLst/>
          </a:prstGeom>
          <a:noFill/>
          <a:ln w="31750" cap="rnd">
            <a:solidFill>
              <a:srgbClr val="9900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600" b="0" i="0" u="none" strike="noStrike" kern="120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grpSp>
        <p:nvGrpSpPr>
          <p:cNvPr id="226" name="Group 267">
            <a:extLst>
              <a:ext uri="{FF2B5EF4-FFF2-40B4-BE49-F238E27FC236}">
                <a16:creationId xmlns:a16="http://schemas.microsoft.com/office/drawing/2014/main" id="{E9D9BA02-0FEB-F575-A76D-884E21B9B05B}"/>
              </a:ext>
            </a:extLst>
          </p:cNvPr>
          <p:cNvGrpSpPr>
            <a:grpSpLocks/>
          </p:cNvGrpSpPr>
          <p:nvPr/>
        </p:nvGrpSpPr>
        <p:grpSpPr bwMode="auto">
          <a:xfrm>
            <a:off x="10674453" y="4817212"/>
            <a:ext cx="350838" cy="352425"/>
            <a:chOff x="1798" y="3047"/>
            <a:chExt cx="221" cy="222"/>
          </a:xfrm>
        </p:grpSpPr>
        <p:pic>
          <p:nvPicPr>
            <p:cNvPr id="227" name="Picture 265">
              <a:extLst>
                <a:ext uri="{FF2B5EF4-FFF2-40B4-BE49-F238E27FC236}">
                  <a16:creationId xmlns:a16="http://schemas.microsoft.com/office/drawing/2014/main" id="{AD7BADAA-1C5C-404C-C1C2-CF15CE17A1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1" y="3051"/>
              <a:ext cx="216" cy="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8" name="Rectangle 266">
              <a:extLst>
                <a:ext uri="{FF2B5EF4-FFF2-40B4-BE49-F238E27FC236}">
                  <a16:creationId xmlns:a16="http://schemas.microsoft.com/office/drawing/2014/main" id="{01679F2B-4CD4-3303-7382-F2BB118D30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8" y="3047"/>
              <a:ext cx="221" cy="222"/>
            </a:xfrm>
            <a:prstGeom prst="rect">
              <a:avLst/>
            </a:prstGeom>
            <a:noFill/>
            <a:ln w="7938" cap="rnd">
              <a:solidFill>
                <a:srgbClr val="990066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sp>
        <p:nvSpPr>
          <p:cNvPr id="229" name="Rectangle 268">
            <a:extLst>
              <a:ext uri="{FF2B5EF4-FFF2-40B4-BE49-F238E27FC236}">
                <a16:creationId xmlns:a16="http://schemas.microsoft.com/office/drawing/2014/main" id="{E03232AD-0092-CACC-FFCD-F833AAC743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68103" y="4809274"/>
            <a:ext cx="363538" cy="365125"/>
          </a:xfrm>
          <a:prstGeom prst="rect">
            <a:avLst/>
          </a:prstGeom>
          <a:noFill/>
          <a:ln w="31750" cap="rnd">
            <a:solidFill>
              <a:srgbClr val="9900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600" b="0" i="0" u="none" strike="noStrike" kern="120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grpSp>
        <p:nvGrpSpPr>
          <p:cNvPr id="230" name="Group 271">
            <a:extLst>
              <a:ext uri="{FF2B5EF4-FFF2-40B4-BE49-F238E27FC236}">
                <a16:creationId xmlns:a16="http://schemas.microsoft.com/office/drawing/2014/main" id="{D071DA2F-1A0A-7D1B-6803-EADEB8871283}"/>
              </a:ext>
            </a:extLst>
          </p:cNvPr>
          <p:cNvGrpSpPr>
            <a:grpSpLocks/>
          </p:cNvGrpSpPr>
          <p:nvPr/>
        </p:nvGrpSpPr>
        <p:grpSpPr bwMode="auto">
          <a:xfrm>
            <a:off x="10674453" y="4817212"/>
            <a:ext cx="350838" cy="352425"/>
            <a:chOff x="1798" y="3047"/>
            <a:chExt cx="221" cy="222"/>
          </a:xfrm>
        </p:grpSpPr>
        <p:pic>
          <p:nvPicPr>
            <p:cNvPr id="231" name="Picture 269">
              <a:extLst>
                <a:ext uri="{FF2B5EF4-FFF2-40B4-BE49-F238E27FC236}">
                  <a16:creationId xmlns:a16="http://schemas.microsoft.com/office/drawing/2014/main" id="{47352B10-311E-23CA-DE8B-85E4978A97A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1" y="3051"/>
              <a:ext cx="216" cy="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2" name="Rectangle 270">
              <a:extLst>
                <a:ext uri="{FF2B5EF4-FFF2-40B4-BE49-F238E27FC236}">
                  <a16:creationId xmlns:a16="http://schemas.microsoft.com/office/drawing/2014/main" id="{905F4B6E-0A00-C2E1-BF6F-E5FDAA84DD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8" y="3047"/>
              <a:ext cx="221" cy="222"/>
            </a:xfrm>
            <a:prstGeom prst="rect">
              <a:avLst/>
            </a:prstGeom>
            <a:noFill/>
            <a:ln w="7938" cap="rnd">
              <a:solidFill>
                <a:srgbClr val="990066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sp>
        <p:nvSpPr>
          <p:cNvPr id="233" name="Rectangle 272">
            <a:extLst>
              <a:ext uri="{FF2B5EF4-FFF2-40B4-BE49-F238E27FC236}">
                <a16:creationId xmlns:a16="http://schemas.microsoft.com/office/drawing/2014/main" id="{FD51695B-F529-3A51-A6B2-600B267D57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68103" y="4809274"/>
            <a:ext cx="363538" cy="365125"/>
          </a:xfrm>
          <a:prstGeom prst="rect">
            <a:avLst/>
          </a:prstGeom>
          <a:noFill/>
          <a:ln w="31750" cap="rnd">
            <a:solidFill>
              <a:srgbClr val="9900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600" b="0" i="0" u="none" strike="noStrike" kern="120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grpSp>
        <p:nvGrpSpPr>
          <p:cNvPr id="234" name="Group 275">
            <a:extLst>
              <a:ext uri="{FF2B5EF4-FFF2-40B4-BE49-F238E27FC236}">
                <a16:creationId xmlns:a16="http://schemas.microsoft.com/office/drawing/2014/main" id="{C399614D-6987-3E98-99D0-EBDFAA6ADDD4}"/>
              </a:ext>
            </a:extLst>
          </p:cNvPr>
          <p:cNvGrpSpPr>
            <a:grpSpLocks/>
          </p:cNvGrpSpPr>
          <p:nvPr/>
        </p:nvGrpSpPr>
        <p:grpSpPr bwMode="auto">
          <a:xfrm>
            <a:off x="10006116" y="4390174"/>
            <a:ext cx="352425" cy="354012"/>
            <a:chOff x="1377" y="2778"/>
            <a:chExt cx="222" cy="223"/>
          </a:xfrm>
        </p:grpSpPr>
        <p:pic>
          <p:nvPicPr>
            <p:cNvPr id="235" name="Picture 273">
              <a:extLst>
                <a:ext uri="{FF2B5EF4-FFF2-40B4-BE49-F238E27FC236}">
                  <a16:creationId xmlns:a16="http://schemas.microsoft.com/office/drawing/2014/main" id="{0914C93B-1A64-0F67-8372-7C3A9CF99A6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81" y="2782"/>
              <a:ext cx="215" cy="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6" name="Rectangle 274">
              <a:extLst>
                <a:ext uri="{FF2B5EF4-FFF2-40B4-BE49-F238E27FC236}">
                  <a16:creationId xmlns:a16="http://schemas.microsoft.com/office/drawing/2014/main" id="{D077A5C1-3C59-E853-8D8E-5A9B812E6B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7" y="2778"/>
              <a:ext cx="222" cy="223"/>
            </a:xfrm>
            <a:prstGeom prst="rect">
              <a:avLst/>
            </a:prstGeom>
            <a:noFill/>
            <a:ln w="7938" cap="rnd">
              <a:solidFill>
                <a:srgbClr val="990066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sp>
        <p:nvSpPr>
          <p:cNvPr id="237" name="Rectangle 276">
            <a:extLst>
              <a:ext uri="{FF2B5EF4-FFF2-40B4-BE49-F238E27FC236}">
                <a16:creationId xmlns:a16="http://schemas.microsoft.com/office/drawing/2014/main" id="{C97CB9F8-41DB-FDA2-F92A-0662D9B0DA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99766" y="4383824"/>
            <a:ext cx="363538" cy="365125"/>
          </a:xfrm>
          <a:prstGeom prst="rect">
            <a:avLst/>
          </a:prstGeom>
          <a:noFill/>
          <a:ln w="31750" cap="rnd">
            <a:solidFill>
              <a:srgbClr val="9900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600" b="0" i="0" u="none" strike="noStrike" kern="120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grpSp>
        <p:nvGrpSpPr>
          <p:cNvPr id="238" name="Group 279">
            <a:extLst>
              <a:ext uri="{FF2B5EF4-FFF2-40B4-BE49-F238E27FC236}">
                <a16:creationId xmlns:a16="http://schemas.microsoft.com/office/drawing/2014/main" id="{1B9E0763-86DA-7AC8-9A43-2E235C0078D1}"/>
              </a:ext>
            </a:extLst>
          </p:cNvPr>
          <p:cNvGrpSpPr>
            <a:grpSpLocks/>
          </p:cNvGrpSpPr>
          <p:nvPr/>
        </p:nvGrpSpPr>
        <p:grpSpPr bwMode="auto">
          <a:xfrm>
            <a:off x="10006116" y="4390174"/>
            <a:ext cx="352425" cy="354012"/>
            <a:chOff x="1377" y="2778"/>
            <a:chExt cx="222" cy="223"/>
          </a:xfrm>
        </p:grpSpPr>
        <p:pic>
          <p:nvPicPr>
            <p:cNvPr id="239" name="Picture 277">
              <a:extLst>
                <a:ext uri="{FF2B5EF4-FFF2-40B4-BE49-F238E27FC236}">
                  <a16:creationId xmlns:a16="http://schemas.microsoft.com/office/drawing/2014/main" id="{24DA11D2-88B4-85A6-D8B5-CBF1DE867DE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81" y="2782"/>
              <a:ext cx="215" cy="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0" name="Rectangle 278">
              <a:extLst>
                <a:ext uri="{FF2B5EF4-FFF2-40B4-BE49-F238E27FC236}">
                  <a16:creationId xmlns:a16="http://schemas.microsoft.com/office/drawing/2014/main" id="{44A3F59E-6674-44F8-5AE3-60419EE641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7" y="2778"/>
              <a:ext cx="222" cy="223"/>
            </a:xfrm>
            <a:prstGeom prst="rect">
              <a:avLst/>
            </a:prstGeom>
            <a:noFill/>
            <a:ln w="7938" cap="rnd">
              <a:solidFill>
                <a:srgbClr val="990066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sp>
        <p:nvSpPr>
          <p:cNvPr id="241" name="Rectangle 280">
            <a:extLst>
              <a:ext uri="{FF2B5EF4-FFF2-40B4-BE49-F238E27FC236}">
                <a16:creationId xmlns:a16="http://schemas.microsoft.com/office/drawing/2014/main" id="{3D6A5472-A093-0A26-CEA8-35D66B0336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99766" y="4383824"/>
            <a:ext cx="363538" cy="365125"/>
          </a:xfrm>
          <a:prstGeom prst="rect">
            <a:avLst/>
          </a:prstGeom>
          <a:noFill/>
          <a:ln w="31750" cap="rnd">
            <a:solidFill>
              <a:srgbClr val="9900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600" b="0" i="0" u="none" strike="noStrike" kern="120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grpSp>
        <p:nvGrpSpPr>
          <p:cNvPr id="242" name="Group 283">
            <a:extLst>
              <a:ext uri="{FF2B5EF4-FFF2-40B4-BE49-F238E27FC236}">
                <a16:creationId xmlns:a16="http://schemas.microsoft.com/office/drawing/2014/main" id="{85FCBE99-8377-C099-F820-F703A079995E}"/>
              </a:ext>
            </a:extLst>
          </p:cNvPr>
          <p:cNvGrpSpPr>
            <a:grpSpLocks/>
          </p:cNvGrpSpPr>
          <p:nvPr/>
        </p:nvGrpSpPr>
        <p:grpSpPr bwMode="auto">
          <a:xfrm>
            <a:off x="9156803" y="4391762"/>
            <a:ext cx="350838" cy="354012"/>
            <a:chOff x="842" y="2779"/>
            <a:chExt cx="221" cy="223"/>
          </a:xfrm>
        </p:grpSpPr>
        <p:pic>
          <p:nvPicPr>
            <p:cNvPr id="243" name="Picture 281">
              <a:extLst>
                <a:ext uri="{FF2B5EF4-FFF2-40B4-BE49-F238E27FC236}">
                  <a16:creationId xmlns:a16="http://schemas.microsoft.com/office/drawing/2014/main" id="{1E7C0AD1-9170-6999-76FD-EF77A787F38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" y="2783"/>
              <a:ext cx="216" cy="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4" name="Rectangle 282">
              <a:extLst>
                <a:ext uri="{FF2B5EF4-FFF2-40B4-BE49-F238E27FC236}">
                  <a16:creationId xmlns:a16="http://schemas.microsoft.com/office/drawing/2014/main" id="{2DC53E57-7D4B-BB83-9D67-CC80DABB6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2" y="2779"/>
              <a:ext cx="221" cy="223"/>
            </a:xfrm>
            <a:prstGeom prst="rect">
              <a:avLst/>
            </a:prstGeom>
            <a:noFill/>
            <a:ln w="7938" cap="rnd">
              <a:solidFill>
                <a:srgbClr val="990066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sp>
        <p:nvSpPr>
          <p:cNvPr id="245" name="Rectangle 284">
            <a:extLst>
              <a:ext uri="{FF2B5EF4-FFF2-40B4-BE49-F238E27FC236}">
                <a16:creationId xmlns:a16="http://schemas.microsoft.com/office/drawing/2014/main" id="{F39A7CA9-BBF6-27D6-9EE0-D0BF84E566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48866" y="4385412"/>
            <a:ext cx="365125" cy="365125"/>
          </a:xfrm>
          <a:prstGeom prst="rect">
            <a:avLst/>
          </a:prstGeom>
          <a:noFill/>
          <a:ln w="31750" cap="rnd">
            <a:solidFill>
              <a:srgbClr val="9900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600" b="0" i="0" u="none" strike="noStrike" kern="120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grpSp>
        <p:nvGrpSpPr>
          <p:cNvPr id="246" name="Group 287">
            <a:extLst>
              <a:ext uri="{FF2B5EF4-FFF2-40B4-BE49-F238E27FC236}">
                <a16:creationId xmlns:a16="http://schemas.microsoft.com/office/drawing/2014/main" id="{BBB31A4D-A742-BB55-EBA0-A58C0B8F6C61}"/>
              </a:ext>
            </a:extLst>
          </p:cNvPr>
          <p:cNvGrpSpPr>
            <a:grpSpLocks/>
          </p:cNvGrpSpPr>
          <p:nvPr/>
        </p:nvGrpSpPr>
        <p:grpSpPr bwMode="auto">
          <a:xfrm>
            <a:off x="9156803" y="4391762"/>
            <a:ext cx="350838" cy="354012"/>
            <a:chOff x="842" y="2779"/>
            <a:chExt cx="221" cy="223"/>
          </a:xfrm>
        </p:grpSpPr>
        <p:pic>
          <p:nvPicPr>
            <p:cNvPr id="247" name="Picture 285">
              <a:extLst>
                <a:ext uri="{FF2B5EF4-FFF2-40B4-BE49-F238E27FC236}">
                  <a16:creationId xmlns:a16="http://schemas.microsoft.com/office/drawing/2014/main" id="{FA322A47-3FC0-6429-F891-9DE4AE0A036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" y="2783"/>
              <a:ext cx="216" cy="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8" name="Rectangle 286">
              <a:extLst>
                <a:ext uri="{FF2B5EF4-FFF2-40B4-BE49-F238E27FC236}">
                  <a16:creationId xmlns:a16="http://schemas.microsoft.com/office/drawing/2014/main" id="{20A77964-7AE1-85F7-5358-EA06C4446C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2" y="2779"/>
              <a:ext cx="221" cy="223"/>
            </a:xfrm>
            <a:prstGeom prst="rect">
              <a:avLst/>
            </a:prstGeom>
            <a:noFill/>
            <a:ln w="7938" cap="rnd">
              <a:solidFill>
                <a:srgbClr val="990066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cs-CZ" altLang="cs-CZ" sz="1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sp>
        <p:nvSpPr>
          <p:cNvPr id="249" name="Rectangle 288">
            <a:extLst>
              <a:ext uri="{FF2B5EF4-FFF2-40B4-BE49-F238E27FC236}">
                <a16:creationId xmlns:a16="http://schemas.microsoft.com/office/drawing/2014/main" id="{DD420122-EAEC-B59D-8BA4-51C4F745C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48866" y="4385412"/>
            <a:ext cx="365125" cy="365125"/>
          </a:xfrm>
          <a:prstGeom prst="rect">
            <a:avLst/>
          </a:prstGeom>
          <a:noFill/>
          <a:ln w="31750" cap="rnd">
            <a:solidFill>
              <a:srgbClr val="9900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600" b="0" i="0" u="none" strike="noStrike" kern="120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50" name="Text Box 20">
            <a:extLst>
              <a:ext uri="{FF2B5EF4-FFF2-40B4-BE49-F238E27FC236}">
                <a16:creationId xmlns:a16="http://schemas.microsoft.com/office/drawing/2014/main" id="{C29D918E-2535-A36A-2C0C-F616B288C8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97840" y="4975788"/>
            <a:ext cx="195203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Tx/>
              <a:buNone/>
              <a:tabLst/>
              <a:defRPr/>
            </a:pPr>
            <a:r>
              <a:rPr kumimoji="0" lang="cs-CZ" altLang="cs-CZ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Referenční sítě PZS</a:t>
            </a:r>
            <a:endParaRPr kumimoji="0" lang="cs-CZ" altLang="cs-CZ" sz="1800" b="1" i="0" u="none" strike="noStrike" kern="120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1" name="Text Box 20">
            <a:extLst>
              <a:ext uri="{FF2B5EF4-FFF2-40B4-BE49-F238E27FC236}">
                <a16:creationId xmlns:a16="http://schemas.microsoft.com/office/drawing/2014/main" id="{0E1A5EF3-A3E2-A21E-8476-8E89978AB4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0671" y="5380346"/>
            <a:ext cx="195203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Tx/>
              <a:buNone/>
              <a:tabLst/>
              <a:defRPr/>
            </a:pPr>
            <a:r>
              <a:rPr kumimoji="0" lang="cs-CZ" altLang="cs-CZ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Zdravotní pojišťovny</a:t>
            </a:r>
            <a:endParaRPr kumimoji="0" lang="cs-CZ" altLang="cs-CZ" sz="1800" b="1" i="0" u="none" strike="noStrike" kern="120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52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A166B8AC-A1F4-121D-17BE-0BE5ABAC48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2396" y="4379340"/>
            <a:ext cx="864096" cy="1060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3" name="Přímá spojnice se šipkou 252">
            <a:extLst>
              <a:ext uri="{FF2B5EF4-FFF2-40B4-BE49-F238E27FC236}">
                <a16:creationId xmlns:a16="http://schemas.microsoft.com/office/drawing/2014/main" id="{9F94088F-B5FF-0A20-BE36-403CC65BB13F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6695588" y="1772628"/>
            <a:ext cx="3074601" cy="2519087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54" name="Přímá spojnice se šipkou 253">
            <a:extLst>
              <a:ext uri="{FF2B5EF4-FFF2-40B4-BE49-F238E27FC236}">
                <a16:creationId xmlns:a16="http://schemas.microsoft.com/office/drawing/2014/main" id="{F57AA918-0752-AD38-DDAA-B55A897A4EAA}"/>
              </a:ext>
            </a:extLst>
          </p:cNvPr>
          <p:cNvCxnSpPr>
            <a:cxnSpLocks/>
          </p:cNvCxnSpPr>
          <p:nvPr/>
        </p:nvCxnSpPr>
        <p:spPr bwMode="auto">
          <a:xfrm flipH="1">
            <a:off x="3419519" y="5737308"/>
            <a:ext cx="5132205" cy="700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cxnSp>
        <p:nvCxnSpPr>
          <p:cNvPr id="255" name="Přímá spojnice se šipkou 254">
            <a:extLst>
              <a:ext uri="{FF2B5EF4-FFF2-40B4-BE49-F238E27FC236}">
                <a16:creationId xmlns:a16="http://schemas.microsoft.com/office/drawing/2014/main" id="{D5F34C58-4D80-C149-AA33-0FE28DAB7C8B}"/>
              </a:ext>
            </a:extLst>
          </p:cNvPr>
          <p:cNvCxnSpPr/>
          <p:nvPr/>
        </p:nvCxnSpPr>
        <p:spPr bwMode="auto">
          <a:xfrm flipV="1">
            <a:off x="5847948" y="1840770"/>
            <a:ext cx="1" cy="1379510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56" name="Text Box 17">
            <a:extLst>
              <a:ext uri="{FF2B5EF4-FFF2-40B4-BE49-F238E27FC236}">
                <a16:creationId xmlns:a16="http://schemas.microsoft.com/office/drawing/2014/main" id="{EC643553-1066-7B7F-9794-6DBC3099DD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04540" y="3280930"/>
            <a:ext cx="2123676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Tx/>
              <a:buNone/>
              <a:tabLst/>
              <a:defRPr/>
            </a:pPr>
            <a:r>
              <a:rPr kumimoji="0" lang="cs-CZ" altLang="cs-CZ" sz="2800" b="0" i="1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lgerian" panose="04020705040A02060702" pitchFamily="82" charset="0"/>
                <a:ea typeface="+mn-ea"/>
                <a:cs typeface="+mn-cs"/>
              </a:rPr>
              <a:t>NR-PZ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Tx/>
              <a:buNone/>
              <a:tabLst/>
              <a:defRPr/>
            </a:pPr>
            <a:r>
              <a:rPr kumimoji="0" lang="cs-CZ" altLang="cs-CZ" sz="2800" b="0" i="1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lgerian" panose="04020705040A02060702" pitchFamily="82" charset="0"/>
                <a:ea typeface="+mn-ea"/>
                <a:cs typeface="+mn-cs"/>
              </a:rPr>
              <a:t>NR-ZP</a:t>
            </a:r>
          </a:p>
        </p:txBody>
      </p:sp>
      <p:pic>
        <p:nvPicPr>
          <p:cNvPr id="257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F83D2C89-3338-9A45-A248-587D0687CE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6419" y="4263298"/>
            <a:ext cx="805410" cy="9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8" name="Ovál 257">
            <a:extLst>
              <a:ext uri="{FF2B5EF4-FFF2-40B4-BE49-F238E27FC236}">
                <a16:creationId xmlns:a16="http://schemas.microsoft.com/office/drawing/2014/main" id="{14CDB1A1-4BFF-14DF-C76B-C902E9C13FAE}"/>
              </a:ext>
            </a:extLst>
          </p:cNvPr>
          <p:cNvSpPr/>
          <p:nvPr/>
        </p:nvSpPr>
        <p:spPr bwMode="auto">
          <a:xfrm>
            <a:off x="2392980" y="3009846"/>
            <a:ext cx="2056520" cy="557587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2200" b="0" i="0" u="none" strike="noStrike" kern="1200" cap="none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59" name="TextovéPole 258">
            <a:extLst>
              <a:ext uri="{FF2B5EF4-FFF2-40B4-BE49-F238E27FC236}">
                <a16:creationId xmlns:a16="http://schemas.microsoft.com/office/drawing/2014/main" id="{5274577D-8578-1F12-7222-C9377F2FC482}"/>
              </a:ext>
            </a:extLst>
          </p:cNvPr>
          <p:cNvSpPr txBox="1"/>
          <p:nvPr/>
        </p:nvSpPr>
        <p:spPr>
          <a:xfrm>
            <a:off x="1860175" y="3088975"/>
            <a:ext cx="31683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1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z. 372</a:t>
            </a:r>
            <a:endParaRPr kumimoji="0" lang="cs-CZ" sz="2000" b="0" i="1" u="none" strike="noStrike" kern="120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60" name="Ovál 259">
            <a:extLst>
              <a:ext uri="{FF2B5EF4-FFF2-40B4-BE49-F238E27FC236}">
                <a16:creationId xmlns:a16="http://schemas.microsoft.com/office/drawing/2014/main" id="{970DA24B-8875-75CF-FB49-75FFA674BC9F}"/>
              </a:ext>
            </a:extLst>
          </p:cNvPr>
          <p:cNvSpPr/>
          <p:nvPr/>
        </p:nvSpPr>
        <p:spPr bwMode="auto">
          <a:xfrm>
            <a:off x="4552205" y="5499422"/>
            <a:ext cx="2056520" cy="446971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2200" b="0" i="0" u="none" strike="noStrike" kern="1200" cap="none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61" name="TextovéPole 260">
            <a:extLst>
              <a:ext uri="{FF2B5EF4-FFF2-40B4-BE49-F238E27FC236}">
                <a16:creationId xmlns:a16="http://schemas.microsoft.com/office/drawing/2014/main" id="{E41901E0-6B5B-D43C-E7D8-02893EE5FD5F}"/>
              </a:ext>
            </a:extLst>
          </p:cNvPr>
          <p:cNvSpPr txBox="1"/>
          <p:nvPr/>
        </p:nvSpPr>
        <p:spPr>
          <a:xfrm>
            <a:off x="4018685" y="5530146"/>
            <a:ext cx="31698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1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z. 48</a:t>
            </a:r>
            <a:endParaRPr kumimoji="0" lang="cs-CZ" sz="2000" b="0" i="1" u="none" strike="noStrike" kern="120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62" name="Ovál 261">
            <a:extLst>
              <a:ext uri="{FF2B5EF4-FFF2-40B4-BE49-F238E27FC236}">
                <a16:creationId xmlns:a16="http://schemas.microsoft.com/office/drawing/2014/main" id="{C5ECCE53-E446-3BCD-3A72-79674F46AB09}"/>
              </a:ext>
            </a:extLst>
          </p:cNvPr>
          <p:cNvSpPr/>
          <p:nvPr/>
        </p:nvSpPr>
        <p:spPr bwMode="auto">
          <a:xfrm>
            <a:off x="7540844" y="3283202"/>
            <a:ext cx="2056520" cy="557587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2200" b="0" i="0" u="none" strike="noStrike" kern="1200" cap="none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63" name="TextovéPole 262">
            <a:extLst>
              <a:ext uri="{FF2B5EF4-FFF2-40B4-BE49-F238E27FC236}">
                <a16:creationId xmlns:a16="http://schemas.microsoft.com/office/drawing/2014/main" id="{C6E5BDEA-4AF6-0C70-5A81-84591DC0CEFC}"/>
              </a:ext>
            </a:extLst>
          </p:cNvPr>
          <p:cNvSpPr txBox="1"/>
          <p:nvPr/>
        </p:nvSpPr>
        <p:spPr>
          <a:xfrm>
            <a:off x="7036788" y="3355381"/>
            <a:ext cx="31683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1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z. 372</a:t>
            </a:r>
            <a:endParaRPr kumimoji="0" lang="cs-CZ" sz="2000" b="0" i="1" u="none" strike="noStrike" kern="120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64" name="Text Box 17">
            <a:extLst>
              <a:ext uri="{FF2B5EF4-FFF2-40B4-BE49-F238E27FC236}">
                <a16:creationId xmlns:a16="http://schemas.microsoft.com/office/drawing/2014/main" id="{05E684B5-4235-8232-2C54-7CEC2AB406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3670" y="3716254"/>
            <a:ext cx="212367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Tx/>
              <a:buNone/>
              <a:tabLst/>
              <a:defRPr/>
            </a:pPr>
            <a:r>
              <a:rPr kumimoji="0" lang="cs-CZ" altLang="cs-CZ" sz="2800" b="0" i="1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lgerian" panose="04020705040A02060702" pitchFamily="82" charset="0"/>
                <a:ea typeface="+mn-ea"/>
                <a:cs typeface="+mn-cs"/>
              </a:rPr>
              <a:t>NR - HZS</a:t>
            </a:r>
          </a:p>
        </p:txBody>
      </p:sp>
      <p:sp>
        <p:nvSpPr>
          <p:cNvPr id="265" name="Text Box 17">
            <a:extLst>
              <a:ext uri="{FF2B5EF4-FFF2-40B4-BE49-F238E27FC236}">
                <a16:creationId xmlns:a16="http://schemas.microsoft.com/office/drawing/2014/main" id="{B65B3E02-31A6-1DBD-7629-ECD84AB7F9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89010" y="3596060"/>
            <a:ext cx="212367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Tx/>
              <a:buNone/>
              <a:tabLst/>
              <a:defRPr/>
            </a:pPr>
            <a:r>
              <a:rPr kumimoji="0" lang="cs-CZ" altLang="cs-CZ" sz="2800" b="0" i="1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lgerian" panose="04020705040A02060702" pitchFamily="82" charset="0"/>
                <a:ea typeface="+mn-ea"/>
                <a:cs typeface="+mn-cs"/>
              </a:rPr>
              <a:t>NR - HOSP</a:t>
            </a:r>
          </a:p>
        </p:txBody>
      </p:sp>
      <p:sp>
        <p:nvSpPr>
          <p:cNvPr id="266" name="Text Box 17">
            <a:extLst>
              <a:ext uri="{FF2B5EF4-FFF2-40B4-BE49-F238E27FC236}">
                <a16:creationId xmlns:a16="http://schemas.microsoft.com/office/drawing/2014/main" id="{54DF1ACF-E79D-B084-B09A-3D347E5BED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48475" y="6003910"/>
            <a:ext cx="212367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Tx/>
              <a:buNone/>
              <a:tabLst/>
              <a:defRPr/>
            </a:pPr>
            <a:r>
              <a:rPr kumimoji="0" lang="cs-CZ" altLang="cs-CZ" sz="2800" b="0" i="1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lgerian" panose="04020705040A02060702" pitchFamily="82" charset="0"/>
                <a:ea typeface="+mn-ea"/>
                <a:cs typeface="+mn-cs"/>
              </a:rPr>
              <a:t>CZ-DRG</a:t>
            </a:r>
          </a:p>
        </p:txBody>
      </p:sp>
      <p:sp>
        <p:nvSpPr>
          <p:cNvPr id="267" name="Nadpis 1">
            <a:extLst>
              <a:ext uri="{FF2B5EF4-FFF2-40B4-BE49-F238E27FC236}">
                <a16:creationId xmlns:a16="http://schemas.microsoft.com/office/drawing/2014/main" id="{6A162AA7-4C4A-F814-8104-D4635B17CBED}"/>
              </a:ext>
            </a:extLst>
          </p:cNvPr>
          <p:cNvSpPr txBox="1">
            <a:spLocks/>
          </p:cNvSpPr>
          <p:nvPr/>
        </p:nvSpPr>
        <p:spPr>
          <a:xfrm>
            <a:off x="7842391" y="1158903"/>
            <a:ext cx="4080926" cy="17554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C22728"/>
                </a:solidFill>
                <a:effectLst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…… včetně legislativního zázemí </a:t>
            </a:r>
          </a:p>
        </p:txBody>
      </p:sp>
      <p:sp>
        <p:nvSpPr>
          <p:cNvPr id="268" name="Obdélník 267">
            <a:extLst>
              <a:ext uri="{FF2B5EF4-FFF2-40B4-BE49-F238E27FC236}">
                <a16:creationId xmlns:a16="http://schemas.microsoft.com/office/drawing/2014/main" id="{2384C62C-2C86-E691-D0EB-66CC852342F1}"/>
              </a:ext>
            </a:extLst>
          </p:cNvPr>
          <p:cNvSpPr/>
          <p:nvPr/>
        </p:nvSpPr>
        <p:spPr>
          <a:xfrm>
            <a:off x="2672127" y="4046795"/>
            <a:ext cx="2333631" cy="369332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uLnTx/>
                <a:uFillTx/>
                <a:latin typeface="Trebuchet MS"/>
                <a:ea typeface="+mn-ea"/>
                <a:cs typeface="+mn-cs"/>
              </a:rPr>
              <a:t>Personální kapacity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innerShdw blurRad="63500" dist="50800" dir="16200000">
                  <a:prstClr val="black">
                    <a:alpha val="50000"/>
                  </a:prstClr>
                </a:innerShdw>
              </a:effectLst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69" name="Obdélník 268">
            <a:extLst>
              <a:ext uri="{FF2B5EF4-FFF2-40B4-BE49-F238E27FC236}">
                <a16:creationId xmlns:a16="http://schemas.microsoft.com/office/drawing/2014/main" id="{0E7331C2-73F5-454E-070A-779510ECDEC0}"/>
              </a:ext>
            </a:extLst>
          </p:cNvPr>
          <p:cNvSpPr/>
          <p:nvPr/>
        </p:nvSpPr>
        <p:spPr>
          <a:xfrm>
            <a:off x="3397258" y="4719185"/>
            <a:ext cx="1822506" cy="369332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uLnTx/>
                <a:uFillTx/>
                <a:latin typeface="Trebuchet MS"/>
                <a:ea typeface="+mn-ea"/>
                <a:cs typeface="+mn-cs"/>
              </a:rPr>
              <a:t>Poskytovatelé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innerShdw blurRad="63500" dist="50800" dir="16200000">
                  <a:prstClr val="black">
                    <a:alpha val="50000"/>
                  </a:prstClr>
                </a:innerShdw>
              </a:effectLst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70" name="Obdélník 269">
            <a:extLst>
              <a:ext uri="{FF2B5EF4-FFF2-40B4-BE49-F238E27FC236}">
                <a16:creationId xmlns:a16="http://schemas.microsoft.com/office/drawing/2014/main" id="{7E67DAD9-ED07-CB15-6E5A-4547C8E3F034}"/>
              </a:ext>
            </a:extLst>
          </p:cNvPr>
          <p:cNvSpPr/>
          <p:nvPr/>
        </p:nvSpPr>
        <p:spPr>
          <a:xfrm>
            <a:off x="135523" y="3212381"/>
            <a:ext cx="1822506" cy="369332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uLnTx/>
                <a:uFillTx/>
                <a:latin typeface="Trebuchet MS"/>
                <a:ea typeface="+mn-ea"/>
                <a:cs typeface="+mn-cs"/>
              </a:rPr>
              <a:t>Vykázaná péče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innerShdw blurRad="63500" dist="50800" dir="16200000">
                  <a:prstClr val="black">
                    <a:alpha val="50000"/>
                  </a:prstClr>
                </a:innerShdw>
              </a:effectLst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71" name="Obdélník 270">
            <a:extLst>
              <a:ext uri="{FF2B5EF4-FFF2-40B4-BE49-F238E27FC236}">
                <a16:creationId xmlns:a16="http://schemas.microsoft.com/office/drawing/2014/main" id="{D1D6566D-C931-FC50-2181-49A026EFA6DF}"/>
              </a:ext>
            </a:extLst>
          </p:cNvPr>
          <p:cNvSpPr/>
          <p:nvPr/>
        </p:nvSpPr>
        <p:spPr>
          <a:xfrm>
            <a:off x="9295385" y="6299183"/>
            <a:ext cx="2220340" cy="369332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uLnTx/>
                <a:uFillTx/>
                <a:latin typeface="Trebuchet MS"/>
                <a:ea typeface="+mn-ea"/>
                <a:cs typeface="+mn-cs"/>
              </a:rPr>
              <a:t>Zátěž nemocnic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innerShdw blurRad="63500" dist="50800" dir="16200000">
                  <a:prstClr val="black">
                    <a:alpha val="50000"/>
                  </a:prstClr>
                </a:innerShdw>
              </a:effectLst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72" name="Ovál 271">
            <a:extLst>
              <a:ext uri="{FF2B5EF4-FFF2-40B4-BE49-F238E27FC236}">
                <a16:creationId xmlns:a16="http://schemas.microsoft.com/office/drawing/2014/main" id="{11EDA6F7-F1D1-1FD7-8C28-E179AD7D821A}"/>
              </a:ext>
            </a:extLst>
          </p:cNvPr>
          <p:cNvSpPr/>
          <p:nvPr/>
        </p:nvSpPr>
        <p:spPr bwMode="auto">
          <a:xfrm>
            <a:off x="7331603" y="450783"/>
            <a:ext cx="2056520" cy="557587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2200" b="0" i="0" u="none" strike="noStrike" kern="1200" cap="none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73" name="TextovéPole 272">
            <a:extLst>
              <a:ext uri="{FF2B5EF4-FFF2-40B4-BE49-F238E27FC236}">
                <a16:creationId xmlns:a16="http://schemas.microsoft.com/office/drawing/2014/main" id="{EA739438-1C60-568C-F171-EB8F3604034B}"/>
              </a:ext>
            </a:extLst>
          </p:cNvPr>
          <p:cNvSpPr txBox="1"/>
          <p:nvPr/>
        </p:nvSpPr>
        <p:spPr>
          <a:xfrm>
            <a:off x="6798798" y="529912"/>
            <a:ext cx="31683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1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z. 325</a:t>
            </a:r>
            <a:endParaRPr kumimoji="0" lang="cs-CZ" sz="2000" b="0" i="1" u="none" strike="noStrike" kern="120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74" name="Obdélník 273">
            <a:extLst>
              <a:ext uri="{FF2B5EF4-FFF2-40B4-BE49-F238E27FC236}">
                <a16:creationId xmlns:a16="http://schemas.microsoft.com/office/drawing/2014/main" id="{8E09C66D-BD2A-930B-179C-2B2A5692D6DD}"/>
              </a:ext>
            </a:extLst>
          </p:cNvPr>
          <p:cNvSpPr/>
          <p:nvPr/>
        </p:nvSpPr>
        <p:spPr>
          <a:xfrm>
            <a:off x="7028233" y="4252149"/>
            <a:ext cx="2056520" cy="369332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uLnTx/>
                <a:uFillTx/>
                <a:latin typeface="Trebuchet MS"/>
                <a:ea typeface="+mn-ea"/>
                <a:cs typeface="+mn-cs"/>
              </a:rPr>
              <a:t>Ekonomika péče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innerShdw blurRad="63500" dist="50800" dir="16200000">
                  <a:prstClr val="black">
                    <a:alpha val="50000"/>
                  </a:prstClr>
                </a:innerShdw>
              </a:effectLst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802336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235622"/>
            <a:ext cx="11664778" cy="573989"/>
          </a:xfrm>
        </p:spPr>
        <p:txBody>
          <a:bodyPr anchor="t">
            <a:normAutofit/>
          </a:bodyPr>
          <a:lstStyle/>
          <a:p>
            <a:r>
              <a:rPr lang="cs-CZ" sz="2800" dirty="0"/>
              <a:t>Sebevražednost </a:t>
            </a:r>
            <a:r>
              <a:rPr lang="cs-CZ" sz="2800" u="sng" dirty="0"/>
              <a:t>dětí a mladistvých </a:t>
            </a:r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0E4BE4BE-3E2C-528E-129D-086AAC9C088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8000" y="665785"/>
            <a:ext cx="116431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Databáze zemřelých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zemřelých s vykázanou vnější příčinou nemocnosti a úmrtnosti X60-X84 Úmyslné sebepoškození, na 100 000 obyvatel. </a:t>
            </a: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FA26F477-0069-A691-804D-3C557045D1AB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486884" y="1703947"/>
          <a:ext cx="3933012" cy="4545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5" name="Obdélník 3">
            <a:extLst>
              <a:ext uri="{FF2B5EF4-FFF2-40B4-BE49-F238E27FC236}">
                <a16:creationId xmlns:a16="http://schemas.microsoft.com/office/drawing/2014/main" id="{052FAB3E-0294-99A4-43FD-46C71CF580F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63459" y="1415413"/>
            <a:ext cx="4879093" cy="5231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zemřelých dětí a mladistvých v roce 2023 </a:t>
            </a:r>
            <a:b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 100 tisíc obyvatel</a:t>
            </a:r>
          </a:p>
        </p:txBody>
      </p:sp>
      <p:sp>
        <p:nvSpPr>
          <p:cNvPr id="7" name="TextBox 2">
            <a:extLst>
              <a:ext uri="{FF2B5EF4-FFF2-40B4-BE49-F238E27FC236}">
                <a16:creationId xmlns:a16="http://schemas.microsoft.com/office/drawing/2014/main" id="{9076C295-9109-FDAA-7076-6ADDD381D2C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240366" y="1663824"/>
            <a:ext cx="57179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počtu zemřelých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ětí a mladistvých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 přepočtu na 100 tisíc obyvatel</a:t>
            </a:r>
            <a:endParaRPr kumimoji="0" lang="cs-CZ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8ABECF1D-96E0-E836-7941-5DD53394B2BA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6046179" y="2270859"/>
          <a:ext cx="5551121" cy="2630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1090C167-2B2D-9BB4-44C0-554A6E8E8154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4515221" y="1938550"/>
          <a:ext cx="999869" cy="4222477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999869">
                  <a:extLst>
                    <a:ext uri="{9D8B030D-6E8A-4147-A177-3AD203B41FA5}">
                      <a16:colId xmlns:a16="http://schemas.microsoft.com/office/drawing/2014/main" val="2874764292"/>
                    </a:ext>
                  </a:extLst>
                </a:gridCol>
              </a:tblGrid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298539376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842846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986670882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334283177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670791503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073776045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050666527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92849968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109903132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804707030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366958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11285122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42976251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86990964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842291403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628010984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043920033"/>
                  </a:ext>
                </a:extLst>
              </a:tr>
            </a:tbl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4CD2C327-6E6D-27C2-B5AD-AAF293673D92}"/>
              </a:ext>
            </a:extLst>
          </p:cNvPr>
          <p:cNvSpPr txBox="1"/>
          <p:nvPr/>
        </p:nvSpPr>
        <p:spPr>
          <a:xfrm>
            <a:off x="502927" y="3906247"/>
            <a:ext cx="5012164" cy="276999"/>
          </a:xfrm>
          <a:prstGeom prst="rect">
            <a:avLst/>
          </a:prstGeom>
          <a:noFill/>
          <a:ln w="2222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cs-CZ" sz="1200" dirty="0"/>
          </a:p>
        </p:txBody>
      </p:sp>
    </p:spTree>
    <p:extLst>
      <p:ext uri="{BB962C8B-B14F-4D97-AF65-F5344CB8AC3E}">
        <p14:creationId xmlns:p14="http://schemas.microsoft.com/office/powerpoint/2010/main" val="383293353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63611" y="235622"/>
            <a:ext cx="11664778" cy="573989"/>
          </a:xfrm>
        </p:spPr>
        <p:txBody>
          <a:bodyPr anchor="t">
            <a:normAutofit/>
          </a:bodyPr>
          <a:lstStyle/>
          <a:p>
            <a:r>
              <a:rPr lang="cs-CZ" sz="2800" dirty="0"/>
              <a:t>Sebevražednost osob </a:t>
            </a:r>
            <a:r>
              <a:rPr lang="cs-CZ" sz="2800" u="sng" dirty="0"/>
              <a:t>20–64 let </a:t>
            </a:r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0E4BE4BE-3E2C-528E-129D-086AAC9C088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88000" y="665785"/>
            <a:ext cx="116431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Databáze zemřelých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zemřelých s vykázanou vnější příčinou nemocnosti a úmrtnosti X60-X84 Úmyslné sebepoškození, na 100 000 obyvatel. </a:t>
            </a: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FA26F477-0069-A691-804D-3C557045D1AB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486884" y="1703947"/>
          <a:ext cx="3933012" cy="4545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5" name="Obdélník 3">
            <a:extLst>
              <a:ext uri="{FF2B5EF4-FFF2-40B4-BE49-F238E27FC236}">
                <a16:creationId xmlns:a16="http://schemas.microsoft.com/office/drawing/2014/main" id="{052FAB3E-0294-99A4-43FD-46C71CF580F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63459" y="1415413"/>
            <a:ext cx="4879093" cy="5231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zemřelých osob 20–64 let v roce 2023 </a:t>
            </a:r>
            <a:b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 100 tisíc obyvatel</a:t>
            </a:r>
          </a:p>
        </p:txBody>
      </p:sp>
      <p:sp>
        <p:nvSpPr>
          <p:cNvPr id="7" name="TextBox 2">
            <a:extLst>
              <a:ext uri="{FF2B5EF4-FFF2-40B4-BE49-F238E27FC236}">
                <a16:creationId xmlns:a16="http://schemas.microsoft.com/office/drawing/2014/main" id="{9076C295-9109-FDAA-7076-6ADDD381D2C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240366" y="1663824"/>
            <a:ext cx="57179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počtu zemřelých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20–64 let 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řepočtu na 100 tisíc obyvatel</a:t>
            </a:r>
            <a:endParaRPr kumimoji="0" lang="cs-CZ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8ABECF1D-96E0-E836-7941-5DD53394B2BA}"/>
              </a:ext>
            </a:extLst>
          </p:cNvPr>
          <p:cNvGraphicFramePr/>
          <p:nvPr>
            <p:custDataLst>
              <p:tags r:id="rId7"/>
            </p:custDataLst>
          </p:nvPr>
        </p:nvGraphicFramePr>
        <p:xfrm>
          <a:off x="6046179" y="2270859"/>
          <a:ext cx="5551121" cy="2630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1090C167-2B2D-9BB4-44C0-554A6E8E8154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4515221" y="1938550"/>
          <a:ext cx="999869" cy="4222477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999869">
                  <a:extLst>
                    <a:ext uri="{9D8B030D-6E8A-4147-A177-3AD203B41FA5}">
                      <a16:colId xmlns:a16="http://schemas.microsoft.com/office/drawing/2014/main" val="2874764292"/>
                    </a:ext>
                  </a:extLst>
                </a:gridCol>
              </a:tblGrid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298539376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842846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986670882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334283177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670791503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073776045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050666527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92849968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109903132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804707030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366958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4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11285122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42976251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86990964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842291403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628010984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043920033"/>
                  </a:ext>
                </a:extLst>
              </a:tr>
            </a:tbl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4CD2C327-6E6D-27C2-B5AD-AAF293673D92}"/>
              </a:ext>
            </a:extLst>
          </p:cNvPr>
          <p:cNvSpPr txBox="1"/>
          <p:nvPr/>
        </p:nvSpPr>
        <p:spPr>
          <a:xfrm>
            <a:off x="502927" y="4411570"/>
            <a:ext cx="5012164" cy="276999"/>
          </a:xfrm>
          <a:prstGeom prst="rect">
            <a:avLst/>
          </a:prstGeom>
          <a:noFill/>
          <a:ln w="2222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cs-CZ" sz="1200" dirty="0"/>
          </a:p>
        </p:txBody>
      </p:sp>
    </p:spTree>
    <p:extLst>
      <p:ext uri="{BB962C8B-B14F-4D97-AF65-F5344CB8AC3E}">
        <p14:creationId xmlns:p14="http://schemas.microsoft.com/office/powerpoint/2010/main" val="4020832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235622"/>
            <a:ext cx="11664778" cy="573989"/>
          </a:xfrm>
        </p:spPr>
        <p:txBody>
          <a:bodyPr anchor="t">
            <a:normAutofit/>
          </a:bodyPr>
          <a:lstStyle/>
          <a:p>
            <a:r>
              <a:rPr lang="cs-CZ" sz="2800" b="1" dirty="0">
                <a:latin typeface="+mn-lt"/>
                <a:ea typeface="+mn-ea"/>
                <a:cs typeface="+mn-cs"/>
              </a:rPr>
              <a:t>Sebevražednost osob </a:t>
            </a:r>
            <a:r>
              <a:rPr lang="cs-CZ" sz="2800" b="1" u="sng" dirty="0">
                <a:latin typeface="+mn-lt"/>
                <a:ea typeface="+mn-ea"/>
                <a:cs typeface="+mn-cs"/>
              </a:rPr>
              <a:t>65+ let </a:t>
            </a:r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0E4BE4BE-3E2C-528E-129D-086AAC9C088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8000" y="665785"/>
            <a:ext cx="116431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Databáze zemřelých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zemřelých s vykázanou vnější příčinou nemocnosti a úmrtnosti X60-X84 Úmyslné sebepoškození, na 100 000 obyvatel. </a:t>
            </a: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FA26F477-0069-A691-804D-3C557045D1AB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486884" y="1703947"/>
          <a:ext cx="3933012" cy="4545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5" name="Obdélník 3">
            <a:extLst>
              <a:ext uri="{FF2B5EF4-FFF2-40B4-BE49-F238E27FC236}">
                <a16:creationId xmlns:a16="http://schemas.microsoft.com/office/drawing/2014/main" id="{052FAB3E-0294-99A4-43FD-46C71CF580F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63459" y="1415413"/>
            <a:ext cx="4879093" cy="5231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zemřelých osob 65+ let v roce 2023 </a:t>
            </a:r>
            <a:b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 100 tisíc obyvatel</a:t>
            </a:r>
          </a:p>
        </p:txBody>
      </p:sp>
      <p:sp>
        <p:nvSpPr>
          <p:cNvPr id="7" name="TextBox 2">
            <a:extLst>
              <a:ext uri="{FF2B5EF4-FFF2-40B4-BE49-F238E27FC236}">
                <a16:creationId xmlns:a16="http://schemas.microsoft.com/office/drawing/2014/main" id="{9076C295-9109-FDAA-7076-6ADDD381D2C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240366" y="1663824"/>
            <a:ext cx="57179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počtu zemřelých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65+ let 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řepočtu na 100 tisíc obyvatel</a:t>
            </a:r>
            <a:endParaRPr kumimoji="0" lang="cs-CZ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8ABECF1D-96E0-E836-7941-5DD53394B2BA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6046179" y="2270859"/>
          <a:ext cx="5551121" cy="2630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1090C167-2B2D-9BB4-44C0-554A6E8E8154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4515221" y="1938550"/>
          <a:ext cx="999869" cy="4222477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999869">
                  <a:extLst>
                    <a:ext uri="{9D8B030D-6E8A-4147-A177-3AD203B41FA5}">
                      <a16:colId xmlns:a16="http://schemas.microsoft.com/office/drawing/2014/main" val="2874764292"/>
                    </a:ext>
                  </a:extLst>
                </a:gridCol>
              </a:tblGrid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298539376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842846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986670882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334283177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670791503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073776045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050666527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92849968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109903132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804707030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366958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11285122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42976251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86990964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842291403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628010984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043920033"/>
                  </a:ext>
                </a:extLst>
              </a:tr>
            </a:tbl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4CD2C327-6E6D-27C2-B5AD-AAF293673D92}"/>
              </a:ext>
            </a:extLst>
          </p:cNvPr>
          <p:cNvSpPr txBox="1"/>
          <p:nvPr/>
        </p:nvSpPr>
        <p:spPr>
          <a:xfrm>
            <a:off x="502927" y="3641554"/>
            <a:ext cx="5012164" cy="276999"/>
          </a:xfrm>
          <a:prstGeom prst="rect">
            <a:avLst/>
          </a:prstGeom>
          <a:noFill/>
          <a:ln w="2222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cs-CZ" sz="1200" dirty="0"/>
          </a:p>
        </p:txBody>
      </p:sp>
    </p:spTree>
    <p:extLst>
      <p:ext uri="{BB962C8B-B14F-4D97-AF65-F5344CB8AC3E}">
        <p14:creationId xmlns:p14="http://schemas.microsoft.com/office/powerpoint/2010/main" val="408413175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235622"/>
            <a:ext cx="11664778" cy="573989"/>
          </a:xfrm>
        </p:spPr>
        <p:txBody>
          <a:bodyPr anchor="t">
            <a:normAutofit/>
          </a:bodyPr>
          <a:lstStyle/>
          <a:p>
            <a:r>
              <a:rPr lang="cs-CZ" sz="2800" b="1" dirty="0">
                <a:latin typeface="+mn-lt"/>
                <a:ea typeface="+mn-ea"/>
                <a:cs typeface="+mn-cs"/>
              </a:rPr>
              <a:t>Hospitalizace po pokusu o sebevraždu </a:t>
            </a:r>
            <a:r>
              <a:rPr lang="cs-CZ" sz="2800" b="1" u="sng" dirty="0">
                <a:latin typeface="+mn-lt"/>
                <a:ea typeface="+mn-ea"/>
                <a:cs typeface="+mn-cs"/>
              </a:rPr>
              <a:t>dětí a mladistvých </a:t>
            </a:r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0E4BE4BE-3E2C-528E-129D-086AAC9C088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8000" y="665785"/>
            <a:ext cx="116431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 Národní registr hrazených zdravotních služeb (NRHZS)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hospitalizovaných pacientů s vykázanou vnější příčinou nemocnosti a úmrtnosti X60-X84 Úmyslné sebepoškození</a:t>
            </a: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FA26F477-0069-A691-804D-3C557045D1AB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486884" y="1703947"/>
          <a:ext cx="3933012" cy="4545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5" name="Obdélník 3">
            <a:extLst>
              <a:ext uri="{FF2B5EF4-FFF2-40B4-BE49-F238E27FC236}">
                <a16:creationId xmlns:a16="http://schemas.microsoft.com/office/drawing/2014/main" id="{052FAB3E-0294-99A4-43FD-46C71CF580F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66274" y="1415413"/>
            <a:ext cx="437627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hospitalizací po </a:t>
            </a:r>
            <a:r>
              <a:rPr lang="cs-CZ" sz="1400" b="1" dirty="0">
                <a:solidFill>
                  <a:srgbClr val="000000"/>
                </a:solidFill>
                <a:latin typeface="Calibri" panose="020F0502020204030204"/>
              </a:rPr>
              <a:t>pokusu o sebevraždu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ětí a mladistvých v roce 2023 na 100 tisíc obyvatel</a:t>
            </a:r>
          </a:p>
        </p:txBody>
      </p:sp>
      <p:sp>
        <p:nvSpPr>
          <p:cNvPr id="7" name="TextBox 2">
            <a:extLst>
              <a:ext uri="{FF2B5EF4-FFF2-40B4-BE49-F238E27FC236}">
                <a16:creationId xmlns:a16="http://schemas.microsoft.com/office/drawing/2014/main" id="{9076C295-9109-FDAA-7076-6ADDD381D2C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938214" y="1663824"/>
            <a:ext cx="413772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počtu hospitalizací po </a:t>
            </a:r>
            <a:r>
              <a:rPr lang="cs-CZ" sz="1400" b="1" dirty="0">
                <a:solidFill>
                  <a:srgbClr val="000000"/>
                </a:solidFill>
                <a:latin typeface="Calibri" panose="020F0502020204030204"/>
              </a:rPr>
              <a:t>pokusu o sebevraždu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ětí a mladistvých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 přepočtu na 100 tisíc obyvatel</a:t>
            </a:r>
            <a:endParaRPr kumimoji="0" lang="cs-CZ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8ABECF1D-96E0-E836-7941-5DD53394B2BA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6046179" y="2270859"/>
          <a:ext cx="5551121" cy="2630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1090C167-2B2D-9BB4-44C0-554A6E8E8154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4515221" y="1938550"/>
          <a:ext cx="999869" cy="4222477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999869">
                  <a:extLst>
                    <a:ext uri="{9D8B030D-6E8A-4147-A177-3AD203B41FA5}">
                      <a16:colId xmlns:a16="http://schemas.microsoft.com/office/drawing/2014/main" val="2874764292"/>
                    </a:ext>
                  </a:extLst>
                </a:gridCol>
              </a:tblGrid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298539376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842846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986670882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334283177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670791503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073776045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050666527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92849968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109903132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804707030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3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366958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11285122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42976251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86990964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842291403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628010984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043920033"/>
                  </a:ext>
                </a:extLst>
              </a:tr>
            </a:tbl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4CD2C327-6E6D-27C2-B5AD-AAF293673D92}"/>
              </a:ext>
            </a:extLst>
          </p:cNvPr>
          <p:cNvSpPr txBox="1"/>
          <p:nvPr/>
        </p:nvSpPr>
        <p:spPr>
          <a:xfrm>
            <a:off x="502927" y="4162919"/>
            <a:ext cx="5012164" cy="276999"/>
          </a:xfrm>
          <a:prstGeom prst="rect">
            <a:avLst/>
          </a:prstGeom>
          <a:noFill/>
          <a:ln w="2222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cs-CZ" sz="1200" dirty="0"/>
          </a:p>
        </p:txBody>
      </p:sp>
    </p:spTree>
    <p:extLst>
      <p:ext uri="{BB962C8B-B14F-4D97-AF65-F5344CB8AC3E}">
        <p14:creationId xmlns:p14="http://schemas.microsoft.com/office/powerpoint/2010/main" val="145123381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235622"/>
            <a:ext cx="11664778" cy="573989"/>
          </a:xfrm>
        </p:spPr>
        <p:txBody>
          <a:bodyPr anchor="t">
            <a:normAutofit/>
          </a:bodyPr>
          <a:lstStyle/>
          <a:p>
            <a:r>
              <a:rPr lang="cs-CZ" sz="2800" b="1" dirty="0">
                <a:latin typeface="+mn-lt"/>
                <a:ea typeface="+mn-ea"/>
                <a:cs typeface="+mn-cs"/>
              </a:rPr>
              <a:t>Hospitalizace po pokusu o sebevraždu pacientů </a:t>
            </a:r>
            <a:r>
              <a:rPr lang="cs-CZ" sz="2800" b="1" u="sng" dirty="0">
                <a:latin typeface="+mn-lt"/>
                <a:ea typeface="+mn-ea"/>
                <a:cs typeface="+mn-cs"/>
              </a:rPr>
              <a:t>20–64 let </a:t>
            </a:r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0E4BE4BE-3E2C-528E-129D-086AAC9C088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8000" y="665785"/>
            <a:ext cx="116431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 Národní registr hrazených zdravotních služeb (NRHZS)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hospitalizovaných pacientů s vykázanou vnější příčinou nemocnosti a úmrtnosti X60-X84 Úmyslné sebepoškození</a:t>
            </a: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FA26F477-0069-A691-804D-3C557045D1AB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486884" y="1703947"/>
          <a:ext cx="3933012" cy="4545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8ABECF1D-96E0-E836-7941-5DD53394B2BA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046179" y="2270859"/>
          <a:ext cx="5551121" cy="2630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1090C167-2B2D-9BB4-44C0-554A6E8E8154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4515221" y="1938550"/>
          <a:ext cx="999869" cy="4222477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999869">
                  <a:extLst>
                    <a:ext uri="{9D8B030D-6E8A-4147-A177-3AD203B41FA5}">
                      <a16:colId xmlns:a16="http://schemas.microsoft.com/office/drawing/2014/main" val="2874764292"/>
                    </a:ext>
                  </a:extLst>
                </a:gridCol>
              </a:tblGrid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298539376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842846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986670882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334283177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670791503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073776045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050666527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99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92849968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109903132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804707030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366958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11285122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42976251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86990964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842291403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628010984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043920033"/>
                  </a:ext>
                </a:extLst>
              </a:tr>
            </a:tbl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4CD2C327-6E6D-27C2-B5AD-AAF293673D92}"/>
              </a:ext>
            </a:extLst>
          </p:cNvPr>
          <p:cNvSpPr txBox="1"/>
          <p:nvPr/>
        </p:nvSpPr>
        <p:spPr>
          <a:xfrm>
            <a:off x="502927" y="3400924"/>
            <a:ext cx="5012164" cy="276999"/>
          </a:xfrm>
          <a:prstGeom prst="rect">
            <a:avLst/>
          </a:prstGeom>
          <a:noFill/>
          <a:ln w="2222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cs-CZ" sz="1200" dirty="0"/>
          </a:p>
        </p:txBody>
      </p:sp>
      <p:sp>
        <p:nvSpPr>
          <p:cNvPr id="3" name="Obdélník 3">
            <a:extLst>
              <a:ext uri="{FF2B5EF4-FFF2-40B4-BE49-F238E27FC236}">
                <a16:creationId xmlns:a16="http://schemas.microsoft.com/office/drawing/2014/main" id="{10F594F5-20E3-2D4C-908F-8B6F303E2E03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66274" y="1415413"/>
            <a:ext cx="429126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hospitalizací po </a:t>
            </a:r>
            <a:r>
              <a:rPr lang="cs-CZ" sz="1400" b="1" dirty="0">
                <a:solidFill>
                  <a:srgbClr val="000000"/>
                </a:solidFill>
                <a:latin typeface="Calibri" panose="020F0502020204030204"/>
              </a:rPr>
              <a:t>pokusu o sebevraždu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acientů 20–64 let v roce 2023 na 100 tisíc obyvatel</a:t>
            </a:r>
          </a:p>
        </p:txBody>
      </p:sp>
      <p:sp>
        <p:nvSpPr>
          <p:cNvPr id="6" name="TextBox 2">
            <a:extLst>
              <a:ext uri="{FF2B5EF4-FFF2-40B4-BE49-F238E27FC236}">
                <a16:creationId xmlns:a16="http://schemas.microsoft.com/office/drawing/2014/main" id="{DBED638B-0459-F72B-7D81-A090EEF08EE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938214" y="1663824"/>
            <a:ext cx="413772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počtu hospitalizací po </a:t>
            </a:r>
            <a:r>
              <a:rPr lang="cs-CZ" sz="1400" b="1" dirty="0">
                <a:solidFill>
                  <a:srgbClr val="000000"/>
                </a:solidFill>
                <a:latin typeface="Calibri" panose="020F0502020204030204"/>
              </a:rPr>
              <a:t>pokusu o sebevraždu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ů 20–64 let 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řepočtu na 100 tisíc obyvatel</a:t>
            </a:r>
            <a:endParaRPr kumimoji="0" lang="cs-CZ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193581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235622"/>
            <a:ext cx="11664778" cy="573989"/>
          </a:xfrm>
        </p:spPr>
        <p:txBody>
          <a:bodyPr anchor="t">
            <a:normAutofit/>
          </a:bodyPr>
          <a:lstStyle/>
          <a:p>
            <a:r>
              <a:rPr lang="cs-CZ" sz="2800" b="1" dirty="0">
                <a:latin typeface="+mn-lt"/>
                <a:ea typeface="+mn-ea"/>
                <a:cs typeface="+mn-cs"/>
              </a:rPr>
              <a:t>Hospitalizace po pokusu o sebevraždu pacientů </a:t>
            </a:r>
            <a:r>
              <a:rPr lang="cs-CZ" sz="2800" b="1" u="sng" dirty="0">
                <a:latin typeface="+mn-lt"/>
                <a:ea typeface="+mn-ea"/>
                <a:cs typeface="+mn-cs"/>
              </a:rPr>
              <a:t>65+ let </a:t>
            </a:r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0E4BE4BE-3E2C-528E-129D-086AAC9C088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8000" y="665785"/>
            <a:ext cx="116431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 Národní registr hrazených zdravotních služeb (NRHZS)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hospitalizovaných pacientů s vykázanou vnější příčinou nemocnosti a úmrtnosti X60-X84 Úmyslné sebepoškození</a:t>
            </a: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FA26F477-0069-A691-804D-3C557045D1AB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486884" y="1703947"/>
          <a:ext cx="3933012" cy="4545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8ABECF1D-96E0-E836-7941-5DD53394B2BA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046179" y="2270859"/>
          <a:ext cx="5551121" cy="2630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1090C167-2B2D-9BB4-44C0-554A6E8E8154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4515221" y="1938550"/>
          <a:ext cx="999869" cy="4222477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999869">
                  <a:extLst>
                    <a:ext uri="{9D8B030D-6E8A-4147-A177-3AD203B41FA5}">
                      <a16:colId xmlns:a16="http://schemas.microsoft.com/office/drawing/2014/main" val="2874764292"/>
                    </a:ext>
                  </a:extLst>
                </a:gridCol>
              </a:tblGrid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298539376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842846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986670882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334283177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670791503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073776045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050666527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92849968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9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109903132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804707030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366958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11285122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42976251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869909649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842291403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628010984"/>
                  </a:ext>
                </a:extLst>
              </a:tr>
              <a:tr h="24838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043920033"/>
                  </a:ext>
                </a:extLst>
              </a:tr>
            </a:tbl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4CD2C327-6E6D-27C2-B5AD-AAF293673D92}"/>
              </a:ext>
            </a:extLst>
          </p:cNvPr>
          <p:cNvSpPr txBox="1"/>
          <p:nvPr/>
        </p:nvSpPr>
        <p:spPr>
          <a:xfrm>
            <a:off x="502927" y="2390274"/>
            <a:ext cx="5012164" cy="276999"/>
          </a:xfrm>
          <a:prstGeom prst="rect">
            <a:avLst/>
          </a:prstGeom>
          <a:noFill/>
          <a:ln w="2222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cs-CZ" sz="1200" dirty="0"/>
          </a:p>
        </p:txBody>
      </p:sp>
      <p:sp>
        <p:nvSpPr>
          <p:cNvPr id="3" name="Obdélník 3">
            <a:extLst>
              <a:ext uri="{FF2B5EF4-FFF2-40B4-BE49-F238E27FC236}">
                <a16:creationId xmlns:a16="http://schemas.microsoft.com/office/drawing/2014/main" id="{78A7FD12-35C5-827F-C0A1-7D0B9F9885C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66274" y="1415413"/>
            <a:ext cx="401854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hospitalizací po </a:t>
            </a:r>
            <a:r>
              <a:rPr lang="cs-CZ" sz="1400" b="1" dirty="0">
                <a:solidFill>
                  <a:srgbClr val="000000"/>
                </a:solidFill>
                <a:latin typeface="Calibri" panose="020F0502020204030204"/>
              </a:rPr>
              <a:t>pokusu o sebevraždu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acientů 65+ let  v roce 2023 na 100 tisíc obyvatel</a:t>
            </a:r>
          </a:p>
        </p:txBody>
      </p:sp>
      <p:sp>
        <p:nvSpPr>
          <p:cNvPr id="6" name="TextBox 2">
            <a:extLst>
              <a:ext uri="{FF2B5EF4-FFF2-40B4-BE49-F238E27FC236}">
                <a16:creationId xmlns:a16="http://schemas.microsoft.com/office/drawing/2014/main" id="{A87041B5-87FF-1E58-AA44-02EB5A3A822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938214" y="1663824"/>
            <a:ext cx="413772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počtu hospitalizací po </a:t>
            </a:r>
            <a:r>
              <a:rPr lang="cs-CZ" sz="1400" b="1" dirty="0">
                <a:solidFill>
                  <a:srgbClr val="000000"/>
                </a:solidFill>
                <a:latin typeface="Calibri" panose="020F0502020204030204"/>
              </a:rPr>
              <a:t>pokusu o sebevraždu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ů 65+ let 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řepočtu na 100 tisíc obyvatel</a:t>
            </a:r>
            <a:endParaRPr kumimoji="0" lang="cs-CZ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530798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: se zakulacenými rohy na opačné straně 3">
            <a:extLst>
              <a:ext uri="{FF2B5EF4-FFF2-40B4-BE49-F238E27FC236}">
                <a16:creationId xmlns:a16="http://schemas.microsoft.com/office/drawing/2014/main" id="{167A20BD-62DA-44FE-AF48-7FBD2BEA4689}"/>
              </a:ext>
            </a:extLst>
          </p:cNvPr>
          <p:cNvSpPr/>
          <p:nvPr/>
        </p:nvSpPr>
        <p:spPr>
          <a:xfrm flipV="1">
            <a:off x="-4680" y="787665"/>
            <a:ext cx="5833745" cy="2787745"/>
          </a:xfrm>
          <a:prstGeom prst="round2DiagRect">
            <a:avLst>
              <a:gd name="adj1" fmla="val 50000"/>
              <a:gd name="adj2" fmla="val 0"/>
            </a:avLst>
          </a:prstGeom>
          <a:solidFill>
            <a:srgbClr val="5BCC72">
              <a:alpha val="49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71AFB65-5EC3-4B45-AC2F-AB3CB64FBF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846" y="1449859"/>
            <a:ext cx="5833745" cy="1688758"/>
          </a:xfrm>
        </p:spPr>
        <p:txBody>
          <a:bodyPr/>
          <a:lstStyle/>
          <a:p>
            <a:pPr algn="l"/>
            <a:r>
              <a:rPr lang="cs-CZ" sz="2400" b="1" i="1" dirty="0">
                <a:solidFill>
                  <a:schemeClr val="bg1"/>
                </a:solidFill>
              </a:rPr>
              <a:t>Analytické studie programu Zdraví 2030: </a:t>
            </a:r>
            <a:r>
              <a:rPr lang="cs-CZ" sz="3600" b="1" dirty="0">
                <a:solidFill>
                  <a:schemeClr val="bg1"/>
                </a:solidFill>
              </a:rPr>
              <a:t>Národní informační systém pro psychiatrii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164F2552-388B-4793-BF8A-077744D27E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5416" y="4933507"/>
            <a:ext cx="10952034" cy="1156143"/>
          </a:xfrm>
        </p:spPr>
        <p:txBody>
          <a:bodyPr>
            <a:normAutofit/>
          </a:bodyPr>
          <a:lstStyle/>
          <a:p>
            <a:r>
              <a:rPr lang="cs-CZ" sz="3800" dirty="0">
                <a:solidFill>
                  <a:srgbClr val="3F55A6"/>
                </a:solidFill>
              </a:rPr>
              <a:t>Predikce budoucí zátěže </a:t>
            </a:r>
            <a:endParaRPr lang="en-US" sz="3800" dirty="0">
              <a:solidFill>
                <a:srgbClr val="3F55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542232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2">
            <a:extLst>
              <a:ext uri="{FF2B5EF4-FFF2-40B4-BE49-F238E27FC236}">
                <a16:creationId xmlns:a16="http://schemas.microsoft.com/office/drawing/2014/main" id="{FBAABED2-CBB9-54C8-5AE0-BBA8EDCEF077}"/>
              </a:ext>
            </a:extLst>
          </p:cNvPr>
          <p:cNvSpPr txBox="1">
            <a:spLocks/>
          </p:cNvSpPr>
          <p:nvPr/>
        </p:nvSpPr>
        <p:spPr>
          <a:xfrm>
            <a:off x="175492" y="450366"/>
            <a:ext cx="12016508" cy="129400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Predikce budoucí zátěže </a:t>
            </a:r>
            <a:endParaRPr kumimoji="0" lang="cs-CZ" sz="5600" b="1" i="0" u="none" strike="noStrike" kern="120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cxnSp>
        <p:nvCxnSpPr>
          <p:cNvPr id="3" name="Přímá spojnice se šipkou 2">
            <a:extLst>
              <a:ext uri="{FF2B5EF4-FFF2-40B4-BE49-F238E27FC236}">
                <a16:creationId xmlns:a16="http://schemas.microsoft.com/office/drawing/2014/main" id="{94AE8E7D-2744-1363-3E63-9FE72BA3EAF3}"/>
              </a:ext>
            </a:extLst>
          </p:cNvPr>
          <p:cNvCxnSpPr>
            <a:cxnSpLocks/>
          </p:cNvCxnSpPr>
          <p:nvPr/>
        </p:nvCxnSpPr>
        <p:spPr>
          <a:xfrm flipH="1">
            <a:off x="2264734" y="1871330"/>
            <a:ext cx="3501656" cy="1414131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Přímá spojnice se šipkou 3">
            <a:extLst>
              <a:ext uri="{FF2B5EF4-FFF2-40B4-BE49-F238E27FC236}">
                <a16:creationId xmlns:a16="http://schemas.microsoft.com/office/drawing/2014/main" id="{3FED77EA-9DB0-F202-D08F-1816D2763A83}"/>
              </a:ext>
            </a:extLst>
          </p:cNvPr>
          <p:cNvCxnSpPr>
            <a:cxnSpLocks/>
          </p:cNvCxnSpPr>
          <p:nvPr/>
        </p:nvCxnSpPr>
        <p:spPr>
          <a:xfrm>
            <a:off x="6425612" y="1896139"/>
            <a:ext cx="3200399" cy="1676401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ovéPole 4">
            <a:extLst>
              <a:ext uri="{FF2B5EF4-FFF2-40B4-BE49-F238E27FC236}">
                <a16:creationId xmlns:a16="http://schemas.microsoft.com/office/drawing/2014/main" id="{0F70C63F-1BF5-A32C-5E7D-DC8AA6044528}"/>
              </a:ext>
            </a:extLst>
          </p:cNvPr>
          <p:cNvSpPr txBox="1"/>
          <p:nvPr/>
        </p:nvSpPr>
        <p:spPr>
          <a:xfrm>
            <a:off x="7931889" y="2249101"/>
            <a:ext cx="871870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8000" dirty="0">
                <a:solidFill>
                  <a:srgbClr val="FF0000"/>
                </a:solidFill>
                <a:latin typeface="Arial Black" panose="020B0A04020102020204" pitchFamily="34" charset="0"/>
              </a:rPr>
              <a:t>?</a:t>
            </a:r>
          </a:p>
        </p:txBody>
      </p:sp>
      <p:pic>
        <p:nvPicPr>
          <p:cNvPr id="6" name="Obrázek 5" descr="Obsah obrázku kreativita&#10;&#10;Popis byl vytvořen automaticky se střední mírou spolehlivosti">
            <a:extLst>
              <a:ext uri="{FF2B5EF4-FFF2-40B4-BE49-F238E27FC236}">
                <a16:creationId xmlns:a16="http://schemas.microsoft.com/office/drawing/2014/main" id="{16E1AE7D-3286-55FF-AD33-1E77DA1346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4339" y="2205701"/>
            <a:ext cx="1081088" cy="1057275"/>
          </a:xfrm>
          <a:prstGeom prst="rect">
            <a:avLst/>
          </a:prstGeom>
        </p:spPr>
      </p:pic>
      <p:sp>
        <p:nvSpPr>
          <p:cNvPr id="7" name="TextovéPole 6">
            <a:extLst>
              <a:ext uri="{FF2B5EF4-FFF2-40B4-BE49-F238E27FC236}">
                <a16:creationId xmlns:a16="http://schemas.microsoft.com/office/drawing/2014/main" id="{D58A820B-04E5-C987-0FB5-120570EDCBE4}"/>
              </a:ext>
            </a:extLst>
          </p:cNvPr>
          <p:cNvSpPr txBox="1"/>
          <p:nvPr/>
        </p:nvSpPr>
        <p:spPr>
          <a:xfrm>
            <a:off x="414669" y="3539377"/>
            <a:ext cx="413606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600" b="1" dirty="0">
                <a:solidFill>
                  <a:srgbClr val="00B050"/>
                </a:solidFill>
              </a:rPr>
              <a:t>Demografický vývoj</a:t>
            </a:r>
          </a:p>
          <a:p>
            <a:endParaRPr lang="cs-CZ" sz="3600" b="1" dirty="0">
              <a:solidFill>
                <a:srgbClr val="00B050"/>
              </a:solidFill>
            </a:endParaRPr>
          </a:p>
          <a:p>
            <a:r>
              <a:rPr lang="cs-CZ" sz="3600" b="1" dirty="0">
                <a:solidFill>
                  <a:srgbClr val="00B050"/>
                </a:solidFill>
              </a:rPr>
              <a:t>Přechod mladistvých </a:t>
            </a:r>
          </a:p>
          <a:p>
            <a:r>
              <a:rPr lang="cs-CZ" sz="3600" b="1" dirty="0">
                <a:solidFill>
                  <a:srgbClr val="00B050"/>
                </a:solidFill>
              </a:rPr>
              <a:t>do dospělosti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33C82364-5713-56AA-9637-AD51018B81CD}"/>
              </a:ext>
            </a:extLst>
          </p:cNvPr>
          <p:cNvSpPr txBox="1"/>
          <p:nvPr/>
        </p:nvSpPr>
        <p:spPr>
          <a:xfrm>
            <a:off x="7931889" y="3786342"/>
            <a:ext cx="413606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3600" b="1" dirty="0">
                <a:solidFill>
                  <a:srgbClr val="FF0000"/>
                </a:solidFill>
              </a:rPr>
              <a:t>Vývoj nemocnosti </a:t>
            </a:r>
          </a:p>
          <a:p>
            <a:pPr algn="r"/>
            <a:r>
              <a:rPr lang="cs-CZ" sz="3600" b="1" dirty="0">
                <a:solidFill>
                  <a:srgbClr val="FF0000"/>
                </a:solidFill>
              </a:rPr>
              <a:t>u dětí a mladistvých </a:t>
            </a:r>
          </a:p>
        </p:txBody>
      </p:sp>
    </p:spTree>
    <p:extLst>
      <p:ext uri="{BB962C8B-B14F-4D97-AF65-F5344CB8AC3E}">
        <p14:creationId xmlns:p14="http://schemas.microsoft.com/office/powerpoint/2010/main" val="159847434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235622"/>
            <a:ext cx="11664778" cy="573989"/>
          </a:xfrm>
        </p:spPr>
        <p:txBody>
          <a:bodyPr anchor="t">
            <a:normAutofit/>
          </a:bodyPr>
          <a:lstStyle/>
          <a:p>
            <a:r>
              <a:rPr lang="en-US" sz="2800" dirty="0"/>
              <a:t>Věková struktura obyvatelstva </a:t>
            </a:r>
            <a:r>
              <a:rPr lang="cs-CZ" sz="2800" dirty="0"/>
              <a:t>HMP a její očekávaný vývoj</a:t>
            </a: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5BC2093A-DC06-6F00-661F-1E4400555D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5187927"/>
              </p:ext>
            </p:extLst>
          </p:nvPr>
        </p:nvGraphicFramePr>
        <p:xfrm>
          <a:off x="452623" y="1059870"/>
          <a:ext cx="5737225" cy="3988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4" name="Text Box 4">
            <a:extLst>
              <a:ext uri="{FF2B5EF4-FFF2-40B4-BE49-F238E27FC236}">
                <a16:creationId xmlns:a16="http://schemas.microsoft.com/office/drawing/2014/main" id="{3844983F-BFC1-6636-BE8B-D8D9D7FC9754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6200000">
            <a:off x="-1224082" y="2613534"/>
            <a:ext cx="375920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cs-CZ" alt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odíl </a:t>
            </a:r>
            <a:r>
              <a:rPr kumimoji="1" lang="cs-CZ" altLang="cs-CZ" sz="1600" b="1" dirty="0">
                <a:solidFill>
                  <a:prstClr val="black"/>
                </a:solidFill>
              </a:rPr>
              <a:t>os</a:t>
            </a:r>
            <a:r>
              <a:rPr kumimoji="1" lang="cs-CZ" alt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</a:t>
            </a:r>
            <a:r>
              <a:rPr kumimoji="1" lang="en-US" alt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</a:t>
            </a:r>
            <a:r>
              <a:rPr kumimoji="1" lang="cs-CZ" alt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ve věkové kategorii (%)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FC130533-EC9D-1DF6-F006-CBD8F1875E8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233485" y="1224660"/>
            <a:ext cx="5398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2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C475F9AC-9AA7-C21A-6393-59253436F0E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519780" y="1372253"/>
            <a:ext cx="4034074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 15 let očekávatelný nárůst nemocnosti v souvislosti s chorobami vyššího věku a seniorů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 20 – 25 let prudký nárůst nemocnosti v souvislosti s chorobami vyššího věku a seniorů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ižší zastoupení mladších věkových skupin jako riziko poklesu porodnosti v následujících 10 – 15 letech. 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15D386CD-DC66-17D8-41A6-EA6FF24F5424}"/>
              </a:ext>
            </a:extLst>
          </p:cNvPr>
          <p:cNvSpPr txBox="1"/>
          <p:nvPr/>
        </p:nvSpPr>
        <p:spPr>
          <a:xfrm>
            <a:off x="7127451" y="1415771"/>
            <a:ext cx="5324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1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AE4FC99E-6081-A927-C564-80BF980E879C}"/>
              </a:ext>
            </a:extLst>
          </p:cNvPr>
          <p:cNvSpPr txBox="1"/>
          <p:nvPr/>
        </p:nvSpPr>
        <p:spPr>
          <a:xfrm>
            <a:off x="7171327" y="2546514"/>
            <a:ext cx="5324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2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02CE331E-51D2-069B-2E70-07F7212AD4DF}"/>
              </a:ext>
            </a:extLst>
          </p:cNvPr>
          <p:cNvSpPr txBox="1"/>
          <p:nvPr/>
        </p:nvSpPr>
        <p:spPr>
          <a:xfrm>
            <a:off x="7181626" y="3618827"/>
            <a:ext cx="5324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3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10" name="Šipka doprava 22">
            <a:extLst>
              <a:ext uri="{FF2B5EF4-FFF2-40B4-BE49-F238E27FC236}">
                <a16:creationId xmlns:a16="http://schemas.microsoft.com/office/drawing/2014/main" id="{38FF3D32-FAE5-2711-8C9A-1E755DB125C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844182" y="1325917"/>
            <a:ext cx="1270975" cy="179708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351CB4E6-3D5C-AB8C-1155-8B90826D499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2297957" y="2958084"/>
            <a:ext cx="618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3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12" name="Šipka doprava 11">
            <a:extLst>
              <a:ext uri="{FF2B5EF4-FFF2-40B4-BE49-F238E27FC236}">
                <a16:creationId xmlns:a16="http://schemas.microsoft.com/office/drawing/2014/main" id="{3EEE7E6F-F9D9-145E-2D24-73DB7C4C3F3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4905569" y="2273814"/>
            <a:ext cx="682906" cy="173620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2D2B31A9-6B97-8A76-1A53-D3382DFCA4F9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454667" y="2202529"/>
            <a:ext cx="5324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1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graphicFrame>
        <p:nvGraphicFramePr>
          <p:cNvPr id="14" name="Tabulka 13">
            <a:extLst>
              <a:ext uri="{FF2B5EF4-FFF2-40B4-BE49-F238E27FC236}">
                <a16:creationId xmlns:a16="http://schemas.microsoft.com/office/drawing/2014/main" id="{938ECA88-3577-EFB8-9E06-17BFDADD3A07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831572016"/>
              </p:ext>
            </p:extLst>
          </p:nvPr>
        </p:nvGraphicFramePr>
        <p:xfrm>
          <a:off x="452622" y="4869729"/>
          <a:ext cx="11334094" cy="1463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24769">
                  <a:extLst>
                    <a:ext uri="{9D8B030D-6E8A-4147-A177-3AD203B41FA5}">
                      <a16:colId xmlns:a16="http://schemas.microsoft.com/office/drawing/2014/main" val="2765753559"/>
                    </a:ext>
                  </a:extLst>
                </a:gridCol>
                <a:gridCol w="1672316">
                  <a:extLst>
                    <a:ext uri="{9D8B030D-6E8A-4147-A177-3AD203B41FA5}">
                      <a16:colId xmlns:a16="http://schemas.microsoft.com/office/drawing/2014/main" val="2950578564"/>
                    </a:ext>
                  </a:extLst>
                </a:gridCol>
                <a:gridCol w="1672316">
                  <a:extLst>
                    <a:ext uri="{9D8B030D-6E8A-4147-A177-3AD203B41FA5}">
                      <a16:colId xmlns:a16="http://schemas.microsoft.com/office/drawing/2014/main" val="4027662802"/>
                    </a:ext>
                  </a:extLst>
                </a:gridCol>
                <a:gridCol w="1755103">
                  <a:extLst>
                    <a:ext uri="{9D8B030D-6E8A-4147-A177-3AD203B41FA5}">
                      <a16:colId xmlns:a16="http://schemas.microsoft.com/office/drawing/2014/main" val="2984655169"/>
                    </a:ext>
                  </a:extLst>
                </a:gridCol>
                <a:gridCol w="1672313">
                  <a:extLst>
                    <a:ext uri="{9D8B030D-6E8A-4147-A177-3AD203B41FA5}">
                      <a16:colId xmlns:a16="http://schemas.microsoft.com/office/drawing/2014/main" val="3874475901"/>
                    </a:ext>
                  </a:extLst>
                </a:gridCol>
                <a:gridCol w="1637277">
                  <a:extLst>
                    <a:ext uri="{9D8B030D-6E8A-4147-A177-3AD203B41FA5}">
                      <a16:colId xmlns:a16="http://schemas.microsoft.com/office/drawing/2014/main" val="1823650083"/>
                    </a:ext>
                  </a:extLst>
                </a:gridCol>
              </a:tblGrid>
              <a:tr h="351078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Hl. m. Praha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20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 31. 12. 20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.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30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.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40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.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50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3161172"/>
                  </a:ext>
                </a:extLst>
              </a:tr>
              <a:tr h="351078">
                <a:tc>
                  <a:txBody>
                    <a:bodyPr/>
                    <a:lstStyle/>
                    <a:p>
                      <a:pPr algn="r" fontAlgn="t"/>
                      <a:r>
                        <a:rPr lang="cs-CZ" sz="18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yvatelé ve věku 65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53 11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256 6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effectLst/>
                          <a:latin typeface="Arial" panose="020B0604020202020204" pitchFamily="34" charset="0"/>
                        </a:rPr>
                        <a:t>267 29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effectLst/>
                          <a:latin typeface="Arial" panose="020B0604020202020204" pitchFamily="34" charset="0"/>
                        </a:rPr>
                        <a:t>300 42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>
                          <a:effectLst/>
                          <a:latin typeface="Arial" panose="020B0604020202020204" pitchFamily="34" charset="0"/>
                        </a:rPr>
                        <a:t>380 49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5685866"/>
                  </a:ext>
                </a:extLst>
              </a:tr>
              <a:tr h="351078">
                <a:tc>
                  <a:txBody>
                    <a:bodyPr/>
                    <a:lstStyle/>
                    <a:p>
                      <a:pPr marL="0" marR="0" lvl="0" indent="0" algn="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yvatelé ve věku 75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8 10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122 5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effectLst/>
                          <a:latin typeface="Arial" panose="020B0604020202020204" pitchFamily="34" charset="0"/>
                        </a:rPr>
                        <a:t>145 14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effectLst/>
                          <a:latin typeface="Arial" panose="020B0604020202020204" pitchFamily="34" charset="0"/>
                        </a:rPr>
                        <a:t>150 74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effectLst/>
                          <a:latin typeface="Arial" panose="020B0604020202020204" pitchFamily="34" charset="0"/>
                        </a:rPr>
                        <a:t>178 74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4657658"/>
                  </a:ext>
                </a:extLst>
              </a:tr>
              <a:tr h="351078">
                <a:tc>
                  <a:txBody>
                    <a:bodyPr/>
                    <a:lstStyle/>
                    <a:p>
                      <a:pPr marL="0" marR="0" lvl="0" indent="0" algn="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yvatelé ve věku 85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7 33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CE" panose="020B0604020202020204" pitchFamily="34" charset="0"/>
                        </a:rPr>
                        <a:t>26 9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effectLst/>
                          <a:latin typeface="Arial" panose="020B0604020202020204" pitchFamily="34" charset="0"/>
                        </a:rPr>
                        <a:t>37 2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5 39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effectLst/>
                          <a:latin typeface="Arial" panose="020B0604020202020204" pitchFamily="34" charset="0"/>
                        </a:rPr>
                        <a:t>56 45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1251127"/>
                  </a:ext>
                </a:extLst>
              </a:tr>
            </a:tbl>
          </a:graphicData>
        </a:graphic>
      </p:graphicFrame>
      <p:sp>
        <p:nvSpPr>
          <p:cNvPr id="15" name="Obdélník 14">
            <a:extLst>
              <a:ext uri="{FF2B5EF4-FFF2-40B4-BE49-F238E27FC236}">
                <a16:creationId xmlns:a16="http://schemas.microsoft.com/office/drawing/2014/main" id="{EBBCCCFC-6EC8-0607-B7C8-E802D6CE744F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478020" y="658106"/>
            <a:ext cx="835496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dirty="0">
                <a:hlinkClick r:id="rId17"/>
              </a:rPr>
              <a:t>Projekce obyvatelstva České republiky - 2023–2100 | ČSÚ (czso.cz)</a:t>
            </a:r>
            <a:r>
              <a:rPr lang="cs-CZ" sz="1400" dirty="0"/>
              <a:t> (</a:t>
            </a:r>
            <a:r>
              <a:rPr lang="cs-CZ" sz="1200" dirty="0"/>
              <a:t>Zveřejněno dne: 30.11.2023)</a:t>
            </a:r>
          </a:p>
          <a:p>
            <a:r>
              <a:rPr lang="cs-CZ" sz="1400" dirty="0">
                <a:hlinkClick r:id="rId18"/>
              </a:rPr>
              <a:t>Projekce obyvatelstva v krajích ČR - do roku 2070 | ČSÚ (czso.cz)</a:t>
            </a:r>
            <a:r>
              <a:rPr lang="cs-CZ" sz="1400" dirty="0"/>
              <a:t> </a:t>
            </a:r>
            <a:r>
              <a:rPr lang="cs-CZ" sz="1200" dirty="0"/>
              <a:t>(Zveřejněno dne: 28.11.2019)</a:t>
            </a:r>
            <a:endParaRPr lang="cs-CZ" sz="16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Box 6">
            <a:extLst>
              <a:ext uri="{FF2B5EF4-FFF2-40B4-BE49-F238E27FC236}">
                <a16:creationId xmlns:a16="http://schemas.microsoft.com/office/drawing/2014/main" id="{C4155959-7985-2A22-68C2-9ABD6D03BDA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257558" y="680752"/>
            <a:ext cx="12204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 dat: ČSÚ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C226B4F4-4807-C33A-CB0E-E6A5FE5CC8CD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986303" y="1461456"/>
            <a:ext cx="224718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"/>
            <a:r>
              <a:rPr lang="cs-CZ" sz="1800" b="1" i="0" u="none" strike="noStrike" dirty="0">
                <a:effectLst/>
                <a:latin typeface="Arial" panose="020B0604020202020204" pitchFamily="34" charset="0"/>
              </a:rPr>
              <a:t>k</a:t>
            </a:r>
            <a:r>
              <a:rPr lang="en-US" sz="1800" b="1" i="0" u="none" strike="noStrike" dirty="0">
                <a:effectLst/>
                <a:latin typeface="Arial" panose="020B0604020202020204" pitchFamily="34" charset="0"/>
              </a:rPr>
              <a:t> </a:t>
            </a:r>
            <a:r>
              <a:rPr lang="cs-CZ" sz="1800" b="1" i="0" u="none" strike="noStrike" dirty="0">
                <a:effectLst/>
                <a:latin typeface="Arial" panose="020B0604020202020204" pitchFamily="34" charset="0"/>
              </a:rPr>
              <a:t>3</a:t>
            </a:r>
            <a:r>
              <a:rPr lang="en-US" sz="1800" b="1" i="0" u="none" strike="noStrike" dirty="0">
                <a:effectLst/>
                <a:latin typeface="Arial" panose="020B0604020202020204" pitchFamily="34" charset="0"/>
              </a:rPr>
              <a:t>1.</a:t>
            </a:r>
            <a:r>
              <a:rPr lang="cs-CZ" sz="1800" b="1" i="0" u="none" strike="noStrike" dirty="0">
                <a:effectLst/>
                <a:latin typeface="Arial" panose="020B0604020202020204" pitchFamily="34" charset="0"/>
              </a:rPr>
              <a:t> </a:t>
            </a:r>
            <a:r>
              <a:rPr lang="en-US" sz="1800" b="1" i="0" u="none" strike="noStrike" dirty="0">
                <a:effectLst/>
                <a:latin typeface="Arial" panose="020B0604020202020204" pitchFamily="34" charset="0"/>
              </a:rPr>
              <a:t>1</a:t>
            </a:r>
            <a:r>
              <a:rPr lang="cs-CZ" sz="1800" b="1" i="0" u="none" strike="noStrike" dirty="0">
                <a:effectLst/>
                <a:latin typeface="Arial" panose="020B0604020202020204" pitchFamily="34" charset="0"/>
              </a:rPr>
              <a:t>2</a:t>
            </a:r>
            <a:r>
              <a:rPr lang="en-US" sz="1800" b="1" i="0" u="none" strike="noStrike" dirty="0">
                <a:effectLst/>
                <a:latin typeface="Arial" panose="020B0604020202020204" pitchFamily="34" charset="0"/>
              </a:rPr>
              <a:t>.</a:t>
            </a:r>
            <a:r>
              <a:rPr lang="cs-CZ" sz="1800" b="1" i="0" u="none" strike="noStrike" dirty="0">
                <a:effectLst/>
                <a:latin typeface="Arial" panose="020B0604020202020204" pitchFamily="34" charset="0"/>
              </a:rPr>
              <a:t> </a:t>
            </a:r>
            <a:r>
              <a:rPr lang="en-US" sz="1800" b="1" i="0" u="none" strike="noStrike" dirty="0">
                <a:effectLst/>
                <a:latin typeface="Arial" panose="020B0604020202020204" pitchFamily="34" charset="0"/>
              </a:rPr>
              <a:t>202</a:t>
            </a:r>
            <a:r>
              <a:rPr lang="cs-CZ" sz="1800" b="1" i="0" u="none" strike="noStrike" dirty="0">
                <a:effectLst/>
                <a:latin typeface="Arial" panose="020B0604020202020204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45585195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0" y="235622"/>
            <a:ext cx="11824115" cy="573989"/>
          </a:xfrm>
        </p:spPr>
        <p:txBody>
          <a:bodyPr anchor="t">
            <a:normAutofit/>
          </a:bodyPr>
          <a:lstStyle/>
          <a:p>
            <a:r>
              <a:rPr lang="cs-CZ" sz="2800" dirty="0"/>
              <a:t>Praha: s</a:t>
            </a:r>
            <a:r>
              <a:rPr lang="pt-BR" sz="2800" dirty="0"/>
              <a:t>tatistická predikce </a:t>
            </a:r>
            <a:r>
              <a:rPr lang="cs-CZ" sz="2800" dirty="0"/>
              <a:t>prevalence vybraných chorob </a:t>
            </a:r>
            <a:r>
              <a:rPr lang="pt-BR" sz="2800" dirty="0"/>
              <a:t>do roku 2030</a:t>
            </a:r>
            <a:endParaRPr lang="cs-CZ" sz="2800" dirty="0"/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813874EA-D061-F622-31E2-8B13A74F443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421421" y="1100653"/>
          <a:ext cx="8222053" cy="1118469"/>
        </p:xfrm>
        <a:graphic>
          <a:graphicData uri="http://schemas.openxmlformats.org/drawingml/2006/table">
            <a:tbl>
              <a:tblPr firstRow="1" bandRow="1"/>
              <a:tblGrid>
                <a:gridCol w="19864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42025">
                  <a:extLst>
                    <a:ext uri="{9D8B030D-6E8A-4147-A177-3AD203B41FA5}">
                      <a16:colId xmlns:a16="http://schemas.microsoft.com/office/drawing/2014/main" val="2083713745"/>
                    </a:ext>
                  </a:extLst>
                </a:gridCol>
                <a:gridCol w="2037023">
                  <a:extLst>
                    <a:ext uri="{9D8B030D-6E8A-4147-A177-3AD203B41FA5}">
                      <a16:colId xmlns:a16="http://schemas.microsoft.com/office/drawing/2014/main" val="2851716476"/>
                    </a:ext>
                  </a:extLst>
                </a:gridCol>
                <a:gridCol w="2156506">
                  <a:extLst>
                    <a:ext uri="{9D8B030D-6E8A-4147-A177-3AD203B41FA5}">
                      <a16:colId xmlns:a16="http://schemas.microsoft.com/office/drawing/2014/main" val="2098660654"/>
                    </a:ext>
                  </a:extLst>
                </a:gridCol>
              </a:tblGrid>
              <a:tr h="341112">
                <a:tc rowSpan="3">
                  <a:txBody>
                    <a:bodyPr/>
                    <a:lstStyle/>
                    <a:p>
                      <a:pPr algn="ctr"/>
                      <a:r>
                        <a:rPr lang="cs-CZ" sz="2400" b="1" noProof="0" dirty="0">
                          <a:solidFill>
                            <a:schemeClr val="tx1"/>
                          </a:solidFill>
                        </a:rPr>
                        <a:t>Diabet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400" noProof="0" dirty="0">
                          <a:solidFill>
                            <a:schemeClr val="tx1"/>
                          </a:solidFill>
                        </a:rPr>
                        <a:t>Predikce prevalence</a:t>
                      </a:r>
                      <a:r>
                        <a:rPr lang="cs-CZ" sz="1400" baseline="0" noProof="0" dirty="0">
                          <a:solidFill>
                            <a:schemeClr val="tx1"/>
                          </a:solidFill>
                        </a:rPr>
                        <a:t> (včetně 95% intervalů spolehlivosti)</a:t>
                      </a:r>
                      <a:endParaRPr lang="cs-CZ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1585697"/>
                  </a:ext>
                </a:extLst>
              </a:tr>
              <a:tr h="341112">
                <a:tc vMerge="1">
                  <a:txBody>
                    <a:bodyPr/>
                    <a:lstStyle/>
                    <a:p>
                      <a:pPr algn="ctr"/>
                      <a:endParaRPr lang="cs-CZ" sz="12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600" b="1" noProof="0" dirty="0">
                          <a:solidFill>
                            <a:schemeClr val="tx1"/>
                          </a:solidFill>
                        </a:rPr>
                        <a:t>Rok 202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600" b="1" noProof="0" dirty="0">
                          <a:solidFill>
                            <a:schemeClr val="tx1"/>
                          </a:solidFill>
                        </a:rPr>
                        <a:t>Rok 202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600" b="1" noProof="0" dirty="0">
                          <a:solidFill>
                            <a:schemeClr val="tx1"/>
                          </a:solidFill>
                        </a:rPr>
                        <a:t>Rok</a:t>
                      </a:r>
                      <a:r>
                        <a:rPr lang="cs-CZ" sz="1600" b="1" baseline="0" noProof="0" dirty="0">
                          <a:solidFill>
                            <a:schemeClr val="tx1"/>
                          </a:solidFill>
                        </a:rPr>
                        <a:t> 2030</a:t>
                      </a:r>
                      <a:endParaRPr lang="cs-CZ" sz="16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981349"/>
                  </a:ext>
                </a:extLst>
              </a:tr>
              <a:tr h="341112">
                <a:tc vMerge="1">
                  <a:txBody>
                    <a:bodyPr/>
                    <a:lstStyle/>
                    <a:p>
                      <a:pPr algn="ctr"/>
                      <a:endParaRPr lang="cs-CZ" sz="14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cs-CZ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2 370</a:t>
                      </a:r>
                      <a:endParaRPr lang="en-US" sz="1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655</a:t>
                      </a:r>
                      <a:b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14 289–114 8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060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19 728–121 79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7869597"/>
                  </a:ext>
                </a:extLst>
              </a:tr>
            </a:tbl>
          </a:graphicData>
        </a:graphic>
      </p:graphicFrame>
      <p:sp>
        <p:nvSpPr>
          <p:cNvPr id="4" name="TextBox 6">
            <a:extLst>
              <a:ext uri="{FF2B5EF4-FFF2-40B4-BE49-F238E27FC236}">
                <a16:creationId xmlns:a16="http://schemas.microsoft.com/office/drawing/2014/main" id="{B044576A-DEEB-8138-8B97-2F2F1480800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23391" y="628325"/>
            <a:ext cx="111533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 dat: NRHZS 2010–2023, Český statistický úřad – Projekce obyvatelstva ČR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D810369D-08D0-9075-9BBA-E437B0F1AFB0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425889" y="4918577"/>
          <a:ext cx="8217583" cy="1249393"/>
        </p:xfrm>
        <a:graphic>
          <a:graphicData uri="http://schemas.openxmlformats.org/drawingml/2006/table">
            <a:tbl>
              <a:tblPr firstRow="1" bandRow="1"/>
              <a:tblGrid>
                <a:gridCol w="19820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15250">
                  <a:extLst>
                    <a:ext uri="{9D8B030D-6E8A-4147-A177-3AD203B41FA5}">
                      <a16:colId xmlns:a16="http://schemas.microsoft.com/office/drawing/2014/main" val="2083713745"/>
                    </a:ext>
                  </a:extLst>
                </a:gridCol>
                <a:gridCol w="2050028">
                  <a:extLst>
                    <a:ext uri="{9D8B030D-6E8A-4147-A177-3AD203B41FA5}">
                      <a16:colId xmlns:a16="http://schemas.microsoft.com/office/drawing/2014/main" val="2851716476"/>
                    </a:ext>
                  </a:extLst>
                </a:gridCol>
                <a:gridCol w="2170274">
                  <a:extLst>
                    <a:ext uri="{9D8B030D-6E8A-4147-A177-3AD203B41FA5}">
                      <a16:colId xmlns:a16="http://schemas.microsoft.com/office/drawing/2014/main" val="2098660654"/>
                    </a:ext>
                  </a:extLst>
                </a:gridCol>
              </a:tblGrid>
              <a:tr h="472036">
                <a:tc rowSpan="3">
                  <a:txBody>
                    <a:bodyPr/>
                    <a:lstStyle/>
                    <a:p>
                      <a:pPr algn="ctr"/>
                      <a:r>
                        <a:rPr lang="cs-CZ" sz="2400" b="1" noProof="0" dirty="0">
                          <a:solidFill>
                            <a:schemeClr val="tx1"/>
                          </a:solidFill>
                        </a:rPr>
                        <a:t>Alzheimerova choroba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400" noProof="0" dirty="0">
                          <a:solidFill>
                            <a:schemeClr val="tx1"/>
                          </a:solidFill>
                        </a:rPr>
                        <a:t>Predikce prevalence</a:t>
                      </a:r>
                      <a:r>
                        <a:rPr lang="cs-CZ" sz="1400" baseline="0" noProof="0" dirty="0">
                          <a:solidFill>
                            <a:schemeClr val="tx1"/>
                          </a:solidFill>
                        </a:rPr>
                        <a:t>  (včetně 95% intervalů spolehlivosti)</a:t>
                      </a:r>
                      <a:endParaRPr lang="cs-CZ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1585697"/>
                  </a:ext>
                </a:extLst>
              </a:tr>
              <a:tr h="341112">
                <a:tc vMerge="1">
                  <a:txBody>
                    <a:bodyPr/>
                    <a:lstStyle/>
                    <a:p>
                      <a:pPr algn="ctr"/>
                      <a:endParaRPr lang="cs-CZ" sz="12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600" b="1" noProof="0" dirty="0">
                          <a:solidFill>
                            <a:schemeClr val="tx1"/>
                          </a:solidFill>
                        </a:rPr>
                        <a:t>Rok 202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600" b="1" noProof="0" dirty="0">
                          <a:solidFill>
                            <a:schemeClr val="tx1"/>
                          </a:solidFill>
                        </a:rPr>
                        <a:t>Rok 202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600" b="1" noProof="0" dirty="0">
                          <a:solidFill>
                            <a:schemeClr val="tx1"/>
                          </a:solidFill>
                        </a:rPr>
                        <a:t>Rok</a:t>
                      </a:r>
                      <a:r>
                        <a:rPr lang="cs-CZ" sz="1600" b="1" baseline="0" noProof="0" dirty="0">
                          <a:solidFill>
                            <a:schemeClr val="tx1"/>
                          </a:solidFill>
                        </a:rPr>
                        <a:t> 2030</a:t>
                      </a:r>
                      <a:endParaRPr lang="cs-CZ" sz="16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981349"/>
                  </a:ext>
                </a:extLst>
              </a:tr>
              <a:tr h="341112">
                <a:tc vMerge="1">
                  <a:txBody>
                    <a:bodyPr/>
                    <a:lstStyle/>
                    <a:p>
                      <a:pPr algn="ctr"/>
                      <a:endParaRPr lang="cs-CZ" sz="14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1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021</a:t>
                      </a:r>
                      <a:b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3 973–14 04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564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6 310–16 69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7869597"/>
                  </a:ext>
                </a:extLst>
              </a:tr>
            </a:tbl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2D0BC200-A583-B51B-96D4-C70FF55194BD}"/>
              </a:ext>
            </a:extLst>
          </p:cNvPr>
          <p:cNvSpPr txBox="1"/>
          <p:nvPr/>
        </p:nvSpPr>
        <p:spPr>
          <a:xfrm>
            <a:off x="8816179" y="1375141"/>
            <a:ext cx="2939591" cy="584775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18% za 10 let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E98D404-1954-B6E9-2706-C8D8649D3649}"/>
              </a:ext>
            </a:extLst>
          </p:cNvPr>
          <p:cNvSpPr txBox="1"/>
          <p:nvPr/>
        </p:nvSpPr>
        <p:spPr>
          <a:xfrm>
            <a:off x="8816178" y="5255791"/>
            <a:ext cx="2939591" cy="584775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37% za 10 let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DD3FD25C-96D6-277F-ACBE-2DEBB6FDDDD6}"/>
              </a:ext>
            </a:extLst>
          </p:cNvPr>
          <p:cNvGraphicFramePr>
            <a:graphicFrameLocks noGrp="1"/>
          </p:cNvGraphicFramePr>
          <p:nvPr/>
        </p:nvGraphicFramePr>
        <p:xfrm>
          <a:off x="421422" y="3673404"/>
          <a:ext cx="8222050" cy="1148949"/>
        </p:xfrm>
        <a:graphic>
          <a:graphicData uri="http://schemas.openxmlformats.org/drawingml/2006/table">
            <a:tbl>
              <a:tblPr firstRow="1" bandRow="1"/>
              <a:tblGrid>
                <a:gridCol w="19864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98262">
                  <a:extLst>
                    <a:ext uri="{9D8B030D-6E8A-4147-A177-3AD203B41FA5}">
                      <a16:colId xmlns:a16="http://schemas.microsoft.com/office/drawing/2014/main" val="2083713745"/>
                    </a:ext>
                  </a:extLst>
                </a:gridCol>
                <a:gridCol w="2118645">
                  <a:extLst>
                    <a:ext uri="{9D8B030D-6E8A-4147-A177-3AD203B41FA5}">
                      <a16:colId xmlns:a16="http://schemas.microsoft.com/office/drawing/2014/main" val="2083113405"/>
                    </a:ext>
                  </a:extLst>
                </a:gridCol>
                <a:gridCol w="2118645">
                  <a:extLst>
                    <a:ext uri="{9D8B030D-6E8A-4147-A177-3AD203B41FA5}">
                      <a16:colId xmlns:a16="http://schemas.microsoft.com/office/drawing/2014/main" val="2851716476"/>
                    </a:ext>
                  </a:extLst>
                </a:gridCol>
              </a:tblGrid>
              <a:tr h="341112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400" b="1" noProof="0" dirty="0">
                          <a:solidFill>
                            <a:schemeClr val="tx1"/>
                          </a:solidFill>
                        </a:rPr>
                        <a:t>Zhoubné nádory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400" noProof="0" dirty="0">
                          <a:solidFill>
                            <a:schemeClr val="tx1"/>
                          </a:solidFill>
                        </a:rPr>
                        <a:t>Predikce prevalence</a:t>
                      </a:r>
                      <a:r>
                        <a:rPr lang="cs-CZ" sz="1400" baseline="0" noProof="0" dirty="0">
                          <a:solidFill>
                            <a:schemeClr val="tx1"/>
                          </a:solidFill>
                        </a:rPr>
                        <a:t> (včetně 9</a:t>
                      </a:r>
                      <a:r>
                        <a:rPr lang="en-US" sz="1400" baseline="0" noProof="0" dirty="0">
                          <a:solidFill>
                            <a:schemeClr val="tx1"/>
                          </a:solidFill>
                        </a:rPr>
                        <a:t>0</a:t>
                      </a:r>
                      <a:r>
                        <a:rPr lang="cs-CZ" sz="1400" baseline="0" noProof="0" dirty="0">
                          <a:solidFill>
                            <a:schemeClr val="tx1"/>
                          </a:solidFill>
                        </a:rPr>
                        <a:t>% intervalů spolehlivosti)</a:t>
                      </a:r>
                      <a:endParaRPr lang="cs-CZ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1585697"/>
                  </a:ext>
                </a:extLst>
              </a:tr>
              <a:tr h="341112">
                <a:tc vMerge="1">
                  <a:txBody>
                    <a:bodyPr/>
                    <a:lstStyle/>
                    <a:p>
                      <a:pPr algn="ctr"/>
                      <a:endParaRPr lang="cs-CZ" sz="12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600" b="1" noProof="0" dirty="0">
                          <a:solidFill>
                            <a:schemeClr val="tx1"/>
                          </a:solidFill>
                        </a:rPr>
                        <a:t>Rok 202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noProof="0" dirty="0">
                          <a:solidFill>
                            <a:schemeClr val="tx1"/>
                          </a:solidFill>
                        </a:rPr>
                        <a:t>Rok 202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600" b="1" noProof="0" dirty="0">
                          <a:solidFill>
                            <a:schemeClr val="tx1"/>
                          </a:solidFill>
                        </a:rPr>
                        <a:t>Rok </a:t>
                      </a:r>
                      <a:r>
                        <a:rPr lang="en-US" sz="1600" b="1" noProof="0" dirty="0">
                          <a:solidFill>
                            <a:schemeClr val="tx1"/>
                          </a:solidFill>
                        </a:rPr>
                        <a:t>2030</a:t>
                      </a:r>
                      <a:endParaRPr lang="cs-CZ" sz="16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981349"/>
                  </a:ext>
                </a:extLst>
              </a:tr>
              <a:tr h="341112">
                <a:tc vMerge="1">
                  <a:txBody>
                    <a:bodyPr/>
                    <a:lstStyle/>
                    <a:p>
                      <a:pPr algn="ctr"/>
                      <a:endParaRPr lang="cs-CZ" sz="14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0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795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1 593; 68 03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502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 902; 76 1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7869597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3E672533-B1B9-63A6-58E0-B6BD679301FC}"/>
              </a:ext>
            </a:extLst>
          </p:cNvPr>
          <p:cNvSpPr txBox="1"/>
          <p:nvPr/>
        </p:nvSpPr>
        <p:spPr>
          <a:xfrm>
            <a:off x="8816179" y="4087473"/>
            <a:ext cx="2939591" cy="584775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27% za 10 let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" name="Tabulka 2">
            <a:extLst>
              <a:ext uri="{FF2B5EF4-FFF2-40B4-BE49-F238E27FC236}">
                <a16:creationId xmlns:a16="http://schemas.microsoft.com/office/drawing/2014/main" id="{FE6B5107-3A78-6722-97DD-466145F24FA2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421421" y="2390901"/>
          <a:ext cx="8217584" cy="1112637"/>
        </p:xfrm>
        <a:graphic>
          <a:graphicData uri="http://schemas.openxmlformats.org/drawingml/2006/table">
            <a:tbl>
              <a:tblPr firstRow="1" bandRow="1"/>
              <a:tblGrid>
                <a:gridCol w="19763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11680">
                  <a:extLst>
                    <a:ext uri="{9D8B030D-6E8A-4147-A177-3AD203B41FA5}">
                      <a16:colId xmlns:a16="http://schemas.microsoft.com/office/drawing/2014/main" val="2943807555"/>
                    </a:ext>
                  </a:extLst>
                </a:gridCol>
                <a:gridCol w="2154189">
                  <a:extLst>
                    <a:ext uri="{9D8B030D-6E8A-4147-A177-3AD203B41FA5}">
                      <a16:colId xmlns:a16="http://schemas.microsoft.com/office/drawing/2014/main" val="4190011973"/>
                    </a:ext>
                  </a:extLst>
                </a:gridCol>
                <a:gridCol w="2075376">
                  <a:extLst>
                    <a:ext uri="{9D8B030D-6E8A-4147-A177-3AD203B41FA5}">
                      <a16:colId xmlns:a16="http://schemas.microsoft.com/office/drawing/2014/main" val="2851716476"/>
                    </a:ext>
                  </a:extLst>
                </a:gridCol>
              </a:tblGrid>
              <a:tr h="341112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400" b="1" dirty="0">
                          <a:solidFill>
                            <a:schemeClr val="tx1"/>
                          </a:solidFill>
                        </a:rPr>
                        <a:t>Srdeční selhání </a:t>
                      </a:r>
                      <a:endParaRPr lang="en-GB" sz="2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noProof="0" dirty="0">
                          <a:solidFill>
                            <a:schemeClr val="tx1"/>
                          </a:solidFill>
                        </a:rPr>
                        <a:t>Predikce prevalence</a:t>
                      </a:r>
                      <a:r>
                        <a:rPr lang="cs-CZ" sz="1400" baseline="0" noProof="0" dirty="0">
                          <a:solidFill>
                            <a:schemeClr val="tx1"/>
                          </a:solidFill>
                        </a:rPr>
                        <a:t> (včetně 95% intervalů spolehlivosti)</a:t>
                      </a:r>
                      <a:endParaRPr lang="cs-CZ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cs-CZ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1585697"/>
                  </a:ext>
                </a:extLst>
              </a:tr>
              <a:tr h="328052">
                <a:tc vMerge="1">
                  <a:txBody>
                    <a:bodyPr/>
                    <a:lstStyle/>
                    <a:p>
                      <a:pPr algn="ctr"/>
                      <a:endParaRPr lang="cs-CZ" sz="12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600" b="1" noProof="0" dirty="0">
                          <a:solidFill>
                            <a:schemeClr val="tx1"/>
                          </a:solidFill>
                        </a:rPr>
                        <a:t>Rok 202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noProof="0" dirty="0">
                          <a:solidFill>
                            <a:schemeClr val="tx1"/>
                          </a:solidFill>
                        </a:rPr>
                        <a:t>202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600" b="1" noProof="0" dirty="0">
                          <a:solidFill>
                            <a:schemeClr val="tx1"/>
                          </a:solidFill>
                        </a:rPr>
                        <a:t>2030</a:t>
                      </a:r>
                      <a:endParaRPr lang="cs-CZ" sz="16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981349"/>
                  </a:ext>
                </a:extLst>
              </a:tr>
              <a:tr h="341112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cs-CZ" sz="12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4 63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552</a:t>
                      </a:r>
                      <a:b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8 427–38 62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797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3 178–44 12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14821"/>
                  </a:ext>
                </a:extLst>
              </a:tr>
            </a:tbl>
          </a:graphicData>
        </a:graphic>
      </p:graphicFrame>
      <p:sp>
        <p:nvSpPr>
          <p:cNvPr id="11" name="TextovéPole 10">
            <a:extLst>
              <a:ext uri="{FF2B5EF4-FFF2-40B4-BE49-F238E27FC236}">
                <a16:creationId xmlns:a16="http://schemas.microsoft.com/office/drawing/2014/main" id="{20C2C7D5-87B0-DEE5-9481-664C844063EE}"/>
              </a:ext>
            </a:extLst>
          </p:cNvPr>
          <p:cNvSpPr txBox="1"/>
          <p:nvPr/>
        </p:nvSpPr>
        <p:spPr>
          <a:xfrm>
            <a:off x="8810355" y="2749850"/>
            <a:ext cx="2939591" cy="584775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lang="cs-CZ" sz="3200" b="1" dirty="0">
                <a:solidFill>
                  <a:prstClr val="white"/>
                </a:solidFill>
                <a:latin typeface="Calibri" panose="020F0502020204030204"/>
              </a:rPr>
              <a:t>27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 za 10 let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39655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ovéPole 1">
            <a:extLst>
              <a:ext uri="{FF2B5EF4-FFF2-40B4-BE49-F238E27FC236}">
                <a16:creationId xmlns:a16="http://schemas.microsoft.com/office/drawing/2014/main" id="{9BDB3625-FA83-6388-78B6-1F874EDA7363}"/>
              </a:ext>
            </a:extLst>
          </p:cNvPr>
          <p:cNvSpPr txBox="1"/>
          <p:nvPr/>
        </p:nvSpPr>
        <p:spPr>
          <a:xfrm>
            <a:off x="1170214" y="1372976"/>
            <a:ext cx="9851571" cy="12618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800" b="1" i="0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stém budovaný s cílem maximálně využíva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800" b="1" i="0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iž existující data a tato vzájemně validovat </a:t>
            </a:r>
            <a:endParaRPr kumimoji="0" lang="en-US" sz="3800" b="1" i="0" u="none" strike="noStrike" kern="1200" cap="none" spc="0" normalizeH="0" baseline="0" noProof="0" dirty="0">
              <a:ln>
                <a:noFill/>
              </a:ln>
              <a:solidFill>
                <a:srgbClr val="30829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Obrázek 1">
            <a:extLst>
              <a:ext uri="{FF2B5EF4-FFF2-40B4-BE49-F238E27FC236}">
                <a16:creationId xmlns:a16="http://schemas.microsoft.com/office/drawing/2014/main" id="{496836ED-1F9A-BF1C-5B96-548C3088AA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4809" y="2769501"/>
            <a:ext cx="3188056" cy="3297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Obrázek 2">
            <a:extLst>
              <a:ext uri="{FF2B5EF4-FFF2-40B4-BE49-F238E27FC236}">
                <a16:creationId xmlns:a16="http://schemas.microsoft.com/office/drawing/2014/main" id="{A3344C3B-0550-E607-7D2A-C39A3A0FCA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4241" y="2769501"/>
            <a:ext cx="3378723" cy="3157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17">
            <a:extLst>
              <a:ext uri="{FF2B5EF4-FFF2-40B4-BE49-F238E27FC236}">
                <a16:creationId xmlns:a16="http://schemas.microsoft.com/office/drawing/2014/main" id="{CD54B3B4-F735-25D8-FB25-D3ACCEEF9A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09560" y="215150"/>
            <a:ext cx="3851920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Tx/>
              <a:buNone/>
              <a:tabLst/>
              <a:defRPr/>
            </a:pPr>
            <a:r>
              <a:rPr kumimoji="0" lang="cs-CZ" altLang="cs-CZ" sz="6000" b="0" i="1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lgerian" panose="04020705040A02060702" pitchFamily="82" charset="0"/>
                <a:ea typeface="+mn-ea"/>
                <a:cs typeface="+mn-cs"/>
              </a:rPr>
              <a:t>NZIS</a:t>
            </a:r>
          </a:p>
        </p:txBody>
      </p:sp>
      <p:pic>
        <p:nvPicPr>
          <p:cNvPr id="6" name="Picture 14" descr="https://encrypted-tbn0.gstatic.com/images?q=tbn:ANd9GcSGSRoGMu0TlCRBZQioYL2jBYMv_ynj9IHg4PY9OHI-v7v3bl_tPlAPaZ6U">
            <a:extLst>
              <a:ext uri="{FF2B5EF4-FFF2-40B4-BE49-F238E27FC236}">
                <a16:creationId xmlns:a16="http://schemas.microsoft.com/office/drawing/2014/main" id="{45261A54-AF11-9369-C7D9-86245041A4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9880" y="357313"/>
            <a:ext cx="694929" cy="749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7">
            <a:extLst>
              <a:ext uri="{FF2B5EF4-FFF2-40B4-BE49-F238E27FC236}">
                <a16:creationId xmlns:a16="http://schemas.microsoft.com/office/drawing/2014/main" id="{D881918A-5F56-4407-1E4A-B151A46776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178" b="854"/>
          <a:stretch>
            <a:fillRect/>
          </a:stretch>
        </p:blipFill>
        <p:spPr bwMode="auto">
          <a:xfrm>
            <a:off x="7058847" y="863477"/>
            <a:ext cx="775648" cy="4434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249998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10F3FD24-029A-4EE3-553A-B39735506AB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4704900"/>
              </p:ext>
            </p:extLst>
          </p:nvPr>
        </p:nvGraphicFramePr>
        <p:xfrm>
          <a:off x="346289" y="1182373"/>
          <a:ext cx="11499421" cy="42456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235622"/>
            <a:ext cx="11664778" cy="573989"/>
          </a:xfrm>
        </p:spPr>
        <p:txBody>
          <a:bodyPr anchor="t">
            <a:noAutofit/>
          </a:bodyPr>
          <a:lstStyle/>
          <a:p>
            <a:r>
              <a:rPr lang="pl-PL" sz="2800" dirty="0"/>
              <a:t>Počet živě narozených v HMP a predikované počty do roku 2070</a:t>
            </a:r>
            <a:br>
              <a:rPr lang="pl-PL" sz="2800" dirty="0"/>
            </a:br>
            <a:endParaRPr lang="cs-CZ" sz="2800" dirty="0"/>
          </a:p>
        </p:txBody>
      </p:sp>
      <p:sp>
        <p:nvSpPr>
          <p:cNvPr id="3" name="TextBox 6">
            <a:extLst>
              <a:ext uri="{FF2B5EF4-FFF2-40B4-BE49-F238E27FC236}">
                <a16:creationId xmlns:a16="http://schemas.microsoft.com/office/drawing/2014/main" id="{172662AF-74F5-E158-2D2C-6815BEA542B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1426" y="659153"/>
            <a:ext cx="808522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Zdroj: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563C1"/>
                </a:solidFill>
                <a:effectLst/>
                <a:uLnTx/>
                <a:uFillTx/>
                <a:ea typeface="+mn-ea"/>
                <a:cs typeface="+mn-cs"/>
              </a:rPr>
              <a:t>ČSÚ    </a:t>
            </a:r>
            <a:r>
              <a:rPr lang="cs-CZ" sz="1400" dirty="0">
                <a:solidFill>
                  <a:srgbClr val="0563C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ojekce obyvatelstva v krajích ČR - do roku 2070 | Produkty (gov.cz)</a:t>
            </a:r>
            <a:r>
              <a:rPr lang="cs-CZ" sz="1400" dirty="0">
                <a:solidFill>
                  <a:srgbClr val="0563C1"/>
                </a:solidFill>
              </a:rPr>
              <a:t> </a:t>
            </a:r>
            <a:r>
              <a:rPr lang="de-DE" sz="1400" dirty="0"/>
              <a:t>Datum </a:t>
            </a:r>
            <a:r>
              <a:rPr lang="de-DE" sz="1400" dirty="0" err="1"/>
              <a:t>vydání</a:t>
            </a:r>
            <a:r>
              <a:rPr lang="de-DE" sz="1400" dirty="0"/>
              <a:t>: 28. 11. 2019</a:t>
            </a:r>
            <a:endParaRPr lang="cs-CZ" sz="14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>
                <a:solidFill>
                  <a:prstClr val="black"/>
                </a:solidFill>
              </a:rPr>
              <a:t>  	</a:t>
            </a:r>
            <a:r>
              <a:rPr lang="cs-CZ" sz="1400" dirty="0">
                <a:hlinkClick r:id="rId7"/>
              </a:rPr>
              <a:t>Časové řady - lidé / Time </a:t>
            </a:r>
            <a:r>
              <a:rPr lang="cs-CZ" sz="1400" dirty="0" err="1">
                <a:hlinkClick r:id="rId7"/>
              </a:rPr>
              <a:t>series</a:t>
            </a:r>
            <a:r>
              <a:rPr lang="cs-CZ" sz="1400" dirty="0">
                <a:hlinkClick r:id="rId7"/>
              </a:rPr>
              <a:t> - </a:t>
            </a:r>
            <a:r>
              <a:rPr lang="cs-CZ" sz="1400" dirty="0" err="1">
                <a:hlinkClick r:id="rId7"/>
              </a:rPr>
              <a:t>people</a:t>
            </a:r>
            <a:r>
              <a:rPr lang="cs-CZ" sz="1400" dirty="0">
                <a:hlinkClick r:id="rId7"/>
              </a:rPr>
              <a:t> | Praha (gov.cz)</a:t>
            </a:r>
            <a:r>
              <a:rPr lang="cs-CZ" sz="1400" dirty="0"/>
              <a:t>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1A9EA5F8-BA6E-63E1-B9B7-AB5177EB5DB8}"/>
              </a:ext>
            </a:extLst>
          </p:cNvPr>
          <p:cNvSpPr txBox="1"/>
          <p:nvPr/>
        </p:nvSpPr>
        <p:spPr>
          <a:xfrm>
            <a:off x="1137247" y="5428034"/>
            <a:ext cx="10925050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>
                <a:solidFill>
                  <a:prstClr val="black"/>
                </a:solidFill>
                <a:latin typeface="Calibri" panose="020F0502020204030204"/>
              </a:rPr>
              <a:t>Dostupná p</a:t>
            </a:r>
            <a:r>
              <a:rPr kumimoji="0" lang="cs-CZ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jekce</a:t>
            </a:r>
            <a:r>
              <a:rPr kumimoji="0" lang="cs-CZ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byvatelstva krajů ČSÚ z roku </a:t>
            </a:r>
            <a:r>
              <a:rPr lang="cs-CZ" dirty="0">
                <a:solidFill>
                  <a:prstClr val="black"/>
                </a:solidFill>
                <a:latin typeface="Calibri" panose="020F0502020204030204"/>
              </a:rPr>
              <a:t>2019</a:t>
            </a:r>
            <a:r>
              <a:rPr kumimoji="0" lang="cs-CZ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ukazuje na dlouhodobě mírně rostoucí trend počtu narozených v Hl. m. Praze, ale aktuální data o počtu narozených vykazují o 14% nižší počty, než předpokládala </a:t>
            </a:r>
            <a:br>
              <a:rPr kumimoji="0" lang="cs-CZ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to projekce. Otázkou zůstává budoucí vývoj silného vlivu migrace v Praze.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F429249F-F7EF-089C-4DA8-96344CB882C4}"/>
              </a:ext>
            </a:extLst>
          </p:cNvPr>
          <p:cNvSpPr txBox="1"/>
          <p:nvPr/>
        </p:nvSpPr>
        <p:spPr>
          <a:xfrm>
            <a:off x="10107141" y="2867857"/>
            <a:ext cx="19551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 tisíc narozených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51D04B8E-6106-6875-1C4B-B5D38BE2B695}"/>
              </a:ext>
            </a:extLst>
          </p:cNvPr>
          <p:cNvCxnSpPr/>
          <p:nvPr/>
        </p:nvCxnSpPr>
        <p:spPr>
          <a:xfrm>
            <a:off x="6780179" y="1414928"/>
            <a:ext cx="0" cy="3521412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345932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235622"/>
            <a:ext cx="11664778" cy="573989"/>
          </a:xfrm>
        </p:spPr>
        <p:txBody>
          <a:bodyPr anchor="t">
            <a:normAutofit/>
          </a:bodyPr>
          <a:lstStyle/>
          <a:p>
            <a:r>
              <a:rPr lang="cs-CZ" sz="2800" dirty="0"/>
              <a:t>Psychiatrické diagnózy - ČR: predikce možného vývoje populační zátěže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8207CF85-D1EA-6878-F405-1BB6AF82F1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2661" y="1823233"/>
            <a:ext cx="2464804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ěti a mladiství 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A8D58B3C-2561-901F-AFC6-ED033704C5DC}"/>
              </a:ext>
            </a:extLst>
          </p:cNvPr>
          <p:cNvSpPr txBox="1"/>
          <p:nvPr/>
        </p:nvSpPr>
        <p:spPr>
          <a:xfrm>
            <a:off x="3019649" y="914399"/>
            <a:ext cx="930015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600" b="1" dirty="0"/>
              <a:t>2013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3ACC9F50-AEB4-E46B-EE10-C2C6AC801A38}"/>
              </a:ext>
            </a:extLst>
          </p:cNvPr>
          <p:cNvSpPr txBox="1"/>
          <p:nvPr/>
        </p:nvSpPr>
        <p:spPr>
          <a:xfrm>
            <a:off x="5128440" y="917744"/>
            <a:ext cx="930015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600" b="1" dirty="0"/>
              <a:t>2023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40D25C81-B9CF-DEE9-1D7E-4FA8DD549A4C}"/>
              </a:ext>
            </a:extLst>
          </p:cNvPr>
          <p:cNvSpPr txBox="1"/>
          <p:nvPr/>
        </p:nvSpPr>
        <p:spPr>
          <a:xfrm>
            <a:off x="7237231" y="914399"/>
            <a:ext cx="930015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600" b="1" dirty="0"/>
              <a:t>2033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FFE545E3-8F1D-0142-8380-A8690D32D317}"/>
              </a:ext>
            </a:extLst>
          </p:cNvPr>
          <p:cNvSpPr txBox="1"/>
          <p:nvPr/>
        </p:nvSpPr>
        <p:spPr>
          <a:xfrm>
            <a:off x="9239696" y="914399"/>
            <a:ext cx="930015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600" b="1" dirty="0"/>
              <a:t>2043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45FA0BE5-6507-F41B-AA67-36E8024CE51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2660" y="2975094"/>
            <a:ext cx="2794413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pělí 20 – 64 </a:t>
            </a:r>
            <a:r>
              <a:rPr kumimoji="0" lang="cs-CZ" sz="2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</a:t>
            </a:r>
            <a:r>
              <a:rPr lang="cs-CZ" sz="2600" b="1" dirty="0">
                <a:solidFill>
                  <a:prstClr val="black"/>
                </a:solidFill>
                <a:latin typeface="Calibri" panose="020F0502020204030204"/>
              </a:rPr>
              <a:t>t</a:t>
            </a:r>
            <a:endParaRPr kumimoji="0" lang="cs-CZ" sz="2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1D4D8C0A-55D2-3A91-DC00-0CAB9F63EC0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2659" y="4057357"/>
            <a:ext cx="2794413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pělí 65+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333475D0-D5C5-9A01-1194-617D04BD1671}"/>
              </a:ext>
            </a:extLst>
          </p:cNvPr>
          <p:cNvSpPr txBox="1"/>
          <p:nvPr/>
        </p:nvSpPr>
        <p:spPr>
          <a:xfrm>
            <a:off x="10545643" y="1699717"/>
            <a:ext cx="1470997" cy="584775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85%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7E359A39-13CA-5878-7571-20A276D770D2}"/>
              </a:ext>
            </a:extLst>
          </p:cNvPr>
          <p:cNvSpPr txBox="1"/>
          <p:nvPr/>
        </p:nvSpPr>
        <p:spPr>
          <a:xfrm>
            <a:off x="10545644" y="2758050"/>
            <a:ext cx="1470997" cy="584775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32%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926ED97E-3F7F-49D4-B0DD-1D85C2A1E105}"/>
              </a:ext>
            </a:extLst>
          </p:cNvPr>
          <p:cNvSpPr txBox="1"/>
          <p:nvPr/>
        </p:nvSpPr>
        <p:spPr>
          <a:xfrm>
            <a:off x="10545643" y="3896800"/>
            <a:ext cx="1470997" cy="584775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148%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2D9A15BB-AB73-08BB-1CB5-8C8BC38F19E3}"/>
              </a:ext>
            </a:extLst>
          </p:cNvPr>
          <p:cNvSpPr txBox="1"/>
          <p:nvPr/>
        </p:nvSpPr>
        <p:spPr>
          <a:xfrm>
            <a:off x="3019649" y="1913859"/>
            <a:ext cx="10192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dirty="0"/>
              <a:t>47 tis.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C0E9BD85-CC1B-0352-7D01-740E92B1C369}"/>
              </a:ext>
            </a:extLst>
          </p:cNvPr>
          <p:cNvSpPr txBox="1"/>
          <p:nvPr/>
        </p:nvSpPr>
        <p:spPr>
          <a:xfrm>
            <a:off x="5128440" y="1850431"/>
            <a:ext cx="10192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dirty="0"/>
              <a:t>66 tis.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AD613ABC-BB07-FA79-F2EB-2B9F53D9CB70}"/>
              </a:ext>
            </a:extLst>
          </p:cNvPr>
          <p:cNvSpPr txBox="1"/>
          <p:nvPr/>
        </p:nvSpPr>
        <p:spPr>
          <a:xfrm>
            <a:off x="7190106" y="1763145"/>
            <a:ext cx="10192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dirty="0"/>
              <a:t>93 tis.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A789BB67-5271-6C66-1305-243BCF7F82F7}"/>
              </a:ext>
            </a:extLst>
          </p:cNvPr>
          <p:cNvSpPr txBox="1"/>
          <p:nvPr/>
        </p:nvSpPr>
        <p:spPr>
          <a:xfrm>
            <a:off x="9172351" y="1699717"/>
            <a:ext cx="1145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b="1" dirty="0">
                <a:solidFill>
                  <a:srgbClr val="C00000"/>
                </a:solidFill>
              </a:rPr>
              <a:t>122 tis.</a:t>
            </a:r>
          </a:p>
        </p:txBody>
      </p:sp>
      <p:cxnSp>
        <p:nvCxnSpPr>
          <p:cNvPr id="17" name="Přímá spojnice se šipkou 16">
            <a:extLst>
              <a:ext uri="{FF2B5EF4-FFF2-40B4-BE49-F238E27FC236}">
                <a16:creationId xmlns:a16="http://schemas.microsoft.com/office/drawing/2014/main" id="{90AFC1E9-E57B-428B-E263-8C5EEE7539B6}"/>
              </a:ext>
            </a:extLst>
          </p:cNvPr>
          <p:cNvCxnSpPr>
            <a:cxnSpLocks/>
          </p:cNvCxnSpPr>
          <p:nvPr/>
        </p:nvCxnSpPr>
        <p:spPr>
          <a:xfrm>
            <a:off x="6148235" y="2312096"/>
            <a:ext cx="930018" cy="5884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E129CE92-46D3-B8B4-FC72-9BA85F20D8CA}"/>
              </a:ext>
            </a:extLst>
          </p:cNvPr>
          <p:cNvCxnSpPr>
            <a:cxnSpLocks/>
          </p:cNvCxnSpPr>
          <p:nvPr/>
        </p:nvCxnSpPr>
        <p:spPr>
          <a:xfrm>
            <a:off x="8271559" y="2274782"/>
            <a:ext cx="915994" cy="5800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0EF03A34-B66F-8B68-3814-B0DED21EBF81}"/>
              </a:ext>
            </a:extLst>
          </p:cNvPr>
          <p:cNvSpPr txBox="1"/>
          <p:nvPr/>
        </p:nvSpPr>
        <p:spPr>
          <a:xfrm>
            <a:off x="3019649" y="2968558"/>
            <a:ext cx="1145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dirty="0"/>
              <a:t>376 tis.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BE4CFF53-F5C3-98EF-9918-8627CD13E9BB}"/>
              </a:ext>
            </a:extLst>
          </p:cNvPr>
          <p:cNvSpPr txBox="1"/>
          <p:nvPr/>
        </p:nvSpPr>
        <p:spPr>
          <a:xfrm>
            <a:off x="5128439" y="2905130"/>
            <a:ext cx="11458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dirty="0"/>
              <a:t>413 tis.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BE4524F0-3380-06C9-C693-525E3321AA9B}"/>
              </a:ext>
            </a:extLst>
          </p:cNvPr>
          <p:cNvSpPr txBox="1"/>
          <p:nvPr/>
        </p:nvSpPr>
        <p:spPr>
          <a:xfrm>
            <a:off x="7078253" y="2904781"/>
            <a:ext cx="12454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dirty="0"/>
              <a:t>474 tis.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BA8C8693-6765-D27A-A024-6C2F5A3FFFD9}"/>
              </a:ext>
            </a:extLst>
          </p:cNvPr>
          <p:cNvSpPr txBox="1"/>
          <p:nvPr/>
        </p:nvSpPr>
        <p:spPr>
          <a:xfrm>
            <a:off x="9172351" y="2871641"/>
            <a:ext cx="1145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b="1" dirty="0">
                <a:solidFill>
                  <a:srgbClr val="C00000"/>
                </a:solidFill>
              </a:rPr>
              <a:t>540 tis.</a:t>
            </a:r>
          </a:p>
        </p:txBody>
      </p: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575A6BE3-8628-27EF-C902-C8A6518B5EB0}"/>
              </a:ext>
            </a:extLst>
          </p:cNvPr>
          <p:cNvCxnSpPr>
            <a:cxnSpLocks/>
          </p:cNvCxnSpPr>
          <p:nvPr/>
        </p:nvCxnSpPr>
        <p:spPr>
          <a:xfrm>
            <a:off x="6148235" y="3504908"/>
            <a:ext cx="930018" cy="5884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49B2C954-DB9A-F6D4-5220-87CA22662C72}"/>
              </a:ext>
            </a:extLst>
          </p:cNvPr>
          <p:cNvCxnSpPr>
            <a:cxnSpLocks/>
          </p:cNvCxnSpPr>
          <p:nvPr/>
        </p:nvCxnSpPr>
        <p:spPr>
          <a:xfrm>
            <a:off x="8271559" y="3467594"/>
            <a:ext cx="915994" cy="5800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54AC0651-C12D-B8E6-7995-C1F843228A59}"/>
              </a:ext>
            </a:extLst>
          </p:cNvPr>
          <p:cNvSpPr txBox="1"/>
          <p:nvPr/>
        </p:nvSpPr>
        <p:spPr>
          <a:xfrm>
            <a:off x="2985169" y="4158412"/>
            <a:ext cx="1145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dirty="0"/>
              <a:t>145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E414EA2-C62E-FC82-2EFA-4AB99C776D86}"/>
              </a:ext>
            </a:extLst>
          </p:cNvPr>
          <p:cNvSpPr txBox="1"/>
          <p:nvPr/>
        </p:nvSpPr>
        <p:spPr>
          <a:xfrm>
            <a:off x="5093959" y="4094984"/>
            <a:ext cx="11458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dirty="0"/>
              <a:t>207 tis.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B30423F3-EC97-3379-76A0-4650E3B1E915}"/>
              </a:ext>
            </a:extLst>
          </p:cNvPr>
          <p:cNvSpPr txBox="1"/>
          <p:nvPr/>
        </p:nvSpPr>
        <p:spPr>
          <a:xfrm>
            <a:off x="7043773" y="4094635"/>
            <a:ext cx="12454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dirty="0"/>
              <a:t>323 tis.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7EED327D-4915-76A5-3D30-99AC49CE3BE7}"/>
              </a:ext>
            </a:extLst>
          </p:cNvPr>
          <p:cNvSpPr txBox="1"/>
          <p:nvPr/>
        </p:nvSpPr>
        <p:spPr>
          <a:xfrm>
            <a:off x="9137871" y="4061495"/>
            <a:ext cx="1145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b="1" dirty="0">
                <a:solidFill>
                  <a:srgbClr val="C00000"/>
                </a:solidFill>
              </a:rPr>
              <a:t>514 tis.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6C9BD171-37D4-01D4-792B-EE3CD4752714}"/>
              </a:ext>
            </a:extLst>
          </p:cNvPr>
          <p:cNvSpPr txBox="1"/>
          <p:nvPr/>
        </p:nvSpPr>
        <p:spPr>
          <a:xfrm>
            <a:off x="2277475" y="4968279"/>
            <a:ext cx="7740502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3800" b="1" dirty="0">
                <a:solidFill>
                  <a:srgbClr val="C00000"/>
                </a:solidFill>
              </a:rPr>
              <a:t>Věkové kategorie s rizikovým růstem:</a:t>
            </a:r>
          </a:p>
          <a:p>
            <a:pPr algn="ctr"/>
            <a:r>
              <a:rPr lang="cs-CZ" sz="3800" b="1" u="sng" dirty="0">
                <a:solidFill>
                  <a:srgbClr val="C00000"/>
                </a:solidFill>
              </a:rPr>
              <a:t>15-19</a:t>
            </a:r>
            <a:r>
              <a:rPr lang="cs-CZ" sz="3800" b="1" dirty="0">
                <a:solidFill>
                  <a:srgbClr val="C00000"/>
                </a:solidFill>
              </a:rPr>
              <a:t> a </a:t>
            </a:r>
            <a:r>
              <a:rPr lang="cs-CZ" sz="3800" b="1" u="sng" dirty="0">
                <a:solidFill>
                  <a:srgbClr val="C00000"/>
                </a:solidFill>
              </a:rPr>
              <a:t>70+ </a:t>
            </a: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42DC00FC-E836-3AB7-A51B-BAFB412EDD9C}"/>
              </a:ext>
            </a:extLst>
          </p:cNvPr>
          <p:cNvSpPr txBox="1"/>
          <p:nvPr/>
        </p:nvSpPr>
        <p:spPr>
          <a:xfrm>
            <a:off x="10345475" y="1129966"/>
            <a:ext cx="187133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200" b="1" dirty="0">
                <a:solidFill>
                  <a:srgbClr val="C00000"/>
                </a:solidFill>
              </a:rPr>
              <a:t>2023 -&gt; 2043</a:t>
            </a:r>
          </a:p>
        </p:txBody>
      </p:sp>
    </p:spTree>
    <p:extLst>
      <p:ext uri="{BB962C8B-B14F-4D97-AF65-F5344CB8AC3E}">
        <p14:creationId xmlns:p14="http://schemas.microsoft.com/office/powerpoint/2010/main" val="363745255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235622"/>
            <a:ext cx="11664778" cy="573989"/>
          </a:xfrm>
        </p:spPr>
        <p:txBody>
          <a:bodyPr anchor="t">
            <a:normAutofit/>
          </a:bodyPr>
          <a:lstStyle/>
          <a:p>
            <a:r>
              <a:rPr lang="cs-CZ" sz="2800" dirty="0"/>
              <a:t>Psychiatrické diagnózy - Praha: predikce možného vývoje populační zátěže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8207CF85-D1EA-6878-F405-1BB6AF82F1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2661" y="1823233"/>
            <a:ext cx="2464804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ěti a mladiství 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A8D58B3C-2561-901F-AFC6-ED033704C5DC}"/>
              </a:ext>
            </a:extLst>
          </p:cNvPr>
          <p:cNvSpPr txBox="1"/>
          <p:nvPr/>
        </p:nvSpPr>
        <p:spPr>
          <a:xfrm>
            <a:off x="3019649" y="914399"/>
            <a:ext cx="930015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600" b="1" dirty="0"/>
              <a:t>2013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3ACC9F50-AEB4-E46B-EE10-C2C6AC801A38}"/>
              </a:ext>
            </a:extLst>
          </p:cNvPr>
          <p:cNvSpPr txBox="1"/>
          <p:nvPr/>
        </p:nvSpPr>
        <p:spPr>
          <a:xfrm>
            <a:off x="5128440" y="917744"/>
            <a:ext cx="930015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600" b="1" dirty="0"/>
              <a:t>2023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40D25C81-B9CF-DEE9-1D7E-4FA8DD549A4C}"/>
              </a:ext>
            </a:extLst>
          </p:cNvPr>
          <p:cNvSpPr txBox="1"/>
          <p:nvPr/>
        </p:nvSpPr>
        <p:spPr>
          <a:xfrm>
            <a:off x="7237231" y="914399"/>
            <a:ext cx="930015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600" b="1" dirty="0"/>
              <a:t>2033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FFE545E3-8F1D-0142-8380-A8690D32D317}"/>
              </a:ext>
            </a:extLst>
          </p:cNvPr>
          <p:cNvSpPr txBox="1"/>
          <p:nvPr/>
        </p:nvSpPr>
        <p:spPr>
          <a:xfrm>
            <a:off x="9239696" y="914399"/>
            <a:ext cx="930015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600" b="1" dirty="0"/>
              <a:t>2043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45FA0BE5-6507-F41B-AA67-36E8024CE51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2660" y="2975094"/>
            <a:ext cx="2794413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pělí 20 – 64 </a:t>
            </a:r>
            <a:r>
              <a:rPr kumimoji="0" lang="cs-CZ" sz="2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</a:t>
            </a:r>
            <a:r>
              <a:rPr lang="cs-CZ" sz="2600" b="1" dirty="0">
                <a:solidFill>
                  <a:prstClr val="black"/>
                </a:solidFill>
                <a:latin typeface="Calibri" panose="020F0502020204030204"/>
              </a:rPr>
              <a:t>t</a:t>
            </a:r>
            <a:endParaRPr kumimoji="0" lang="cs-CZ" sz="2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1D4D8C0A-55D2-3A91-DC00-0CAB9F63EC0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2660" y="4127634"/>
            <a:ext cx="2794413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pělí 65+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333475D0-D5C5-9A01-1194-617D04BD1671}"/>
              </a:ext>
            </a:extLst>
          </p:cNvPr>
          <p:cNvSpPr txBox="1"/>
          <p:nvPr/>
        </p:nvSpPr>
        <p:spPr>
          <a:xfrm>
            <a:off x="10545643" y="1699717"/>
            <a:ext cx="1470997" cy="584775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184%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7E359A39-13CA-5878-7571-20A276D770D2}"/>
              </a:ext>
            </a:extLst>
          </p:cNvPr>
          <p:cNvSpPr txBox="1"/>
          <p:nvPr/>
        </p:nvSpPr>
        <p:spPr>
          <a:xfrm>
            <a:off x="10545644" y="2758050"/>
            <a:ext cx="1470997" cy="584775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25%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926ED97E-3F7F-49D4-B0DD-1D85C2A1E105}"/>
              </a:ext>
            </a:extLst>
          </p:cNvPr>
          <p:cNvSpPr txBox="1"/>
          <p:nvPr/>
        </p:nvSpPr>
        <p:spPr>
          <a:xfrm>
            <a:off x="10545643" y="3896800"/>
            <a:ext cx="1470997" cy="584775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144%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2D9A15BB-AB73-08BB-1CB5-8C8BC38F19E3}"/>
              </a:ext>
            </a:extLst>
          </p:cNvPr>
          <p:cNvSpPr txBox="1"/>
          <p:nvPr/>
        </p:nvSpPr>
        <p:spPr>
          <a:xfrm>
            <a:off x="3019649" y="1913859"/>
            <a:ext cx="10192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dirty="0"/>
              <a:t>4,7 tis.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C0E9BD85-CC1B-0352-7D01-740E92B1C369}"/>
              </a:ext>
            </a:extLst>
          </p:cNvPr>
          <p:cNvSpPr txBox="1"/>
          <p:nvPr/>
        </p:nvSpPr>
        <p:spPr>
          <a:xfrm>
            <a:off x="5128440" y="1850431"/>
            <a:ext cx="10192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dirty="0"/>
              <a:t>8,3 tis.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AD613ABC-BB07-FA79-F2EB-2B9F53D9CB70}"/>
              </a:ext>
            </a:extLst>
          </p:cNvPr>
          <p:cNvSpPr txBox="1"/>
          <p:nvPr/>
        </p:nvSpPr>
        <p:spPr>
          <a:xfrm>
            <a:off x="7043773" y="1825445"/>
            <a:ext cx="11656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dirty="0"/>
              <a:t>14,7 tis.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A789BB67-5271-6C66-1305-243BCF7F82F7}"/>
              </a:ext>
            </a:extLst>
          </p:cNvPr>
          <p:cNvSpPr txBox="1"/>
          <p:nvPr/>
        </p:nvSpPr>
        <p:spPr>
          <a:xfrm>
            <a:off x="9027042" y="1751329"/>
            <a:ext cx="12911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b="1" dirty="0">
                <a:solidFill>
                  <a:srgbClr val="C00000"/>
                </a:solidFill>
              </a:rPr>
              <a:t>23,6 tis.</a:t>
            </a:r>
          </a:p>
        </p:txBody>
      </p:sp>
      <p:cxnSp>
        <p:nvCxnSpPr>
          <p:cNvPr id="17" name="Přímá spojnice se šipkou 16">
            <a:extLst>
              <a:ext uri="{FF2B5EF4-FFF2-40B4-BE49-F238E27FC236}">
                <a16:creationId xmlns:a16="http://schemas.microsoft.com/office/drawing/2014/main" id="{90AFC1E9-E57B-428B-E263-8C5EEE7539B6}"/>
              </a:ext>
            </a:extLst>
          </p:cNvPr>
          <p:cNvCxnSpPr>
            <a:cxnSpLocks/>
          </p:cNvCxnSpPr>
          <p:nvPr/>
        </p:nvCxnSpPr>
        <p:spPr>
          <a:xfrm>
            <a:off x="6148235" y="2312096"/>
            <a:ext cx="930018" cy="5884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E129CE92-46D3-B8B4-FC72-9BA85F20D8CA}"/>
              </a:ext>
            </a:extLst>
          </p:cNvPr>
          <p:cNvCxnSpPr>
            <a:cxnSpLocks/>
          </p:cNvCxnSpPr>
          <p:nvPr/>
        </p:nvCxnSpPr>
        <p:spPr>
          <a:xfrm>
            <a:off x="8271559" y="2274782"/>
            <a:ext cx="915994" cy="5800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0EF03A34-B66F-8B68-3814-B0DED21EBF81}"/>
              </a:ext>
            </a:extLst>
          </p:cNvPr>
          <p:cNvSpPr txBox="1"/>
          <p:nvPr/>
        </p:nvSpPr>
        <p:spPr>
          <a:xfrm>
            <a:off x="3019648" y="2968558"/>
            <a:ext cx="12255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dirty="0"/>
              <a:t>56,7 tis.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BE4CFF53-F5C3-98EF-9918-8627CD13E9BB}"/>
              </a:ext>
            </a:extLst>
          </p:cNvPr>
          <p:cNvSpPr txBox="1"/>
          <p:nvPr/>
        </p:nvSpPr>
        <p:spPr>
          <a:xfrm>
            <a:off x="4954929" y="2905130"/>
            <a:ext cx="13193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dirty="0"/>
              <a:t>61,3 tis.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BE4524F0-3380-06C9-C693-525E3321AA9B}"/>
              </a:ext>
            </a:extLst>
          </p:cNvPr>
          <p:cNvSpPr txBox="1"/>
          <p:nvPr/>
        </p:nvSpPr>
        <p:spPr>
          <a:xfrm>
            <a:off x="7078253" y="2904781"/>
            <a:ext cx="12454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dirty="0"/>
              <a:t>68,0 tis.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BA8C8693-6765-D27A-A024-6C2F5A3FFFD9}"/>
              </a:ext>
            </a:extLst>
          </p:cNvPr>
          <p:cNvSpPr txBox="1"/>
          <p:nvPr/>
        </p:nvSpPr>
        <p:spPr>
          <a:xfrm>
            <a:off x="9059132" y="2860125"/>
            <a:ext cx="12911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b="1" dirty="0">
                <a:solidFill>
                  <a:srgbClr val="C00000"/>
                </a:solidFill>
              </a:rPr>
              <a:t>76,9 tis.</a:t>
            </a:r>
          </a:p>
        </p:txBody>
      </p: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575A6BE3-8628-27EF-C902-C8A6518B5EB0}"/>
              </a:ext>
            </a:extLst>
          </p:cNvPr>
          <p:cNvCxnSpPr>
            <a:cxnSpLocks/>
          </p:cNvCxnSpPr>
          <p:nvPr/>
        </p:nvCxnSpPr>
        <p:spPr>
          <a:xfrm>
            <a:off x="6148235" y="3504908"/>
            <a:ext cx="930018" cy="5884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49B2C954-DB9A-F6D4-5220-87CA22662C72}"/>
              </a:ext>
            </a:extLst>
          </p:cNvPr>
          <p:cNvCxnSpPr>
            <a:cxnSpLocks/>
          </p:cNvCxnSpPr>
          <p:nvPr/>
        </p:nvCxnSpPr>
        <p:spPr>
          <a:xfrm>
            <a:off x="8271559" y="3467594"/>
            <a:ext cx="915994" cy="5800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54AC0651-C12D-B8E6-7995-C1F843228A59}"/>
              </a:ext>
            </a:extLst>
          </p:cNvPr>
          <p:cNvSpPr txBox="1"/>
          <p:nvPr/>
        </p:nvSpPr>
        <p:spPr>
          <a:xfrm>
            <a:off x="2985169" y="4158412"/>
            <a:ext cx="12454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dirty="0"/>
              <a:t>21,9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E414EA2-C62E-FC82-2EFA-4AB99C776D86}"/>
              </a:ext>
            </a:extLst>
          </p:cNvPr>
          <p:cNvSpPr txBox="1"/>
          <p:nvPr/>
        </p:nvSpPr>
        <p:spPr>
          <a:xfrm>
            <a:off x="5093959" y="4094984"/>
            <a:ext cx="13193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dirty="0"/>
              <a:t>27,4 tis.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B30423F3-EC97-3379-76A0-4650E3B1E915}"/>
              </a:ext>
            </a:extLst>
          </p:cNvPr>
          <p:cNvSpPr txBox="1"/>
          <p:nvPr/>
        </p:nvSpPr>
        <p:spPr>
          <a:xfrm>
            <a:off x="7043773" y="4094635"/>
            <a:ext cx="12454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dirty="0"/>
              <a:t>38,9 tis.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7EED327D-4915-76A5-3D30-99AC49CE3BE7}"/>
              </a:ext>
            </a:extLst>
          </p:cNvPr>
          <p:cNvSpPr txBox="1"/>
          <p:nvPr/>
        </p:nvSpPr>
        <p:spPr>
          <a:xfrm>
            <a:off x="8992562" y="4061495"/>
            <a:ext cx="12911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b="1" dirty="0">
                <a:solidFill>
                  <a:srgbClr val="C00000"/>
                </a:solidFill>
              </a:rPr>
              <a:t>66,9 tis.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6C9BD171-37D4-01D4-792B-EE3CD4752714}"/>
              </a:ext>
            </a:extLst>
          </p:cNvPr>
          <p:cNvSpPr txBox="1"/>
          <p:nvPr/>
        </p:nvSpPr>
        <p:spPr>
          <a:xfrm>
            <a:off x="2277475" y="4968279"/>
            <a:ext cx="7740502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3800" b="1" dirty="0">
                <a:solidFill>
                  <a:srgbClr val="C00000"/>
                </a:solidFill>
              </a:rPr>
              <a:t>Věkové kategorie s rizikovým růstem:</a:t>
            </a:r>
          </a:p>
          <a:p>
            <a:pPr algn="ctr"/>
            <a:r>
              <a:rPr lang="cs-CZ" sz="3800" b="1" u="sng" dirty="0">
                <a:solidFill>
                  <a:srgbClr val="C00000"/>
                </a:solidFill>
              </a:rPr>
              <a:t>15-19</a:t>
            </a:r>
            <a:r>
              <a:rPr lang="cs-CZ" sz="3800" b="1" dirty="0">
                <a:solidFill>
                  <a:srgbClr val="C00000"/>
                </a:solidFill>
              </a:rPr>
              <a:t> a </a:t>
            </a:r>
            <a:r>
              <a:rPr lang="cs-CZ" sz="3800" b="1" u="sng" dirty="0">
                <a:solidFill>
                  <a:srgbClr val="C00000"/>
                </a:solidFill>
              </a:rPr>
              <a:t>70+ 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43259986-3BDF-2090-FA2B-C8EDA4DB35F1}"/>
              </a:ext>
            </a:extLst>
          </p:cNvPr>
          <p:cNvSpPr txBox="1"/>
          <p:nvPr/>
        </p:nvSpPr>
        <p:spPr>
          <a:xfrm>
            <a:off x="10345475" y="1129966"/>
            <a:ext cx="187133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200" b="1" dirty="0">
                <a:solidFill>
                  <a:srgbClr val="C00000"/>
                </a:solidFill>
              </a:rPr>
              <a:t>2023 -&gt; 2043</a:t>
            </a:r>
          </a:p>
        </p:txBody>
      </p:sp>
    </p:spTree>
    <p:extLst>
      <p:ext uri="{BB962C8B-B14F-4D97-AF65-F5344CB8AC3E}">
        <p14:creationId xmlns:p14="http://schemas.microsoft.com/office/powerpoint/2010/main" val="360711198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E8723916-5F1D-8672-2DD2-6E21F4DB42A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60820"/>
            <a:ext cx="11664778" cy="573989"/>
          </a:xfrm>
        </p:spPr>
        <p:txBody>
          <a:bodyPr>
            <a:normAutofit/>
          </a:bodyPr>
          <a:lstStyle/>
          <a:p>
            <a:r>
              <a:rPr lang="cs-CZ" sz="2800" dirty="0"/>
              <a:t>Úhrady související s F diagnózami: populace ČR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482B8CA1-C1C3-EE2D-E4B1-E869E4CE3EA0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330661" y="1241287"/>
          <a:ext cx="4066983" cy="4923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" name="TextovéPole 2">
            <a:extLst>
              <a:ext uri="{FF2B5EF4-FFF2-40B4-BE49-F238E27FC236}">
                <a16:creationId xmlns:a16="http://schemas.microsoft.com/office/drawing/2014/main" id="{29224BA3-1CD8-3F6D-FB58-F0855E4168F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27888" y="1241287"/>
            <a:ext cx="23053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Úhrady v milionech Kč</a:t>
            </a:r>
          </a:p>
        </p:txBody>
      </p:sp>
      <p:graphicFrame>
        <p:nvGraphicFramePr>
          <p:cNvPr id="2" name="Graf 1">
            <a:extLst>
              <a:ext uri="{FF2B5EF4-FFF2-40B4-BE49-F238E27FC236}">
                <a16:creationId xmlns:a16="http://schemas.microsoft.com/office/drawing/2014/main" id="{482B8CA1-C1C3-EE2D-E4B1-E869E4CE3EA0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649250" y="1299641"/>
          <a:ext cx="4066983" cy="4923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29224BA3-1CD8-3F6D-FB58-F0855E4168F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903946" y="1241287"/>
            <a:ext cx="23053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Úhrady v milionech Kč</a:t>
            </a:r>
          </a:p>
        </p:txBody>
      </p:sp>
      <p:sp>
        <p:nvSpPr>
          <p:cNvPr id="9" name="Nadpis 3">
            <a:extLst>
              <a:ext uri="{FF2B5EF4-FFF2-40B4-BE49-F238E27FC236}">
                <a16:creationId xmlns:a16="http://schemas.microsoft.com/office/drawing/2014/main" id="{3E8DEC86-50B2-E8F7-5366-3C6FE8DCE053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749773" y="753397"/>
            <a:ext cx="1933784" cy="5739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rgbClr val="308297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15 – 19 let</a:t>
            </a:r>
          </a:p>
        </p:txBody>
      </p:sp>
      <p:sp>
        <p:nvSpPr>
          <p:cNvPr id="10" name="Nadpis 3">
            <a:extLst>
              <a:ext uri="{FF2B5EF4-FFF2-40B4-BE49-F238E27FC236}">
                <a16:creationId xmlns:a16="http://schemas.microsoft.com/office/drawing/2014/main" id="{FBFD327F-08BA-C8E3-A7E4-ECDB796017E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8069127" y="709408"/>
            <a:ext cx="1933784" cy="5739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rgbClr val="308297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&gt; 70 let</a:t>
            </a:r>
          </a:p>
        </p:txBody>
      </p:sp>
      <p:sp>
        <p:nvSpPr>
          <p:cNvPr id="7" name="Šipka: nahoru 6">
            <a:extLst>
              <a:ext uri="{FF2B5EF4-FFF2-40B4-BE49-F238E27FC236}">
                <a16:creationId xmlns:a16="http://schemas.microsoft.com/office/drawing/2014/main" id="{A013CB50-761C-DCA8-C9C6-CEA59812E2CC}"/>
              </a:ext>
            </a:extLst>
          </p:cNvPr>
          <p:cNvSpPr/>
          <p:nvPr/>
        </p:nvSpPr>
        <p:spPr>
          <a:xfrm>
            <a:off x="4928191" y="2164617"/>
            <a:ext cx="499730" cy="754912"/>
          </a:xfrm>
          <a:prstGeom prst="upArrow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8BBAAF44-EE34-8B9C-FD34-86342029C324}"/>
              </a:ext>
            </a:extLst>
          </p:cNvPr>
          <p:cNvSpPr txBox="1"/>
          <p:nvPr/>
        </p:nvSpPr>
        <p:spPr>
          <a:xfrm>
            <a:off x="4657059" y="1610619"/>
            <a:ext cx="135033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000" b="1" dirty="0"/>
              <a:t>+ 91%</a:t>
            </a:r>
          </a:p>
        </p:txBody>
      </p:sp>
      <p:sp>
        <p:nvSpPr>
          <p:cNvPr id="11" name="Šipka: nahoru 10">
            <a:extLst>
              <a:ext uri="{FF2B5EF4-FFF2-40B4-BE49-F238E27FC236}">
                <a16:creationId xmlns:a16="http://schemas.microsoft.com/office/drawing/2014/main" id="{330C4E7D-4271-D601-BCE3-7D43E48B9C99}"/>
              </a:ext>
            </a:extLst>
          </p:cNvPr>
          <p:cNvSpPr/>
          <p:nvPr/>
        </p:nvSpPr>
        <p:spPr>
          <a:xfrm>
            <a:off x="11021780" y="2338282"/>
            <a:ext cx="499730" cy="754912"/>
          </a:xfrm>
          <a:prstGeom prst="upArrow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3CD4994-7E62-3D1F-9DD1-3BE27C6EB993}"/>
              </a:ext>
            </a:extLst>
          </p:cNvPr>
          <p:cNvSpPr txBox="1"/>
          <p:nvPr/>
        </p:nvSpPr>
        <p:spPr>
          <a:xfrm>
            <a:off x="10750648" y="1784284"/>
            <a:ext cx="135033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000" b="1" dirty="0"/>
              <a:t>+ 53%</a:t>
            </a:r>
          </a:p>
        </p:txBody>
      </p:sp>
    </p:spTree>
    <p:extLst>
      <p:ext uri="{BB962C8B-B14F-4D97-AF65-F5344CB8AC3E}">
        <p14:creationId xmlns:p14="http://schemas.microsoft.com/office/powerpoint/2010/main" val="414908613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E8723916-5F1D-8672-2DD2-6E21F4DB42A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60820"/>
            <a:ext cx="11664778" cy="573989"/>
          </a:xfrm>
        </p:spPr>
        <p:txBody>
          <a:bodyPr>
            <a:normAutofit/>
          </a:bodyPr>
          <a:lstStyle/>
          <a:p>
            <a:r>
              <a:rPr lang="cs-CZ" sz="2800" dirty="0"/>
              <a:t>Úhrady související s F diagnózami: populace Praha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482B8CA1-C1C3-EE2D-E4B1-E869E4CE3EA0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330661" y="1241287"/>
          <a:ext cx="4066983" cy="4923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" name="TextovéPole 2">
            <a:extLst>
              <a:ext uri="{FF2B5EF4-FFF2-40B4-BE49-F238E27FC236}">
                <a16:creationId xmlns:a16="http://schemas.microsoft.com/office/drawing/2014/main" id="{29224BA3-1CD8-3F6D-FB58-F0855E4168F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27888" y="1241287"/>
            <a:ext cx="23053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Úhrady v milionech Kč</a:t>
            </a:r>
          </a:p>
        </p:txBody>
      </p:sp>
      <p:graphicFrame>
        <p:nvGraphicFramePr>
          <p:cNvPr id="2" name="Graf 1">
            <a:extLst>
              <a:ext uri="{FF2B5EF4-FFF2-40B4-BE49-F238E27FC236}">
                <a16:creationId xmlns:a16="http://schemas.microsoft.com/office/drawing/2014/main" id="{482B8CA1-C1C3-EE2D-E4B1-E869E4CE3EA0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649250" y="1299641"/>
          <a:ext cx="4066983" cy="4923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29224BA3-1CD8-3F6D-FB58-F0855E4168F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903946" y="1241287"/>
            <a:ext cx="23053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Úhrady v milionech Kč</a:t>
            </a:r>
          </a:p>
        </p:txBody>
      </p:sp>
      <p:sp>
        <p:nvSpPr>
          <p:cNvPr id="9" name="Nadpis 3">
            <a:extLst>
              <a:ext uri="{FF2B5EF4-FFF2-40B4-BE49-F238E27FC236}">
                <a16:creationId xmlns:a16="http://schemas.microsoft.com/office/drawing/2014/main" id="{3E8DEC86-50B2-E8F7-5366-3C6FE8DCE053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749773" y="753397"/>
            <a:ext cx="1933784" cy="5739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rgbClr val="308297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15 – 19 let</a:t>
            </a:r>
          </a:p>
        </p:txBody>
      </p:sp>
      <p:sp>
        <p:nvSpPr>
          <p:cNvPr id="10" name="Nadpis 3">
            <a:extLst>
              <a:ext uri="{FF2B5EF4-FFF2-40B4-BE49-F238E27FC236}">
                <a16:creationId xmlns:a16="http://schemas.microsoft.com/office/drawing/2014/main" id="{FBFD327F-08BA-C8E3-A7E4-ECDB796017E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8069127" y="709408"/>
            <a:ext cx="1933784" cy="5739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rgbClr val="308297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&gt; 70 let</a:t>
            </a:r>
          </a:p>
        </p:txBody>
      </p:sp>
      <p:sp>
        <p:nvSpPr>
          <p:cNvPr id="7" name="Šipka: nahoru 6">
            <a:extLst>
              <a:ext uri="{FF2B5EF4-FFF2-40B4-BE49-F238E27FC236}">
                <a16:creationId xmlns:a16="http://schemas.microsoft.com/office/drawing/2014/main" id="{A013CB50-761C-DCA8-C9C6-CEA59812E2CC}"/>
              </a:ext>
            </a:extLst>
          </p:cNvPr>
          <p:cNvSpPr/>
          <p:nvPr/>
        </p:nvSpPr>
        <p:spPr>
          <a:xfrm>
            <a:off x="4928191" y="2164617"/>
            <a:ext cx="499730" cy="754912"/>
          </a:xfrm>
          <a:prstGeom prst="upArrow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8BBAAF44-EE34-8B9C-FD34-86342029C324}"/>
              </a:ext>
            </a:extLst>
          </p:cNvPr>
          <p:cNvSpPr txBox="1"/>
          <p:nvPr/>
        </p:nvSpPr>
        <p:spPr>
          <a:xfrm>
            <a:off x="4657059" y="1610619"/>
            <a:ext cx="135033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000" b="1" dirty="0"/>
              <a:t>+ 157%</a:t>
            </a:r>
          </a:p>
        </p:txBody>
      </p:sp>
      <p:sp>
        <p:nvSpPr>
          <p:cNvPr id="11" name="Šipka: nahoru 10">
            <a:extLst>
              <a:ext uri="{FF2B5EF4-FFF2-40B4-BE49-F238E27FC236}">
                <a16:creationId xmlns:a16="http://schemas.microsoft.com/office/drawing/2014/main" id="{330C4E7D-4271-D601-BCE3-7D43E48B9C99}"/>
              </a:ext>
            </a:extLst>
          </p:cNvPr>
          <p:cNvSpPr/>
          <p:nvPr/>
        </p:nvSpPr>
        <p:spPr>
          <a:xfrm>
            <a:off x="11021780" y="2338282"/>
            <a:ext cx="499730" cy="754912"/>
          </a:xfrm>
          <a:prstGeom prst="upArrow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3CD4994-7E62-3D1F-9DD1-3BE27C6EB993}"/>
              </a:ext>
            </a:extLst>
          </p:cNvPr>
          <p:cNvSpPr txBox="1"/>
          <p:nvPr/>
        </p:nvSpPr>
        <p:spPr>
          <a:xfrm>
            <a:off x="10750648" y="1784284"/>
            <a:ext cx="135033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000" b="1" dirty="0"/>
              <a:t>+ 63%</a:t>
            </a:r>
          </a:p>
        </p:txBody>
      </p:sp>
    </p:spTree>
    <p:extLst>
      <p:ext uri="{BB962C8B-B14F-4D97-AF65-F5344CB8AC3E}">
        <p14:creationId xmlns:p14="http://schemas.microsoft.com/office/powerpoint/2010/main" val="212666182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: se zakulacenými rohy na opačné straně 3">
            <a:extLst>
              <a:ext uri="{FF2B5EF4-FFF2-40B4-BE49-F238E27FC236}">
                <a16:creationId xmlns:a16="http://schemas.microsoft.com/office/drawing/2014/main" id="{167A20BD-62DA-44FE-AF48-7FBD2BEA4689}"/>
              </a:ext>
            </a:extLst>
          </p:cNvPr>
          <p:cNvSpPr/>
          <p:nvPr/>
        </p:nvSpPr>
        <p:spPr>
          <a:xfrm flipV="1">
            <a:off x="-4680" y="787665"/>
            <a:ext cx="5833745" cy="2787745"/>
          </a:xfrm>
          <a:prstGeom prst="round2DiagRect">
            <a:avLst>
              <a:gd name="adj1" fmla="val 50000"/>
              <a:gd name="adj2" fmla="val 0"/>
            </a:avLst>
          </a:prstGeom>
          <a:solidFill>
            <a:srgbClr val="5BCC72">
              <a:alpha val="49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71AFB65-5EC3-4B45-AC2F-AB3CB64FBF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846" y="1449859"/>
            <a:ext cx="5833745" cy="1688758"/>
          </a:xfrm>
        </p:spPr>
        <p:txBody>
          <a:bodyPr/>
          <a:lstStyle/>
          <a:p>
            <a:pPr algn="l"/>
            <a:r>
              <a:rPr lang="cs-CZ" sz="2400" b="1" i="1" dirty="0">
                <a:solidFill>
                  <a:schemeClr val="bg1"/>
                </a:solidFill>
              </a:rPr>
              <a:t>Analytické studie programu Zdraví 2030: </a:t>
            </a:r>
            <a:r>
              <a:rPr lang="cs-CZ" sz="3600" b="1" dirty="0">
                <a:solidFill>
                  <a:schemeClr val="bg1"/>
                </a:solidFill>
              </a:rPr>
              <a:t>Národní informační systém pro psychiatrii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164F2552-388B-4793-BF8A-077744D27E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3048" y="4717024"/>
            <a:ext cx="10952034" cy="1382233"/>
          </a:xfrm>
        </p:spPr>
        <p:txBody>
          <a:bodyPr>
            <a:normAutofit/>
          </a:bodyPr>
          <a:lstStyle/>
          <a:p>
            <a:r>
              <a:rPr lang="cs-CZ" sz="3800" dirty="0">
                <a:solidFill>
                  <a:srgbClr val="3F55A6"/>
                </a:solidFill>
              </a:rPr>
              <a:t>Jsme na tento vývoj personálně </a:t>
            </a:r>
          </a:p>
          <a:p>
            <a:r>
              <a:rPr lang="cs-CZ" sz="3800" dirty="0">
                <a:solidFill>
                  <a:srgbClr val="3F55A6"/>
                </a:solidFill>
              </a:rPr>
              <a:t>a kapacitně připraveni? </a:t>
            </a:r>
            <a:endParaRPr lang="en-US" sz="3800" dirty="0">
              <a:solidFill>
                <a:srgbClr val="3F55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547168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235622"/>
            <a:ext cx="11823094" cy="573989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cs-CZ" sz="2800" dirty="0"/>
              <a:t>Praha: psychiatričtí pacienti v péči praktických lékařů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22CA9C2F-173D-E418-ED4F-51091658630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8000" y="665785"/>
            <a:ext cx="116431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 (NRHZS)</a:t>
            </a:r>
          </a:p>
        </p:txBody>
      </p:sp>
      <p:graphicFrame>
        <p:nvGraphicFramePr>
          <p:cNvPr id="3" name="Chart 6">
            <a:extLst>
              <a:ext uri="{FF2B5EF4-FFF2-40B4-BE49-F238E27FC236}">
                <a16:creationId xmlns:a16="http://schemas.microsoft.com/office/drawing/2014/main" id="{CE5C844C-61C8-EFC8-4AB3-63543E8831AA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926728" y="1540450"/>
          <a:ext cx="5091687" cy="37938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4" name="TextovéPole 3">
            <a:extLst>
              <a:ext uri="{FF2B5EF4-FFF2-40B4-BE49-F238E27FC236}">
                <a16:creationId xmlns:a16="http://schemas.microsoft.com/office/drawing/2014/main" id="{049A52C9-19F8-B1C9-1B37-8B7DE43FE87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038778" y="1164702"/>
            <a:ext cx="31721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: 0-14 let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ECFA73B0-F24C-3432-50B0-2AD49421AAB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 rot="16200000">
            <a:off x="-86389" y="3017418"/>
            <a:ext cx="15691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</a:t>
            </a:r>
          </a:p>
        </p:txBody>
      </p:sp>
      <p:graphicFrame>
        <p:nvGraphicFramePr>
          <p:cNvPr id="10" name="Chart 6">
            <a:extLst>
              <a:ext uri="{FF2B5EF4-FFF2-40B4-BE49-F238E27FC236}">
                <a16:creationId xmlns:a16="http://schemas.microsoft.com/office/drawing/2014/main" id="{E2484C47-A9DA-8F4E-FA3B-BB7384864F16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6481425" y="1524688"/>
          <a:ext cx="5091687" cy="37938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1" name="TextovéPole 10">
            <a:extLst>
              <a:ext uri="{FF2B5EF4-FFF2-40B4-BE49-F238E27FC236}">
                <a16:creationId xmlns:a16="http://schemas.microsoft.com/office/drawing/2014/main" id="{E806CAF0-1667-5BAD-BA96-CFC64AD99C5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593475" y="1148940"/>
            <a:ext cx="31721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: 15-19 let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70D754ED-37ED-C7F9-EE09-5643F7424C2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5468308" y="3001656"/>
            <a:ext cx="15691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82794CDE-0969-7A28-BBFF-235D779C324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926728" y="5195917"/>
            <a:ext cx="10582100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čet pacientů s bydlištěm v Hl. m. Praze, kteří mají v daném roce vykázanou jakoukoli péči (ambulantní nebo hospitalizační) hrazenou zdravotní pojišťovnou s hlavní diagnózu F00-F99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7F72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 odbornosti psychiatrie (nezávisle na kontaktu s jinou odborností)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čet pacientů s bydlištěm v Hl. m. Praze, kteří mají v daném roce vykázanou jakoukoli péči (ambulantní nebo hospitalizační) hrazenou zdravotní pojišťovnou s hlavní diagnózu F00-F99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7F72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 praktického lékaře (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7F72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b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7F72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001, 002), ale bez kontaktu s psychiatrem.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7F72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rust od roku 2020 je dán především zavedením nového výkonu 01543 (Epizoda péče/kontakt u pacientů v souvislosti s klinickým vyšetřením v ordinaci lékaře primární péče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Source Sans Pro" panose="020F0502020204030204" pitchFamily="34" charset="0"/>
                <a:ea typeface="+mn-ea"/>
                <a:cs typeface="+mn-cs"/>
              </a:rPr>
              <a:t>.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FF7F72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811465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235622"/>
            <a:ext cx="11823094" cy="573989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cs-CZ" sz="2800" dirty="0"/>
              <a:t>Praha: psychiatričtí pacienti </a:t>
            </a:r>
            <a:r>
              <a:rPr lang="en-US" sz="2800" dirty="0"/>
              <a:t>v</a:t>
            </a:r>
            <a:r>
              <a:rPr lang="cs-CZ" sz="2800" dirty="0"/>
              <a:t> péči klinických psychologů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22CA9C2F-173D-E418-ED4F-51091658630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8000" y="665785"/>
            <a:ext cx="116431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 (NRHZS)</a:t>
            </a:r>
          </a:p>
        </p:txBody>
      </p:sp>
      <p:graphicFrame>
        <p:nvGraphicFramePr>
          <p:cNvPr id="3" name="Chart 6">
            <a:extLst>
              <a:ext uri="{FF2B5EF4-FFF2-40B4-BE49-F238E27FC236}">
                <a16:creationId xmlns:a16="http://schemas.microsoft.com/office/drawing/2014/main" id="{CE5C844C-61C8-EFC8-4AB3-63543E8831AA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926728" y="1540450"/>
          <a:ext cx="5091687" cy="38183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4" name="TextovéPole 3">
            <a:extLst>
              <a:ext uri="{FF2B5EF4-FFF2-40B4-BE49-F238E27FC236}">
                <a16:creationId xmlns:a16="http://schemas.microsoft.com/office/drawing/2014/main" id="{049A52C9-19F8-B1C9-1B37-8B7DE43FE87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038778" y="1164702"/>
            <a:ext cx="31721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: 0-14 let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ECFA73B0-F24C-3432-50B0-2AD49421AAB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 rot="16200000">
            <a:off x="-86389" y="3017418"/>
            <a:ext cx="15691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BB6B91F5-3195-D55C-1F13-EEC7E2DBD28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26728" y="5355937"/>
            <a:ext cx="1058210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čet pacientů s bydlištěm v Hl. m. Praze, kteří mají v daném roce vykázanou jakoukoli péči (ambulantní nebo hospitalizační) hrazenou zdravotní pojišťovnou s hlavní diagnózu F00-F99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7F72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 odbornosti psychiatrie (nezávisle na kontaktu s jinou odborností)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čet pacientů s bydlištěm v Hl. m. Praze, kteří mají v daném roce vykázanou jakoukoli péči (ambulantní nebo hospitalizační) hrazenou zdravotní pojišťovnou s hlavní diagnózu F00-F99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7F72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 klinického psychologa (odb. 901), ale bez kontaktu s psychiatrem.</a:t>
            </a:r>
          </a:p>
        </p:txBody>
      </p:sp>
      <p:graphicFrame>
        <p:nvGraphicFramePr>
          <p:cNvPr id="10" name="Chart 6">
            <a:extLst>
              <a:ext uri="{FF2B5EF4-FFF2-40B4-BE49-F238E27FC236}">
                <a16:creationId xmlns:a16="http://schemas.microsoft.com/office/drawing/2014/main" id="{E2484C47-A9DA-8F4E-FA3B-BB7384864F16}"/>
              </a:ext>
            </a:extLst>
          </p:cNvPr>
          <p:cNvGraphicFramePr/>
          <p:nvPr>
            <p:custDataLst>
              <p:tags r:id="rId7"/>
            </p:custDataLst>
          </p:nvPr>
        </p:nvGraphicFramePr>
        <p:xfrm>
          <a:off x="6481425" y="1524688"/>
          <a:ext cx="5091687" cy="38183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1" name="TextovéPole 10">
            <a:extLst>
              <a:ext uri="{FF2B5EF4-FFF2-40B4-BE49-F238E27FC236}">
                <a16:creationId xmlns:a16="http://schemas.microsoft.com/office/drawing/2014/main" id="{E806CAF0-1667-5BAD-BA96-CFC64AD99C5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7593475" y="1148940"/>
            <a:ext cx="31721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: 15-19 let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70D754ED-37ED-C7F9-EE09-5643F7424C2C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 rot="16200000">
            <a:off x="5468308" y="3001656"/>
            <a:ext cx="15691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423701126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5">
            <a:extLst>
              <a:ext uri="{FF2B5EF4-FFF2-40B4-BE49-F238E27FC236}">
                <a16:creationId xmlns:a16="http://schemas.microsoft.com/office/drawing/2014/main" id="{4F11321C-B117-560B-E346-94E9DD008D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098" y="39878"/>
            <a:ext cx="10984679" cy="538364"/>
          </a:xfrm>
        </p:spPr>
        <p:txBody>
          <a:bodyPr>
            <a:normAutofit fontScale="90000"/>
          </a:bodyPr>
          <a:lstStyle/>
          <a:p>
            <a:r>
              <a:rPr lang="cs-CZ" dirty="0">
                <a:solidFill>
                  <a:srgbClr val="0070C0"/>
                </a:solidFill>
              </a:rPr>
              <a:t>Přehled celkového počtů pracovníků se vzděláním pro péči o duševní zdraví v ČR</a:t>
            </a:r>
          </a:p>
        </p:txBody>
      </p:sp>
      <p:graphicFrame>
        <p:nvGraphicFramePr>
          <p:cNvPr id="2" name="Tabulka 4">
            <a:extLst>
              <a:ext uri="{FF2B5EF4-FFF2-40B4-BE49-F238E27FC236}">
                <a16:creationId xmlns:a16="http://schemas.microsoft.com/office/drawing/2014/main" id="{8098622F-6B09-C2E2-58EC-C63CA595A9CB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7223322"/>
              </p:ext>
            </p:extLst>
          </p:nvPr>
        </p:nvGraphicFramePr>
        <p:xfrm>
          <a:off x="345197" y="585541"/>
          <a:ext cx="10946581" cy="55775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1402">
                  <a:extLst>
                    <a:ext uri="{9D8B030D-6E8A-4147-A177-3AD203B41FA5}">
                      <a16:colId xmlns:a16="http://schemas.microsoft.com/office/drawing/2014/main" val="2211910911"/>
                    </a:ext>
                  </a:extLst>
                </a:gridCol>
                <a:gridCol w="2494680">
                  <a:extLst>
                    <a:ext uri="{9D8B030D-6E8A-4147-A177-3AD203B41FA5}">
                      <a16:colId xmlns:a16="http://schemas.microsoft.com/office/drawing/2014/main" val="3185320477"/>
                    </a:ext>
                  </a:extLst>
                </a:gridCol>
                <a:gridCol w="1679973">
                  <a:extLst>
                    <a:ext uri="{9D8B030D-6E8A-4147-A177-3AD203B41FA5}">
                      <a16:colId xmlns:a16="http://schemas.microsoft.com/office/drawing/2014/main" val="463678284"/>
                    </a:ext>
                  </a:extLst>
                </a:gridCol>
                <a:gridCol w="1661556">
                  <a:extLst>
                    <a:ext uri="{9D8B030D-6E8A-4147-A177-3AD203B41FA5}">
                      <a16:colId xmlns:a16="http://schemas.microsoft.com/office/drawing/2014/main" val="2713499778"/>
                    </a:ext>
                  </a:extLst>
                </a:gridCol>
                <a:gridCol w="1661556">
                  <a:extLst>
                    <a:ext uri="{9D8B030D-6E8A-4147-A177-3AD203B41FA5}">
                      <a16:colId xmlns:a16="http://schemas.microsoft.com/office/drawing/2014/main" val="1268031741"/>
                    </a:ext>
                  </a:extLst>
                </a:gridCol>
                <a:gridCol w="2217414">
                  <a:extLst>
                    <a:ext uri="{9D8B030D-6E8A-4147-A177-3AD203B41FA5}">
                      <a16:colId xmlns:a16="http://schemas.microsoft.com/office/drawing/2014/main" val="2547890121"/>
                    </a:ext>
                  </a:extLst>
                </a:gridCol>
              </a:tblGrid>
              <a:tr h="688675">
                <a:tc rowSpan="2">
                  <a:txBody>
                    <a:bodyPr/>
                    <a:lstStyle/>
                    <a:p>
                      <a:r>
                        <a:rPr lang="cs-CZ" sz="1600" dirty="0"/>
                        <a:t>Skupina povolání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r>
                        <a:rPr lang="cs-CZ" sz="1600" dirty="0"/>
                        <a:t>Specializace / odborná způsobilost</a:t>
                      </a: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dirty="0"/>
                        <a:t>Žijící pracovníci se specializací / odbornou způsobilostí evidovanou v NRZP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/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dirty="0"/>
                        <a:t>Počet aktivních osob se specializací / odbornou způsobilostí**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36364828"/>
                  </a:ext>
                </a:extLst>
              </a:tr>
              <a:tr h="611734">
                <a:tc vMerge="1">
                  <a:txBody>
                    <a:bodyPr/>
                    <a:lstStyle/>
                    <a:p>
                      <a:r>
                        <a:rPr lang="cs-CZ" dirty="0"/>
                        <a:t>Skupina povolání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r>
                        <a:rPr lang="cs-CZ" dirty="0"/>
                        <a:t>Specializace / odborná způsobilos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1" dirty="0"/>
                        <a:t>Celkový poče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1" dirty="0"/>
                        <a:t>Počet ve věku &lt; 60 le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dirty="0"/>
                        <a:t>Počet ve věku 60 a více let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dirty="0"/>
                        <a:t>Počet aktivních osob se specializací / odbornou způsobilostí**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75466002"/>
                  </a:ext>
                </a:extLst>
              </a:tr>
              <a:tr h="360734">
                <a:tc rowSpan="5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dirty="0"/>
                        <a:t>Lékař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dirty="0"/>
                        <a:t>Psychiatr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1 </a:t>
                      </a:r>
                      <a:r>
                        <a:rPr lang="cs-CZ" sz="1800" dirty="0">
                          <a:solidFill>
                            <a:schemeClr val="tx1"/>
                          </a:solidFill>
                        </a:rPr>
                        <a:t>6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cs-CZ" sz="1800" dirty="0">
                          <a:solidFill>
                            <a:schemeClr val="tx1"/>
                          </a:solidFill>
                        </a:rPr>
                        <a:t>15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46</a:t>
                      </a:r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1 3</a:t>
                      </a:r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1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82170332"/>
                  </a:ext>
                </a:extLst>
              </a:tr>
              <a:tr h="62308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dirty="0"/>
                        <a:t>Dětská a dorostová psychiatr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>
                          <a:solidFill>
                            <a:schemeClr val="tx1"/>
                          </a:solidFill>
                        </a:rPr>
                        <a:t>18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cs-CZ" sz="1800" dirty="0">
                          <a:solidFill>
                            <a:schemeClr val="tx1"/>
                          </a:solidFill>
                        </a:rPr>
                        <a:t>0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8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15</a:t>
                      </a:r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27871125"/>
                  </a:ext>
                </a:extLst>
              </a:tr>
              <a:tr h="360734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dirty="0" err="1"/>
                        <a:t>Gerontopsychiatrie</a:t>
                      </a:r>
                      <a:endParaRPr lang="cs-CZ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>
                          <a:solidFill>
                            <a:schemeClr val="tx1"/>
                          </a:solidFill>
                        </a:rPr>
                        <a:t>1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>
                          <a:solidFill>
                            <a:schemeClr val="tx1"/>
                          </a:solidFill>
                        </a:rPr>
                        <a:t>9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4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285865"/>
                  </a:ext>
                </a:extLst>
              </a:tr>
              <a:tr h="360734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dirty="0"/>
                        <a:t>Sexuolog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>
                          <a:solidFill>
                            <a:schemeClr val="tx1"/>
                          </a:solidFill>
                        </a:rPr>
                        <a:t>14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>
                          <a:solidFill>
                            <a:schemeClr val="tx1"/>
                          </a:solidFill>
                        </a:rPr>
                        <a:t>8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6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6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24197113"/>
                  </a:ext>
                </a:extLst>
              </a:tr>
              <a:tr h="360734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/>
                        <a:t>N</a:t>
                      </a:r>
                      <a:r>
                        <a:rPr lang="cs-CZ" sz="1600" b="1" dirty="0" err="1"/>
                        <a:t>ávykové</a:t>
                      </a:r>
                      <a:r>
                        <a:rPr lang="cs-CZ" sz="1600" b="1" dirty="0"/>
                        <a:t> nemoc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>
                          <a:solidFill>
                            <a:schemeClr val="tx1"/>
                          </a:solidFill>
                        </a:rPr>
                        <a:t>5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>
                          <a:solidFill>
                            <a:schemeClr val="tx1"/>
                          </a:solidFill>
                        </a:rPr>
                        <a:t>3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4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7223116"/>
                  </a:ext>
                </a:extLst>
              </a:tr>
              <a:tr h="885439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dirty="0"/>
                        <a:t>NLZP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dirty="0"/>
                        <a:t>Psycholog ve zdravotnictví (§22) se specializací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>
                          <a:solidFill>
                            <a:schemeClr val="tx1"/>
                          </a:solidFill>
                        </a:rPr>
                        <a:t>2 27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cs-CZ" sz="1800" dirty="0">
                          <a:solidFill>
                            <a:schemeClr val="tx1"/>
                          </a:solidFill>
                        </a:rPr>
                        <a:t>9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cs-CZ" sz="1800" dirty="0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3</a:t>
                      </a:r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6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1 51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05128518"/>
                  </a:ext>
                </a:extLst>
              </a:tr>
              <a:tr h="360734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dirty="0"/>
                        <a:t>Adiktolog (§21a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56</a:t>
                      </a:r>
                      <a:r>
                        <a:rPr lang="cs-CZ" sz="1800" dirty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52</a:t>
                      </a:r>
                      <a:r>
                        <a:rPr lang="cs-CZ" sz="1800" dirty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40</a:t>
                      </a:r>
                      <a:endParaRPr lang="cs-CZ" sz="18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>
                          <a:solidFill>
                            <a:schemeClr val="tx1"/>
                          </a:solidFill>
                        </a:rPr>
                        <a:t>18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47379533"/>
                  </a:ext>
                </a:extLst>
              </a:tr>
              <a:tr h="360734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/>
                        <a:t>O</a:t>
                      </a:r>
                      <a:r>
                        <a:rPr lang="cs-CZ" sz="1600" b="1" dirty="0" err="1"/>
                        <a:t>šetřovatelská</a:t>
                      </a:r>
                      <a:r>
                        <a:rPr lang="cs-CZ" sz="1600" b="1" dirty="0"/>
                        <a:t> péče v psychiatri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>
                          <a:solidFill>
                            <a:schemeClr val="tx1"/>
                          </a:solidFill>
                        </a:rPr>
                        <a:t>2 4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1 7</a:t>
                      </a:r>
                      <a:r>
                        <a:rPr lang="cs-CZ" sz="1800" dirty="0">
                          <a:solidFill>
                            <a:schemeClr val="tx1"/>
                          </a:solidFill>
                        </a:rPr>
                        <a:t>5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65</a:t>
                      </a:r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>
                          <a:solidFill>
                            <a:schemeClr val="tx1"/>
                          </a:solidFill>
                        </a:rPr>
                        <a:t>1 82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42673307"/>
                  </a:ext>
                </a:extLst>
              </a:tr>
              <a:tr h="360734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dirty="0"/>
                        <a:t>CELKEM*</a:t>
                      </a:r>
                      <a:endParaRPr lang="en-US" sz="1600" b="1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 5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 9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 5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 98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64712101"/>
                  </a:ext>
                </a:extLst>
              </a:tr>
            </a:tbl>
          </a:graphicData>
        </a:graphic>
      </p:graphicFrame>
      <p:sp>
        <p:nvSpPr>
          <p:cNvPr id="3" name="TextovéPole 2">
            <a:extLst>
              <a:ext uri="{FF2B5EF4-FFF2-40B4-BE49-F238E27FC236}">
                <a16:creationId xmlns:a16="http://schemas.microsoft.com/office/drawing/2014/main" id="{7087DFEC-F910-F19E-A8B3-D4814A2BBE9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6624" y="6304006"/>
            <a:ext cx="983615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jedna osoba může mít více specializací, v celkovém počtu je zahrnuta pouze jedno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 lékař se získanou specializací nemusí pracovat v daném oboru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7D74F663-B92C-4CDF-3DF6-EA13DCCB598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7099" y="362295"/>
            <a:ext cx="80008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 k </a:t>
            </a:r>
            <a:r>
              <a:rPr lang="cs-CZ" sz="1200" dirty="0">
                <a:solidFill>
                  <a:prstClr val="black"/>
                </a:solidFill>
                <a:latin typeface="Calibri" panose="020F0502020204030204"/>
              </a:rPr>
              <a:t>30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12. 2023</a:t>
            </a:r>
          </a:p>
        </p:txBody>
      </p:sp>
    </p:spTree>
    <p:extLst>
      <p:ext uri="{BB962C8B-B14F-4D97-AF65-F5344CB8AC3E}">
        <p14:creationId xmlns:p14="http://schemas.microsoft.com/office/powerpoint/2010/main" val="277666053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5">
            <a:extLst>
              <a:ext uri="{FF2B5EF4-FFF2-40B4-BE49-F238E27FC236}">
                <a16:creationId xmlns:a16="http://schemas.microsoft.com/office/drawing/2014/main" id="{4F11321C-B117-560B-E346-94E9DD008D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099" y="39878"/>
            <a:ext cx="10515600" cy="538364"/>
          </a:xfrm>
        </p:spPr>
        <p:txBody>
          <a:bodyPr>
            <a:normAutofit fontScale="90000"/>
          </a:bodyPr>
          <a:lstStyle/>
          <a:p>
            <a:r>
              <a:rPr lang="cs-CZ" dirty="0">
                <a:solidFill>
                  <a:srgbClr val="0070C0"/>
                </a:solidFill>
              </a:rPr>
              <a:t>Přehled celkového počtů pracovníků se vzděláním pro péči o duševní zdraví v Praze</a:t>
            </a:r>
          </a:p>
        </p:txBody>
      </p:sp>
      <p:graphicFrame>
        <p:nvGraphicFramePr>
          <p:cNvPr id="2" name="Tabulka 4">
            <a:extLst>
              <a:ext uri="{FF2B5EF4-FFF2-40B4-BE49-F238E27FC236}">
                <a16:creationId xmlns:a16="http://schemas.microsoft.com/office/drawing/2014/main" id="{8098622F-6B09-C2E2-58EC-C63CA595A9CB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4194941"/>
              </p:ext>
            </p:extLst>
          </p:nvPr>
        </p:nvGraphicFramePr>
        <p:xfrm>
          <a:off x="345197" y="585541"/>
          <a:ext cx="10946581" cy="55775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1402">
                  <a:extLst>
                    <a:ext uri="{9D8B030D-6E8A-4147-A177-3AD203B41FA5}">
                      <a16:colId xmlns:a16="http://schemas.microsoft.com/office/drawing/2014/main" val="2211910911"/>
                    </a:ext>
                  </a:extLst>
                </a:gridCol>
                <a:gridCol w="2494680">
                  <a:extLst>
                    <a:ext uri="{9D8B030D-6E8A-4147-A177-3AD203B41FA5}">
                      <a16:colId xmlns:a16="http://schemas.microsoft.com/office/drawing/2014/main" val="3185320477"/>
                    </a:ext>
                  </a:extLst>
                </a:gridCol>
                <a:gridCol w="1679973">
                  <a:extLst>
                    <a:ext uri="{9D8B030D-6E8A-4147-A177-3AD203B41FA5}">
                      <a16:colId xmlns:a16="http://schemas.microsoft.com/office/drawing/2014/main" val="463678284"/>
                    </a:ext>
                  </a:extLst>
                </a:gridCol>
                <a:gridCol w="1661556">
                  <a:extLst>
                    <a:ext uri="{9D8B030D-6E8A-4147-A177-3AD203B41FA5}">
                      <a16:colId xmlns:a16="http://schemas.microsoft.com/office/drawing/2014/main" val="2713499778"/>
                    </a:ext>
                  </a:extLst>
                </a:gridCol>
                <a:gridCol w="1661556">
                  <a:extLst>
                    <a:ext uri="{9D8B030D-6E8A-4147-A177-3AD203B41FA5}">
                      <a16:colId xmlns:a16="http://schemas.microsoft.com/office/drawing/2014/main" val="1268031741"/>
                    </a:ext>
                  </a:extLst>
                </a:gridCol>
                <a:gridCol w="2217414">
                  <a:extLst>
                    <a:ext uri="{9D8B030D-6E8A-4147-A177-3AD203B41FA5}">
                      <a16:colId xmlns:a16="http://schemas.microsoft.com/office/drawing/2014/main" val="2547890121"/>
                    </a:ext>
                  </a:extLst>
                </a:gridCol>
              </a:tblGrid>
              <a:tr h="688675">
                <a:tc rowSpan="2">
                  <a:txBody>
                    <a:bodyPr/>
                    <a:lstStyle/>
                    <a:p>
                      <a:r>
                        <a:rPr lang="cs-CZ" sz="1600" dirty="0"/>
                        <a:t>Skupina povolání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r>
                        <a:rPr lang="cs-CZ" sz="1600" dirty="0"/>
                        <a:t>Specializace / odborná způsobilost</a:t>
                      </a: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dirty="0"/>
                        <a:t>Žijící pracovníci se specializací / odbornou způsobilostí evidovanou v NRZP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/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dirty="0"/>
                        <a:t>Počet aktivních osob se specializací / odbornou způsobilostí** v Praz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36364828"/>
                  </a:ext>
                </a:extLst>
              </a:tr>
              <a:tr h="611734">
                <a:tc vMerge="1">
                  <a:txBody>
                    <a:bodyPr/>
                    <a:lstStyle/>
                    <a:p>
                      <a:r>
                        <a:rPr lang="cs-CZ" dirty="0"/>
                        <a:t>Skupina povolání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r>
                        <a:rPr lang="cs-CZ" dirty="0"/>
                        <a:t>Specializace / odborná způsobilos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1" dirty="0"/>
                        <a:t>Celkový poče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1" dirty="0"/>
                        <a:t>Počet ve věku &lt; 60 le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dirty="0"/>
                        <a:t>Počet ve věku 60 a více let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dirty="0"/>
                        <a:t>Počet aktivních osob se specializací / odbornou způsobilostí**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75466002"/>
                  </a:ext>
                </a:extLst>
              </a:tr>
              <a:tr h="360734">
                <a:tc rowSpan="5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dirty="0"/>
                        <a:t>Lékař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dirty="0"/>
                        <a:t>Psychiatr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1 </a:t>
                      </a:r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6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15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46</a:t>
                      </a:r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38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82170332"/>
                  </a:ext>
                </a:extLst>
              </a:tr>
              <a:tr h="62308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dirty="0"/>
                        <a:t>Dětská a dorostová psychiatr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18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0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8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5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27871125"/>
                  </a:ext>
                </a:extLst>
              </a:tr>
              <a:tr h="360734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dirty="0" err="1"/>
                        <a:t>Gerontopsychiatrie</a:t>
                      </a:r>
                      <a:endParaRPr lang="cs-CZ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1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9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285865"/>
                  </a:ext>
                </a:extLst>
              </a:tr>
              <a:tr h="360734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dirty="0"/>
                        <a:t>Sexuolog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14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8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6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2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24197113"/>
                  </a:ext>
                </a:extLst>
              </a:tr>
              <a:tr h="360734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/>
                        <a:t>N</a:t>
                      </a:r>
                      <a:r>
                        <a:rPr lang="cs-CZ" sz="1600" b="1" dirty="0" err="1"/>
                        <a:t>ávykové</a:t>
                      </a:r>
                      <a:r>
                        <a:rPr lang="cs-CZ" sz="1600" b="1" dirty="0"/>
                        <a:t> nemoc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5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3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1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7223116"/>
                  </a:ext>
                </a:extLst>
              </a:tr>
              <a:tr h="885439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dirty="0"/>
                        <a:t>NLZP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dirty="0"/>
                        <a:t>Psycholog ve zdravotnictví (§22) se specializací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2 27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9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3</a:t>
                      </a:r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6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46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05128518"/>
                  </a:ext>
                </a:extLst>
              </a:tr>
              <a:tr h="360734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dirty="0"/>
                        <a:t>Adiktolog (§21a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56</a:t>
                      </a:r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52</a:t>
                      </a:r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40</a:t>
                      </a:r>
                      <a:endParaRPr lang="cs-CZ" sz="18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7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47379533"/>
                  </a:ext>
                </a:extLst>
              </a:tr>
              <a:tr h="360734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/>
                        <a:t>O</a:t>
                      </a:r>
                      <a:r>
                        <a:rPr lang="cs-CZ" sz="1600" b="1" dirty="0" err="1"/>
                        <a:t>šetřovatelská</a:t>
                      </a:r>
                      <a:r>
                        <a:rPr lang="cs-CZ" sz="1600" b="1" dirty="0"/>
                        <a:t> péče v psychiatri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2 4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1 7</a:t>
                      </a:r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5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65</a:t>
                      </a:r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dirty="0">
                          <a:solidFill>
                            <a:schemeClr val="tx1"/>
                          </a:solidFill>
                        </a:rPr>
                        <a:t>27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42673307"/>
                  </a:ext>
                </a:extLst>
              </a:tr>
              <a:tr h="360734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dirty="0"/>
                        <a:t>CELKEM*</a:t>
                      </a:r>
                      <a:endParaRPr lang="en-US" sz="1600" b="1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64712101"/>
                  </a:ext>
                </a:extLst>
              </a:tr>
            </a:tbl>
          </a:graphicData>
        </a:graphic>
      </p:graphicFrame>
      <p:sp>
        <p:nvSpPr>
          <p:cNvPr id="3" name="TextovéPole 2">
            <a:extLst>
              <a:ext uri="{FF2B5EF4-FFF2-40B4-BE49-F238E27FC236}">
                <a16:creationId xmlns:a16="http://schemas.microsoft.com/office/drawing/2014/main" id="{7087DFEC-F910-F19E-A8B3-D4814A2BBE9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6624" y="6304006"/>
            <a:ext cx="983615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jedna osoba může mít více specializací, v celkovém počtu je zahrnuta pouze jedno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 lékař se získanou specializací nemusí pracovat v daném oboru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7D74F663-B92C-4CDF-3DF6-EA13DCCB598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7099" y="362295"/>
            <a:ext cx="80008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 k </a:t>
            </a:r>
            <a:r>
              <a:rPr lang="cs-CZ" sz="1200" dirty="0">
                <a:solidFill>
                  <a:prstClr val="black"/>
                </a:solidFill>
                <a:latin typeface="Calibri" panose="020F0502020204030204"/>
              </a:rPr>
              <a:t>30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lang="cs-CZ" sz="1200" dirty="0">
                <a:solidFill>
                  <a:prstClr val="black"/>
                </a:solidFill>
                <a:latin typeface="Calibri" panose="020F0502020204030204"/>
              </a:rPr>
              <a:t>12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3</a:t>
            </a:r>
          </a:p>
        </p:txBody>
      </p:sp>
    </p:spTree>
    <p:extLst>
      <p:ext uri="{BB962C8B-B14F-4D97-AF65-F5344CB8AC3E}">
        <p14:creationId xmlns:p14="http://schemas.microsoft.com/office/powerpoint/2010/main" val="26086948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2">
            <a:extLst>
              <a:ext uri="{FF2B5EF4-FFF2-40B4-BE49-F238E27FC236}">
                <a16:creationId xmlns:a16="http://schemas.microsoft.com/office/drawing/2014/main" id="{479F903D-21A9-2E03-2993-5E7D9E898FEA}"/>
              </a:ext>
            </a:extLst>
          </p:cNvPr>
          <p:cNvSpPr txBox="1">
            <a:spLocks/>
          </p:cNvSpPr>
          <p:nvPr/>
        </p:nvSpPr>
        <p:spPr>
          <a:xfrm>
            <a:off x="175492" y="577324"/>
            <a:ext cx="12016508" cy="354633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0" b="1" i="0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Jak potenciál NZI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0" b="1" i="0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a od něj odvozený NISP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stručně</a:t>
            </a:r>
            <a:r>
              <a:rPr kumimoji="0" lang="cs-CZ" sz="8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 </a:t>
            </a:r>
            <a:r>
              <a:rPr kumimoji="0" lang="cs-CZ" sz="8000" b="1" i="0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představit</a:t>
            </a:r>
            <a:endParaRPr kumimoji="0" lang="cs-CZ" sz="5600" b="1" i="0" u="none" strike="noStrike" kern="1200" cap="none" spc="0" normalizeH="0" baseline="0" noProof="0" dirty="0">
              <a:ln>
                <a:noFill/>
              </a:ln>
              <a:solidFill>
                <a:srgbClr val="308297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E8809112-57D6-2648-0CBC-39A435B1F9AF}"/>
              </a:ext>
            </a:extLst>
          </p:cNvPr>
          <p:cNvSpPr txBox="1"/>
          <p:nvPr/>
        </p:nvSpPr>
        <p:spPr>
          <a:xfrm>
            <a:off x="5018567" y="4423144"/>
            <a:ext cx="243485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9600" dirty="0">
                <a:solidFill>
                  <a:srgbClr val="FF0000"/>
                </a:solidFill>
                <a:latin typeface="Arial Black" panose="020B0A04020102020204" pitchFamily="34" charset="0"/>
              </a:rPr>
              <a:t>??</a:t>
            </a:r>
          </a:p>
        </p:txBody>
      </p:sp>
    </p:spTree>
    <p:extLst>
      <p:ext uri="{BB962C8B-B14F-4D97-AF65-F5344CB8AC3E}">
        <p14:creationId xmlns:p14="http://schemas.microsoft.com/office/powerpoint/2010/main" val="196324246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32DDA7A-629C-6743-0B39-94ADD21137A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sz="28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Věk a pohlaví aktivních lékařů se specializací „Psychiatrie“</a:t>
            </a:r>
            <a:r>
              <a:rPr lang="en-US" sz="28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 v </a:t>
            </a:r>
            <a:r>
              <a:rPr lang="cs-CZ" sz="28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ČR</a:t>
            </a:r>
            <a:endParaRPr lang="cs-CZ" dirty="0">
              <a:solidFill>
                <a:srgbClr val="0070C0"/>
              </a:solidFill>
            </a:endParaRPr>
          </a:p>
        </p:txBody>
      </p:sp>
      <p:graphicFrame>
        <p:nvGraphicFramePr>
          <p:cNvPr id="3" name="Graf 2">
            <a:extLst>
              <a:ext uri="{FF2B5EF4-FFF2-40B4-BE49-F238E27FC236}">
                <a16:creationId xmlns:a16="http://schemas.microsoft.com/office/drawing/2014/main" id="{5F8037D9-5102-9B12-47DE-02DB01359130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730284" y="1095448"/>
          <a:ext cx="4297354" cy="32164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" name="Obdélník 3">
            <a:extLst>
              <a:ext uri="{FF2B5EF4-FFF2-40B4-BE49-F238E27FC236}">
                <a16:creationId xmlns:a16="http://schemas.microsoft.com/office/drawing/2014/main" id="{B2468F68-5E86-8D22-EA91-463DC634AB40}"/>
              </a:ext>
            </a:extLst>
          </p:cNvPr>
          <p:cNvSpPr/>
          <p:nvPr/>
        </p:nvSpPr>
        <p:spPr>
          <a:xfrm>
            <a:off x="4862328" y="3869143"/>
            <a:ext cx="47458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1F445415-9665-04C6-19EA-95028294FB2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6200000">
            <a:off x="-6200" y="2282031"/>
            <a:ext cx="119596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solutní počet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ED4D0866-4C4C-C325-ABA7-1944AA6E0BB2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7220723" y="1100543"/>
          <a:ext cx="4297354" cy="32164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35356E49-5444-0FEB-C140-B43739E737D1}"/>
              </a:ext>
            </a:extLst>
          </p:cNvPr>
          <p:cNvSpPr/>
          <p:nvPr/>
        </p:nvSpPr>
        <p:spPr>
          <a:xfrm>
            <a:off x="11283925" y="3822977"/>
            <a:ext cx="59483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2548AAD7-C904-BD10-B8D1-64C86633DD35}"/>
              </a:ext>
            </a:extLst>
          </p:cNvPr>
          <p:cNvSpPr/>
          <p:nvPr/>
        </p:nvSpPr>
        <p:spPr>
          <a:xfrm rot="16200000">
            <a:off x="6484240" y="2282031"/>
            <a:ext cx="119596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solutní počet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653CC2D-110E-BEA4-BD2C-AD136B6678C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0689088" y="1261141"/>
            <a:ext cx="59483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žen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ži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5020A1CB-11E8-CBBC-EBF9-1211D3DB2C7D}"/>
              </a:ext>
            </a:extLst>
          </p:cNvPr>
          <p:cNvSpPr/>
          <p:nvPr/>
        </p:nvSpPr>
        <p:spPr>
          <a:xfrm>
            <a:off x="10540661" y="1289716"/>
            <a:ext cx="180000" cy="180000"/>
          </a:xfrm>
          <a:prstGeom prst="rect">
            <a:avLst/>
          </a:prstGeom>
          <a:solidFill>
            <a:srgbClr val="FF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B2AC1D2E-25DF-1D32-79D2-815F97646CCC}"/>
              </a:ext>
            </a:extLst>
          </p:cNvPr>
          <p:cNvSpPr/>
          <p:nvPr/>
        </p:nvSpPr>
        <p:spPr>
          <a:xfrm>
            <a:off x="10540661" y="1503688"/>
            <a:ext cx="180000" cy="180000"/>
          </a:xfrm>
          <a:prstGeom prst="rect">
            <a:avLst/>
          </a:pr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BA50EFB3-C285-ABDB-05AB-9D28AD64104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86133" y="560799"/>
            <a:ext cx="976274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 + Národní registr hrazených zdravotních služeb (NRHZS), stav k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. 12. 2023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3F022C21-91CC-1B3B-1721-AE4EE272578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286133" y="4220601"/>
          <a:ext cx="4895465" cy="1935863"/>
        </p:xfrm>
        <a:graphic>
          <a:graphicData uri="http://schemas.openxmlformats.org/drawingml/2006/table">
            <a:tbl>
              <a:tblPr/>
              <a:tblGrid>
                <a:gridCol w="12274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26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2675">
                  <a:extLst>
                    <a:ext uri="{9D8B030D-6E8A-4147-A177-3AD203B41FA5}">
                      <a16:colId xmlns:a16="http://schemas.microsoft.com/office/drawing/2014/main" val="3900020422"/>
                    </a:ext>
                  </a:extLst>
                </a:gridCol>
                <a:gridCol w="1222675">
                  <a:extLst>
                    <a:ext uri="{9D8B030D-6E8A-4147-A177-3AD203B41FA5}">
                      <a16:colId xmlns:a16="http://schemas.microsoft.com/office/drawing/2014/main" val="320359577"/>
                    </a:ext>
                  </a:extLst>
                </a:gridCol>
              </a:tblGrid>
              <a:tr h="395191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už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Žen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7961564"/>
                  </a:ext>
                </a:extLst>
              </a:tr>
              <a:tr h="538992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67 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5,5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847 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5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3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058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ůměrný věk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590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60 a více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41 (30,2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94 (22,9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35 (25,5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5191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65 a více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05 (22,5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42 (16,8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47 (18,8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6" name="Obdélník 15">
            <a:extLst>
              <a:ext uri="{FF2B5EF4-FFF2-40B4-BE49-F238E27FC236}">
                <a16:creationId xmlns:a16="http://schemas.microsoft.com/office/drawing/2014/main" id="{8B89A9E6-C2C7-4995-1EC2-C94F85B2CA9F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86133" y="798804"/>
            <a:ext cx="109977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finice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ktivní lékaři se specializací „Psychiatrie“</a:t>
            </a:r>
          </a:p>
        </p:txBody>
      </p:sp>
    </p:spTree>
    <p:extLst>
      <p:ext uri="{BB962C8B-B14F-4D97-AF65-F5344CB8AC3E}">
        <p14:creationId xmlns:p14="http://schemas.microsoft.com/office/powerpoint/2010/main" val="271390959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2358EBD-C570-8C90-3466-295D2B91C0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1245486" cy="538364"/>
          </a:xfrm>
        </p:spPr>
        <p:txBody>
          <a:bodyPr>
            <a:normAutofit fontScale="90000"/>
          </a:bodyPr>
          <a:lstStyle/>
          <a:p>
            <a:r>
              <a:rPr lang="cs-CZ" sz="28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Věk a pohlaví aktivních lékařů se specializací „Dětská a dorostová psychiatrie“ v ČR</a:t>
            </a:r>
            <a:endParaRPr lang="cs-CZ" dirty="0">
              <a:solidFill>
                <a:srgbClr val="0070C0"/>
              </a:solidFill>
            </a:endParaRPr>
          </a:p>
        </p:txBody>
      </p:sp>
      <p:graphicFrame>
        <p:nvGraphicFramePr>
          <p:cNvPr id="3" name="Graf 2">
            <a:extLst>
              <a:ext uri="{FF2B5EF4-FFF2-40B4-BE49-F238E27FC236}">
                <a16:creationId xmlns:a16="http://schemas.microsoft.com/office/drawing/2014/main" id="{DE2855D3-FE4F-ACCB-506E-342F34F024F4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730283" y="1186811"/>
          <a:ext cx="4297354" cy="32164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Obdélník 3">
            <a:extLst>
              <a:ext uri="{FF2B5EF4-FFF2-40B4-BE49-F238E27FC236}">
                <a16:creationId xmlns:a16="http://schemas.microsoft.com/office/drawing/2014/main" id="{F353432E-048B-C2AA-A188-32372D2D36C9}"/>
              </a:ext>
            </a:extLst>
          </p:cNvPr>
          <p:cNvSpPr/>
          <p:nvPr/>
        </p:nvSpPr>
        <p:spPr>
          <a:xfrm>
            <a:off x="4862328" y="3869143"/>
            <a:ext cx="47458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7754A0F9-B6AD-A8E6-5B1E-9C16E306D89B}"/>
              </a:ext>
            </a:extLst>
          </p:cNvPr>
          <p:cNvSpPr/>
          <p:nvPr/>
        </p:nvSpPr>
        <p:spPr>
          <a:xfrm rot="16200000">
            <a:off x="-6200" y="2282031"/>
            <a:ext cx="119596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solutní počet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0E563995-523E-16D3-1AFD-A9D8D9D3E36B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7220723" y="1186811"/>
          <a:ext cx="4297354" cy="32164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645846FE-0C0D-80D1-8749-CDBC54B0FECF}"/>
              </a:ext>
            </a:extLst>
          </p:cNvPr>
          <p:cNvSpPr/>
          <p:nvPr/>
        </p:nvSpPr>
        <p:spPr>
          <a:xfrm>
            <a:off x="11283925" y="3822977"/>
            <a:ext cx="59483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7E13CFB0-76E0-BBFD-8FF0-BE763F06D932}"/>
              </a:ext>
            </a:extLst>
          </p:cNvPr>
          <p:cNvSpPr/>
          <p:nvPr/>
        </p:nvSpPr>
        <p:spPr>
          <a:xfrm rot="16200000">
            <a:off x="6484240" y="2282031"/>
            <a:ext cx="119596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solutní počet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23CE4268-429B-3FC5-DF37-90B08D6ECA48}"/>
              </a:ext>
            </a:extLst>
          </p:cNvPr>
          <p:cNvSpPr/>
          <p:nvPr/>
        </p:nvSpPr>
        <p:spPr>
          <a:xfrm>
            <a:off x="10689088" y="1261141"/>
            <a:ext cx="59483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žen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ži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F9566F36-F239-E836-DE5E-41DFF1AC079B}"/>
              </a:ext>
            </a:extLst>
          </p:cNvPr>
          <p:cNvSpPr/>
          <p:nvPr/>
        </p:nvSpPr>
        <p:spPr>
          <a:xfrm>
            <a:off x="10540661" y="1289716"/>
            <a:ext cx="180000" cy="180000"/>
          </a:xfrm>
          <a:prstGeom prst="rect">
            <a:avLst/>
          </a:prstGeom>
          <a:solidFill>
            <a:srgbClr val="FF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53C8329C-E10A-8733-7F21-4CD15573AC8D}"/>
              </a:ext>
            </a:extLst>
          </p:cNvPr>
          <p:cNvSpPr/>
          <p:nvPr/>
        </p:nvSpPr>
        <p:spPr>
          <a:xfrm>
            <a:off x="10540661" y="1503688"/>
            <a:ext cx="180000" cy="180000"/>
          </a:xfrm>
          <a:prstGeom prst="rect">
            <a:avLst/>
          </a:pr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9129DB3B-B830-29A9-A97B-9353328CE4BE}"/>
              </a:ext>
            </a:extLst>
          </p:cNvPr>
          <p:cNvSpPr/>
          <p:nvPr/>
        </p:nvSpPr>
        <p:spPr>
          <a:xfrm>
            <a:off x="286133" y="560799"/>
            <a:ext cx="1025452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 + Národní registr hrazených zdravotních služeb (NRHZS), stav k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. 12. 2023</a:t>
            </a:r>
          </a:p>
        </p:txBody>
      </p:sp>
      <p:graphicFrame>
        <p:nvGraphicFramePr>
          <p:cNvPr id="14" name="Tabulka 13">
            <a:extLst>
              <a:ext uri="{FF2B5EF4-FFF2-40B4-BE49-F238E27FC236}">
                <a16:creationId xmlns:a16="http://schemas.microsoft.com/office/drawing/2014/main" id="{AE7ACE39-135E-A42B-EDA0-015ADBA241D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86133" y="4272300"/>
          <a:ext cx="4895465" cy="1944004"/>
        </p:xfrm>
        <a:graphic>
          <a:graphicData uri="http://schemas.openxmlformats.org/drawingml/2006/table">
            <a:tbl>
              <a:tblPr/>
              <a:tblGrid>
                <a:gridCol w="12274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26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2675">
                  <a:extLst>
                    <a:ext uri="{9D8B030D-6E8A-4147-A177-3AD203B41FA5}">
                      <a16:colId xmlns:a16="http://schemas.microsoft.com/office/drawing/2014/main" val="3900020422"/>
                    </a:ext>
                  </a:extLst>
                </a:gridCol>
                <a:gridCol w="1222675">
                  <a:extLst>
                    <a:ext uri="{9D8B030D-6E8A-4147-A177-3AD203B41FA5}">
                      <a16:colId xmlns:a16="http://schemas.microsoft.com/office/drawing/2014/main" val="320359577"/>
                    </a:ext>
                  </a:extLst>
                </a:gridCol>
              </a:tblGrid>
              <a:tr h="377416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už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Žen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7961564"/>
                  </a:ext>
                </a:extLst>
              </a:tr>
              <a:tr h="377416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7 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4,0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17 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0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741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ůměrný věk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741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60 a více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3 (35,1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1 (35,0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4 (35,1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7416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65 a více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1 (29,7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6 (22,2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7 (24,0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EEFE6E20-20EB-88A5-6639-0BC0E75A5C3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068512" y="4482797"/>
            <a:ext cx="58959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ůměrný věk aktivních dětských a dorostových psychiatrů je 55 let,  35 % je starších než 60 let. V následujících cca pěti letech tak hrozí odchod 54 dětských a dorostových psychiatrů do důchodu. 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4E254AF4-E0BE-6944-48D2-9A34DB0A85A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86132" y="783671"/>
            <a:ext cx="1161973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finice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ktivní lékaři se specializací „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</a:t>
            </a:r>
            <a:r>
              <a:rPr kumimoji="0" lang="cs-CZ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tská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 dorostová psychiatrie“</a:t>
            </a:r>
          </a:p>
        </p:txBody>
      </p:sp>
    </p:spTree>
    <p:extLst>
      <p:ext uri="{BB962C8B-B14F-4D97-AF65-F5344CB8AC3E}">
        <p14:creationId xmlns:p14="http://schemas.microsoft.com/office/powerpoint/2010/main" val="62777756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43DC70F3-3784-4DC1-92D6-E57D8B1BE98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92951" y="532121"/>
            <a:ext cx="115344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finice: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ivní lékaři se specializací „Psychiatrie“ na území hlavního města Prahy</a:t>
            </a: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stav k 31. 12. 2023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8C394653-2CD1-41B0-B752-DF7D520DF888}"/>
              </a:ext>
            </a:extLst>
          </p:cNvPr>
          <p:cNvGraphicFramePr/>
          <p:nvPr/>
        </p:nvGraphicFramePr>
        <p:xfrm>
          <a:off x="434687" y="2938187"/>
          <a:ext cx="4941985" cy="37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A404C8F6-B255-462F-BD13-9127EB780928}"/>
              </a:ext>
            </a:extLst>
          </p:cNvPr>
          <p:cNvSpPr/>
          <p:nvPr/>
        </p:nvSpPr>
        <p:spPr>
          <a:xfrm rot="16200000">
            <a:off x="-256940" y="4466966"/>
            <a:ext cx="119596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solutní počet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3E5D4113-4EA3-4D80-B696-3D808688D6FA}"/>
              </a:ext>
            </a:extLst>
          </p:cNvPr>
          <p:cNvGraphicFramePr/>
          <p:nvPr/>
        </p:nvGraphicFramePr>
        <p:xfrm>
          <a:off x="6620033" y="2918751"/>
          <a:ext cx="5137280" cy="3720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Obdélník 9">
            <a:extLst>
              <a:ext uri="{FF2B5EF4-FFF2-40B4-BE49-F238E27FC236}">
                <a16:creationId xmlns:a16="http://schemas.microsoft.com/office/drawing/2014/main" id="{046C3FE0-D10A-4963-B8AF-F6516D8F6032}"/>
              </a:ext>
            </a:extLst>
          </p:cNvPr>
          <p:cNvSpPr/>
          <p:nvPr/>
        </p:nvSpPr>
        <p:spPr>
          <a:xfrm rot="16200000">
            <a:off x="5928407" y="4604462"/>
            <a:ext cx="119596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solutní počet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8132E533-4508-423C-B028-F1592B75EC94}"/>
              </a:ext>
            </a:extLst>
          </p:cNvPr>
          <p:cNvSpPr/>
          <p:nvPr/>
        </p:nvSpPr>
        <p:spPr>
          <a:xfrm>
            <a:off x="3890459" y="969818"/>
            <a:ext cx="161723" cy="15826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73225C2D-8D63-4577-A47F-D5A3B59AD0D1}"/>
              </a:ext>
            </a:extLst>
          </p:cNvPr>
          <p:cNvSpPr/>
          <p:nvPr/>
        </p:nvSpPr>
        <p:spPr>
          <a:xfrm>
            <a:off x="5826169" y="969818"/>
            <a:ext cx="161723" cy="158261"/>
          </a:xfrm>
          <a:prstGeom prst="rect">
            <a:avLst/>
          </a:prstGeom>
          <a:solidFill>
            <a:srgbClr val="FF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5AB86CAD-1A84-496E-9623-A807BB5E6912}"/>
              </a:ext>
            </a:extLst>
          </p:cNvPr>
          <p:cNvSpPr/>
          <p:nvPr/>
        </p:nvSpPr>
        <p:spPr>
          <a:xfrm>
            <a:off x="1486543" y="2749449"/>
            <a:ext cx="37952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 lékařů celkem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B38AC1C2-E218-4140-8EC0-FB5E8564FA0D}"/>
              </a:ext>
            </a:extLst>
          </p:cNvPr>
          <p:cNvSpPr/>
          <p:nvPr/>
        </p:nvSpPr>
        <p:spPr>
          <a:xfrm>
            <a:off x="7451795" y="2758593"/>
            <a:ext cx="37952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 lékařů podle pohlaví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8C81BEA4-0357-40A8-A6D3-F68739F2C727}"/>
              </a:ext>
            </a:extLst>
          </p:cNvPr>
          <p:cNvGraphicFramePr>
            <a:graphicFrameLocks noGrp="1"/>
          </p:cNvGraphicFramePr>
          <p:nvPr/>
        </p:nvGraphicFramePr>
        <p:xfrm>
          <a:off x="2066979" y="895227"/>
          <a:ext cx="7172271" cy="1540275"/>
        </p:xfrm>
        <a:graphic>
          <a:graphicData uri="http://schemas.openxmlformats.org/drawingml/2006/table">
            <a:tbl>
              <a:tblPr/>
              <a:tblGrid>
                <a:gridCol w="13274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482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48286">
                  <a:extLst>
                    <a:ext uri="{9D8B030D-6E8A-4147-A177-3AD203B41FA5}">
                      <a16:colId xmlns:a16="http://schemas.microsoft.com/office/drawing/2014/main" val="2922683316"/>
                    </a:ext>
                  </a:extLst>
                </a:gridCol>
                <a:gridCol w="1948286">
                  <a:extLst>
                    <a:ext uri="{9D8B030D-6E8A-4147-A177-3AD203B41FA5}">
                      <a16:colId xmlns:a16="http://schemas.microsoft.com/office/drawing/2014/main" val="423885553"/>
                    </a:ext>
                  </a:extLst>
                </a:gridCol>
              </a:tblGrid>
              <a:tr h="30805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uži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Ženy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elkem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6606430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27 (32,9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59 (67,1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ůměrný věk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/>
                        </a:rPr>
                        <a:t>60 a více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7 (37,0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63 (24,3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10 (28,5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65 a více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5 (27,6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7 (18,1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82 (21,2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extovéPole 10">
            <a:extLst>
              <a:ext uri="{FF2B5EF4-FFF2-40B4-BE49-F238E27FC236}">
                <a16:creationId xmlns:a16="http://schemas.microsoft.com/office/drawing/2014/main" id="{6941B15D-E99E-6555-AAD2-5F67D2196845}"/>
              </a:ext>
            </a:extLst>
          </p:cNvPr>
          <p:cNvSpPr txBox="1"/>
          <p:nvPr/>
        </p:nvSpPr>
        <p:spPr>
          <a:xfrm>
            <a:off x="2905679" y="6461355"/>
            <a:ext cx="609742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, NRHZS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82BB2A1-9FBA-1B2A-18C6-D10F6FE0F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/>
          <a:lstStyle/>
          <a:p>
            <a:r>
              <a:rPr lang="cs-CZ" dirty="0">
                <a:solidFill>
                  <a:srgbClr val="0070C0"/>
                </a:solidFill>
              </a:rPr>
              <a:t>P</a:t>
            </a:r>
            <a:r>
              <a:rPr lang="cs-CZ" noProof="0" dirty="0" err="1">
                <a:solidFill>
                  <a:srgbClr val="0070C0"/>
                </a:solidFill>
              </a:rPr>
              <a:t>sychiatři</a:t>
            </a:r>
            <a:r>
              <a:rPr lang="cs-CZ" noProof="0" dirty="0">
                <a:solidFill>
                  <a:srgbClr val="0070C0"/>
                </a:solidFill>
              </a:rPr>
              <a:t> aktivní v roce 2023 podle věku a pohlaví v Praze</a:t>
            </a:r>
            <a:endParaRPr lang="cs-CZ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02937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8C394653-2CD1-41B0-B752-DF7D520DF888}"/>
              </a:ext>
            </a:extLst>
          </p:cNvPr>
          <p:cNvGraphicFramePr/>
          <p:nvPr/>
        </p:nvGraphicFramePr>
        <p:xfrm>
          <a:off x="434687" y="2938187"/>
          <a:ext cx="4941985" cy="37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A404C8F6-B255-462F-BD13-9127EB780928}"/>
              </a:ext>
            </a:extLst>
          </p:cNvPr>
          <p:cNvSpPr/>
          <p:nvPr/>
        </p:nvSpPr>
        <p:spPr>
          <a:xfrm rot="16200000">
            <a:off x="-256940" y="4466966"/>
            <a:ext cx="119596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solutní počet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3E5D4113-4EA3-4D80-B696-3D808688D6FA}"/>
              </a:ext>
            </a:extLst>
          </p:cNvPr>
          <p:cNvGraphicFramePr/>
          <p:nvPr/>
        </p:nvGraphicFramePr>
        <p:xfrm>
          <a:off x="6620033" y="2918751"/>
          <a:ext cx="5137280" cy="3720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Obdélník 9">
            <a:extLst>
              <a:ext uri="{FF2B5EF4-FFF2-40B4-BE49-F238E27FC236}">
                <a16:creationId xmlns:a16="http://schemas.microsoft.com/office/drawing/2014/main" id="{046C3FE0-D10A-4963-B8AF-F6516D8F6032}"/>
              </a:ext>
            </a:extLst>
          </p:cNvPr>
          <p:cNvSpPr/>
          <p:nvPr/>
        </p:nvSpPr>
        <p:spPr>
          <a:xfrm rot="16200000">
            <a:off x="5928407" y="4604462"/>
            <a:ext cx="119596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solutní počet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8132E533-4508-423C-B028-F1592B75EC94}"/>
              </a:ext>
            </a:extLst>
          </p:cNvPr>
          <p:cNvSpPr/>
          <p:nvPr/>
        </p:nvSpPr>
        <p:spPr>
          <a:xfrm>
            <a:off x="3890459" y="969818"/>
            <a:ext cx="161723" cy="15826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73225C2D-8D63-4577-A47F-D5A3B59AD0D1}"/>
              </a:ext>
            </a:extLst>
          </p:cNvPr>
          <p:cNvSpPr/>
          <p:nvPr/>
        </p:nvSpPr>
        <p:spPr>
          <a:xfrm>
            <a:off x="5826169" y="969818"/>
            <a:ext cx="161723" cy="158261"/>
          </a:xfrm>
          <a:prstGeom prst="rect">
            <a:avLst/>
          </a:prstGeom>
          <a:solidFill>
            <a:srgbClr val="FF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5AB86CAD-1A84-496E-9623-A807BB5E6912}"/>
              </a:ext>
            </a:extLst>
          </p:cNvPr>
          <p:cNvSpPr/>
          <p:nvPr/>
        </p:nvSpPr>
        <p:spPr>
          <a:xfrm>
            <a:off x="1486543" y="2749449"/>
            <a:ext cx="37952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 lékařů celkem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B38AC1C2-E218-4140-8EC0-FB5E8564FA0D}"/>
              </a:ext>
            </a:extLst>
          </p:cNvPr>
          <p:cNvSpPr/>
          <p:nvPr/>
        </p:nvSpPr>
        <p:spPr>
          <a:xfrm>
            <a:off x="7451795" y="2758593"/>
            <a:ext cx="37952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 lékařů podle pohlaví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8C81BEA4-0357-40A8-A6D3-F68739F2C727}"/>
              </a:ext>
            </a:extLst>
          </p:cNvPr>
          <p:cNvGraphicFramePr>
            <a:graphicFrameLocks noGrp="1"/>
          </p:cNvGraphicFramePr>
          <p:nvPr/>
        </p:nvGraphicFramePr>
        <p:xfrm>
          <a:off x="2066979" y="895227"/>
          <a:ext cx="7172271" cy="1540275"/>
        </p:xfrm>
        <a:graphic>
          <a:graphicData uri="http://schemas.openxmlformats.org/drawingml/2006/table">
            <a:tbl>
              <a:tblPr/>
              <a:tblGrid>
                <a:gridCol w="13274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482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48286">
                  <a:extLst>
                    <a:ext uri="{9D8B030D-6E8A-4147-A177-3AD203B41FA5}">
                      <a16:colId xmlns:a16="http://schemas.microsoft.com/office/drawing/2014/main" val="2922683316"/>
                    </a:ext>
                  </a:extLst>
                </a:gridCol>
                <a:gridCol w="1948286">
                  <a:extLst>
                    <a:ext uri="{9D8B030D-6E8A-4147-A177-3AD203B41FA5}">
                      <a16:colId xmlns:a16="http://schemas.microsoft.com/office/drawing/2014/main" val="423885553"/>
                    </a:ext>
                  </a:extLst>
                </a:gridCol>
              </a:tblGrid>
              <a:tr h="30805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uži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Ženy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elkem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6606430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4 (23,7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5 (76,3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ůměrný věk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/>
                        </a:rPr>
                        <a:t>60 a více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6 (42,9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4 (31,1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0 (33,9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65 a více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 (28,6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1 (24,4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5 (25,4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extovéPole 10">
            <a:extLst>
              <a:ext uri="{FF2B5EF4-FFF2-40B4-BE49-F238E27FC236}">
                <a16:creationId xmlns:a16="http://schemas.microsoft.com/office/drawing/2014/main" id="{6941B15D-E99E-6555-AAD2-5F67D2196845}"/>
              </a:ext>
            </a:extLst>
          </p:cNvPr>
          <p:cNvSpPr txBox="1"/>
          <p:nvPr/>
        </p:nvSpPr>
        <p:spPr>
          <a:xfrm>
            <a:off x="2905679" y="6461355"/>
            <a:ext cx="609742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, NRHZS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82BB2A1-9FBA-1B2A-18C6-D10F6FE0F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1288038" cy="538364"/>
          </a:xfrm>
        </p:spPr>
        <p:txBody>
          <a:bodyPr/>
          <a:lstStyle/>
          <a:p>
            <a:r>
              <a:rPr lang="cs-CZ" dirty="0">
                <a:solidFill>
                  <a:srgbClr val="0070C0"/>
                </a:solidFill>
              </a:rPr>
              <a:t>Ambulantní dětští psychiatři </a:t>
            </a:r>
            <a:r>
              <a:rPr lang="cs-CZ" noProof="0" dirty="0">
                <a:solidFill>
                  <a:srgbClr val="0070C0"/>
                </a:solidFill>
              </a:rPr>
              <a:t>aktivní v roce 2023 dle věku a pohlaví: Praha</a:t>
            </a:r>
            <a:endParaRPr lang="cs-CZ" dirty="0">
              <a:solidFill>
                <a:srgbClr val="0070C0"/>
              </a:solidFill>
            </a:endParaRPr>
          </a:p>
        </p:txBody>
      </p:sp>
      <p:sp>
        <p:nvSpPr>
          <p:cNvPr id="14" name="TextBox 6">
            <a:extLst>
              <a:ext uri="{FF2B5EF4-FFF2-40B4-BE49-F238E27FC236}">
                <a16:creationId xmlns:a16="http://schemas.microsoft.com/office/drawing/2014/main" id="{46B8B857-EFFF-3493-E6A2-95F68CCEB48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92951" y="532121"/>
            <a:ext cx="115344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finice: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ivní lékaři se specializací „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tská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 dorostová psychiatrie“</a:t>
            </a: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stav k 31. 12. 2023</a:t>
            </a:r>
          </a:p>
        </p:txBody>
      </p:sp>
    </p:spTree>
    <p:extLst>
      <p:ext uri="{BB962C8B-B14F-4D97-AF65-F5344CB8AC3E}">
        <p14:creationId xmlns:p14="http://schemas.microsoft.com/office/powerpoint/2010/main" val="164435207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6AF2A3-5628-7FAF-E0B3-46E33C2AD4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6B354C2-37FD-30FB-A226-4536E10D8D0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>
                <a:solidFill>
                  <a:srgbClr val="0070C0"/>
                </a:solidFill>
              </a:rPr>
              <a:t>Úvazky</a:t>
            </a:r>
            <a:r>
              <a:rPr lang="cs-CZ" noProof="0" dirty="0">
                <a:solidFill>
                  <a:srgbClr val="0070C0"/>
                </a:solidFill>
              </a:rPr>
              <a:t> lékařů v ambulantních zařízeních na 100 tis. obyvatel v r. 2023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200" name="TextBox 6">
            <a:extLst>
              <a:ext uri="{FF2B5EF4-FFF2-40B4-BE49-F238E27FC236}">
                <a16:creationId xmlns:a16="http://schemas.microsoft.com/office/drawing/2014/main" id="{70B6371A-C68F-7AE1-9D4B-E01E0E4ACF1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8000" y="540000"/>
            <a:ext cx="116431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 + Národní registr hrazených zdravotních služeb (NRHZS), stav k 30. 9. 2023</a:t>
            </a:r>
          </a:p>
        </p:txBody>
      </p:sp>
      <p:graphicFrame>
        <p:nvGraphicFramePr>
          <p:cNvPr id="13" name="Graf 12">
            <a:extLst>
              <a:ext uri="{FF2B5EF4-FFF2-40B4-BE49-F238E27FC236}">
                <a16:creationId xmlns:a16="http://schemas.microsoft.com/office/drawing/2014/main" id="{1C22CF38-5392-5325-BC50-BDFD3F8484C0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360000" y="1410450"/>
          <a:ext cx="5659014" cy="4545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3" name="Obdélník 2">
            <a:extLst>
              <a:ext uri="{FF2B5EF4-FFF2-40B4-BE49-F238E27FC236}">
                <a16:creationId xmlns:a16="http://schemas.microsoft.com/office/drawing/2014/main" id="{72FDF18F-D5FD-3925-F49E-755B8428B29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60000" y="903740"/>
            <a:ext cx="56590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sychiatrie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18D5714C-B931-743A-B6A6-0B1B3BEB9A6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800808" y="1340571"/>
            <a:ext cx="393484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úvazků na 100 000 obyvatel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40FE2650-FF27-56B2-FC6A-D822161CA82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53828" y="1676368"/>
            <a:ext cx="56509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 :</a:t>
            </a:r>
          </a:p>
        </p:txBody>
      </p:sp>
      <p:graphicFrame>
        <p:nvGraphicFramePr>
          <p:cNvPr id="2" name="Graf 1">
            <a:extLst>
              <a:ext uri="{FF2B5EF4-FFF2-40B4-BE49-F238E27FC236}">
                <a16:creationId xmlns:a16="http://schemas.microsoft.com/office/drawing/2014/main" id="{F8BB5952-D408-3FC7-B77F-61F6534872A6}"/>
              </a:ext>
            </a:extLst>
          </p:cNvPr>
          <p:cNvGraphicFramePr/>
          <p:nvPr>
            <p:custDataLst>
              <p:tags r:id="rId7"/>
            </p:custDataLst>
          </p:nvPr>
        </p:nvGraphicFramePr>
        <p:xfrm>
          <a:off x="6212842" y="1410450"/>
          <a:ext cx="5659014" cy="4545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9" name="Obdélník 8">
            <a:extLst>
              <a:ext uri="{FF2B5EF4-FFF2-40B4-BE49-F238E27FC236}">
                <a16:creationId xmlns:a16="http://schemas.microsoft.com/office/drawing/2014/main" id="{0186E4AA-ABBD-1F97-90B8-F952129DB0F9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6212842" y="903740"/>
            <a:ext cx="56590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ětská a dorostová psychiatrie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DC775EA4-014D-456E-ECC6-08AB39D841EE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653650" y="1340571"/>
            <a:ext cx="393484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úvazků na 100 000 obyvatel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EAFCC2DB-2C3C-18DA-1336-B149219C84FA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6406670" y="1676368"/>
            <a:ext cx="56509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 :</a:t>
            </a:r>
          </a:p>
        </p:txBody>
      </p:sp>
    </p:spTree>
    <p:extLst>
      <p:ext uri="{BB962C8B-B14F-4D97-AF65-F5344CB8AC3E}">
        <p14:creationId xmlns:p14="http://schemas.microsoft.com/office/powerpoint/2010/main" val="250416615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6AF2A3-5628-7FAF-E0B3-46E33C2AD4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6B354C2-37FD-30FB-A226-4536E10D8D0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>
                <a:solidFill>
                  <a:srgbClr val="0070C0"/>
                </a:solidFill>
              </a:rPr>
              <a:t>Úvazky</a:t>
            </a:r>
            <a:r>
              <a:rPr lang="cs-CZ" noProof="0" dirty="0">
                <a:solidFill>
                  <a:srgbClr val="0070C0"/>
                </a:solidFill>
              </a:rPr>
              <a:t> lékařů na 100 tis. obyvatel v r. 2023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200" name="TextBox 6">
            <a:extLst>
              <a:ext uri="{FF2B5EF4-FFF2-40B4-BE49-F238E27FC236}">
                <a16:creationId xmlns:a16="http://schemas.microsoft.com/office/drawing/2014/main" id="{70B6371A-C68F-7AE1-9D4B-E01E0E4ACF1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8000" y="540000"/>
            <a:ext cx="116431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 + Národní registr hrazených zdravotních služeb (NRHZS), stav k 30. 9. 2023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A7327063-BDC2-9949-BD90-1F2FE02F5166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250582" y="1419975"/>
          <a:ext cx="5659014" cy="4545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0" name="Obdélník 9">
            <a:extLst>
              <a:ext uri="{FF2B5EF4-FFF2-40B4-BE49-F238E27FC236}">
                <a16:creationId xmlns:a16="http://schemas.microsoft.com/office/drawing/2014/main" id="{B43990ED-C287-594D-3D36-D84B3FBD098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50582" y="913265"/>
            <a:ext cx="565901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§ 22 Psycholog ve zdravotnictv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E842CAE-5E32-DC53-0C7F-16F94963B36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691390" y="1350096"/>
            <a:ext cx="393484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racovníků na 100 000 obyvatel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2ABBE8A3-BAC5-C950-0B4C-CFE38D3EFBE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44410" y="1685893"/>
            <a:ext cx="56509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 :</a:t>
            </a:r>
          </a:p>
        </p:txBody>
      </p:sp>
      <p:graphicFrame>
        <p:nvGraphicFramePr>
          <p:cNvPr id="16" name="Graf 15">
            <a:extLst>
              <a:ext uri="{FF2B5EF4-FFF2-40B4-BE49-F238E27FC236}">
                <a16:creationId xmlns:a16="http://schemas.microsoft.com/office/drawing/2014/main" id="{8D54AB8D-ECA4-AE9C-66AC-8494A20D40FE}"/>
              </a:ext>
            </a:extLst>
          </p:cNvPr>
          <p:cNvGraphicFramePr/>
          <p:nvPr>
            <p:custDataLst>
              <p:tags r:id="rId7"/>
            </p:custDataLst>
          </p:nvPr>
        </p:nvGraphicFramePr>
        <p:xfrm>
          <a:off x="5958363" y="1419975"/>
          <a:ext cx="5659014" cy="4545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7" name="Obdélník 16">
            <a:extLst>
              <a:ext uri="{FF2B5EF4-FFF2-40B4-BE49-F238E27FC236}">
                <a16:creationId xmlns:a16="http://schemas.microsoft.com/office/drawing/2014/main" id="{C6872EDE-663A-9F2D-31C1-4659277FB2E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958363" y="913265"/>
            <a:ext cx="565901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rontopsychiatrie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780B7F32-FB1C-3AD9-3A3D-60D2011BFA28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399171" y="1350096"/>
            <a:ext cx="393484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úvazků na 100 000 obyvatel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C5B4761-AFAC-BDDF-98C8-A24F3FBFE7A6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6152191" y="1685893"/>
            <a:ext cx="56509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 :</a:t>
            </a:r>
          </a:p>
        </p:txBody>
      </p:sp>
    </p:spTree>
    <p:extLst>
      <p:ext uri="{BB962C8B-B14F-4D97-AF65-F5344CB8AC3E}">
        <p14:creationId xmlns:p14="http://schemas.microsoft.com/office/powerpoint/2010/main" val="108754298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Nadpis 14">
            <a:extLst>
              <a:ext uri="{FF2B5EF4-FFF2-40B4-BE49-F238E27FC236}">
                <a16:creationId xmlns:a16="http://schemas.microsoft.com/office/drawing/2014/main" id="{03DE4D62-54BC-DCCF-4283-74CF4E10B4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/>
          <a:lstStyle/>
          <a:p>
            <a:r>
              <a:rPr lang="cs-CZ" dirty="0">
                <a:solidFill>
                  <a:srgbClr val="0070C0"/>
                </a:solidFill>
              </a:rPr>
              <a:t>Počet lékařských služeb dle druhu zařízení v Praze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86D85DCD-DDFD-3DDB-88D1-C97FA8F42CD2}"/>
              </a:ext>
            </a:extLst>
          </p:cNvPr>
          <p:cNvSpPr txBox="1"/>
          <p:nvPr/>
        </p:nvSpPr>
        <p:spPr>
          <a:xfrm>
            <a:off x="272591" y="633967"/>
            <a:ext cx="279651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RHZS, stav k 31. 12.2023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C0730901-EE1D-357D-7F9A-2DD0ABE02948}"/>
              </a:ext>
            </a:extLst>
          </p:cNvPr>
          <p:cNvGraphicFramePr>
            <a:graphicFrameLocks noGrp="1"/>
          </p:cNvGraphicFramePr>
          <p:nvPr/>
        </p:nvGraphicFramePr>
        <p:xfrm>
          <a:off x="448080" y="2465532"/>
          <a:ext cx="5554809" cy="3233305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1981082">
                  <a:extLst>
                    <a:ext uri="{9D8B030D-6E8A-4147-A177-3AD203B41FA5}">
                      <a16:colId xmlns:a16="http://schemas.microsoft.com/office/drawing/2014/main" val="738989650"/>
                    </a:ext>
                  </a:extLst>
                </a:gridCol>
                <a:gridCol w="988291">
                  <a:extLst>
                    <a:ext uri="{9D8B030D-6E8A-4147-A177-3AD203B41FA5}">
                      <a16:colId xmlns:a16="http://schemas.microsoft.com/office/drawing/2014/main" val="3671842195"/>
                    </a:ext>
                  </a:extLst>
                </a:gridCol>
                <a:gridCol w="803563">
                  <a:extLst>
                    <a:ext uri="{9D8B030D-6E8A-4147-A177-3AD203B41FA5}">
                      <a16:colId xmlns:a16="http://schemas.microsoft.com/office/drawing/2014/main" val="3161661317"/>
                    </a:ext>
                  </a:extLst>
                </a:gridCol>
                <a:gridCol w="969818">
                  <a:extLst>
                    <a:ext uri="{9D8B030D-6E8A-4147-A177-3AD203B41FA5}">
                      <a16:colId xmlns:a16="http://schemas.microsoft.com/office/drawing/2014/main" val="1456421201"/>
                    </a:ext>
                  </a:extLst>
                </a:gridCol>
                <a:gridCol w="812055">
                  <a:extLst>
                    <a:ext uri="{9D8B030D-6E8A-4147-A177-3AD203B41FA5}">
                      <a16:colId xmlns:a16="http://schemas.microsoft.com/office/drawing/2014/main" val="779014241"/>
                    </a:ext>
                  </a:extLst>
                </a:gridCol>
              </a:tblGrid>
              <a:tr h="83638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</a:rPr>
                        <a:t>Obor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</a:rPr>
                        <a:t>Ambulantní péče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>
                          <a:effectLst/>
                        </a:rPr>
                        <a:t>Akutní péče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</a:rPr>
                        <a:t>Dlouhodobá péče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</a:rPr>
                        <a:t>Celkem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88923519"/>
                  </a:ext>
                </a:extLst>
              </a:tr>
              <a:tr h="29961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Adiktologie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17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17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01404455"/>
                  </a:ext>
                </a:extLst>
              </a:tr>
              <a:tr h="29961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Dětská a dorostová psychiatrie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32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2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1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35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78609736"/>
                  </a:ext>
                </a:extLst>
              </a:tr>
              <a:tr h="29961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 err="1">
                          <a:effectLst/>
                        </a:rPr>
                        <a:t>Gerontopsychiatrie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1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1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26936661"/>
                  </a:ext>
                </a:extLst>
              </a:tr>
              <a:tr h="29961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Klinická psychologie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161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161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21021289"/>
                  </a:ext>
                </a:extLst>
              </a:tr>
              <a:tr h="29961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Návykové nemoci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10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1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11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20324719"/>
                  </a:ext>
                </a:extLst>
              </a:tr>
              <a:tr h="29961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Psychiatrie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177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3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2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182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36838753"/>
                  </a:ext>
                </a:extLst>
              </a:tr>
              <a:tr h="29961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Sexuologie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15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15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55069190"/>
                  </a:ext>
                </a:extLst>
              </a:tr>
              <a:tr h="29961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Celkem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</a:rPr>
                        <a:t>413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>
                          <a:effectLst/>
                        </a:rPr>
                        <a:t>5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</a:rPr>
                        <a:t>4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</a:rPr>
                        <a:t>422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31204641"/>
                  </a:ext>
                </a:extLst>
              </a:tr>
            </a:tbl>
          </a:graphicData>
        </a:graphic>
      </p:graphicFrame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B4DEB767-1A7C-BD82-3028-0D9BEF917997}"/>
              </a:ext>
            </a:extLst>
          </p:cNvPr>
          <p:cNvGraphicFramePr>
            <a:graphicFrameLocks noGrp="1"/>
          </p:cNvGraphicFramePr>
          <p:nvPr/>
        </p:nvGraphicFramePr>
        <p:xfrm>
          <a:off x="6761192" y="2465534"/>
          <a:ext cx="4982901" cy="3233301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3880779">
                  <a:extLst>
                    <a:ext uri="{9D8B030D-6E8A-4147-A177-3AD203B41FA5}">
                      <a16:colId xmlns:a16="http://schemas.microsoft.com/office/drawing/2014/main" val="2050302186"/>
                    </a:ext>
                  </a:extLst>
                </a:gridCol>
                <a:gridCol w="1102122">
                  <a:extLst>
                    <a:ext uri="{9D8B030D-6E8A-4147-A177-3AD203B41FA5}">
                      <a16:colId xmlns:a16="http://schemas.microsoft.com/office/drawing/2014/main" val="3488141113"/>
                    </a:ext>
                  </a:extLst>
                </a:gridCol>
              </a:tblGrid>
              <a:tr h="950972"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b="1" u="none" strike="noStrike" dirty="0">
                          <a:effectLst/>
                        </a:rPr>
                        <a:t>Psychiatrie</a:t>
                      </a:r>
                      <a:endParaRPr lang="cs-CZ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u="none" strike="noStrike" dirty="0">
                          <a:effectLst/>
                        </a:rPr>
                        <a:t>Počet akutních lůžek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56675101"/>
                  </a:ext>
                </a:extLst>
              </a:tr>
              <a:tr h="31699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Psychiatrická nemocnice Bohnic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266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08640580"/>
                  </a:ext>
                </a:extLst>
              </a:tr>
              <a:tr h="31699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Všeobecná fakultní nemocnice v Praz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114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8262520"/>
                  </a:ext>
                </a:extLst>
              </a:tr>
              <a:tr h="31699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ÚVN-Vojenská fakultní nemocnice Prah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40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34488488"/>
                  </a:ext>
                </a:extLst>
              </a:tr>
              <a:tr h="697379"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b="1" u="none" strike="noStrike" dirty="0">
                          <a:effectLst/>
                        </a:rPr>
                        <a:t>Dětská a dorostová psychiatrie</a:t>
                      </a:r>
                      <a:endParaRPr lang="cs-CZ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75803551"/>
                  </a:ext>
                </a:extLst>
              </a:tr>
              <a:tr h="31699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Fakultní nemocnice v Motol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50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66864658"/>
                  </a:ext>
                </a:extLst>
              </a:tr>
              <a:tr h="31699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Fakultní Thomayerova nemocnic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30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93058475"/>
                  </a:ext>
                </a:extLst>
              </a:tr>
            </a:tbl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978F06C4-FCD6-2EC8-619C-BC52746CE5FF}"/>
              </a:ext>
            </a:extLst>
          </p:cNvPr>
          <p:cNvSpPr txBox="1"/>
          <p:nvPr/>
        </p:nvSpPr>
        <p:spPr>
          <a:xfrm>
            <a:off x="6668653" y="2096201"/>
            <a:ext cx="50752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lůžek poskytovatelů akutní lůžkové péče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93B6DBF0-9333-9F5F-E6EC-76893F86D771}"/>
              </a:ext>
            </a:extLst>
          </p:cNvPr>
          <p:cNvSpPr txBox="1"/>
          <p:nvPr/>
        </p:nvSpPr>
        <p:spPr>
          <a:xfrm>
            <a:off x="362211" y="2096201"/>
            <a:ext cx="5948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zdravotnických zařízení v péči o duševní zdraví - Praha</a:t>
            </a:r>
          </a:p>
        </p:txBody>
      </p:sp>
    </p:spTree>
    <p:extLst>
      <p:ext uri="{BB962C8B-B14F-4D97-AF65-F5344CB8AC3E}">
        <p14:creationId xmlns:p14="http://schemas.microsoft.com/office/powerpoint/2010/main" val="324368191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5C0DAE3-2B75-C32B-6714-254CFCF32BC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>
                <a:solidFill>
                  <a:srgbClr val="0070C0"/>
                </a:solidFill>
              </a:rPr>
              <a:t>Rozložení kapacit není mezi městskými částmi rovnoměrné</a:t>
            </a:r>
          </a:p>
        </p:txBody>
      </p:sp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8BD2D46F-E5F1-06F1-7FC7-AB25461912C5}"/>
              </a:ext>
            </a:extLst>
          </p:cNvPr>
          <p:cNvGraphicFramePr>
            <a:graphicFrameLocks noGrp="1"/>
          </p:cNvGraphicFramePr>
          <p:nvPr/>
        </p:nvGraphicFramePr>
        <p:xfrm>
          <a:off x="288728" y="1199138"/>
          <a:ext cx="3479053" cy="4707585"/>
        </p:xfrm>
        <a:graphic>
          <a:graphicData uri="http://schemas.openxmlformats.org/drawingml/2006/table">
            <a:tbl>
              <a:tblPr/>
              <a:tblGrid>
                <a:gridCol w="1136495">
                  <a:extLst>
                    <a:ext uri="{9D8B030D-6E8A-4147-A177-3AD203B41FA5}">
                      <a16:colId xmlns:a16="http://schemas.microsoft.com/office/drawing/2014/main" val="1463795947"/>
                    </a:ext>
                  </a:extLst>
                </a:gridCol>
                <a:gridCol w="718265">
                  <a:extLst>
                    <a:ext uri="{9D8B030D-6E8A-4147-A177-3AD203B41FA5}">
                      <a16:colId xmlns:a16="http://schemas.microsoft.com/office/drawing/2014/main" val="3248177215"/>
                    </a:ext>
                  </a:extLst>
                </a:gridCol>
                <a:gridCol w="1166159">
                  <a:extLst>
                    <a:ext uri="{9D8B030D-6E8A-4147-A177-3AD203B41FA5}">
                      <a16:colId xmlns:a16="http://schemas.microsoft.com/office/drawing/2014/main" val="1535762239"/>
                    </a:ext>
                  </a:extLst>
                </a:gridCol>
                <a:gridCol w="458134">
                  <a:extLst>
                    <a:ext uri="{9D8B030D-6E8A-4147-A177-3AD203B41FA5}">
                      <a16:colId xmlns:a16="http://schemas.microsoft.com/office/drawing/2014/main" val="1587064681"/>
                    </a:ext>
                  </a:extLst>
                </a:gridCol>
              </a:tblGrid>
              <a:tr h="16116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tská část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e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á psychiatrie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125151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ha 1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8141560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ha 2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0429525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ha 3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3908399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ha 4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969643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ha 5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9442761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ha 6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2106308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ha 7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8506689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ha 8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4359365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ha 9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2572182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ha 10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5525303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ha 11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016292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ha 12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5438403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ha 13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1848597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ha 14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3943250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ha 15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1358003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ha 16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3702957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ha 17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8595919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ha 18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2213450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ha 20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2693385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ha 22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3564794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ha-Dolní Chabry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8576066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ha-Klánovice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7760858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ha-Kunratice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9483149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ha-Lysolaje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71119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ha-Řeporyje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0822780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ha-Zbraslav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715" marR="6715" marT="67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730519"/>
                  </a:ext>
                </a:extLst>
              </a:tr>
            </a:tbl>
          </a:graphicData>
        </a:graphic>
      </p:graphicFrame>
      <p:sp>
        <p:nvSpPr>
          <p:cNvPr id="7" name="TextBox 21">
            <a:extLst>
              <a:ext uri="{FF2B5EF4-FFF2-40B4-BE49-F238E27FC236}">
                <a16:creationId xmlns:a16="http://schemas.microsoft.com/office/drawing/2014/main" id="{8B3717BA-D9B7-0D7B-3880-DDEB6E3D3938}"/>
              </a:ext>
            </a:extLst>
          </p:cNvPr>
          <p:cNvSpPr txBox="1"/>
          <p:nvPr/>
        </p:nvSpPr>
        <p:spPr>
          <a:xfrm>
            <a:off x="272525" y="590221"/>
            <a:ext cx="114296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finice: počet míst poskytování podle jednotlivých městských částí, Zdroj: Národní registr poskytovatelů zdravotních služeb (NRPZS), stav k 1.9.2024</a:t>
            </a:r>
          </a:p>
        </p:txBody>
      </p:sp>
      <p:pic>
        <p:nvPicPr>
          <p:cNvPr id="12" name="Obrázek 11">
            <a:extLst>
              <a:ext uri="{FF2B5EF4-FFF2-40B4-BE49-F238E27FC236}">
                <a16:creationId xmlns:a16="http://schemas.microsoft.com/office/drawing/2014/main" id="{5F7ACD9B-4CB1-804B-658F-C1CC5C60A1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8180" y="1199137"/>
            <a:ext cx="7143391" cy="4707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530944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en-US" sz="2400" dirty="0" err="1">
                <a:solidFill>
                  <a:srgbClr val="0070C0"/>
                </a:solidFill>
              </a:rPr>
              <a:t>Dynamika</a:t>
            </a:r>
            <a:r>
              <a:rPr lang="en-US" sz="2400" dirty="0">
                <a:solidFill>
                  <a:srgbClr val="0070C0"/>
                </a:solidFill>
              </a:rPr>
              <a:t> </a:t>
            </a:r>
            <a:r>
              <a:rPr lang="en-US" sz="2400" dirty="0" err="1">
                <a:solidFill>
                  <a:srgbClr val="0070C0"/>
                </a:solidFill>
              </a:rPr>
              <a:t>počtu</a:t>
            </a:r>
            <a:r>
              <a:rPr lang="en-US" sz="2400" dirty="0">
                <a:solidFill>
                  <a:srgbClr val="0070C0"/>
                </a:solidFill>
              </a:rPr>
              <a:t> </a:t>
            </a:r>
            <a:r>
              <a:rPr lang="cs-CZ" sz="2400" dirty="0">
                <a:solidFill>
                  <a:srgbClr val="0070C0"/>
                </a:solidFill>
              </a:rPr>
              <a:t>psychiatrických </a:t>
            </a:r>
            <a:r>
              <a:rPr lang="en-US" sz="2400" dirty="0" err="1">
                <a:solidFill>
                  <a:srgbClr val="0070C0"/>
                </a:solidFill>
              </a:rPr>
              <a:t>ordinací</a:t>
            </a:r>
            <a:r>
              <a:rPr lang="en-US" sz="2400" dirty="0">
                <a:solidFill>
                  <a:srgbClr val="0070C0"/>
                </a:solidFill>
              </a:rPr>
              <a:t> </a:t>
            </a:r>
            <a:r>
              <a:rPr lang="cs-CZ" sz="2400" dirty="0">
                <a:solidFill>
                  <a:srgbClr val="0070C0"/>
                </a:solidFill>
              </a:rPr>
              <a:t>pro děti i dospělé (2018-2023)</a:t>
            </a:r>
            <a:endParaRPr lang="en-US" dirty="0">
              <a:solidFill>
                <a:srgbClr val="0070C0"/>
              </a:solidFill>
            </a:endParaRPr>
          </a:p>
        </p:txBody>
      </p:sp>
      <p:graphicFrame>
        <p:nvGraphicFramePr>
          <p:cNvPr id="6" name="Table 45">
            <a:extLst>
              <a:ext uri="{FF2B5EF4-FFF2-40B4-BE49-F238E27FC236}">
                <a16:creationId xmlns:a16="http://schemas.microsoft.com/office/drawing/2014/main" id="{35AC108F-A082-4661-A659-C254874B15F1}"/>
              </a:ext>
            </a:extLst>
          </p:cNvPr>
          <p:cNvGraphicFramePr>
            <a:graphicFrameLocks noGrp="1"/>
          </p:cNvGraphicFramePr>
          <p:nvPr/>
        </p:nvGraphicFramePr>
        <p:xfrm>
          <a:off x="1233202" y="1269576"/>
          <a:ext cx="3942302" cy="3851559"/>
        </p:xfrm>
        <a:graphic>
          <a:graphicData uri="http://schemas.openxmlformats.org/drawingml/2006/table">
            <a:tbl>
              <a:tblPr/>
              <a:tblGrid>
                <a:gridCol w="3367474">
                  <a:extLst>
                    <a:ext uri="{9D8B030D-6E8A-4147-A177-3AD203B41FA5}">
                      <a16:colId xmlns:a16="http://schemas.microsoft.com/office/drawing/2014/main" val="406821776"/>
                    </a:ext>
                  </a:extLst>
                </a:gridCol>
                <a:gridCol w="341217">
                  <a:extLst>
                    <a:ext uri="{9D8B030D-6E8A-4147-A177-3AD203B41FA5}">
                      <a16:colId xmlns:a16="http://schemas.microsoft.com/office/drawing/2014/main" val="1683923342"/>
                    </a:ext>
                  </a:extLst>
                </a:gridCol>
                <a:gridCol w="233611">
                  <a:extLst>
                    <a:ext uri="{9D8B030D-6E8A-4147-A177-3AD203B41FA5}">
                      <a16:colId xmlns:a16="http://schemas.microsoft.com/office/drawing/2014/main" val="1539128207"/>
                    </a:ext>
                  </a:extLst>
                </a:gridCol>
              </a:tblGrid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+</a:t>
                      </a:r>
                      <a:endParaRPr lang="en-US" sz="1400" b="1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+mj-lt"/>
                        </a:rPr>
                        <a:t>-</a:t>
                      </a:r>
                      <a:endParaRPr lang="en-US" sz="14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376776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2095132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986714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970582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417174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6391307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1238128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9135602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2139054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1063919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5553816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442789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101001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985808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9538628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5075863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6307936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666384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136944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44471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879934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0267646"/>
                  </a:ext>
                </a:extLst>
              </a:tr>
            </a:tbl>
          </a:graphicData>
        </a:graphic>
      </p:graphicFrame>
      <p:sp>
        <p:nvSpPr>
          <p:cNvPr id="14" name="TextBox 8">
            <a:extLst>
              <a:ext uri="{FF2B5EF4-FFF2-40B4-BE49-F238E27FC236}">
                <a16:creationId xmlns:a16="http://schemas.microsoft.com/office/drawing/2014/main" id="{F7B9D7E1-6AD7-4491-892C-5AFE18488ED7}"/>
              </a:ext>
            </a:extLst>
          </p:cNvPr>
          <p:cNvSpPr txBox="1"/>
          <p:nvPr/>
        </p:nvSpPr>
        <p:spPr>
          <a:xfrm>
            <a:off x="1153320" y="3872265"/>
            <a:ext cx="10711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velikosti sídla</a:t>
            </a:r>
          </a:p>
        </p:txBody>
      </p:sp>
      <p:sp>
        <p:nvSpPr>
          <p:cNvPr id="15" name="TextBox 8">
            <a:extLst>
              <a:ext uri="{FF2B5EF4-FFF2-40B4-BE49-F238E27FC236}">
                <a16:creationId xmlns:a16="http://schemas.microsoft.com/office/drawing/2014/main" id="{2A11655A-559C-4A1F-91DC-91BE0239E6E4}"/>
              </a:ext>
            </a:extLst>
          </p:cNvPr>
          <p:cNvSpPr txBox="1"/>
          <p:nvPr/>
        </p:nvSpPr>
        <p:spPr>
          <a:xfrm>
            <a:off x="1156091" y="1256531"/>
            <a:ext cx="6399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kraje</a:t>
            </a:r>
          </a:p>
        </p:txBody>
      </p:sp>
      <p:sp>
        <p:nvSpPr>
          <p:cNvPr id="17" name="Obdélník 26">
            <a:extLst>
              <a:ext uri="{FF2B5EF4-FFF2-40B4-BE49-F238E27FC236}">
                <a16:creationId xmlns:a16="http://schemas.microsoft.com/office/drawing/2014/main" id="{A65B6BD0-307C-4B9C-9D4C-BA47CDC813A4}"/>
              </a:ext>
            </a:extLst>
          </p:cNvPr>
          <p:cNvSpPr/>
          <p:nvPr/>
        </p:nvSpPr>
        <p:spPr>
          <a:xfrm>
            <a:off x="2638459" y="5453286"/>
            <a:ext cx="507076" cy="483061"/>
          </a:xfrm>
          <a:prstGeom prst="rect">
            <a:avLst/>
          </a:prstGeom>
          <a:solidFill>
            <a:srgbClr val="3D67BC">
              <a:lumMod val="20000"/>
              <a:lumOff val="80000"/>
            </a:srgbClr>
          </a:solidFill>
          <a:ln w="317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8" name="Table 11">
            <a:extLst>
              <a:ext uri="{FF2B5EF4-FFF2-40B4-BE49-F238E27FC236}">
                <a16:creationId xmlns:a16="http://schemas.microsoft.com/office/drawing/2014/main" id="{78912AFB-BE5B-4524-89B7-4287E8EEC9FB}"/>
              </a:ext>
            </a:extLst>
          </p:cNvPr>
          <p:cNvGraphicFramePr>
            <a:graphicFrameLocks noGrp="1"/>
          </p:cNvGraphicFramePr>
          <p:nvPr/>
        </p:nvGraphicFramePr>
        <p:xfrm>
          <a:off x="1419971" y="5492546"/>
          <a:ext cx="2862899" cy="381000"/>
        </p:xfrm>
        <a:graphic>
          <a:graphicData uri="http://schemas.openxmlformats.org/drawingml/2006/table">
            <a:tbl>
              <a:tblPr/>
              <a:tblGrid>
                <a:gridCol w="1204357">
                  <a:extLst>
                    <a:ext uri="{9D8B030D-6E8A-4147-A177-3AD203B41FA5}">
                      <a16:colId xmlns:a16="http://schemas.microsoft.com/office/drawing/2014/main" val="3853287201"/>
                    </a:ext>
                  </a:extLst>
                </a:gridCol>
                <a:gridCol w="548640">
                  <a:extLst>
                    <a:ext uri="{9D8B030D-6E8A-4147-A177-3AD203B41FA5}">
                      <a16:colId xmlns:a16="http://schemas.microsoft.com/office/drawing/2014/main" val="3872390175"/>
                    </a:ext>
                  </a:extLst>
                </a:gridCol>
                <a:gridCol w="566928">
                  <a:extLst>
                    <a:ext uri="{9D8B030D-6E8A-4147-A177-3AD203B41FA5}">
                      <a16:colId xmlns:a16="http://schemas.microsoft.com/office/drawing/2014/main" val="2814374472"/>
                    </a:ext>
                  </a:extLst>
                </a:gridCol>
                <a:gridCol w="542974">
                  <a:extLst>
                    <a:ext uri="{9D8B030D-6E8A-4147-A177-3AD203B41FA5}">
                      <a16:colId xmlns:a16="http://schemas.microsoft.com/office/drawing/2014/main" val="3360779753"/>
                    </a:ext>
                  </a:extLst>
                </a:gridCol>
              </a:tblGrid>
              <a:tr h="1905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lanc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  <a:endParaRPr lang="en-US" sz="1100" b="1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1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0807266"/>
                  </a:ext>
                </a:extLst>
              </a:tr>
              <a:tr h="1905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cs-CZ" sz="1100" b="1" u="none" strike="noStrike" dirty="0">
                          <a:effectLst/>
                        </a:rPr>
                        <a:t>Celá ČR 2023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endParaRPr lang="en-US" sz="1100" b="1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89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66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6082128"/>
                  </a:ext>
                </a:extLst>
              </a:tr>
            </a:tbl>
          </a:graphicData>
        </a:graphic>
      </p:graphicFrame>
      <p:sp>
        <p:nvSpPr>
          <p:cNvPr id="19" name="TextBox 21">
            <a:extLst>
              <a:ext uri="{FF2B5EF4-FFF2-40B4-BE49-F238E27FC236}">
                <a16:creationId xmlns:a16="http://schemas.microsoft.com/office/drawing/2014/main" id="{D4CF6613-8501-4F04-B2B3-D25E2CCCAE07}"/>
              </a:ext>
            </a:extLst>
          </p:cNvPr>
          <p:cNvSpPr txBox="1"/>
          <p:nvPr/>
        </p:nvSpPr>
        <p:spPr>
          <a:xfrm>
            <a:off x="272525" y="590221"/>
            <a:ext cx="66180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poskytovatelů zdravotních služeb (NRPZS), 1.9.2024</a:t>
            </a:r>
          </a:p>
        </p:txBody>
      </p:sp>
      <p:sp>
        <p:nvSpPr>
          <p:cNvPr id="21" name="TextBox 46">
            <a:extLst>
              <a:ext uri="{FF2B5EF4-FFF2-40B4-BE49-F238E27FC236}">
                <a16:creationId xmlns:a16="http://schemas.microsoft.com/office/drawing/2014/main" id="{35B25AFE-2275-4A4B-B1F6-D63F0C87129F}"/>
              </a:ext>
            </a:extLst>
          </p:cNvPr>
          <p:cNvSpPr txBox="1"/>
          <p:nvPr/>
        </p:nvSpPr>
        <p:spPr>
          <a:xfrm>
            <a:off x="2049885" y="919973"/>
            <a:ext cx="33970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ová bilance počtu míst PZS v letech 2018-2023</a:t>
            </a:r>
          </a:p>
        </p:txBody>
      </p:sp>
      <p:sp>
        <p:nvSpPr>
          <p:cNvPr id="2" name="Rectangle 5">
            <a:extLst>
              <a:ext uri="{FF2B5EF4-FFF2-40B4-BE49-F238E27FC236}">
                <a16:creationId xmlns:a16="http://schemas.microsoft.com/office/drawing/2014/main" id="{2C59BF8A-2E40-A6F2-5353-349E1E3A0D64}"/>
              </a:ext>
            </a:extLst>
          </p:cNvPr>
          <p:cNvSpPr/>
          <p:nvPr/>
        </p:nvSpPr>
        <p:spPr>
          <a:xfrm>
            <a:off x="1480724" y="6180222"/>
            <a:ext cx="1049220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pl-PL" alt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Analýza je provedena na úrovni jednotlivých adres zdravotnických zařízení (každé IČO poskytovatele může mít více adres) - ICO+PCZ+PCDP. </a:t>
            </a:r>
            <a:endParaRPr kumimoji="0" lang="cs-CZ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5" name="Chart 6">
            <a:extLst>
              <a:ext uri="{FF2B5EF4-FFF2-40B4-BE49-F238E27FC236}">
                <a16:creationId xmlns:a16="http://schemas.microsoft.com/office/drawing/2014/main" id="{7DA65D92-E598-60BE-9A10-428E7AA9F415}"/>
              </a:ext>
            </a:extLst>
          </p:cNvPr>
          <p:cNvGraphicFramePr/>
          <p:nvPr/>
        </p:nvGraphicFramePr>
        <p:xfrm>
          <a:off x="1197904" y="1180639"/>
          <a:ext cx="3527682" cy="4081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7" name="Obrázek 6" descr="Obsah obrázku mapa, text, diagram, atlas">
            <a:extLst>
              <a:ext uri="{FF2B5EF4-FFF2-40B4-BE49-F238E27FC236}">
                <a16:creationId xmlns:a16="http://schemas.microsoft.com/office/drawing/2014/main" id="{C5CBC99A-8AAA-F6BB-5D29-B67B4088F62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1583" y="1604460"/>
            <a:ext cx="5723155" cy="3470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43570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72591" y="160258"/>
            <a:ext cx="10515600" cy="538364"/>
          </a:xfrm>
        </p:spPr>
        <p:txBody>
          <a:bodyPr>
            <a:normAutofit fontScale="90000"/>
          </a:bodyPr>
          <a:lstStyle/>
          <a:p>
            <a:r>
              <a:rPr lang="en-US" sz="2800" dirty="0" err="1">
                <a:solidFill>
                  <a:srgbClr val="0070C0"/>
                </a:solidFill>
              </a:rPr>
              <a:t>Dynamika</a:t>
            </a:r>
            <a:r>
              <a:rPr lang="en-US" sz="2800" dirty="0">
                <a:solidFill>
                  <a:srgbClr val="0070C0"/>
                </a:solidFill>
              </a:rPr>
              <a:t> </a:t>
            </a:r>
            <a:r>
              <a:rPr lang="en-US" sz="2800" dirty="0" err="1">
                <a:solidFill>
                  <a:srgbClr val="0070C0"/>
                </a:solidFill>
              </a:rPr>
              <a:t>počtu</a:t>
            </a:r>
            <a:r>
              <a:rPr lang="en-US" sz="2800" dirty="0">
                <a:solidFill>
                  <a:srgbClr val="0070C0"/>
                </a:solidFill>
              </a:rPr>
              <a:t> </a:t>
            </a:r>
            <a:r>
              <a:rPr lang="cs-CZ" sz="2800" dirty="0">
                <a:solidFill>
                  <a:srgbClr val="0070C0"/>
                </a:solidFill>
              </a:rPr>
              <a:t>psychiatrických </a:t>
            </a:r>
            <a:r>
              <a:rPr lang="en-US" sz="2800" dirty="0" err="1">
                <a:solidFill>
                  <a:srgbClr val="0070C0"/>
                </a:solidFill>
              </a:rPr>
              <a:t>ordinací</a:t>
            </a:r>
            <a:r>
              <a:rPr lang="en-US" sz="2800" dirty="0">
                <a:solidFill>
                  <a:srgbClr val="0070C0"/>
                </a:solidFill>
              </a:rPr>
              <a:t> </a:t>
            </a:r>
            <a:r>
              <a:rPr lang="cs-CZ" sz="2800" dirty="0">
                <a:solidFill>
                  <a:srgbClr val="0070C0"/>
                </a:solidFill>
              </a:rPr>
              <a:t>pro děti i dospělé (2018-2023)</a:t>
            </a:r>
            <a:endParaRPr lang="en-US" dirty="0"/>
          </a:p>
        </p:txBody>
      </p:sp>
      <p:graphicFrame>
        <p:nvGraphicFramePr>
          <p:cNvPr id="6" name="Table 45">
            <a:extLst>
              <a:ext uri="{FF2B5EF4-FFF2-40B4-BE49-F238E27FC236}">
                <a16:creationId xmlns:a16="http://schemas.microsoft.com/office/drawing/2014/main" id="{35AC108F-A082-4661-A659-C254874B15F1}"/>
              </a:ext>
            </a:extLst>
          </p:cNvPr>
          <p:cNvGraphicFramePr>
            <a:graphicFrameLocks noGrp="1"/>
          </p:cNvGraphicFramePr>
          <p:nvPr/>
        </p:nvGraphicFramePr>
        <p:xfrm>
          <a:off x="1181364" y="994385"/>
          <a:ext cx="3942302" cy="5101855"/>
        </p:xfrm>
        <a:graphic>
          <a:graphicData uri="http://schemas.openxmlformats.org/drawingml/2006/table">
            <a:tbl>
              <a:tblPr/>
              <a:tblGrid>
                <a:gridCol w="3367474">
                  <a:extLst>
                    <a:ext uri="{9D8B030D-6E8A-4147-A177-3AD203B41FA5}">
                      <a16:colId xmlns:a16="http://schemas.microsoft.com/office/drawing/2014/main" val="406821776"/>
                    </a:ext>
                  </a:extLst>
                </a:gridCol>
                <a:gridCol w="341217">
                  <a:extLst>
                    <a:ext uri="{9D8B030D-6E8A-4147-A177-3AD203B41FA5}">
                      <a16:colId xmlns:a16="http://schemas.microsoft.com/office/drawing/2014/main" val="1683923342"/>
                    </a:ext>
                  </a:extLst>
                </a:gridCol>
                <a:gridCol w="233611">
                  <a:extLst>
                    <a:ext uri="{9D8B030D-6E8A-4147-A177-3AD203B41FA5}">
                      <a16:colId xmlns:a16="http://schemas.microsoft.com/office/drawing/2014/main" val="1539128207"/>
                    </a:ext>
                  </a:extLst>
                </a:gridCol>
              </a:tblGrid>
              <a:tr h="29132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+</a:t>
                      </a:r>
                      <a:endParaRPr lang="en-US" sz="1400" b="1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+mj-lt"/>
                        </a:rPr>
                        <a:t>-</a:t>
                      </a:r>
                      <a:endParaRPr lang="en-US" sz="14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376776"/>
                  </a:ext>
                </a:extLst>
              </a:tr>
              <a:tr h="2290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2095132"/>
                  </a:ext>
                </a:extLst>
              </a:tr>
              <a:tr h="2290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9867141"/>
                  </a:ext>
                </a:extLst>
              </a:tr>
              <a:tr h="2290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9705820"/>
                  </a:ext>
                </a:extLst>
              </a:tr>
              <a:tr h="2290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4171741"/>
                  </a:ext>
                </a:extLst>
              </a:tr>
              <a:tr h="2290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6391307"/>
                  </a:ext>
                </a:extLst>
              </a:tr>
              <a:tr h="2290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1238128"/>
                  </a:ext>
                </a:extLst>
              </a:tr>
              <a:tr h="2290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9135602"/>
                  </a:ext>
                </a:extLst>
              </a:tr>
              <a:tr h="2290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2139054"/>
                  </a:ext>
                </a:extLst>
              </a:tr>
              <a:tr h="2290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1063919"/>
                  </a:ext>
                </a:extLst>
              </a:tr>
              <a:tr h="2290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5553816"/>
                  </a:ext>
                </a:extLst>
              </a:tr>
              <a:tr h="2290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4427891"/>
                  </a:ext>
                </a:extLst>
              </a:tr>
              <a:tr h="2290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1010010"/>
                  </a:ext>
                </a:extLst>
              </a:tr>
              <a:tr h="2290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985808"/>
                  </a:ext>
                </a:extLst>
              </a:tr>
              <a:tr h="2290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9538628"/>
                  </a:ext>
                </a:extLst>
              </a:tr>
              <a:tr h="2290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5075863"/>
                  </a:ext>
                </a:extLst>
              </a:tr>
              <a:tr h="2290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6307936"/>
                  </a:ext>
                </a:extLst>
              </a:tr>
              <a:tr h="2290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6663841"/>
                  </a:ext>
                </a:extLst>
              </a:tr>
              <a:tr h="2290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1369440"/>
                  </a:ext>
                </a:extLst>
              </a:tr>
              <a:tr h="2290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444710"/>
                  </a:ext>
                </a:extLst>
              </a:tr>
              <a:tr h="2290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879934"/>
                  </a:ext>
                </a:extLst>
              </a:tr>
              <a:tr h="229073"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9800755"/>
                  </a:ext>
                </a:extLst>
              </a:tr>
            </a:tbl>
          </a:graphicData>
        </a:graphic>
      </p:graphicFrame>
      <p:sp>
        <p:nvSpPr>
          <p:cNvPr id="17" name="Obdélník 26">
            <a:extLst>
              <a:ext uri="{FF2B5EF4-FFF2-40B4-BE49-F238E27FC236}">
                <a16:creationId xmlns:a16="http://schemas.microsoft.com/office/drawing/2014/main" id="{A65B6BD0-307C-4B9C-9D4C-BA47CDC813A4}"/>
              </a:ext>
            </a:extLst>
          </p:cNvPr>
          <p:cNvSpPr/>
          <p:nvPr/>
        </p:nvSpPr>
        <p:spPr>
          <a:xfrm>
            <a:off x="8922549" y="5453286"/>
            <a:ext cx="507076" cy="483061"/>
          </a:xfrm>
          <a:prstGeom prst="rect">
            <a:avLst/>
          </a:prstGeom>
          <a:solidFill>
            <a:srgbClr val="3D67BC">
              <a:lumMod val="20000"/>
              <a:lumOff val="80000"/>
            </a:srgbClr>
          </a:solidFill>
          <a:ln w="317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8" name="Table 11">
            <a:extLst>
              <a:ext uri="{FF2B5EF4-FFF2-40B4-BE49-F238E27FC236}">
                <a16:creationId xmlns:a16="http://schemas.microsoft.com/office/drawing/2014/main" id="{78912AFB-BE5B-4524-89B7-4287E8EEC9FB}"/>
              </a:ext>
            </a:extLst>
          </p:cNvPr>
          <p:cNvGraphicFramePr>
            <a:graphicFrameLocks noGrp="1"/>
          </p:cNvGraphicFramePr>
          <p:nvPr/>
        </p:nvGraphicFramePr>
        <p:xfrm>
          <a:off x="7568123" y="5492546"/>
          <a:ext cx="3096117" cy="381000"/>
        </p:xfrm>
        <a:graphic>
          <a:graphicData uri="http://schemas.openxmlformats.org/drawingml/2006/table">
            <a:tbl>
              <a:tblPr/>
              <a:tblGrid>
                <a:gridCol w="1302467">
                  <a:extLst>
                    <a:ext uri="{9D8B030D-6E8A-4147-A177-3AD203B41FA5}">
                      <a16:colId xmlns:a16="http://schemas.microsoft.com/office/drawing/2014/main" val="3853287201"/>
                    </a:ext>
                  </a:extLst>
                </a:gridCol>
                <a:gridCol w="593333">
                  <a:extLst>
                    <a:ext uri="{9D8B030D-6E8A-4147-A177-3AD203B41FA5}">
                      <a16:colId xmlns:a16="http://schemas.microsoft.com/office/drawing/2014/main" val="3872390175"/>
                    </a:ext>
                  </a:extLst>
                </a:gridCol>
                <a:gridCol w="613111">
                  <a:extLst>
                    <a:ext uri="{9D8B030D-6E8A-4147-A177-3AD203B41FA5}">
                      <a16:colId xmlns:a16="http://schemas.microsoft.com/office/drawing/2014/main" val="2814374472"/>
                    </a:ext>
                  </a:extLst>
                </a:gridCol>
                <a:gridCol w="587206">
                  <a:extLst>
                    <a:ext uri="{9D8B030D-6E8A-4147-A177-3AD203B41FA5}">
                      <a16:colId xmlns:a16="http://schemas.microsoft.com/office/drawing/2014/main" val="3360779753"/>
                    </a:ext>
                  </a:extLst>
                </a:gridCol>
              </a:tblGrid>
              <a:tr h="1905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lanc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  <a:endParaRPr lang="en-US" sz="1100" b="1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1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0807266"/>
                  </a:ext>
                </a:extLst>
              </a:tr>
              <a:tr h="1905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cs-CZ" sz="1100" b="1" u="none" strike="noStrike" dirty="0">
                          <a:effectLst/>
                        </a:rPr>
                        <a:t>Celá Praha 2018-2023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endParaRPr lang="en-US" sz="1100" b="1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6082128"/>
                  </a:ext>
                </a:extLst>
              </a:tr>
            </a:tbl>
          </a:graphicData>
        </a:graphic>
      </p:graphicFrame>
      <p:sp>
        <p:nvSpPr>
          <p:cNvPr id="19" name="TextBox 21">
            <a:extLst>
              <a:ext uri="{FF2B5EF4-FFF2-40B4-BE49-F238E27FC236}">
                <a16:creationId xmlns:a16="http://schemas.microsoft.com/office/drawing/2014/main" id="{D4CF6613-8501-4F04-B2B3-D25E2CCCAE07}"/>
              </a:ext>
            </a:extLst>
          </p:cNvPr>
          <p:cNvSpPr txBox="1"/>
          <p:nvPr/>
        </p:nvSpPr>
        <p:spPr>
          <a:xfrm>
            <a:off x="288000" y="540000"/>
            <a:ext cx="66180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poskytovatelů zdravotních služeb (NRPZS), 1. 9. 2024</a:t>
            </a:r>
          </a:p>
        </p:txBody>
      </p:sp>
      <p:sp>
        <p:nvSpPr>
          <p:cNvPr id="21" name="TextBox 46">
            <a:extLst>
              <a:ext uri="{FF2B5EF4-FFF2-40B4-BE49-F238E27FC236}">
                <a16:creationId xmlns:a16="http://schemas.microsoft.com/office/drawing/2014/main" id="{35B25AFE-2275-4A4B-B1F6-D63F0C87129F}"/>
              </a:ext>
            </a:extLst>
          </p:cNvPr>
          <p:cNvSpPr txBox="1"/>
          <p:nvPr/>
        </p:nvSpPr>
        <p:spPr>
          <a:xfrm>
            <a:off x="2049885" y="803239"/>
            <a:ext cx="33970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ová bilance počtu míst PZS v letech 2018-2023</a:t>
            </a:r>
          </a:p>
        </p:txBody>
      </p:sp>
      <p:sp>
        <p:nvSpPr>
          <p:cNvPr id="2" name="Rectangle 5">
            <a:extLst>
              <a:ext uri="{FF2B5EF4-FFF2-40B4-BE49-F238E27FC236}">
                <a16:creationId xmlns:a16="http://schemas.microsoft.com/office/drawing/2014/main" id="{2C59BF8A-2E40-A6F2-5353-349E1E3A0D64}"/>
              </a:ext>
            </a:extLst>
          </p:cNvPr>
          <p:cNvSpPr/>
          <p:nvPr/>
        </p:nvSpPr>
        <p:spPr>
          <a:xfrm>
            <a:off x="1480724" y="6180222"/>
            <a:ext cx="1049220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pl-PL" alt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Analýza je provedena na úrovni jednotlivých adres zdravotnických zařízení (každé IČO poskytovatele může mít více adres) - ICO+PCZ+PCDP. </a:t>
            </a:r>
            <a:endParaRPr kumimoji="0" lang="cs-CZ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2BDC8257-DC07-E0F1-6429-19BD285F8F3D}"/>
              </a:ext>
            </a:extLst>
          </p:cNvPr>
          <p:cNvGraphicFramePr/>
          <p:nvPr/>
        </p:nvGraphicFramePr>
        <p:xfrm>
          <a:off x="457201" y="970763"/>
          <a:ext cx="4289898" cy="5277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extBox 8">
            <a:extLst>
              <a:ext uri="{FF2B5EF4-FFF2-40B4-BE49-F238E27FC236}">
                <a16:creationId xmlns:a16="http://schemas.microsoft.com/office/drawing/2014/main" id="{D12341A4-B50D-DB46-6348-93ABC97FD5AE}"/>
              </a:ext>
            </a:extLst>
          </p:cNvPr>
          <p:cNvSpPr txBox="1"/>
          <p:nvPr/>
        </p:nvSpPr>
        <p:spPr>
          <a:xfrm>
            <a:off x="374949" y="875191"/>
            <a:ext cx="86113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ěstská část</a:t>
            </a: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AB8A084E-E1E4-FAF7-1F87-7196B2A7DF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15351" y="1116055"/>
            <a:ext cx="5414396" cy="4152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0587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4409B5-BD97-9398-DAB1-FC331D3B6A6D}"/>
              </a:ext>
            </a:extLst>
          </p:cNvPr>
          <p:cNvSpPr txBox="1">
            <a:spLocks/>
          </p:cNvSpPr>
          <p:nvPr/>
        </p:nvSpPr>
        <p:spPr>
          <a:xfrm>
            <a:off x="194310" y="276357"/>
            <a:ext cx="11997689" cy="8323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C22728"/>
                </a:solidFill>
                <a:effectLst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Národní informační systém pro psychiatrii </a:t>
            </a:r>
          </a:p>
        </p:txBody>
      </p:sp>
      <p:sp>
        <p:nvSpPr>
          <p:cNvPr id="3" name="Rectangle 23">
            <a:extLst>
              <a:ext uri="{FF2B5EF4-FFF2-40B4-BE49-F238E27FC236}">
                <a16:creationId xmlns:a16="http://schemas.microsoft.com/office/drawing/2014/main" id="{3E9287A3-0304-994E-EE9E-F9AC5662B7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556" y="3322199"/>
            <a:ext cx="2399731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Epidemiologie Populační zátěž</a:t>
            </a:r>
          </a:p>
        </p:txBody>
      </p:sp>
      <p:sp>
        <p:nvSpPr>
          <p:cNvPr id="4" name="Rectangle 23">
            <a:extLst>
              <a:ext uri="{FF2B5EF4-FFF2-40B4-BE49-F238E27FC236}">
                <a16:creationId xmlns:a16="http://schemas.microsoft.com/office/drawing/2014/main" id="{E2AE66AD-33E2-44A4-E46E-98CD5C0609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87736" y="4949325"/>
            <a:ext cx="3086780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Organizac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a dostupnost péč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Prevence </a:t>
            </a:r>
          </a:p>
        </p:txBody>
      </p:sp>
      <p:cxnSp>
        <p:nvCxnSpPr>
          <p:cNvPr id="5" name="Přímá spojnice se šipkou 4">
            <a:extLst>
              <a:ext uri="{FF2B5EF4-FFF2-40B4-BE49-F238E27FC236}">
                <a16:creationId xmlns:a16="http://schemas.microsoft.com/office/drawing/2014/main" id="{AD2D3705-0881-8EB6-94A0-F30FE1912F1F}"/>
              </a:ext>
            </a:extLst>
          </p:cNvPr>
          <p:cNvCxnSpPr/>
          <p:nvPr/>
        </p:nvCxnSpPr>
        <p:spPr>
          <a:xfrm flipH="1">
            <a:off x="2229523" y="2104043"/>
            <a:ext cx="2361451" cy="2557709"/>
          </a:xfrm>
          <a:prstGeom prst="straightConnector1">
            <a:avLst/>
          </a:prstGeom>
          <a:noFill/>
          <a:ln w="28575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cxnSp>
        <p:nvCxnSpPr>
          <p:cNvPr id="6" name="Přímá spojnice se šipkou 5">
            <a:extLst>
              <a:ext uri="{FF2B5EF4-FFF2-40B4-BE49-F238E27FC236}">
                <a16:creationId xmlns:a16="http://schemas.microsoft.com/office/drawing/2014/main" id="{536F5DA2-FBC9-574E-201F-0A1AA9636122}"/>
              </a:ext>
            </a:extLst>
          </p:cNvPr>
          <p:cNvCxnSpPr>
            <a:cxnSpLocks/>
          </p:cNvCxnSpPr>
          <p:nvPr/>
        </p:nvCxnSpPr>
        <p:spPr>
          <a:xfrm>
            <a:off x="5863184" y="2096669"/>
            <a:ext cx="2673969" cy="2718631"/>
          </a:xfrm>
          <a:prstGeom prst="straightConnector1">
            <a:avLst/>
          </a:prstGeom>
          <a:noFill/>
          <a:ln w="28575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sp>
        <p:nvSpPr>
          <p:cNvPr id="7" name="Rectangle 23">
            <a:extLst>
              <a:ext uri="{FF2B5EF4-FFF2-40B4-BE49-F238E27FC236}">
                <a16:creationId xmlns:a16="http://schemas.microsoft.com/office/drawing/2014/main" id="{8CD3E376-143C-0F92-E321-4119F527CE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40277" y="5687361"/>
            <a:ext cx="2456654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Ekonomik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a úhrady péče</a:t>
            </a:r>
          </a:p>
        </p:txBody>
      </p:sp>
      <p:cxnSp>
        <p:nvCxnSpPr>
          <p:cNvPr id="8" name="Přímá spojnice se šipkou 7">
            <a:extLst>
              <a:ext uri="{FF2B5EF4-FFF2-40B4-BE49-F238E27FC236}">
                <a16:creationId xmlns:a16="http://schemas.microsoft.com/office/drawing/2014/main" id="{53CA9EAA-0EE1-904C-ED88-4BD86DDFCDEB}"/>
              </a:ext>
            </a:extLst>
          </p:cNvPr>
          <p:cNvCxnSpPr>
            <a:cxnSpLocks/>
          </p:cNvCxnSpPr>
          <p:nvPr/>
        </p:nvCxnSpPr>
        <p:spPr>
          <a:xfrm>
            <a:off x="6224626" y="1967364"/>
            <a:ext cx="3973479" cy="1965628"/>
          </a:xfrm>
          <a:prstGeom prst="straightConnector1">
            <a:avLst/>
          </a:prstGeom>
          <a:noFill/>
          <a:ln w="28575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sp>
        <p:nvSpPr>
          <p:cNvPr id="9" name="Rectangle 23">
            <a:extLst>
              <a:ext uri="{FF2B5EF4-FFF2-40B4-BE49-F238E27FC236}">
                <a16:creationId xmlns:a16="http://schemas.microsoft.com/office/drawing/2014/main" id="{F9E46BDE-A43A-827C-2103-CB12DC45EA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89504" y="3715409"/>
            <a:ext cx="2579077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Studie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Výběrová šetření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Otevřená data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0881A58E-D422-F72D-3099-056C2EBC3D06}"/>
              </a:ext>
            </a:extLst>
          </p:cNvPr>
          <p:cNvCxnSpPr/>
          <p:nvPr/>
        </p:nvCxnSpPr>
        <p:spPr>
          <a:xfrm flipH="1">
            <a:off x="1678948" y="1906844"/>
            <a:ext cx="2432710" cy="1383062"/>
          </a:xfrm>
          <a:prstGeom prst="straightConnector1">
            <a:avLst/>
          </a:prstGeom>
          <a:noFill/>
          <a:ln w="28575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sp>
        <p:nvSpPr>
          <p:cNvPr id="11" name="Rectangle 23">
            <a:extLst>
              <a:ext uri="{FF2B5EF4-FFF2-40B4-BE49-F238E27FC236}">
                <a16:creationId xmlns:a16="http://schemas.microsoft.com/office/drawing/2014/main" id="{4373477B-0600-4D2E-9355-85AA1BDD45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11287" y="5487415"/>
            <a:ext cx="2668768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Indikátory výkonnost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a kvality</a:t>
            </a:r>
          </a:p>
        </p:txBody>
      </p:sp>
      <p:cxnSp>
        <p:nvCxnSpPr>
          <p:cNvPr id="12" name="Přímá spojnice se šipkou 11">
            <a:extLst>
              <a:ext uri="{FF2B5EF4-FFF2-40B4-BE49-F238E27FC236}">
                <a16:creationId xmlns:a16="http://schemas.microsoft.com/office/drawing/2014/main" id="{6C5561E1-2250-6CE2-06FA-9397A38FED51}"/>
              </a:ext>
            </a:extLst>
          </p:cNvPr>
          <p:cNvCxnSpPr>
            <a:cxnSpLocks/>
            <a:endCxn id="11" idx="0"/>
          </p:cNvCxnSpPr>
          <p:nvPr/>
        </p:nvCxnSpPr>
        <p:spPr>
          <a:xfrm flipH="1">
            <a:off x="3845671" y="2175644"/>
            <a:ext cx="1100970" cy="3311771"/>
          </a:xfrm>
          <a:prstGeom prst="straightConnector1">
            <a:avLst/>
          </a:prstGeom>
          <a:noFill/>
          <a:ln w="28575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cxnSp>
        <p:nvCxnSpPr>
          <p:cNvPr id="13" name="Přímá spojnice se šipkou 12">
            <a:extLst>
              <a:ext uri="{FF2B5EF4-FFF2-40B4-BE49-F238E27FC236}">
                <a16:creationId xmlns:a16="http://schemas.microsoft.com/office/drawing/2014/main" id="{65245853-7E25-5F6F-3E26-D8323C6AA023}"/>
              </a:ext>
            </a:extLst>
          </p:cNvPr>
          <p:cNvCxnSpPr>
            <a:cxnSpLocks/>
          </p:cNvCxnSpPr>
          <p:nvPr/>
        </p:nvCxnSpPr>
        <p:spPr>
          <a:xfrm>
            <a:off x="5440277" y="2116689"/>
            <a:ext cx="1020903" cy="3472184"/>
          </a:xfrm>
          <a:prstGeom prst="straightConnector1">
            <a:avLst/>
          </a:prstGeom>
          <a:noFill/>
          <a:ln w="28575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9418DA3-6A3D-C820-90BB-0E014730B2DE}"/>
              </a:ext>
            </a:extLst>
          </p:cNvPr>
          <p:cNvSpPr txBox="1"/>
          <p:nvPr/>
        </p:nvSpPr>
        <p:spPr>
          <a:xfrm>
            <a:off x="2392338" y="2301880"/>
            <a:ext cx="4031847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ZIS: z. 372 / 2011 Sb.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AE7F70E6-196E-348E-40BD-6307F696D821}"/>
              </a:ext>
            </a:extLst>
          </p:cNvPr>
          <p:cNvSpPr txBox="1"/>
          <p:nvPr/>
        </p:nvSpPr>
        <p:spPr>
          <a:xfrm>
            <a:off x="4284763" y="2833220"/>
            <a:ext cx="3365224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sté</a:t>
            </a:r>
            <a:r>
              <a:rPr kumimoji="0" lang="cs-CZ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 CZ-DRG: z. 48 / 1996 Sb.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621A0376-2206-9A26-55C3-8A8193B0135D}"/>
              </a:ext>
            </a:extLst>
          </p:cNvPr>
          <p:cNvSpPr txBox="1"/>
          <p:nvPr/>
        </p:nvSpPr>
        <p:spPr>
          <a:xfrm>
            <a:off x="6678836" y="3369636"/>
            <a:ext cx="3138496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Health</a:t>
            </a:r>
            <a:r>
              <a:rPr kumimoji="0" lang="cs-CZ" sz="1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z. 325 / 2021 Sb.</a:t>
            </a:r>
          </a:p>
        </p:txBody>
      </p:sp>
      <p:sp>
        <p:nvSpPr>
          <p:cNvPr id="17" name="Rectangle 23">
            <a:extLst>
              <a:ext uri="{FF2B5EF4-FFF2-40B4-BE49-F238E27FC236}">
                <a16:creationId xmlns:a16="http://schemas.microsoft.com/office/drawing/2014/main" id="{5A53047B-588C-76DC-AED7-2BB404C64E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757" y="4661752"/>
            <a:ext cx="2717672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Kapacit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a predikce potřeb</a:t>
            </a: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4D473701-BE7D-330D-55A2-4A6CA2B79F77}"/>
              </a:ext>
            </a:extLst>
          </p:cNvPr>
          <p:cNvGrpSpPr/>
          <p:nvPr/>
        </p:nvGrpSpPr>
        <p:grpSpPr>
          <a:xfrm>
            <a:off x="0" y="914216"/>
            <a:ext cx="12027029" cy="51787"/>
            <a:chOff x="0" y="914216"/>
            <a:chExt cx="12027029" cy="51787"/>
          </a:xfrm>
          <a:solidFill>
            <a:srgbClr val="31849C"/>
          </a:solidFill>
        </p:grpSpPr>
        <p:sp>
          <p:nvSpPr>
            <p:cNvPr id="19" name="Obdélník: se zakulacenými rohy 20">
              <a:extLst>
                <a:ext uri="{FF2B5EF4-FFF2-40B4-BE49-F238E27FC236}">
                  <a16:creationId xmlns:a16="http://schemas.microsoft.com/office/drawing/2014/main" id="{CBB7097E-EC5D-288E-BFC9-B8E36FA5C49F}"/>
                </a:ext>
              </a:extLst>
            </p:cNvPr>
            <p:cNvSpPr/>
            <p:nvPr/>
          </p:nvSpPr>
          <p:spPr>
            <a:xfrm>
              <a:off x="11055029" y="914216"/>
              <a:ext cx="972000" cy="36000"/>
            </a:xfrm>
            <a:prstGeom prst="round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Obdélník: se zakulacenými rohy 13">
              <a:extLst>
                <a:ext uri="{FF2B5EF4-FFF2-40B4-BE49-F238E27FC236}">
                  <a16:creationId xmlns:a16="http://schemas.microsoft.com/office/drawing/2014/main" id="{E62DE4E6-1E73-00F0-10E2-BAFA0A8514CE}"/>
                </a:ext>
              </a:extLst>
            </p:cNvPr>
            <p:cNvSpPr/>
            <p:nvPr/>
          </p:nvSpPr>
          <p:spPr>
            <a:xfrm>
              <a:off x="0" y="930003"/>
              <a:ext cx="9864000" cy="36000"/>
            </a:xfrm>
            <a:prstGeom prst="round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1" name="Text Box 17">
            <a:extLst>
              <a:ext uri="{FF2B5EF4-FFF2-40B4-BE49-F238E27FC236}">
                <a16:creationId xmlns:a16="http://schemas.microsoft.com/office/drawing/2014/main" id="{BFC676BF-CFE2-A482-2350-902F7A88F4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33282" y="966003"/>
            <a:ext cx="3851920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Tx/>
              <a:buNone/>
              <a:tabLst/>
              <a:defRPr/>
            </a:pPr>
            <a:r>
              <a:rPr kumimoji="0" lang="cs-CZ" altLang="cs-CZ" sz="6000" b="0" i="1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Algerian" panose="04020705040A02060702" pitchFamily="82" charset="0"/>
                <a:ea typeface="+mn-ea"/>
                <a:cs typeface="+mn-cs"/>
              </a:rPr>
              <a:t>NISP</a:t>
            </a:r>
          </a:p>
        </p:txBody>
      </p:sp>
      <p:pic>
        <p:nvPicPr>
          <p:cNvPr id="22" name="Obrázek 21">
            <a:extLst>
              <a:ext uri="{FF2B5EF4-FFF2-40B4-BE49-F238E27FC236}">
                <a16:creationId xmlns:a16="http://schemas.microsoft.com/office/drawing/2014/main" id="{6595D159-E32B-2E97-FB6D-02163BBABBB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3076" y="294560"/>
            <a:ext cx="1520517" cy="1563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74384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6F93BEEF-560D-44DA-9122-4742F52E5638}"/>
              </a:ext>
            </a:extLst>
          </p:cNvPr>
          <p:cNvSpPr txBox="1">
            <a:spLocks/>
          </p:cNvSpPr>
          <p:nvPr/>
        </p:nvSpPr>
        <p:spPr>
          <a:xfrm>
            <a:off x="175492" y="577324"/>
            <a:ext cx="12016508" cy="354633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Mohou pomoci další odbornosti </a:t>
            </a:r>
            <a:endParaRPr kumimoji="0" lang="cs-CZ" sz="5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F54ED8F6-D61F-905B-A326-F164E792BF54}"/>
              </a:ext>
            </a:extLst>
          </p:cNvPr>
          <p:cNvSpPr txBox="1"/>
          <p:nvPr/>
        </p:nvSpPr>
        <p:spPr>
          <a:xfrm>
            <a:off x="4742120" y="3678865"/>
            <a:ext cx="243485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122880024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5">
            <a:extLst>
              <a:ext uri="{FF2B5EF4-FFF2-40B4-BE49-F238E27FC236}">
                <a16:creationId xmlns:a16="http://schemas.microsoft.com/office/drawing/2014/main" id="{4F11321C-B117-560B-E346-94E9DD008DE5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07099" y="39878"/>
            <a:ext cx="10515600" cy="538364"/>
          </a:xfrm>
        </p:spPr>
        <p:txBody>
          <a:bodyPr>
            <a:normAutofit/>
          </a:bodyPr>
          <a:lstStyle/>
          <a:p>
            <a:r>
              <a:rPr lang="cs-CZ" dirty="0">
                <a:solidFill>
                  <a:srgbClr val="0070C0"/>
                </a:solidFill>
              </a:rPr>
              <a:t>Přehled celkového počtů pracovníků vybraných specializací</a:t>
            </a:r>
            <a:r>
              <a:rPr lang="en-US" dirty="0">
                <a:solidFill>
                  <a:srgbClr val="0070C0"/>
                </a:solidFill>
              </a:rPr>
              <a:t> v </a:t>
            </a:r>
            <a:r>
              <a:rPr lang="cs-CZ" dirty="0">
                <a:solidFill>
                  <a:srgbClr val="0070C0"/>
                </a:solidFill>
              </a:rPr>
              <a:t>ČR</a:t>
            </a:r>
          </a:p>
        </p:txBody>
      </p:sp>
      <p:graphicFrame>
        <p:nvGraphicFramePr>
          <p:cNvPr id="2" name="Tabulka 4">
            <a:extLst>
              <a:ext uri="{FF2B5EF4-FFF2-40B4-BE49-F238E27FC236}">
                <a16:creationId xmlns:a16="http://schemas.microsoft.com/office/drawing/2014/main" id="{8098622F-6B09-C2E2-58EC-C63CA595A9CB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3147975"/>
              </p:ext>
            </p:extLst>
          </p:nvPr>
        </p:nvGraphicFramePr>
        <p:xfrm>
          <a:off x="780495" y="959280"/>
          <a:ext cx="10128510" cy="40020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4378">
                  <a:extLst>
                    <a:ext uri="{9D8B030D-6E8A-4147-A177-3AD203B41FA5}">
                      <a16:colId xmlns:a16="http://schemas.microsoft.com/office/drawing/2014/main" val="3185320477"/>
                    </a:ext>
                  </a:extLst>
                </a:gridCol>
                <a:gridCol w="1529188">
                  <a:extLst>
                    <a:ext uri="{9D8B030D-6E8A-4147-A177-3AD203B41FA5}">
                      <a16:colId xmlns:a16="http://schemas.microsoft.com/office/drawing/2014/main" val="463678284"/>
                    </a:ext>
                  </a:extLst>
                </a:gridCol>
                <a:gridCol w="1835026">
                  <a:extLst>
                    <a:ext uri="{9D8B030D-6E8A-4147-A177-3AD203B41FA5}">
                      <a16:colId xmlns:a16="http://schemas.microsoft.com/office/drawing/2014/main" val="2713499778"/>
                    </a:ext>
                  </a:extLst>
                </a:gridCol>
                <a:gridCol w="1775832">
                  <a:extLst>
                    <a:ext uri="{9D8B030D-6E8A-4147-A177-3AD203B41FA5}">
                      <a16:colId xmlns:a16="http://schemas.microsoft.com/office/drawing/2014/main" val="1268031741"/>
                    </a:ext>
                  </a:extLst>
                </a:gridCol>
                <a:gridCol w="1904086">
                  <a:extLst>
                    <a:ext uri="{9D8B030D-6E8A-4147-A177-3AD203B41FA5}">
                      <a16:colId xmlns:a16="http://schemas.microsoft.com/office/drawing/2014/main" val="2547890121"/>
                    </a:ext>
                  </a:extLst>
                </a:gridCol>
              </a:tblGrid>
              <a:tr h="582374">
                <a:tc rowSpan="2">
                  <a:txBody>
                    <a:bodyPr/>
                    <a:lstStyle/>
                    <a:p>
                      <a:r>
                        <a:rPr lang="cs-CZ" sz="1600" dirty="0"/>
                        <a:t>Specializace</a:t>
                      </a: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dirty="0"/>
                        <a:t>Žijící pracovníci se specializací evidovanou v NRZP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/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dirty="0"/>
                        <a:t>*Počet aktivních osob se specializací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36364828"/>
                  </a:ext>
                </a:extLst>
              </a:tr>
              <a:tr h="517310">
                <a:tc vMerge="1">
                  <a:txBody>
                    <a:bodyPr/>
                    <a:lstStyle/>
                    <a:p>
                      <a:r>
                        <a:rPr lang="cs-CZ" dirty="0"/>
                        <a:t>Specializace / odborná způsobilos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Celkový poče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Počet ve věku &lt; 60 le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dirty="0"/>
                        <a:t>Počet ve věku 60 a více let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dirty="0"/>
                        <a:t>Počet aktivních osob se specializací / odbornou způsobilostí**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75466002"/>
                  </a:ext>
                </a:extLst>
              </a:tr>
              <a:tr h="65598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000" b="1" dirty="0"/>
                        <a:t>Dětská klinická psycholog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2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16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5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400" dirty="0">
                          <a:solidFill>
                            <a:schemeClr val="tx1"/>
                          </a:solidFill>
                        </a:rPr>
                        <a:t>19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74689728"/>
                  </a:ext>
                </a:extLst>
              </a:tr>
              <a:tr h="7547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000" b="1" dirty="0"/>
                        <a:t>Klinická psycholog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2 27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191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36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400" dirty="0">
                          <a:solidFill>
                            <a:schemeClr val="tx1"/>
                          </a:solidFill>
                        </a:rPr>
                        <a:t>151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32111678"/>
                  </a:ext>
                </a:extLst>
              </a:tr>
              <a:tr h="6810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000" b="1" dirty="0"/>
                        <a:t>Psychoterap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33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32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400" dirty="0">
                          <a:solidFill>
                            <a:schemeClr val="tx1"/>
                          </a:solidFill>
                        </a:rPr>
                        <a:t>26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2164896"/>
                  </a:ext>
                </a:extLst>
              </a:tr>
              <a:tr h="7487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000" b="1" dirty="0"/>
                        <a:t>***Celke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1" dirty="0">
                          <a:solidFill>
                            <a:schemeClr val="tx1"/>
                          </a:solidFill>
                        </a:rPr>
                        <a:t>2 29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1" dirty="0">
                          <a:solidFill>
                            <a:schemeClr val="tx1"/>
                          </a:solidFill>
                        </a:rPr>
                        <a:t>193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000" b="1" dirty="0">
                          <a:solidFill>
                            <a:schemeClr val="tx1"/>
                          </a:solidFill>
                        </a:rPr>
                        <a:t>36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400" b="1" dirty="0">
                          <a:solidFill>
                            <a:schemeClr val="tx1"/>
                          </a:solidFill>
                        </a:rPr>
                        <a:t>1 </a:t>
                      </a:r>
                      <a:r>
                        <a:rPr lang="en-US" sz="2400" b="1" dirty="0">
                          <a:solidFill>
                            <a:schemeClr val="tx1"/>
                          </a:solidFill>
                        </a:rPr>
                        <a:t>5</a:t>
                      </a:r>
                      <a:r>
                        <a:rPr lang="cs-CZ" sz="2400" b="1" dirty="0">
                          <a:solidFill>
                            <a:schemeClr val="tx1"/>
                          </a:solidFill>
                        </a:rPr>
                        <a:t>2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05128518"/>
                  </a:ext>
                </a:extLst>
              </a:tr>
            </a:tbl>
          </a:graphicData>
        </a:graphic>
      </p:graphicFrame>
      <p:sp>
        <p:nvSpPr>
          <p:cNvPr id="3" name="TextovéPole 2">
            <a:extLst>
              <a:ext uri="{FF2B5EF4-FFF2-40B4-BE49-F238E27FC236}">
                <a16:creationId xmlns:a16="http://schemas.microsoft.com/office/drawing/2014/main" id="{7087DFEC-F910-F19E-A8B3-D4814A2BBE9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80495" y="5079286"/>
            <a:ext cx="983615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pracovník se získanou specializací nemusí pracovat v daném oboru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k může mít více specializací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;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úvazky se v jednotlivých specializacích překrý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*řádek „Celkem“ obsahuje unikátní počet pracovníků s alespoň jednou z výše uvedených specializací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;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úvazky se nepřekrývají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7D74F663-B92C-4CDF-3DF6-EA13DCCB59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07099" y="498738"/>
            <a:ext cx="80008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 k 30. </a:t>
            </a:r>
            <a:r>
              <a:rPr lang="cs-CZ" sz="1200" dirty="0">
                <a:solidFill>
                  <a:prstClr val="black"/>
                </a:solidFill>
                <a:latin typeface="Calibri" panose="020F0502020204030204"/>
              </a:rPr>
              <a:t>12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3</a:t>
            </a:r>
          </a:p>
        </p:txBody>
      </p:sp>
    </p:spTree>
    <p:extLst>
      <p:ext uri="{BB962C8B-B14F-4D97-AF65-F5344CB8AC3E}">
        <p14:creationId xmlns:p14="http://schemas.microsoft.com/office/powerpoint/2010/main" val="4164977317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5">
            <a:extLst>
              <a:ext uri="{FF2B5EF4-FFF2-40B4-BE49-F238E27FC236}">
                <a16:creationId xmlns:a16="http://schemas.microsoft.com/office/drawing/2014/main" id="{4F11321C-B117-560B-E346-94E9DD008DE5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07099" y="39878"/>
            <a:ext cx="10515600" cy="538364"/>
          </a:xfrm>
        </p:spPr>
        <p:txBody>
          <a:bodyPr>
            <a:normAutofit/>
          </a:bodyPr>
          <a:lstStyle/>
          <a:p>
            <a:r>
              <a:rPr lang="cs-CZ" dirty="0">
                <a:solidFill>
                  <a:srgbClr val="0070C0"/>
                </a:solidFill>
              </a:rPr>
              <a:t>Přehled celkového počtů pracovníků vybraných specializací v Praze </a:t>
            </a:r>
          </a:p>
        </p:txBody>
      </p:sp>
      <p:graphicFrame>
        <p:nvGraphicFramePr>
          <p:cNvPr id="2" name="Tabulka 4">
            <a:extLst>
              <a:ext uri="{FF2B5EF4-FFF2-40B4-BE49-F238E27FC236}">
                <a16:creationId xmlns:a16="http://schemas.microsoft.com/office/drawing/2014/main" id="{8098622F-6B09-C2E2-58EC-C63CA595A9CB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780495" y="959280"/>
          <a:ext cx="10128510" cy="43431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4378">
                  <a:extLst>
                    <a:ext uri="{9D8B030D-6E8A-4147-A177-3AD203B41FA5}">
                      <a16:colId xmlns:a16="http://schemas.microsoft.com/office/drawing/2014/main" val="3185320477"/>
                    </a:ext>
                  </a:extLst>
                </a:gridCol>
                <a:gridCol w="1529188">
                  <a:extLst>
                    <a:ext uri="{9D8B030D-6E8A-4147-A177-3AD203B41FA5}">
                      <a16:colId xmlns:a16="http://schemas.microsoft.com/office/drawing/2014/main" val="463678284"/>
                    </a:ext>
                  </a:extLst>
                </a:gridCol>
                <a:gridCol w="1835026">
                  <a:extLst>
                    <a:ext uri="{9D8B030D-6E8A-4147-A177-3AD203B41FA5}">
                      <a16:colId xmlns:a16="http://schemas.microsoft.com/office/drawing/2014/main" val="2713499778"/>
                    </a:ext>
                  </a:extLst>
                </a:gridCol>
                <a:gridCol w="1775832">
                  <a:extLst>
                    <a:ext uri="{9D8B030D-6E8A-4147-A177-3AD203B41FA5}">
                      <a16:colId xmlns:a16="http://schemas.microsoft.com/office/drawing/2014/main" val="1268031741"/>
                    </a:ext>
                  </a:extLst>
                </a:gridCol>
                <a:gridCol w="1904086">
                  <a:extLst>
                    <a:ext uri="{9D8B030D-6E8A-4147-A177-3AD203B41FA5}">
                      <a16:colId xmlns:a16="http://schemas.microsoft.com/office/drawing/2014/main" val="2547890121"/>
                    </a:ext>
                  </a:extLst>
                </a:gridCol>
              </a:tblGrid>
              <a:tr h="582374">
                <a:tc rowSpan="2">
                  <a:txBody>
                    <a:bodyPr/>
                    <a:lstStyle/>
                    <a:p>
                      <a:r>
                        <a:rPr lang="cs-CZ" sz="1600" dirty="0"/>
                        <a:t>Specializace</a:t>
                      </a: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dirty="0"/>
                        <a:t>Žijící pracovníci se specializací evidovanou v NRZP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/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dirty="0"/>
                        <a:t>*Počet aktivních osob se specializací v Praz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36364828"/>
                  </a:ext>
                </a:extLst>
              </a:tr>
              <a:tr h="920280">
                <a:tc vMerge="1">
                  <a:txBody>
                    <a:bodyPr/>
                    <a:lstStyle/>
                    <a:p>
                      <a:r>
                        <a:rPr lang="cs-CZ" dirty="0"/>
                        <a:t>Specializace / odborná způsobilos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Celkový poče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Počet ve věku &lt; 60 le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dirty="0"/>
                        <a:t>Počet ve věku 60 a více let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dirty="0"/>
                        <a:t>Počet aktivních osob se specializací / odbornou způsobilostí**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75466002"/>
                  </a:ext>
                </a:extLst>
              </a:tr>
              <a:tr h="65598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000" b="1" dirty="0"/>
                        <a:t>Dětská klinická psycholog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2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16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5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400" dirty="0">
                          <a:solidFill>
                            <a:schemeClr val="tx1"/>
                          </a:solidFill>
                        </a:rPr>
                        <a:t>5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74689728"/>
                  </a:ext>
                </a:extLst>
              </a:tr>
              <a:tr h="7547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000" b="1" dirty="0"/>
                        <a:t>Klinická psycholog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2 27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191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36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400" dirty="0">
                          <a:solidFill>
                            <a:schemeClr val="tx1"/>
                          </a:solidFill>
                        </a:rPr>
                        <a:t>46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32111678"/>
                  </a:ext>
                </a:extLst>
              </a:tr>
              <a:tr h="6810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000" b="1" dirty="0"/>
                        <a:t>Psychoterap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33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32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400" dirty="0">
                          <a:solidFill>
                            <a:schemeClr val="tx1"/>
                          </a:solidFill>
                        </a:rPr>
                        <a:t>9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2164896"/>
                  </a:ext>
                </a:extLst>
              </a:tr>
              <a:tr h="7487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000" b="1" dirty="0"/>
                        <a:t>***Celke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1" dirty="0">
                          <a:solidFill>
                            <a:schemeClr val="tx1"/>
                          </a:solidFill>
                        </a:rPr>
                        <a:t>2 29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1" dirty="0">
                          <a:solidFill>
                            <a:schemeClr val="tx1"/>
                          </a:solidFill>
                        </a:rPr>
                        <a:t>193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000" b="1" dirty="0">
                          <a:solidFill>
                            <a:schemeClr val="tx1"/>
                          </a:solidFill>
                        </a:rPr>
                        <a:t>36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400" b="1" dirty="0">
                          <a:solidFill>
                            <a:schemeClr val="tx1"/>
                          </a:solidFill>
                        </a:rPr>
                        <a:t>46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05128518"/>
                  </a:ext>
                </a:extLst>
              </a:tr>
            </a:tbl>
          </a:graphicData>
        </a:graphic>
      </p:graphicFrame>
      <p:sp>
        <p:nvSpPr>
          <p:cNvPr id="3" name="TextovéPole 2">
            <a:extLst>
              <a:ext uri="{FF2B5EF4-FFF2-40B4-BE49-F238E27FC236}">
                <a16:creationId xmlns:a16="http://schemas.microsoft.com/office/drawing/2014/main" id="{7087DFEC-F910-F19E-A8B3-D4814A2BBE9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80495" y="5393666"/>
            <a:ext cx="983615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pracovník se získanou specializací nemusí pracovat v daném oboru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k může mít více specializací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;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úvazky se v jednotlivých specializacích překrý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*řádek „Celkem“ obsahuje unikátní počet pracovníků s alespoň jednou z výše uvedených specializací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;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úvazky se nepřekrývají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7D74F663-B92C-4CDF-3DF6-EA13DCCB59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07099" y="498738"/>
            <a:ext cx="80008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 k 30. </a:t>
            </a:r>
            <a:r>
              <a:rPr lang="cs-CZ" sz="1200" dirty="0">
                <a:solidFill>
                  <a:prstClr val="black"/>
                </a:solidFill>
                <a:latin typeface="Calibri" panose="020F0502020204030204"/>
              </a:rPr>
              <a:t>12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3</a:t>
            </a:r>
          </a:p>
        </p:txBody>
      </p:sp>
    </p:spTree>
    <p:extLst>
      <p:ext uri="{BB962C8B-B14F-4D97-AF65-F5344CB8AC3E}">
        <p14:creationId xmlns:p14="http://schemas.microsoft.com/office/powerpoint/2010/main" val="54873854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: se zakulacenými rohy na opačné straně 3">
            <a:extLst>
              <a:ext uri="{FF2B5EF4-FFF2-40B4-BE49-F238E27FC236}">
                <a16:creationId xmlns:a16="http://schemas.microsoft.com/office/drawing/2014/main" id="{167A20BD-62DA-44FE-AF48-7FBD2BEA4689}"/>
              </a:ext>
            </a:extLst>
          </p:cNvPr>
          <p:cNvSpPr/>
          <p:nvPr/>
        </p:nvSpPr>
        <p:spPr>
          <a:xfrm flipV="1">
            <a:off x="-4680" y="787665"/>
            <a:ext cx="5833745" cy="2787745"/>
          </a:xfrm>
          <a:prstGeom prst="round2DiagRect">
            <a:avLst>
              <a:gd name="adj1" fmla="val 50000"/>
              <a:gd name="adj2" fmla="val 0"/>
            </a:avLst>
          </a:prstGeom>
          <a:solidFill>
            <a:srgbClr val="5BCC72">
              <a:alpha val="49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71AFB65-5EC3-4B45-AC2F-AB3CB64FBF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846" y="1449859"/>
            <a:ext cx="5833745" cy="1688758"/>
          </a:xfrm>
        </p:spPr>
        <p:txBody>
          <a:bodyPr/>
          <a:lstStyle/>
          <a:p>
            <a:pPr algn="l"/>
            <a:r>
              <a:rPr lang="cs-CZ" sz="2400" b="1" i="1" dirty="0">
                <a:solidFill>
                  <a:schemeClr val="bg1"/>
                </a:solidFill>
              </a:rPr>
              <a:t>Analytické studie programu Zdraví 2030: </a:t>
            </a:r>
            <a:r>
              <a:rPr lang="cs-CZ" sz="3600" b="1" dirty="0">
                <a:solidFill>
                  <a:schemeClr val="bg1"/>
                </a:solidFill>
              </a:rPr>
              <a:t>Národní informační systém pro psychiatrii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164F2552-388B-4793-BF8A-077744D27E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91710" y="4717024"/>
            <a:ext cx="11608580" cy="1382233"/>
          </a:xfrm>
        </p:spPr>
        <p:txBody>
          <a:bodyPr>
            <a:normAutofit fontScale="85000" lnSpcReduction="10000"/>
          </a:bodyPr>
          <a:lstStyle/>
          <a:p>
            <a:r>
              <a:rPr lang="en-US" sz="4000" dirty="0" err="1">
                <a:solidFill>
                  <a:srgbClr val="3F55A6"/>
                </a:solidFill>
              </a:rPr>
              <a:t>Organizace</a:t>
            </a:r>
            <a:r>
              <a:rPr lang="en-US" sz="4000" dirty="0">
                <a:solidFill>
                  <a:srgbClr val="3F55A6"/>
                </a:solidFill>
              </a:rPr>
              <a:t> </a:t>
            </a:r>
            <a:r>
              <a:rPr lang="en-US" sz="4000" dirty="0" err="1">
                <a:solidFill>
                  <a:srgbClr val="3F55A6"/>
                </a:solidFill>
              </a:rPr>
              <a:t>péče</a:t>
            </a:r>
            <a:r>
              <a:rPr lang="en-US" sz="4000" dirty="0">
                <a:solidFill>
                  <a:srgbClr val="3F55A6"/>
                </a:solidFill>
              </a:rPr>
              <a:t>, </a:t>
            </a:r>
            <a:r>
              <a:rPr lang="en-US" sz="4000" dirty="0" err="1">
                <a:solidFill>
                  <a:srgbClr val="3F55A6"/>
                </a:solidFill>
              </a:rPr>
              <a:t>infrastrukturní</a:t>
            </a:r>
            <a:r>
              <a:rPr lang="en-US" sz="4000" dirty="0">
                <a:solidFill>
                  <a:srgbClr val="3F55A6"/>
                </a:solidFill>
              </a:rPr>
              <a:t> </a:t>
            </a:r>
            <a:r>
              <a:rPr lang="en-US" sz="4000" dirty="0" err="1">
                <a:solidFill>
                  <a:srgbClr val="3F55A6"/>
                </a:solidFill>
              </a:rPr>
              <a:t>kapacity</a:t>
            </a:r>
            <a:r>
              <a:rPr lang="en-US" sz="4000" dirty="0">
                <a:solidFill>
                  <a:srgbClr val="3F55A6"/>
                </a:solidFill>
              </a:rPr>
              <a:t>, </a:t>
            </a:r>
            <a:r>
              <a:rPr lang="en-US" sz="4000" dirty="0" err="1">
                <a:solidFill>
                  <a:srgbClr val="3F55A6"/>
                </a:solidFill>
              </a:rPr>
              <a:t>úhrady</a:t>
            </a:r>
            <a:r>
              <a:rPr lang="en-US" sz="4000" dirty="0">
                <a:solidFill>
                  <a:srgbClr val="3F55A6"/>
                </a:solidFill>
              </a:rPr>
              <a:t>: </a:t>
            </a:r>
            <a:r>
              <a:rPr lang="en-US" sz="4000" dirty="0" err="1">
                <a:solidFill>
                  <a:srgbClr val="3F55A6"/>
                </a:solidFill>
              </a:rPr>
              <a:t>vybraná</a:t>
            </a:r>
            <a:r>
              <a:rPr lang="en-US" sz="4000" dirty="0">
                <a:solidFill>
                  <a:srgbClr val="3F55A6"/>
                </a:solidFill>
              </a:rPr>
              <a:t> data </a:t>
            </a:r>
            <a:endParaRPr lang="cs-CZ" sz="4000" dirty="0">
              <a:solidFill>
                <a:srgbClr val="3F55A6"/>
              </a:solidFill>
            </a:endParaRPr>
          </a:p>
          <a:p>
            <a:r>
              <a:rPr lang="cs-CZ" sz="4000" dirty="0">
                <a:solidFill>
                  <a:srgbClr val="3F55A6"/>
                </a:solidFill>
              </a:rPr>
              <a:t>LŮŽKOVÁ PÉČE</a:t>
            </a:r>
            <a:endParaRPr lang="en-US" sz="4000" dirty="0">
              <a:solidFill>
                <a:srgbClr val="3F55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3100669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5">
            <a:extLst>
              <a:ext uri="{FF2B5EF4-FFF2-40B4-BE49-F238E27FC236}">
                <a16:creationId xmlns:a16="http://schemas.microsoft.com/office/drawing/2014/main" id="{C8FA9C19-AFD3-4B2F-3E69-35BB9666F116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>
                <a:solidFill>
                  <a:srgbClr val="3F55A6"/>
                </a:solidFill>
              </a:rPr>
              <a:t>Počet zařízení a počet nasmlouvaných lůžek v krajích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EE7FA48-499E-2E9B-0969-D25FEBCDF4CF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767541" y="1091684"/>
          <a:ext cx="10619999" cy="5156816"/>
        </p:xfrm>
        <a:graphic>
          <a:graphicData uri="http://schemas.openxmlformats.org/drawingml/2006/table">
            <a:tbl>
              <a:tblPr/>
              <a:tblGrid>
                <a:gridCol w="2849269">
                  <a:extLst>
                    <a:ext uri="{9D8B030D-6E8A-4147-A177-3AD203B41FA5}">
                      <a16:colId xmlns:a16="http://schemas.microsoft.com/office/drawing/2014/main" val="540229289"/>
                    </a:ext>
                  </a:extLst>
                </a:gridCol>
                <a:gridCol w="777073">
                  <a:extLst>
                    <a:ext uri="{9D8B030D-6E8A-4147-A177-3AD203B41FA5}">
                      <a16:colId xmlns:a16="http://schemas.microsoft.com/office/drawing/2014/main" val="3584806449"/>
                    </a:ext>
                  </a:extLst>
                </a:gridCol>
                <a:gridCol w="777073">
                  <a:extLst>
                    <a:ext uri="{9D8B030D-6E8A-4147-A177-3AD203B41FA5}">
                      <a16:colId xmlns:a16="http://schemas.microsoft.com/office/drawing/2014/main" val="3104417556"/>
                    </a:ext>
                  </a:extLst>
                </a:gridCol>
                <a:gridCol w="777073">
                  <a:extLst>
                    <a:ext uri="{9D8B030D-6E8A-4147-A177-3AD203B41FA5}">
                      <a16:colId xmlns:a16="http://schemas.microsoft.com/office/drawing/2014/main" val="4056801006"/>
                    </a:ext>
                  </a:extLst>
                </a:gridCol>
                <a:gridCol w="777073">
                  <a:extLst>
                    <a:ext uri="{9D8B030D-6E8A-4147-A177-3AD203B41FA5}">
                      <a16:colId xmlns:a16="http://schemas.microsoft.com/office/drawing/2014/main" val="885154384"/>
                    </a:ext>
                  </a:extLst>
                </a:gridCol>
                <a:gridCol w="777073">
                  <a:extLst>
                    <a:ext uri="{9D8B030D-6E8A-4147-A177-3AD203B41FA5}">
                      <a16:colId xmlns:a16="http://schemas.microsoft.com/office/drawing/2014/main" val="2654919038"/>
                    </a:ext>
                  </a:extLst>
                </a:gridCol>
                <a:gridCol w="777073">
                  <a:extLst>
                    <a:ext uri="{9D8B030D-6E8A-4147-A177-3AD203B41FA5}">
                      <a16:colId xmlns:a16="http://schemas.microsoft.com/office/drawing/2014/main" val="3823950886"/>
                    </a:ext>
                  </a:extLst>
                </a:gridCol>
                <a:gridCol w="777073">
                  <a:extLst>
                    <a:ext uri="{9D8B030D-6E8A-4147-A177-3AD203B41FA5}">
                      <a16:colId xmlns:a16="http://schemas.microsoft.com/office/drawing/2014/main" val="3014208504"/>
                    </a:ext>
                  </a:extLst>
                </a:gridCol>
                <a:gridCol w="777073">
                  <a:extLst>
                    <a:ext uri="{9D8B030D-6E8A-4147-A177-3AD203B41FA5}">
                      <a16:colId xmlns:a16="http://schemas.microsoft.com/office/drawing/2014/main" val="2674926015"/>
                    </a:ext>
                  </a:extLst>
                </a:gridCol>
                <a:gridCol w="777073">
                  <a:extLst>
                    <a:ext uri="{9D8B030D-6E8A-4147-A177-3AD203B41FA5}">
                      <a16:colId xmlns:a16="http://schemas.microsoft.com/office/drawing/2014/main" val="2368591055"/>
                    </a:ext>
                  </a:extLst>
                </a:gridCol>
                <a:gridCol w="777073">
                  <a:extLst>
                    <a:ext uri="{9D8B030D-6E8A-4147-A177-3AD203B41FA5}">
                      <a16:colId xmlns:a16="http://schemas.microsoft.com/office/drawing/2014/main" val="42026541"/>
                    </a:ext>
                  </a:extLst>
                </a:gridCol>
              </a:tblGrid>
              <a:tr h="35228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utní lůžková péč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ná lůžková péč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nelůžková péč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1862258"/>
                  </a:ext>
                </a:extLst>
              </a:tr>
              <a:tr h="774267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ZZ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akutních lůžek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ásledných lůžek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ZZ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ásledných lůžek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ásledných lůžek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ZZ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496438"/>
                  </a:ext>
                </a:extLst>
              </a:tr>
              <a:tr h="166684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89984"/>
                  </a:ext>
                </a:extLst>
              </a:tr>
              <a:tr h="2538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3948405"/>
                  </a:ext>
                </a:extLst>
              </a:tr>
              <a:tr h="2538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7402291"/>
                  </a:ext>
                </a:extLst>
              </a:tr>
              <a:tr h="2538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956908"/>
                  </a:ext>
                </a:extLst>
              </a:tr>
              <a:tr h="2538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5443930"/>
                  </a:ext>
                </a:extLst>
              </a:tr>
              <a:tr h="2538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2328889"/>
                  </a:ext>
                </a:extLst>
              </a:tr>
              <a:tr h="2538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6408355"/>
                  </a:ext>
                </a:extLst>
              </a:tr>
              <a:tr h="2538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4276112"/>
                  </a:ext>
                </a:extLst>
              </a:tr>
              <a:tr h="2538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96942"/>
                  </a:ext>
                </a:extLst>
              </a:tr>
              <a:tr h="2538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9220223"/>
                  </a:ext>
                </a:extLst>
              </a:tr>
              <a:tr h="2538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5873532"/>
                  </a:ext>
                </a:extLst>
              </a:tr>
              <a:tr h="2538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2085835"/>
                  </a:ext>
                </a:extLst>
              </a:tr>
              <a:tr h="2538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2098573"/>
                  </a:ext>
                </a:extLst>
              </a:tr>
              <a:tr h="2538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1533743"/>
                  </a:ext>
                </a:extLst>
              </a:tr>
              <a:tr h="2538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1640776"/>
                  </a:ext>
                </a:extLst>
              </a:tr>
              <a:tr h="266551">
                <a:tc>
                  <a:txBody>
                    <a:bodyPr/>
                    <a:lstStyle/>
                    <a:p>
                      <a:pPr algn="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9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5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4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9349306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A4D4AE9C-6E58-AF87-DD3A-3CF26778C5A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72590" y="613321"/>
            <a:ext cx="108763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finice: druh zařízení IČZ; smluvní lůžka na pracovištích s hlavní nasmlouvanou odborností v oboru psychiatrie a návykové nemoci (3_5, 3_6, 3_7, 3_8)</a:t>
            </a:r>
          </a:p>
        </p:txBody>
      </p:sp>
    </p:spTree>
    <p:extLst>
      <p:ext uri="{BB962C8B-B14F-4D97-AF65-F5344CB8AC3E}">
        <p14:creationId xmlns:p14="http://schemas.microsoft.com/office/powerpoint/2010/main" val="285704366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6AF2A3-5628-7FAF-E0B3-46E33C2AD4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6B354C2-37FD-30FB-A226-4536E10D8D0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>
                <a:solidFill>
                  <a:srgbClr val="3F55A6"/>
                </a:solidFill>
              </a:rPr>
              <a:t>P</a:t>
            </a:r>
            <a:r>
              <a:rPr lang="cs-CZ" dirty="0" err="1">
                <a:solidFill>
                  <a:srgbClr val="3F55A6"/>
                </a:solidFill>
              </a:rPr>
              <a:t>očet</a:t>
            </a:r>
            <a:r>
              <a:rPr lang="cs-CZ" dirty="0">
                <a:solidFill>
                  <a:srgbClr val="3F55A6"/>
                </a:solidFill>
              </a:rPr>
              <a:t> nasmlouvaných lůžek v krajích</a:t>
            </a:r>
            <a:endParaRPr lang="en-US" dirty="0">
              <a:solidFill>
                <a:srgbClr val="3F55A6"/>
              </a:solidFill>
            </a:endParaRPr>
          </a:p>
        </p:txBody>
      </p:sp>
      <p:sp>
        <p:nvSpPr>
          <p:cNvPr id="200" name="TextBox 6">
            <a:extLst>
              <a:ext uri="{FF2B5EF4-FFF2-40B4-BE49-F238E27FC236}">
                <a16:creationId xmlns:a16="http://schemas.microsoft.com/office/drawing/2014/main" id="{70B6371A-C68F-7AE1-9D4B-E01E0E4ACF1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8000" y="540000"/>
            <a:ext cx="116431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 (NRHZS), stav k 31. 12. 2023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2FDF18F-D5FD-3925-F49E-755B8428B2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60000" y="903740"/>
            <a:ext cx="56590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un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í psychiatrická péče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18D5714C-B931-743A-B6A6-0B1B3BEB9A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800808" y="1340571"/>
            <a:ext cx="393484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lang="cs-CZ" sz="1400" b="1" dirty="0">
                <a:solidFill>
                  <a:srgbClr val="000000"/>
                </a:solidFill>
                <a:latin typeface="Calibri" panose="020F0502020204030204"/>
              </a:rPr>
              <a:t>lůžek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00 obyvatel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40FE2650-FF27-56B2-FC6A-D822161CA82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53828" y="1676368"/>
            <a:ext cx="56509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 :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0186E4AA-ABBD-1F97-90B8-F952129DB0F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212842" y="903740"/>
            <a:ext cx="56590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aktuní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sychiatrická péče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DC775EA4-014D-456E-ECC6-08AB39D841E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653650" y="1340571"/>
            <a:ext cx="393484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lůžek na 10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00 obyvatel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EAFCC2DB-2C3C-18DA-1336-B149219C84F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6406670" y="1676368"/>
            <a:ext cx="56509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 :</a:t>
            </a:r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544044D2-93FC-C539-FE93-CBCB8C9D8077}"/>
              </a:ext>
            </a:extLst>
          </p:cNvPr>
          <p:cNvGraphicFramePr/>
          <p:nvPr/>
        </p:nvGraphicFramePr>
        <p:xfrm>
          <a:off x="553828" y="1870305"/>
          <a:ext cx="5300785" cy="42240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2" name="Graf 11">
            <a:extLst>
              <a:ext uri="{FF2B5EF4-FFF2-40B4-BE49-F238E27FC236}">
                <a16:creationId xmlns:a16="http://schemas.microsoft.com/office/drawing/2014/main" id="{D79BBD34-95F9-5820-B1B7-4C5E4A25F209}"/>
              </a:ext>
            </a:extLst>
          </p:cNvPr>
          <p:cNvGraphicFramePr/>
          <p:nvPr/>
        </p:nvGraphicFramePr>
        <p:xfrm>
          <a:off x="6620578" y="1870305"/>
          <a:ext cx="5300785" cy="42240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  <p:extLst>
      <p:ext uri="{BB962C8B-B14F-4D97-AF65-F5344CB8AC3E}">
        <p14:creationId xmlns:p14="http://schemas.microsoft.com/office/powerpoint/2010/main" val="3163012942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1FC336D-8129-4D53-8F9C-520EC60AD4F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151059"/>
            <a:ext cx="11664778" cy="573989"/>
          </a:xfrm>
        </p:spPr>
        <p:txBody>
          <a:bodyPr>
            <a:noAutofit/>
          </a:bodyPr>
          <a:lstStyle/>
          <a:p>
            <a:pPr lvl="0"/>
            <a:r>
              <a:rPr lang="cs-CZ" noProof="0" dirty="0"/>
              <a:t>Dlouhodobý trend objemu akutní lůžkové péče: </a:t>
            </a:r>
            <a:r>
              <a:rPr lang="cs-CZ" u="sng" noProof="0" dirty="0"/>
              <a:t>hospitalizace u dětí</a:t>
            </a:r>
            <a:r>
              <a:rPr lang="cs-CZ" noProof="0" dirty="0"/>
              <a:t> - ČR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1B53D1AA-A6AA-39FD-EB74-1FFBC91C25B9}"/>
              </a:ext>
            </a:extLst>
          </p:cNvPr>
          <p:cNvSpPr txBox="1"/>
          <p:nvPr/>
        </p:nvSpPr>
        <p:spPr>
          <a:xfrm>
            <a:off x="430722" y="1187960"/>
            <a:ext cx="3505720" cy="369332"/>
          </a:xfrm>
          <a:prstGeom prst="rect">
            <a:avLst/>
          </a:prstGeom>
          <a:solidFill>
            <a:srgbClr val="0000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ve věku věk 0 – 9 let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Group 744">
            <a:extLst>
              <a:ext uri="{FF2B5EF4-FFF2-40B4-BE49-F238E27FC236}">
                <a16:creationId xmlns:a16="http://schemas.microsoft.com/office/drawing/2014/main" id="{4EB5D23F-D944-5F30-3FB6-C2B25FA1397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789155"/>
              </p:ext>
            </p:extLst>
          </p:nvPr>
        </p:nvGraphicFramePr>
        <p:xfrm>
          <a:off x="438261" y="1608414"/>
          <a:ext cx="3505720" cy="3127754"/>
        </p:xfrm>
        <a:graphic>
          <a:graphicData uri="http://schemas.openxmlformats.org/drawingml/2006/table">
            <a:tbl>
              <a:tblPr/>
              <a:tblGrid>
                <a:gridCol w="11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3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31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endParaRPr kumimoji="0" lang="cs-CZ" altLang="cs-CZ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Celkový počet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altLang="cs-CZ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724">
                <a:tc>
                  <a:txBody>
                    <a:bodyPr/>
                    <a:lstStyle>
                      <a:lvl1pPr ea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20002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38417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566738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749300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12065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16637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21209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25781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ok</a:t>
                      </a: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Akutní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B1107"/>
                          </a:solidFill>
                          <a:effectLst/>
                          <a:latin typeface="Calibri" panose="020F0502020204030204" pitchFamily="34" charset="0"/>
                        </a:rPr>
                        <a:t>Počet OD</a:t>
                      </a:r>
                    </a:p>
                  </a:txBody>
                  <a:tcPr marL="0" marR="0" marT="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8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35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2688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9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1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1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9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627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3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26765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0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10103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7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9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2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2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66648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4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41855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2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446552"/>
                  </a:ext>
                </a:extLst>
              </a:tr>
            </a:tbl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F0F66A41-89C1-2E0D-715D-C9A00074BA6A}"/>
              </a:ext>
            </a:extLst>
          </p:cNvPr>
          <p:cNvSpPr txBox="1"/>
          <p:nvPr/>
        </p:nvSpPr>
        <p:spPr>
          <a:xfrm>
            <a:off x="4401500" y="1187960"/>
            <a:ext cx="3505720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ve věku věk 10 – 14 let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3B5636F3-31AB-BCFE-CD24-AF72FE902493}"/>
              </a:ext>
            </a:extLst>
          </p:cNvPr>
          <p:cNvSpPr txBox="1"/>
          <p:nvPr/>
        </p:nvSpPr>
        <p:spPr>
          <a:xfrm>
            <a:off x="8332076" y="1187960"/>
            <a:ext cx="3505720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ve věku 15 – 19 let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ovnoramenný trojúhelník 9">
            <a:extLst>
              <a:ext uri="{FF2B5EF4-FFF2-40B4-BE49-F238E27FC236}">
                <a16:creationId xmlns:a16="http://schemas.microsoft.com/office/drawing/2014/main" id="{A7D28265-EA10-246E-F60A-493FC4040663}"/>
              </a:ext>
            </a:extLst>
          </p:cNvPr>
          <p:cNvSpPr/>
          <p:nvPr/>
        </p:nvSpPr>
        <p:spPr>
          <a:xfrm rot="10800000">
            <a:off x="723481" y="4787291"/>
            <a:ext cx="3034603" cy="267502"/>
          </a:xfrm>
          <a:prstGeom prst="triangle">
            <a:avLst/>
          </a:prstGeom>
          <a:solidFill>
            <a:srgbClr val="203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ovnoramenný trojúhelník 10">
            <a:extLst>
              <a:ext uri="{FF2B5EF4-FFF2-40B4-BE49-F238E27FC236}">
                <a16:creationId xmlns:a16="http://schemas.microsoft.com/office/drawing/2014/main" id="{9044BFF5-8EAB-42BC-9E8C-3B0CFA4836FF}"/>
              </a:ext>
            </a:extLst>
          </p:cNvPr>
          <p:cNvSpPr/>
          <p:nvPr/>
        </p:nvSpPr>
        <p:spPr>
          <a:xfrm rot="10800000">
            <a:off x="4673124" y="4787291"/>
            <a:ext cx="3034603" cy="267502"/>
          </a:xfrm>
          <a:prstGeom prst="triangle">
            <a:avLst/>
          </a:prstGeom>
          <a:solidFill>
            <a:srgbClr val="203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ovnoramenný trojúhelník 11">
            <a:extLst>
              <a:ext uri="{FF2B5EF4-FFF2-40B4-BE49-F238E27FC236}">
                <a16:creationId xmlns:a16="http://schemas.microsoft.com/office/drawing/2014/main" id="{24E1ADE7-CCD4-7502-5467-F2E3ABBD725A}"/>
              </a:ext>
            </a:extLst>
          </p:cNvPr>
          <p:cNvSpPr/>
          <p:nvPr/>
        </p:nvSpPr>
        <p:spPr>
          <a:xfrm rot="10800000">
            <a:off x="8567634" y="4787291"/>
            <a:ext cx="3034603" cy="267502"/>
          </a:xfrm>
          <a:prstGeom prst="triangle">
            <a:avLst/>
          </a:prstGeom>
          <a:solidFill>
            <a:srgbClr val="203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DEDC6BCE-F0F1-86A3-69FA-0B90A6EF957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99615" y="5202115"/>
            <a:ext cx="31024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0 -&gt; 202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46% / - 65%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586D687F-0C31-EEC0-16D5-90040848A5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673123" y="5202115"/>
            <a:ext cx="31024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0 -&gt; 202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58% / + 30%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825A90E6-33B1-9871-898F-BE4DD7B4B63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533720" y="5202115"/>
            <a:ext cx="31024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0 -&gt; 202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193% / + 142%</a:t>
            </a:r>
          </a:p>
        </p:txBody>
      </p:sp>
      <p:graphicFrame>
        <p:nvGraphicFramePr>
          <p:cNvPr id="18" name="Group 744">
            <a:extLst>
              <a:ext uri="{FF2B5EF4-FFF2-40B4-BE49-F238E27FC236}">
                <a16:creationId xmlns:a16="http://schemas.microsoft.com/office/drawing/2014/main" id="{69E03448-33A1-D4F0-A114-EDCBF380D3FA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876583061"/>
              </p:ext>
            </p:extLst>
          </p:nvPr>
        </p:nvGraphicFramePr>
        <p:xfrm>
          <a:off x="4401500" y="1604673"/>
          <a:ext cx="3505720" cy="3127754"/>
        </p:xfrm>
        <a:graphic>
          <a:graphicData uri="http://schemas.openxmlformats.org/drawingml/2006/table">
            <a:tbl>
              <a:tblPr/>
              <a:tblGrid>
                <a:gridCol w="11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3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31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endParaRPr kumimoji="0" lang="cs-CZ" altLang="cs-CZ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Celkový počet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altLang="cs-CZ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724">
                <a:tc>
                  <a:txBody>
                    <a:bodyPr/>
                    <a:lstStyle>
                      <a:lvl1pPr ea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20002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38417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566738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749300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12065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16637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21209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25781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ok</a:t>
                      </a: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Akutní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B1107"/>
                          </a:solidFill>
                          <a:effectLst/>
                          <a:latin typeface="Calibri" panose="020F0502020204030204" pitchFamily="34" charset="0"/>
                        </a:rPr>
                        <a:t>Počet OD</a:t>
                      </a:r>
                    </a:p>
                  </a:txBody>
                  <a:tcPr marL="0" marR="0" marT="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72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87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2688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31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70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62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84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627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60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26765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50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10103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80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29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22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04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66648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50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41855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18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446552"/>
                  </a:ext>
                </a:extLst>
              </a:tr>
            </a:tbl>
          </a:graphicData>
        </a:graphic>
      </p:graphicFrame>
      <p:graphicFrame>
        <p:nvGraphicFramePr>
          <p:cNvPr id="19" name="Group 744">
            <a:extLst>
              <a:ext uri="{FF2B5EF4-FFF2-40B4-BE49-F238E27FC236}">
                <a16:creationId xmlns:a16="http://schemas.microsoft.com/office/drawing/2014/main" id="{7C0F657B-1676-82BC-3A0F-F163FDE6CE0F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92810678"/>
              </p:ext>
            </p:extLst>
          </p:nvPr>
        </p:nvGraphicFramePr>
        <p:xfrm>
          <a:off x="8332076" y="1608414"/>
          <a:ext cx="3505720" cy="3127754"/>
        </p:xfrm>
        <a:graphic>
          <a:graphicData uri="http://schemas.openxmlformats.org/drawingml/2006/table">
            <a:tbl>
              <a:tblPr/>
              <a:tblGrid>
                <a:gridCol w="11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3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31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endParaRPr kumimoji="0" lang="cs-CZ" altLang="cs-CZ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Celkový počet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altLang="cs-CZ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724">
                <a:tc>
                  <a:txBody>
                    <a:bodyPr/>
                    <a:lstStyle>
                      <a:lvl1pPr ea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20002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38417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566738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749300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12065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16637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21209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25781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ok</a:t>
                      </a: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Akutní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B1107"/>
                          </a:solidFill>
                          <a:effectLst/>
                          <a:latin typeface="Calibri" panose="020F0502020204030204" pitchFamily="34" charset="0"/>
                        </a:rPr>
                        <a:t>Počet OD</a:t>
                      </a:r>
                    </a:p>
                  </a:txBody>
                  <a:tcPr marL="0" marR="0" marT="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68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8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37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2688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1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56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26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5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42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02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627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1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74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26765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7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25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10103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56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9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63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2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60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9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74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66648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6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16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41855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1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37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446552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C9D0649B-AF5D-702A-9B0A-934C3F62138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63611" y="585376"/>
            <a:ext cx="114378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bornost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s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chiatrie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dětské psychiatrie a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rontopsychiatri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385710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1FC336D-8129-4D53-8F9C-520EC60AD4F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94003"/>
            <a:ext cx="11664778" cy="573989"/>
          </a:xfrm>
        </p:spPr>
        <p:txBody>
          <a:bodyPr>
            <a:noAutofit/>
          </a:bodyPr>
          <a:lstStyle/>
          <a:p>
            <a:pPr lvl="0"/>
            <a:r>
              <a:rPr lang="cs-CZ" noProof="0" dirty="0"/>
              <a:t>Dlouhodobý trend objemu akutní lůžkové péče: </a:t>
            </a:r>
            <a:r>
              <a:rPr lang="cs-CZ" u="sng" noProof="0" dirty="0"/>
              <a:t>hospitalizace u dětí</a:t>
            </a:r>
            <a:r>
              <a:rPr lang="cs-CZ" noProof="0" dirty="0"/>
              <a:t> - Praha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1B53D1AA-A6AA-39FD-EB74-1FFBC91C25B9}"/>
              </a:ext>
            </a:extLst>
          </p:cNvPr>
          <p:cNvSpPr txBox="1"/>
          <p:nvPr/>
        </p:nvSpPr>
        <p:spPr>
          <a:xfrm>
            <a:off x="430722" y="1187960"/>
            <a:ext cx="3505720" cy="369332"/>
          </a:xfrm>
          <a:prstGeom prst="rect">
            <a:avLst/>
          </a:prstGeom>
          <a:solidFill>
            <a:srgbClr val="0000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ve věku věk 0 – 9 let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Group 744">
            <a:extLst>
              <a:ext uri="{FF2B5EF4-FFF2-40B4-BE49-F238E27FC236}">
                <a16:creationId xmlns:a16="http://schemas.microsoft.com/office/drawing/2014/main" id="{4EB5D23F-D944-5F30-3FB6-C2B25FA1397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3272814"/>
              </p:ext>
            </p:extLst>
          </p:nvPr>
        </p:nvGraphicFramePr>
        <p:xfrm>
          <a:off x="438261" y="1608414"/>
          <a:ext cx="3505720" cy="3127754"/>
        </p:xfrm>
        <a:graphic>
          <a:graphicData uri="http://schemas.openxmlformats.org/drawingml/2006/table">
            <a:tbl>
              <a:tblPr/>
              <a:tblGrid>
                <a:gridCol w="11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3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31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endParaRPr kumimoji="0" lang="cs-CZ" altLang="cs-CZ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Celkový počet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altLang="cs-CZ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724">
                <a:tc>
                  <a:txBody>
                    <a:bodyPr/>
                    <a:lstStyle>
                      <a:lvl1pPr ea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20002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38417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566738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749300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12065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16637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21209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25781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ok</a:t>
                      </a: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Akutní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B1107"/>
                          </a:solidFill>
                          <a:effectLst/>
                          <a:latin typeface="Calibri" panose="020F0502020204030204" pitchFamily="34" charset="0"/>
                        </a:rPr>
                        <a:t>Počet OD</a:t>
                      </a:r>
                    </a:p>
                  </a:txBody>
                  <a:tcPr marL="0" marR="0" marT="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1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3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2688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6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1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0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9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627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2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26765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0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10103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7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3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0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1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66648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3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41855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3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446552"/>
                  </a:ext>
                </a:extLst>
              </a:tr>
            </a:tbl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F0F66A41-89C1-2E0D-715D-C9A00074BA6A}"/>
              </a:ext>
            </a:extLst>
          </p:cNvPr>
          <p:cNvSpPr txBox="1"/>
          <p:nvPr/>
        </p:nvSpPr>
        <p:spPr>
          <a:xfrm>
            <a:off x="4401500" y="1187960"/>
            <a:ext cx="3505720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ve věku věk 10 – 14 let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3B5636F3-31AB-BCFE-CD24-AF72FE902493}"/>
              </a:ext>
            </a:extLst>
          </p:cNvPr>
          <p:cNvSpPr txBox="1"/>
          <p:nvPr/>
        </p:nvSpPr>
        <p:spPr>
          <a:xfrm>
            <a:off x="8332076" y="1187960"/>
            <a:ext cx="3505720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ve věku 15 – 19 let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ovnoramenný trojúhelník 9">
            <a:extLst>
              <a:ext uri="{FF2B5EF4-FFF2-40B4-BE49-F238E27FC236}">
                <a16:creationId xmlns:a16="http://schemas.microsoft.com/office/drawing/2014/main" id="{A7D28265-EA10-246E-F60A-493FC4040663}"/>
              </a:ext>
            </a:extLst>
          </p:cNvPr>
          <p:cNvSpPr/>
          <p:nvPr/>
        </p:nvSpPr>
        <p:spPr>
          <a:xfrm rot="10800000">
            <a:off x="723481" y="4787291"/>
            <a:ext cx="3034603" cy="267502"/>
          </a:xfrm>
          <a:prstGeom prst="triangle">
            <a:avLst/>
          </a:prstGeom>
          <a:solidFill>
            <a:srgbClr val="203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ovnoramenný trojúhelník 10">
            <a:extLst>
              <a:ext uri="{FF2B5EF4-FFF2-40B4-BE49-F238E27FC236}">
                <a16:creationId xmlns:a16="http://schemas.microsoft.com/office/drawing/2014/main" id="{9044BFF5-8EAB-42BC-9E8C-3B0CFA4836FF}"/>
              </a:ext>
            </a:extLst>
          </p:cNvPr>
          <p:cNvSpPr/>
          <p:nvPr/>
        </p:nvSpPr>
        <p:spPr>
          <a:xfrm rot="10800000">
            <a:off x="4673124" y="4787291"/>
            <a:ext cx="3034603" cy="267502"/>
          </a:xfrm>
          <a:prstGeom prst="triangle">
            <a:avLst/>
          </a:prstGeom>
          <a:solidFill>
            <a:srgbClr val="203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ovnoramenný trojúhelník 11">
            <a:extLst>
              <a:ext uri="{FF2B5EF4-FFF2-40B4-BE49-F238E27FC236}">
                <a16:creationId xmlns:a16="http://schemas.microsoft.com/office/drawing/2014/main" id="{24E1ADE7-CCD4-7502-5467-F2E3ABBD725A}"/>
              </a:ext>
            </a:extLst>
          </p:cNvPr>
          <p:cNvSpPr/>
          <p:nvPr/>
        </p:nvSpPr>
        <p:spPr>
          <a:xfrm rot="10800000">
            <a:off x="8567634" y="4787291"/>
            <a:ext cx="3034603" cy="267502"/>
          </a:xfrm>
          <a:prstGeom prst="triangle">
            <a:avLst/>
          </a:prstGeom>
          <a:solidFill>
            <a:srgbClr val="203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DEDC6BCE-F0F1-86A3-69FA-0B90A6EF957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99615" y="5202115"/>
            <a:ext cx="31024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0 -&gt; 202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25% / - 48%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586D687F-0C31-EEC0-16D5-90040848A5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673123" y="5202115"/>
            <a:ext cx="31024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0 -&gt; 202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86% / + 64%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825A90E6-33B1-9871-898F-BE4DD7B4B63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533720" y="5202115"/>
            <a:ext cx="31024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0 -&gt; 202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213% / + 142%</a:t>
            </a:r>
          </a:p>
        </p:txBody>
      </p:sp>
      <p:graphicFrame>
        <p:nvGraphicFramePr>
          <p:cNvPr id="18" name="Group 744">
            <a:extLst>
              <a:ext uri="{FF2B5EF4-FFF2-40B4-BE49-F238E27FC236}">
                <a16:creationId xmlns:a16="http://schemas.microsoft.com/office/drawing/2014/main" id="{69E03448-33A1-D4F0-A114-EDCBF380D3FA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243567969"/>
              </p:ext>
            </p:extLst>
          </p:nvPr>
        </p:nvGraphicFramePr>
        <p:xfrm>
          <a:off x="4401500" y="1604673"/>
          <a:ext cx="3505720" cy="3127754"/>
        </p:xfrm>
        <a:graphic>
          <a:graphicData uri="http://schemas.openxmlformats.org/drawingml/2006/table">
            <a:tbl>
              <a:tblPr/>
              <a:tblGrid>
                <a:gridCol w="11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3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31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endParaRPr kumimoji="0" lang="cs-CZ" altLang="cs-CZ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Celkový počet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altLang="cs-CZ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724">
                <a:tc>
                  <a:txBody>
                    <a:bodyPr/>
                    <a:lstStyle>
                      <a:lvl1pPr ea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20002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38417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566738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749300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12065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16637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21209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25781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ok</a:t>
                      </a: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Akutní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B1107"/>
                          </a:solidFill>
                          <a:effectLst/>
                          <a:latin typeface="Calibri" panose="020F0502020204030204" pitchFamily="34" charset="0"/>
                        </a:rPr>
                        <a:t>Počet OD</a:t>
                      </a:r>
                    </a:p>
                  </a:txBody>
                  <a:tcPr marL="0" marR="0" marT="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4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47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2688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59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71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96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40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627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52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26765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91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10103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76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53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76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03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66648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85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41855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20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446552"/>
                  </a:ext>
                </a:extLst>
              </a:tr>
            </a:tbl>
          </a:graphicData>
        </a:graphic>
      </p:graphicFrame>
      <p:graphicFrame>
        <p:nvGraphicFramePr>
          <p:cNvPr id="19" name="Group 744">
            <a:extLst>
              <a:ext uri="{FF2B5EF4-FFF2-40B4-BE49-F238E27FC236}">
                <a16:creationId xmlns:a16="http://schemas.microsoft.com/office/drawing/2014/main" id="{7C0F657B-1676-82BC-3A0F-F163FDE6CE0F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700666959"/>
              </p:ext>
            </p:extLst>
          </p:nvPr>
        </p:nvGraphicFramePr>
        <p:xfrm>
          <a:off x="8332076" y="1608414"/>
          <a:ext cx="3505720" cy="3127754"/>
        </p:xfrm>
        <a:graphic>
          <a:graphicData uri="http://schemas.openxmlformats.org/drawingml/2006/table">
            <a:tbl>
              <a:tblPr/>
              <a:tblGrid>
                <a:gridCol w="11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3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31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endParaRPr kumimoji="0" lang="cs-CZ" altLang="cs-CZ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Celkový počet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altLang="cs-CZ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724">
                <a:tc>
                  <a:txBody>
                    <a:bodyPr/>
                    <a:lstStyle>
                      <a:lvl1pPr ea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20002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38417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566738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749300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12065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16637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21209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25781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ok</a:t>
                      </a: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Akutní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B1107"/>
                          </a:solidFill>
                          <a:effectLst/>
                          <a:latin typeface="Calibri" panose="020F0502020204030204" pitchFamily="34" charset="0"/>
                        </a:rPr>
                        <a:t>Počet OD</a:t>
                      </a:r>
                    </a:p>
                  </a:txBody>
                  <a:tcPr marL="0" marR="0" marT="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17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83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2688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45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48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00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69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627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46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26765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00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10103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49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86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72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64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66648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86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41855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4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16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446552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C9D0649B-AF5D-702A-9B0A-934C3F62138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63611" y="585376"/>
            <a:ext cx="114378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bornost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s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chiatrie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dětské psychiatrie a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rontopsychiatri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3526472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1FC336D-8129-4D53-8F9C-520EC60AD4F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26230" y="78554"/>
            <a:ext cx="11928389" cy="573989"/>
          </a:xfrm>
        </p:spPr>
        <p:txBody>
          <a:bodyPr>
            <a:noAutofit/>
          </a:bodyPr>
          <a:lstStyle/>
          <a:p>
            <a:pPr lvl="0"/>
            <a:r>
              <a:rPr lang="cs-CZ" sz="2400" noProof="0" dirty="0"/>
              <a:t>Dlouhodobý trend objemu následné a dlouhodobé lůžkové péče: </a:t>
            </a:r>
            <a:r>
              <a:rPr lang="cs-CZ" sz="2400" u="sng" noProof="0" dirty="0"/>
              <a:t>hospitalizace u dětí</a:t>
            </a:r>
            <a:r>
              <a:rPr lang="cs-CZ" sz="2800" noProof="0" dirty="0"/>
              <a:t> - ČR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1B53D1AA-A6AA-39FD-EB74-1FFBC91C25B9}"/>
              </a:ext>
            </a:extLst>
          </p:cNvPr>
          <p:cNvSpPr txBox="1"/>
          <p:nvPr/>
        </p:nvSpPr>
        <p:spPr>
          <a:xfrm>
            <a:off x="430722" y="1304926"/>
            <a:ext cx="3505720" cy="369332"/>
          </a:xfrm>
          <a:prstGeom prst="rect">
            <a:avLst/>
          </a:prstGeom>
          <a:solidFill>
            <a:srgbClr val="0000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ve věku věk 0 – 9 let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Group 744">
            <a:extLst>
              <a:ext uri="{FF2B5EF4-FFF2-40B4-BE49-F238E27FC236}">
                <a16:creationId xmlns:a16="http://schemas.microsoft.com/office/drawing/2014/main" id="{4EB5D23F-D944-5F30-3FB6-C2B25FA1397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894425"/>
              </p:ext>
            </p:extLst>
          </p:nvPr>
        </p:nvGraphicFramePr>
        <p:xfrm>
          <a:off x="438261" y="1725380"/>
          <a:ext cx="3505720" cy="3127754"/>
        </p:xfrm>
        <a:graphic>
          <a:graphicData uri="http://schemas.openxmlformats.org/drawingml/2006/table">
            <a:tbl>
              <a:tblPr/>
              <a:tblGrid>
                <a:gridCol w="11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3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31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endParaRPr kumimoji="0" lang="cs-CZ" altLang="cs-CZ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Celkový počet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altLang="cs-CZ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724">
                <a:tc>
                  <a:txBody>
                    <a:bodyPr/>
                    <a:lstStyle>
                      <a:lvl1pPr ea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20002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38417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566738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749300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12065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16637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21209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25781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ok</a:t>
                      </a: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Akutní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B1107"/>
                          </a:solidFill>
                          <a:effectLst/>
                          <a:latin typeface="Calibri" panose="020F0502020204030204" pitchFamily="34" charset="0"/>
                        </a:rPr>
                        <a:t>Počet OD</a:t>
                      </a:r>
                    </a:p>
                  </a:txBody>
                  <a:tcPr marL="0" marR="0" marT="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60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37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2688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76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65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59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22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627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45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26765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48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10103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66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54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39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82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66648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37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41855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39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446552"/>
                  </a:ext>
                </a:extLst>
              </a:tr>
            </a:tbl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F0F66A41-89C1-2E0D-715D-C9A00074BA6A}"/>
              </a:ext>
            </a:extLst>
          </p:cNvPr>
          <p:cNvSpPr txBox="1"/>
          <p:nvPr/>
        </p:nvSpPr>
        <p:spPr>
          <a:xfrm>
            <a:off x="4401500" y="1304926"/>
            <a:ext cx="3505720" cy="369332"/>
          </a:xfrm>
          <a:prstGeom prst="rect">
            <a:avLst/>
          </a:prstGeom>
          <a:solidFill>
            <a:srgbClr val="0000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ve věku věk 10 – 14 let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3B5636F3-31AB-BCFE-CD24-AF72FE902493}"/>
              </a:ext>
            </a:extLst>
          </p:cNvPr>
          <p:cNvSpPr txBox="1"/>
          <p:nvPr/>
        </p:nvSpPr>
        <p:spPr>
          <a:xfrm>
            <a:off x="8332076" y="1304926"/>
            <a:ext cx="3505720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ve věku 15 – 19 let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ovnoramenný trojúhelník 9">
            <a:extLst>
              <a:ext uri="{FF2B5EF4-FFF2-40B4-BE49-F238E27FC236}">
                <a16:creationId xmlns:a16="http://schemas.microsoft.com/office/drawing/2014/main" id="{A7D28265-EA10-246E-F60A-493FC4040663}"/>
              </a:ext>
            </a:extLst>
          </p:cNvPr>
          <p:cNvSpPr/>
          <p:nvPr/>
        </p:nvSpPr>
        <p:spPr>
          <a:xfrm rot="10800000">
            <a:off x="723481" y="4904257"/>
            <a:ext cx="3034603" cy="267502"/>
          </a:xfrm>
          <a:prstGeom prst="triangle">
            <a:avLst/>
          </a:prstGeom>
          <a:solidFill>
            <a:srgbClr val="203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ovnoramenný trojúhelník 10">
            <a:extLst>
              <a:ext uri="{FF2B5EF4-FFF2-40B4-BE49-F238E27FC236}">
                <a16:creationId xmlns:a16="http://schemas.microsoft.com/office/drawing/2014/main" id="{9044BFF5-8EAB-42BC-9E8C-3B0CFA4836FF}"/>
              </a:ext>
            </a:extLst>
          </p:cNvPr>
          <p:cNvSpPr/>
          <p:nvPr/>
        </p:nvSpPr>
        <p:spPr>
          <a:xfrm rot="10800000">
            <a:off x="4673124" y="4904257"/>
            <a:ext cx="3034603" cy="267502"/>
          </a:xfrm>
          <a:prstGeom prst="triangle">
            <a:avLst/>
          </a:prstGeom>
          <a:solidFill>
            <a:srgbClr val="203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ovnoramenný trojúhelník 11">
            <a:extLst>
              <a:ext uri="{FF2B5EF4-FFF2-40B4-BE49-F238E27FC236}">
                <a16:creationId xmlns:a16="http://schemas.microsoft.com/office/drawing/2014/main" id="{24E1ADE7-CCD4-7502-5467-F2E3ABBD725A}"/>
              </a:ext>
            </a:extLst>
          </p:cNvPr>
          <p:cNvSpPr/>
          <p:nvPr/>
        </p:nvSpPr>
        <p:spPr>
          <a:xfrm rot="10800000">
            <a:off x="8567634" y="4904257"/>
            <a:ext cx="3034603" cy="267502"/>
          </a:xfrm>
          <a:prstGeom prst="triangle">
            <a:avLst/>
          </a:prstGeom>
          <a:solidFill>
            <a:srgbClr val="203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DEDC6BCE-F0F1-86A3-69FA-0B90A6EF957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99615" y="5319081"/>
            <a:ext cx="31024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0 -&gt; 202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41% / - 62%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586D687F-0C31-EEC0-16D5-90040848A5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673123" y="5319081"/>
            <a:ext cx="31024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0 -&gt; 202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8% / - 27%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825A90E6-33B1-9871-898F-BE4DD7B4B63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533720" y="5319081"/>
            <a:ext cx="31024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0 -&gt; 202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9% / + 3%</a:t>
            </a:r>
          </a:p>
        </p:txBody>
      </p:sp>
      <p:graphicFrame>
        <p:nvGraphicFramePr>
          <p:cNvPr id="18" name="Group 744">
            <a:extLst>
              <a:ext uri="{FF2B5EF4-FFF2-40B4-BE49-F238E27FC236}">
                <a16:creationId xmlns:a16="http://schemas.microsoft.com/office/drawing/2014/main" id="{69E03448-33A1-D4F0-A114-EDCBF380D3FA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55694839"/>
              </p:ext>
            </p:extLst>
          </p:nvPr>
        </p:nvGraphicFramePr>
        <p:xfrm>
          <a:off x="4401500" y="1721639"/>
          <a:ext cx="3505720" cy="3127754"/>
        </p:xfrm>
        <a:graphic>
          <a:graphicData uri="http://schemas.openxmlformats.org/drawingml/2006/table">
            <a:tbl>
              <a:tblPr/>
              <a:tblGrid>
                <a:gridCol w="11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3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31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endParaRPr kumimoji="0" lang="cs-CZ" altLang="cs-CZ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Celkový počet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altLang="cs-CZ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724">
                <a:tc>
                  <a:txBody>
                    <a:bodyPr/>
                    <a:lstStyle>
                      <a:lvl1pPr ea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20002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38417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566738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749300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12065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16637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21209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25781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ok</a:t>
                      </a: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Akutní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B1107"/>
                          </a:solidFill>
                          <a:effectLst/>
                          <a:latin typeface="Calibri" panose="020F0502020204030204" pitchFamily="34" charset="0"/>
                        </a:rPr>
                        <a:t>Počet OD</a:t>
                      </a:r>
                    </a:p>
                  </a:txBody>
                  <a:tcPr marL="0" marR="0" marT="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7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96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6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 26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2688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7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04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49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6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80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1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68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627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25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26765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66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10103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50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6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47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83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1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31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66648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8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40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41855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19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446552"/>
                  </a:ext>
                </a:extLst>
              </a:tr>
            </a:tbl>
          </a:graphicData>
        </a:graphic>
      </p:graphicFrame>
      <p:graphicFrame>
        <p:nvGraphicFramePr>
          <p:cNvPr id="19" name="Group 744">
            <a:extLst>
              <a:ext uri="{FF2B5EF4-FFF2-40B4-BE49-F238E27FC236}">
                <a16:creationId xmlns:a16="http://schemas.microsoft.com/office/drawing/2014/main" id="{7C0F657B-1676-82BC-3A0F-F163FDE6CE0F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0992074"/>
              </p:ext>
            </p:extLst>
          </p:nvPr>
        </p:nvGraphicFramePr>
        <p:xfrm>
          <a:off x="8332076" y="1725380"/>
          <a:ext cx="3505720" cy="3127754"/>
        </p:xfrm>
        <a:graphic>
          <a:graphicData uri="http://schemas.openxmlformats.org/drawingml/2006/table">
            <a:tbl>
              <a:tblPr/>
              <a:tblGrid>
                <a:gridCol w="11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3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31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endParaRPr kumimoji="0" lang="cs-CZ" altLang="cs-CZ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Celkový počet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altLang="cs-CZ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724">
                <a:tc>
                  <a:txBody>
                    <a:bodyPr/>
                    <a:lstStyle>
                      <a:lvl1pPr ea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20002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38417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566738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749300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12065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16637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21209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25781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ok</a:t>
                      </a: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Akutní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B1107"/>
                          </a:solidFill>
                          <a:effectLst/>
                          <a:latin typeface="Calibri" panose="020F0502020204030204" pitchFamily="34" charset="0"/>
                        </a:rPr>
                        <a:t>Počet OD</a:t>
                      </a:r>
                    </a:p>
                  </a:txBody>
                  <a:tcPr marL="0" marR="0" marT="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5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58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3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03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2688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2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9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0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01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4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 29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4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 74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627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9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 08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26765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5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18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10103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0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86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7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29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81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6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52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66648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2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17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41855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3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45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446552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42BAE24D-0C27-DB7F-1B6C-5029621DDB4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63611" y="542850"/>
            <a:ext cx="114378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bornost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s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chiatrie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dětské psychiatrie a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rontopsychiatri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81034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1FC336D-8129-4D53-8F9C-520EC60AD4F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4887" y="73162"/>
            <a:ext cx="12159618" cy="573989"/>
          </a:xfrm>
        </p:spPr>
        <p:txBody>
          <a:bodyPr>
            <a:noAutofit/>
          </a:bodyPr>
          <a:lstStyle/>
          <a:p>
            <a:pPr lvl="0"/>
            <a:r>
              <a:rPr lang="cs-CZ" sz="2400" noProof="0" dirty="0"/>
              <a:t>Dlouhodobý trend objemu následné a dlouhodobé lůžkové péče: </a:t>
            </a:r>
            <a:r>
              <a:rPr lang="cs-CZ" sz="2400" u="sng" noProof="0" dirty="0"/>
              <a:t>hospitalizace u dětí</a:t>
            </a:r>
            <a:r>
              <a:rPr lang="cs-CZ" sz="2800" noProof="0" dirty="0"/>
              <a:t> - Praha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1B53D1AA-A6AA-39FD-EB74-1FFBC91C25B9}"/>
              </a:ext>
            </a:extLst>
          </p:cNvPr>
          <p:cNvSpPr txBox="1"/>
          <p:nvPr/>
        </p:nvSpPr>
        <p:spPr>
          <a:xfrm>
            <a:off x="430722" y="1304926"/>
            <a:ext cx="3505720" cy="369332"/>
          </a:xfrm>
          <a:prstGeom prst="rect">
            <a:avLst/>
          </a:prstGeom>
          <a:solidFill>
            <a:srgbClr val="0000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ve věku věk 0 – 9 let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Group 744">
            <a:extLst>
              <a:ext uri="{FF2B5EF4-FFF2-40B4-BE49-F238E27FC236}">
                <a16:creationId xmlns:a16="http://schemas.microsoft.com/office/drawing/2014/main" id="{4EB5D23F-D944-5F30-3FB6-C2B25FA1397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1372237"/>
              </p:ext>
            </p:extLst>
          </p:nvPr>
        </p:nvGraphicFramePr>
        <p:xfrm>
          <a:off x="438261" y="1725380"/>
          <a:ext cx="3505720" cy="3127754"/>
        </p:xfrm>
        <a:graphic>
          <a:graphicData uri="http://schemas.openxmlformats.org/drawingml/2006/table">
            <a:tbl>
              <a:tblPr/>
              <a:tblGrid>
                <a:gridCol w="11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3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31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endParaRPr kumimoji="0" lang="cs-CZ" altLang="cs-CZ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Celkový počet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altLang="cs-CZ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724">
                <a:tc>
                  <a:txBody>
                    <a:bodyPr/>
                    <a:lstStyle>
                      <a:lvl1pPr ea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20002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38417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566738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749300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12065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16637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21209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25781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ok</a:t>
                      </a: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Akutní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B1107"/>
                          </a:solidFill>
                          <a:effectLst/>
                          <a:latin typeface="Calibri" panose="020F0502020204030204" pitchFamily="34" charset="0"/>
                        </a:rPr>
                        <a:t>Počet OD</a:t>
                      </a:r>
                    </a:p>
                  </a:txBody>
                  <a:tcPr marL="0" marR="0" marT="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2688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627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26765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10103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66648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41855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446552"/>
                  </a:ext>
                </a:extLst>
              </a:tr>
            </a:tbl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F0F66A41-89C1-2E0D-715D-C9A00074BA6A}"/>
              </a:ext>
            </a:extLst>
          </p:cNvPr>
          <p:cNvSpPr txBox="1"/>
          <p:nvPr/>
        </p:nvSpPr>
        <p:spPr>
          <a:xfrm>
            <a:off x="4401500" y="1304926"/>
            <a:ext cx="3505720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ve věku věk 10 – 14 let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3B5636F3-31AB-BCFE-CD24-AF72FE902493}"/>
              </a:ext>
            </a:extLst>
          </p:cNvPr>
          <p:cNvSpPr txBox="1"/>
          <p:nvPr/>
        </p:nvSpPr>
        <p:spPr>
          <a:xfrm>
            <a:off x="8332076" y="1304926"/>
            <a:ext cx="3505720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ve věku 15 – 19 let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ovnoramenný trojúhelník 9">
            <a:extLst>
              <a:ext uri="{FF2B5EF4-FFF2-40B4-BE49-F238E27FC236}">
                <a16:creationId xmlns:a16="http://schemas.microsoft.com/office/drawing/2014/main" id="{A7D28265-EA10-246E-F60A-493FC4040663}"/>
              </a:ext>
            </a:extLst>
          </p:cNvPr>
          <p:cNvSpPr/>
          <p:nvPr/>
        </p:nvSpPr>
        <p:spPr>
          <a:xfrm rot="10800000">
            <a:off x="723481" y="4904257"/>
            <a:ext cx="3034603" cy="267502"/>
          </a:xfrm>
          <a:prstGeom prst="triangle">
            <a:avLst/>
          </a:prstGeom>
          <a:solidFill>
            <a:srgbClr val="203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ovnoramenný trojúhelník 10">
            <a:extLst>
              <a:ext uri="{FF2B5EF4-FFF2-40B4-BE49-F238E27FC236}">
                <a16:creationId xmlns:a16="http://schemas.microsoft.com/office/drawing/2014/main" id="{9044BFF5-8EAB-42BC-9E8C-3B0CFA4836FF}"/>
              </a:ext>
            </a:extLst>
          </p:cNvPr>
          <p:cNvSpPr/>
          <p:nvPr/>
        </p:nvSpPr>
        <p:spPr>
          <a:xfrm rot="10800000">
            <a:off x="4673124" y="4904257"/>
            <a:ext cx="3034603" cy="267502"/>
          </a:xfrm>
          <a:prstGeom prst="triangle">
            <a:avLst/>
          </a:prstGeom>
          <a:solidFill>
            <a:srgbClr val="203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ovnoramenný trojúhelník 11">
            <a:extLst>
              <a:ext uri="{FF2B5EF4-FFF2-40B4-BE49-F238E27FC236}">
                <a16:creationId xmlns:a16="http://schemas.microsoft.com/office/drawing/2014/main" id="{24E1ADE7-CCD4-7502-5467-F2E3ABBD725A}"/>
              </a:ext>
            </a:extLst>
          </p:cNvPr>
          <p:cNvSpPr/>
          <p:nvPr/>
        </p:nvSpPr>
        <p:spPr>
          <a:xfrm rot="10800000">
            <a:off x="8567634" y="4904257"/>
            <a:ext cx="3034603" cy="267502"/>
          </a:xfrm>
          <a:prstGeom prst="triangle">
            <a:avLst/>
          </a:prstGeom>
          <a:solidFill>
            <a:srgbClr val="203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DEDC6BCE-F0F1-86A3-69FA-0B90A6EF957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99615" y="5319081"/>
            <a:ext cx="31024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0 -&gt; 202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800" b="1" dirty="0">
                <a:solidFill>
                  <a:srgbClr val="0000FF"/>
                </a:solidFill>
                <a:latin typeface="Calibri" panose="020F0502020204030204"/>
              </a:rPr>
              <a:t>0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 / 0%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586D687F-0C31-EEC0-16D5-90040848A5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673123" y="5319081"/>
            <a:ext cx="31024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0 -&gt; 202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800" b="1" dirty="0">
                <a:solidFill>
                  <a:srgbClr val="FF0000"/>
                </a:solidFill>
                <a:latin typeface="Calibri" panose="020F0502020204030204"/>
              </a:rPr>
              <a:t>+ 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% / - 21%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825A90E6-33B1-9871-898F-BE4DD7B4B63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533720" y="5319081"/>
            <a:ext cx="31024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0 -&gt; 202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27% / + 34%</a:t>
            </a:r>
          </a:p>
        </p:txBody>
      </p:sp>
      <p:graphicFrame>
        <p:nvGraphicFramePr>
          <p:cNvPr id="18" name="Group 744">
            <a:extLst>
              <a:ext uri="{FF2B5EF4-FFF2-40B4-BE49-F238E27FC236}">
                <a16:creationId xmlns:a16="http://schemas.microsoft.com/office/drawing/2014/main" id="{69E03448-33A1-D4F0-A114-EDCBF380D3FA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71439744"/>
              </p:ext>
            </p:extLst>
          </p:nvPr>
        </p:nvGraphicFramePr>
        <p:xfrm>
          <a:off x="4401500" y="1721639"/>
          <a:ext cx="3505720" cy="3127754"/>
        </p:xfrm>
        <a:graphic>
          <a:graphicData uri="http://schemas.openxmlformats.org/drawingml/2006/table">
            <a:tbl>
              <a:tblPr/>
              <a:tblGrid>
                <a:gridCol w="11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3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31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endParaRPr kumimoji="0" lang="cs-CZ" altLang="cs-CZ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Celkový počet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altLang="cs-CZ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724">
                <a:tc>
                  <a:txBody>
                    <a:bodyPr/>
                    <a:lstStyle>
                      <a:lvl1pPr ea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20002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38417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566738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749300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12065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16637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21209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25781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ok</a:t>
                      </a: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Akutní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B1107"/>
                          </a:solidFill>
                          <a:effectLst/>
                          <a:latin typeface="Calibri" panose="020F0502020204030204" pitchFamily="34" charset="0"/>
                        </a:rPr>
                        <a:t>Počet OD</a:t>
                      </a:r>
                    </a:p>
                  </a:txBody>
                  <a:tcPr marL="0" marR="0" marT="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22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3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2688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8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7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2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8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627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53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26765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7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10103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4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6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2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7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66648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45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41855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12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446552"/>
                  </a:ext>
                </a:extLst>
              </a:tr>
            </a:tbl>
          </a:graphicData>
        </a:graphic>
      </p:graphicFrame>
      <p:graphicFrame>
        <p:nvGraphicFramePr>
          <p:cNvPr id="19" name="Group 744">
            <a:extLst>
              <a:ext uri="{FF2B5EF4-FFF2-40B4-BE49-F238E27FC236}">
                <a16:creationId xmlns:a16="http://schemas.microsoft.com/office/drawing/2014/main" id="{7C0F657B-1676-82BC-3A0F-F163FDE6CE0F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56560779"/>
              </p:ext>
            </p:extLst>
          </p:nvPr>
        </p:nvGraphicFramePr>
        <p:xfrm>
          <a:off x="8332076" y="1725380"/>
          <a:ext cx="3505720" cy="3127754"/>
        </p:xfrm>
        <a:graphic>
          <a:graphicData uri="http://schemas.openxmlformats.org/drawingml/2006/table">
            <a:tbl>
              <a:tblPr/>
              <a:tblGrid>
                <a:gridCol w="11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3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31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endParaRPr kumimoji="0" lang="cs-CZ" altLang="cs-CZ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Celkový počet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altLang="cs-CZ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724">
                <a:tc>
                  <a:txBody>
                    <a:bodyPr/>
                    <a:lstStyle>
                      <a:lvl1pPr ea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20002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38417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566738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749300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12065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16637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21209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25781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ok</a:t>
                      </a: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Akutní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B1107"/>
                          </a:solidFill>
                          <a:effectLst/>
                          <a:latin typeface="Calibri" panose="020F0502020204030204" pitchFamily="34" charset="0"/>
                        </a:rPr>
                        <a:t>Počet OD</a:t>
                      </a:r>
                    </a:p>
                  </a:txBody>
                  <a:tcPr marL="0" marR="0" marT="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19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70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2688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94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97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34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99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627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97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26765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92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10103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37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40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10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50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66648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48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41855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3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446552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42BAE24D-0C27-DB7F-1B6C-5029621DDB4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63611" y="542850"/>
            <a:ext cx="114378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bornost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s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chiatrie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dětské psychiatrie a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rontopsychiatri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57269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866E07E-D4B8-429E-81B7-36150BF85324}"/>
              </a:ext>
            </a:extLst>
          </p:cNvPr>
          <p:cNvSpPr txBox="1">
            <a:spLocks/>
          </p:cNvSpPr>
          <p:nvPr/>
        </p:nvSpPr>
        <p:spPr>
          <a:xfrm>
            <a:off x="194311" y="310364"/>
            <a:ext cx="11997689" cy="608608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308297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cs-CZ" sz="3400" dirty="0"/>
              <a:t>Nový NZIS a jeho informační potenciál</a:t>
            </a:r>
          </a:p>
        </p:txBody>
      </p:sp>
      <p:sp>
        <p:nvSpPr>
          <p:cNvPr id="3" name="Line 17">
            <a:extLst>
              <a:ext uri="{FF2B5EF4-FFF2-40B4-BE49-F238E27FC236}">
                <a16:creationId xmlns:a16="http://schemas.microsoft.com/office/drawing/2014/main" id="{270A39BD-5AA5-9683-C428-05B48CECB323}"/>
              </a:ext>
            </a:extLst>
          </p:cNvPr>
          <p:cNvSpPr>
            <a:spLocks noChangeShapeType="1"/>
          </p:cNvSpPr>
          <p:nvPr/>
        </p:nvSpPr>
        <p:spPr bwMode="auto">
          <a:xfrm>
            <a:off x="5564965" y="3802688"/>
            <a:ext cx="2230438" cy="0"/>
          </a:xfrm>
          <a:prstGeom prst="line">
            <a:avLst/>
          </a:prstGeom>
          <a:noFill/>
          <a:ln w="38100">
            <a:solidFill>
              <a:schemeClr val="accent2">
                <a:lumMod val="75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Line 18">
            <a:extLst>
              <a:ext uri="{FF2B5EF4-FFF2-40B4-BE49-F238E27FC236}">
                <a16:creationId xmlns:a16="http://schemas.microsoft.com/office/drawing/2014/main" id="{09D6997B-4D50-0F7F-9C8F-2F7D9614405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4266390" y="3802688"/>
            <a:ext cx="1298575" cy="1584325"/>
          </a:xfrm>
          <a:prstGeom prst="line">
            <a:avLst/>
          </a:prstGeom>
          <a:noFill/>
          <a:ln w="38100">
            <a:solidFill>
              <a:schemeClr val="accent2">
                <a:lumMod val="75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Line 19">
            <a:extLst>
              <a:ext uri="{FF2B5EF4-FFF2-40B4-BE49-F238E27FC236}">
                <a16:creationId xmlns:a16="http://schemas.microsoft.com/office/drawing/2014/main" id="{839ED2FB-6525-5C35-B6F9-01BB53619C36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5563378" y="1570663"/>
            <a:ext cx="1587" cy="2232025"/>
          </a:xfrm>
          <a:prstGeom prst="line">
            <a:avLst/>
          </a:prstGeom>
          <a:noFill/>
          <a:ln w="38100">
            <a:solidFill>
              <a:schemeClr val="accent2">
                <a:lumMod val="75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 Box 20">
            <a:extLst>
              <a:ext uri="{FF2B5EF4-FFF2-40B4-BE49-F238E27FC236}">
                <a16:creationId xmlns:a16="http://schemas.microsoft.com/office/drawing/2014/main" id="{14CA853B-A34A-29C5-BA44-BFF8B74A6A4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30195" y="1384675"/>
            <a:ext cx="1944687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cs-CZ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Cost</a:t>
            </a:r>
          </a:p>
        </p:txBody>
      </p:sp>
      <p:sp>
        <p:nvSpPr>
          <p:cNvPr id="7" name="Text Box 21">
            <a:extLst>
              <a:ext uri="{FF2B5EF4-FFF2-40B4-BE49-F238E27FC236}">
                <a16:creationId xmlns:a16="http://schemas.microsoft.com/office/drawing/2014/main" id="{735082B4-9DBF-C5AF-CF51-BE4DD0A503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3853" y="3912226"/>
            <a:ext cx="25908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cs-CZ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Health</a:t>
            </a:r>
            <a:r>
              <a:rPr kumimoji="0" lang="en-US" alt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 </a:t>
            </a:r>
            <a:r>
              <a:rPr kumimoji="0" lang="en-US" altLang="cs-CZ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services</a:t>
            </a:r>
          </a:p>
        </p:txBody>
      </p:sp>
      <p:sp>
        <p:nvSpPr>
          <p:cNvPr id="8" name="Text Box 22">
            <a:extLst>
              <a:ext uri="{FF2B5EF4-FFF2-40B4-BE49-F238E27FC236}">
                <a16:creationId xmlns:a16="http://schemas.microsoft.com/office/drawing/2014/main" id="{239EC2EA-2875-70C0-9A82-A61A9B31F2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42490" y="5563226"/>
            <a:ext cx="212407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cs-CZ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Population</a:t>
            </a:r>
          </a:p>
        </p:txBody>
      </p:sp>
      <p:pic>
        <p:nvPicPr>
          <p:cNvPr id="9" name="Picture 33" descr="patient">
            <a:extLst>
              <a:ext uri="{FF2B5EF4-FFF2-40B4-BE49-F238E27FC236}">
                <a16:creationId xmlns:a16="http://schemas.microsoft.com/office/drawing/2014/main" id="{478E796D-7523-6E02-74D9-669775999F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71" t="21022" r="13565" b="5214"/>
          <a:stretch>
            <a:fillRect/>
          </a:stretch>
        </p:blipFill>
        <p:spPr bwMode="auto">
          <a:xfrm>
            <a:off x="619773" y="3788519"/>
            <a:ext cx="792163" cy="747713"/>
          </a:xfrm>
          <a:prstGeom prst="rect">
            <a:avLst/>
          </a:prstGeom>
          <a:noFill/>
          <a:ln w="38100">
            <a:solidFill>
              <a:schemeClr val="folHlink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4" descr="Letecký snímek Nemocnice Blansko ">
            <a:extLst>
              <a:ext uri="{FF2B5EF4-FFF2-40B4-BE49-F238E27FC236}">
                <a16:creationId xmlns:a16="http://schemas.microsoft.com/office/drawing/2014/main" id="{562DFA76-222A-7738-30E9-3C0DCEDFE6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91" t="28146" r="35474" b="28563"/>
          <a:stretch>
            <a:fillRect/>
          </a:stretch>
        </p:blipFill>
        <p:spPr bwMode="auto">
          <a:xfrm>
            <a:off x="6161047" y="1753708"/>
            <a:ext cx="798513" cy="763587"/>
          </a:xfrm>
          <a:prstGeom prst="rect">
            <a:avLst/>
          </a:prstGeom>
          <a:noFill/>
          <a:ln w="38100">
            <a:solidFill>
              <a:schemeClr val="folHlink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35">
            <a:extLst>
              <a:ext uri="{FF2B5EF4-FFF2-40B4-BE49-F238E27FC236}">
                <a16:creationId xmlns:a16="http://schemas.microsoft.com/office/drawing/2014/main" id="{8B3D6D59-127E-D838-5924-69B4B43740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9047" y="2169633"/>
            <a:ext cx="819150" cy="754062"/>
          </a:xfrm>
          <a:prstGeom prst="rect">
            <a:avLst/>
          </a:prstGeom>
          <a:solidFill>
            <a:srgbClr val="3366FF"/>
          </a:solidFill>
          <a:ln w="38100" cap="sq">
            <a:solidFill>
              <a:schemeClr val="folHlink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altLang="cs-CZ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" name="Rectangle 36">
            <a:extLst>
              <a:ext uri="{FF2B5EF4-FFF2-40B4-BE49-F238E27FC236}">
                <a16:creationId xmlns:a16="http://schemas.microsoft.com/office/drawing/2014/main" id="{F1453BED-09F4-F495-A34A-D1BF34AE1B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0490" y="4240838"/>
            <a:ext cx="819150" cy="754063"/>
          </a:xfrm>
          <a:prstGeom prst="rect">
            <a:avLst/>
          </a:prstGeom>
          <a:solidFill>
            <a:srgbClr val="3366FF"/>
          </a:solidFill>
          <a:ln w="38100" cap="sq">
            <a:solidFill>
              <a:schemeClr val="folHlink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altLang="cs-CZ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13" name="Group 37">
            <a:extLst>
              <a:ext uri="{FF2B5EF4-FFF2-40B4-BE49-F238E27FC236}">
                <a16:creationId xmlns:a16="http://schemas.microsoft.com/office/drawing/2014/main" id="{3792E629-27DE-AA5A-F652-A169849263CE}"/>
              </a:ext>
            </a:extLst>
          </p:cNvPr>
          <p:cNvGrpSpPr>
            <a:grpSpLocks/>
          </p:cNvGrpSpPr>
          <p:nvPr/>
        </p:nvGrpSpPr>
        <p:grpSpPr bwMode="auto">
          <a:xfrm>
            <a:off x="4050490" y="4269180"/>
            <a:ext cx="758825" cy="730250"/>
            <a:chOff x="1633" y="1482"/>
            <a:chExt cx="617" cy="620"/>
          </a:xfrm>
        </p:grpSpPr>
        <p:pic>
          <p:nvPicPr>
            <p:cNvPr id="14" name="Picture 38" descr="map">
              <a:extLst>
                <a:ext uri="{FF2B5EF4-FFF2-40B4-BE49-F238E27FC236}">
                  <a16:creationId xmlns:a16="http://schemas.microsoft.com/office/drawing/2014/main" id="{A53D9C75-DAC1-036E-C0C1-7D56330E1F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22" y="1482"/>
              <a:ext cx="528" cy="3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" name="Picture 39">
              <a:extLst>
                <a:ext uri="{FF2B5EF4-FFF2-40B4-BE49-F238E27FC236}">
                  <a16:creationId xmlns:a16="http://schemas.microsoft.com/office/drawing/2014/main" id="{DE7C23C7-2DC8-B9A2-C4E0-E829C7BFC6C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6" y="1800"/>
              <a:ext cx="156" cy="2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8100" cap="sq">
                  <a:solidFill>
                    <a:srgbClr val="000000"/>
                  </a:solidFill>
                  <a:miter lim="800000"/>
                  <a:headEnd type="none" w="sm" len="sm"/>
                  <a:tailEnd type="none" w="sm" len="sm"/>
                </a14:hiddenLine>
              </a:ext>
            </a:extLst>
          </p:spPr>
        </p:pic>
        <p:pic>
          <p:nvPicPr>
            <p:cNvPr id="16" name="Picture 40">
              <a:extLst>
                <a:ext uri="{FF2B5EF4-FFF2-40B4-BE49-F238E27FC236}">
                  <a16:creationId xmlns:a16="http://schemas.microsoft.com/office/drawing/2014/main" id="{A2807ED3-A359-92BC-2BD5-CE4648EF7A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64" y="1776"/>
              <a:ext cx="141" cy="2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8100" cap="sq">
                  <a:solidFill>
                    <a:srgbClr val="000000"/>
                  </a:solidFill>
                  <a:miter lim="800000"/>
                  <a:headEnd type="none" w="sm" len="sm"/>
                  <a:tailEnd type="none" w="sm" len="sm"/>
                </a14:hiddenLine>
              </a:ext>
            </a:extLst>
          </p:spPr>
        </p:pic>
        <p:pic>
          <p:nvPicPr>
            <p:cNvPr id="17" name="Picture 41">
              <a:extLst>
                <a:ext uri="{FF2B5EF4-FFF2-40B4-BE49-F238E27FC236}">
                  <a16:creationId xmlns:a16="http://schemas.microsoft.com/office/drawing/2014/main" id="{021E38FA-FFFC-1F6B-11B6-97ADD4585C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38" y="1806"/>
              <a:ext cx="163" cy="2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8100" cap="sq">
                  <a:solidFill>
                    <a:srgbClr val="000000"/>
                  </a:solidFill>
                  <a:miter lim="800000"/>
                  <a:headEnd type="none" w="sm" len="sm"/>
                  <a:tailEnd type="none" w="sm" len="sm"/>
                </a14:hiddenLine>
              </a:ext>
            </a:extLst>
          </p:spPr>
        </p:pic>
        <p:pic>
          <p:nvPicPr>
            <p:cNvPr id="18" name="Picture 42">
              <a:extLst>
                <a:ext uri="{FF2B5EF4-FFF2-40B4-BE49-F238E27FC236}">
                  <a16:creationId xmlns:a16="http://schemas.microsoft.com/office/drawing/2014/main" id="{253CBBBC-8448-1945-CAC0-9DFBEF4D8A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33" y="1732"/>
              <a:ext cx="173" cy="3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8100" cap="sq">
                  <a:solidFill>
                    <a:srgbClr val="000000"/>
                  </a:solidFill>
                  <a:miter lim="800000"/>
                  <a:headEnd type="none" w="sm" len="sm"/>
                  <a:tailEnd type="none" w="sm" len="sm"/>
                </a14:hiddenLine>
              </a:ext>
            </a:extLst>
          </p:spPr>
        </p:pic>
      </p:grpSp>
      <p:grpSp>
        <p:nvGrpSpPr>
          <p:cNvPr id="19" name="Group 43">
            <a:extLst>
              <a:ext uri="{FF2B5EF4-FFF2-40B4-BE49-F238E27FC236}">
                <a16:creationId xmlns:a16="http://schemas.microsoft.com/office/drawing/2014/main" id="{C4CE7621-DE00-0C3B-4764-EB8657C4A5FC}"/>
              </a:ext>
            </a:extLst>
          </p:cNvPr>
          <p:cNvGrpSpPr>
            <a:grpSpLocks/>
          </p:cNvGrpSpPr>
          <p:nvPr/>
        </p:nvGrpSpPr>
        <p:grpSpPr bwMode="auto">
          <a:xfrm>
            <a:off x="6769060" y="2261708"/>
            <a:ext cx="649287" cy="565150"/>
            <a:chOff x="1680" y="2304"/>
            <a:chExt cx="528" cy="480"/>
          </a:xfrm>
        </p:grpSpPr>
        <p:sp>
          <p:nvSpPr>
            <p:cNvPr id="20" name="Line 44">
              <a:extLst>
                <a:ext uri="{FF2B5EF4-FFF2-40B4-BE49-F238E27FC236}">
                  <a16:creationId xmlns:a16="http://schemas.microsoft.com/office/drawing/2014/main" id="{C90CA1E1-695E-5DDC-FD92-5AF79F25DE2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28" y="2688"/>
              <a:ext cx="384" cy="48"/>
            </a:xfrm>
            <a:prstGeom prst="line">
              <a:avLst/>
            </a:prstGeom>
            <a:noFill/>
            <a:ln w="38100" cap="sq">
              <a:solidFill>
                <a:schemeClr val="tx2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Line 45">
              <a:extLst>
                <a:ext uri="{FF2B5EF4-FFF2-40B4-BE49-F238E27FC236}">
                  <a16:creationId xmlns:a16="http://schemas.microsoft.com/office/drawing/2014/main" id="{AD1E2083-0741-1860-79C1-3E58D24BC62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872" y="2496"/>
              <a:ext cx="288" cy="96"/>
            </a:xfrm>
            <a:prstGeom prst="line">
              <a:avLst/>
            </a:prstGeom>
            <a:noFill/>
            <a:ln w="38100" cap="sq">
              <a:solidFill>
                <a:schemeClr val="tx2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Line 46">
              <a:extLst>
                <a:ext uri="{FF2B5EF4-FFF2-40B4-BE49-F238E27FC236}">
                  <a16:creationId xmlns:a16="http://schemas.microsoft.com/office/drawing/2014/main" id="{DBBD5C18-5CF1-4D21-8A5B-9B05C4A8E8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72" y="2640"/>
              <a:ext cx="240" cy="48"/>
            </a:xfrm>
            <a:prstGeom prst="line">
              <a:avLst/>
            </a:prstGeom>
            <a:noFill/>
            <a:ln w="38100" cap="sq">
              <a:solidFill>
                <a:schemeClr val="tx2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Line 47">
              <a:extLst>
                <a:ext uri="{FF2B5EF4-FFF2-40B4-BE49-F238E27FC236}">
                  <a16:creationId xmlns:a16="http://schemas.microsoft.com/office/drawing/2014/main" id="{CCD2A3F6-87E7-EA70-B8D6-7327FE047EE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28" y="2640"/>
              <a:ext cx="144" cy="96"/>
            </a:xfrm>
            <a:prstGeom prst="line">
              <a:avLst/>
            </a:prstGeom>
            <a:noFill/>
            <a:ln w="38100" cap="sq">
              <a:solidFill>
                <a:schemeClr val="tx2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Line 48">
              <a:extLst>
                <a:ext uri="{FF2B5EF4-FFF2-40B4-BE49-F238E27FC236}">
                  <a16:creationId xmlns:a16="http://schemas.microsoft.com/office/drawing/2014/main" id="{6F98224D-B7F0-35C1-DEBF-1D6DA645C45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872" y="2352"/>
              <a:ext cx="192" cy="240"/>
            </a:xfrm>
            <a:prstGeom prst="line">
              <a:avLst/>
            </a:prstGeom>
            <a:noFill/>
            <a:ln w="38100" cap="sq">
              <a:solidFill>
                <a:schemeClr val="tx2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Line 49">
              <a:extLst>
                <a:ext uri="{FF2B5EF4-FFF2-40B4-BE49-F238E27FC236}">
                  <a16:creationId xmlns:a16="http://schemas.microsoft.com/office/drawing/2014/main" id="{94FF1E3A-AAD7-5345-2B05-650E173846E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112" y="2496"/>
              <a:ext cx="48" cy="192"/>
            </a:xfrm>
            <a:prstGeom prst="line">
              <a:avLst/>
            </a:prstGeom>
            <a:noFill/>
            <a:ln w="38100" cap="sq">
              <a:solidFill>
                <a:schemeClr val="tx2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Line 50">
              <a:extLst>
                <a:ext uri="{FF2B5EF4-FFF2-40B4-BE49-F238E27FC236}">
                  <a16:creationId xmlns:a16="http://schemas.microsoft.com/office/drawing/2014/main" id="{4071394F-EFA1-1F57-456C-5D647C59275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2064" y="2352"/>
              <a:ext cx="48" cy="336"/>
            </a:xfrm>
            <a:prstGeom prst="line">
              <a:avLst/>
            </a:prstGeom>
            <a:noFill/>
            <a:ln w="38100" cap="sq">
              <a:solidFill>
                <a:schemeClr val="tx2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Line 51">
              <a:extLst>
                <a:ext uri="{FF2B5EF4-FFF2-40B4-BE49-F238E27FC236}">
                  <a16:creationId xmlns:a16="http://schemas.microsoft.com/office/drawing/2014/main" id="{BBF3BDC3-BA70-AD62-E525-69FA1F35102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64" y="2352"/>
              <a:ext cx="90" cy="144"/>
            </a:xfrm>
            <a:prstGeom prst="line">
              <a:avLst/>
            </a:prstGeom>
            <a:noFill/>
            <a:ln w="38100" cap="sq">
              <a:solidFill>
                <a:schemeClr val="tx2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Line 52">
              <a:extLst>
                <a:ext uri="{FF2B5EF4-FFF2-40B4-BE49-F238E27FC236}">
                  <a16:creationId xmlns:a16="http://schemas.microsoft.com/office/drawing/2014/main" id="{40D00857-46D4-7AEA-1983-B8C7E0B18E7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28" y="2352"/>
              <a:ext cx="288" cy="336"/>
            </a:xfrm>
            <a:prstGeom prst="line">
              <a:avLst/>
            </a:prstGeom>
            <a:noFill/>
            <a:ln w="38100" cap="sq">
              <a:solidFill>
                <a:schemeClr val="tx2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Oval 53">
              <a:extLst>
                <a:ext uri="{FF2B5EF4-FFF2-40B4-BE49-F238E27FC236}">
                  <a16:creationId xmlns:a16="http://schemas.microsoft.com/office/drawing/2014/main" id="{E2A6A1BC-9767-5829-DC79-3AA1660A50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8" y="2568"/>
              <a:ext cx="96" cy="96"/>
            </a:xfrm>
            <a:prstGeom prst="ellipse">
              <a:avLst/>
            </a:prstGeom>
            <a:solidFill>
              <a:srgbClr val="66FFFF"/>
            </a:solidFill>
            <a:ln>
              <a:noFill/>
            </a:ln>
            <a:effectLst>
              <a:prstShdw prst="shdw17" dist="17961" dir="2700000">
                <a:srgbClr val="3D9999"/>
              </a:prstShdw>
            </a:effectLst>
            <a:extLs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14:hiddenLine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0" name="Line 54">
              <a:extLst>
                <a:ext uri="{FF2B5EF4-FFF2-40B4-BE49-F238E27FC236}">
                  <a16:creationId xmlns:a16="http://schemas.microsoft.com/office/drawing/2014/main" id="{4CEA497C-961F-FFDA-C359-3BCFA00B467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28" y="2352"/>
              <a:ext cx="336" cy="48"/>
            </a:xfrm>
            <a:prstGeom prst="line">
              <a:avLst/>
            </a:prstGeom>
            <a:noFill/>
            <a:ln w="38100" cap="sq">
              <a:solidFill>
                <a:srgbClr val="66FF33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Line 55">
              <a:extLst>
                <a:ext uri="{FF2B5EF4-FFF2-40B4-BE49-F238E27FC236}">
                  <a16:creationId xmlns:a16="http://schemas.microsoft.com/office/drawing/2014/main" id="{AED44FF7-978D-23C8-D934-752C4DBD54F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76" y="2448"/>
              <a:ext cx="384" cy="48"/>
            </a:xfrm>
            <a:prstGeom prst="line">
              <a:avLst/>
            </a:prstGeom>
            <a:noFill/>
            <a:ln w="38100" cap="sq">
              <a:solidFill>
                <a:srgbClr val="66FF33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Line 56">
              <a:extLst>
                <a:ext uri="{FF2B5EF4-FFF2-40B4-BE49-F238E27FC236}">
                  <a16:creationId xmlns:a16="http://schemas.microsoft.com/office/drawing/2014/main" id="{44DCD170-A990-C83A-D2D2-3F2210C916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28" y="2448"/>
              <a:ext cx="144" cy="144"/>
            </a:xfrm>
            <a:prstGeom prst="line">
              <a:avLst/>
            </a:prstGeom>
            <a:noFill/>
            <a:ln w="38100" cap="sq">
              <a:solidFill>
                <a:srgbClr val="66FF33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Line 57">
              <a:extLst>
                <a:ext uri="{FF2B5EF4-FFF2-40B4-BE49-F238E27FC236}">
                  <a16:creationId xmlns:a16="http://schemas.microsoft.com/office/drawing/2014/main" id="{B40753DA-FAEA-E981-A271-1844C13A70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76" y="2448"/>
              <a:ext cx="336" cy="240"/>
            </a:xfrm>
            <a:prstGeom prst="line">
              <a:avLst/>
            </a:prstGeom>
            <a:noFill/>
            <a:ln w="38100" cap="sq">
              <a:solidFill>
                <a:srgbClr val="66FF33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Line 58">
              <a:extLst>
                <a:ext uri="{FF2B5EF4-FFF2-40B4-BE49-F238E27FC236}">
                  <a16:creationId xmlns:a16="http://schemas.microsoft.com/office/drawing/2014/main" id="{6FC1A360-01FE-6547-63D5-D70E16FA7E2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28" y="2448"/>
              <a:ext cx="0" cy="288"/>
            </a:xfrm>
            <a:prstGeom prst="line">
              <a:avLst/>
            </a:prstGeom>
            <a:noFill/>
            <a:ln w="38100" cap="sq">
              <a:solidFill>
                <a:srgbClr val="66FF33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Oval 59">
              <a:extLst>
                <a:ext uri="{FF2B5EF4-FFF2-40B4-BE49-F238E27FC236}">
                  <a16:creationId xmlns:a16="http://schemas.microsoft.com/office/drawing/2014/main" id="{497023FB-4702-94B4-BA43-877443AD16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0" y="2352"/>
              <a:ext cx="144" cy="144"/>
            </a:xfrm>
            <a:prstGeom prst="ellipse">
              <a:avLst/>
            </a:prstGeom>
            <a:solidFill>
              <a:srgbClr val="FF9933"/>
            </a:solidFill>
            <a:ln>
              <a:noFill/>
            </a:ln>
            <a:effectLst>
              <a:prstShdw prst="shdw17" dist="17961" dir="2700000">
                <a:srgbClr val="995C1F"/>
              </a:prstShdw>
            </a:effectLst>
            <a:extLs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14:hiddenLine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6" name="Oval 60">
              <a:extLst>
                <a:ext uri="{FF2B5EF4-FFF2-40B4-BE49-F238E27FC236}">
                  <a16:creationId xmlns:a16="http://schemas.microsoft.com/office/drawing/2014/main" id="{1463E946-C09B-F3A5-A0AC-B632C0C856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0" y="2688"/>
              <a:ext cx="96" cy="96"/>
            </a:xfrm>
            <a:prstGeom prst="ellipse">
              <a:avLst/>
            </a:prstGeom>
            <a:solidFill>
              <a:srgbClr val="66FFFF"/>
            </a:solidFill>
            <a:ln>
              <a:noFill/>
            </a:ln>
            <a:effectLst>
              <a:prstShdw prst="shdw17" dist="17961" dir="2700000">
                <a:srgbClr val="3D9999"/>
              </a:prstShdw>
            </a:effectLst>
            <a:extLs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14:hiddenLine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7" name="Oval 61">
              <a:extLst>
                <a:ext uri="{FF2B5EF4-FFF2-40B4-BE49-F238E27FC236}">
                  <a16:creationId xmlns:a16="http://schemas.microsoft.com/office/drawing/2014/main" id="{7AECB0A5-9C6D-3860-FD9F-BD63912BDA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2" y="2448"/>
              <a:ext cx="96" cy="96"/>
            </a:xfrm>
            <a:prstGeom prst="ellipse">
              <a:avLst/>
            </a:prstGeom>
            <a:solidFill>
              <a:srgbClr val="66FFFF"/>
            </a:solidFill>
            <a:ln>
              <a:noFill/>
            </a:ln>
            <a:effectLst>
              <a:prstShdw prst="shdw17" dist="17961" dir="2700000">
                <a:srgbClr val="3D9999"/>
              </a:prstShdw>
            </a:effectLst>
            <a:extLs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14:hiddenLine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8" name="Oval 62">
              <a:extLst>
                <a:ext uri="{FF2B5EF4-FFF2-40B4-BE49-F238E27FC236}">
                  <a16:creationId xmlns:a16="http://schemas.microsoft.com/office/drawing/2014/main" id="{DBDB3551-F3AC-D932-4653-4636DD233B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16" y="2304"/>
              <a:ext cx="96" cy="96"/>
            </a:xfrm>
            <a:prstGeom prst="ellipse">
              <a:avLst/>
            </a:prstGeom>
            <a:solidFill>
              <a:srgbClr val="66FFFF"/>
            </a:solidFill>
            <a:ln>
              <a:noFill/>
            </a:ln>
            <a:effectLst>
              <a:prstShdw prst="shdw17" dist="17961" dir="2700000">
                <a:srgbClr val="3D9999"/>
              </a:prstShdw>
            </a:effectLst>
            <a:extLs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14:hiddenLine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9" name="Oval 63">
              <a:extLst>
                <a:ext uri="{FF2B5EF4-FFF2-40B4-BE49-F238E27FC236}">
                  <a16:creationId xmlns:a16="http://schemas.microsoft.com/office/drawing/2014/main" id="{710BB4A5-0C4B-BF7F-38BA-0EF7273A57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64" y="2640"/>
              <a:ext cx="96" cy="96"/>
            </a:xfrm>
            <a:prstGeom prst="ellipse">
              <a:avLst/>
            </a:prstGeom>
            <a:solidFill>
              <a:srgbClr val="66FFFF"/>
            </a:solidFill>
            <a:ln>
              <a:noFill/>
            </a:ln>
            <a:effectLst>
              <a:prstShdw prst="shdw17" dist="17961" dir="2700000">
                <a:srgbClr val="3D9999"/>
              </a:prstShdw>
            </a:effectLst>
            <a:extLs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14:hiddenLine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40" name="Text Box 32">
            <a:extLst>
              <a:ext uri="{FF2B5EF4-FFF2-40B4-BE49-F238E27FC236}">
                <a16:creationId xmlns:a16="http://schemas.microsoft.com/office/drawing/2014/main" id="{198BA800-0731-EAA6-B492-BDEE5DEF1D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3110" y="1368698"/>
            <a:ext cx="241300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cs-CZ" sz="1600" b="1" i="1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st effectiveness </a:t>
            </a:r>
          </a:p>
        </p:txBody>
      </p:sp>
      <p:sp>
        <p:nvSpPr>
          <p:cNvPr id="41" name="Rectangle 35">
            <a:extLst>
              <a:ext uri="{FF2B5EF4-FFF2-40B4-BE49-F238E27FC236}">
                <a16:creationId xmlns:a16="http://schemas.microsoft.com/office/drawing/2014/main" id="{BE38B785-D857-4030-4689-5B3E37E15A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82612" y="2371754"/>
            <a:ext cx="819150" cy="75406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8100" cap="sq">
            <a:solidFill>
              <a:schemeClr val="folHlink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>
            <a:lvl1pPr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42" name="Obrázek 68">
            <a:extLst>
              <a:ext uri="{FF2B5EF4-FFF2-40B4-BE49-F238E27FC236}">
                <a16:creationId xmlns:a16="http://schemas.microsoft.com/office/drawing/2014/main" id="{4752C8C7-838F-B3CE-63EF-E93FDB073D63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1975" y="2419303"/>
            <a:ext cx="779463" cy="62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Šipka doprava 148">
            <a:extLst>
              <a:ext uri="{FF2B5EF4-FFF2-40B4-BE49-F238E27FC236}">
                <a16:creationId xmlns:a16="http://schemas.microsoft.com/office/drawing/2014/main" id="{FCBAB7AF-7C85-23D5-15E1-C906F549B3F0}"/>
              </a:ext>
            </a:extLst>
          </p:cNvPr>
          <p:cNvSpPr/>
          <p:nvPr/>
        </p:nvSpPr>
        <p:spPr>
          <a:xfrm rot="13284238">
            <a:off x="2273941" y="1779688"/>
            <a:ext cx="577850" cy="444500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Šipka doprava 149">
            <a:extLst>
              <a:ext uri="{FF2B5EF4-FFF2-40B4-BE49-F238E27FC236}">
                <a16:creationId xmlns:a16="http://schemas.microsoft.com/office/drawing/2014/main" id="{35B8CF62-7C98-D4C5-87A0-391E09CD7ED0}"/>
              </a:ext>
            </a:extLst>
          </p:cNvPr>
          <p:cNvSpPr/>
          <p:nvPr/>
        </p:nvSpPr>
        <p:spPr>
          <a:xfrm rot="19502010">
            <a:off x="8042250" y="1910388"/>
            <a:ext cx="577850" cy="446087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Text Box 32">
            <a:extLst>
              <a:ext uri="{FF2B5EF4-FFF2-40B4-BE49-F238E27FC236}">
                <a16:creationId xmlns:a16="http://schemas.microsoft.com/office/drawing/2014/main" id="{2176C8A6-0F3A-70CB-FCD4-2B5DF0311C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35950" y="1303963"/>
            <a:ext cx="274955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ystem capac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re management models</a:t>
            </a:r>
          </a:p>
        </p:txBody>
      </p:sp>
      <p:sp>
        <p:nvSpPr>
          <p:cNvPr id="46" name="Text Box 32">
            <a:extLst>
              <a:ext uri="{FF2B5EF4-FFF2-40B4-BE49-F238E27FC236}">
                <a16:creationId xmlns:a16="http://schemas.microsoft.com/office/drawing/2014/main" id="{EA3EAEF5-3AB5-F268-3486-9633F5CE06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31559" y="5088887"/>
            <a:ext cx="2335212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pidemiology and </a:t>
            </a:r>
            <a:r>
              <a:rPr kumimoji="0" lang="cs-CZ" altLang="cs-CZ" sz="1600" b="1" i="1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tion</a:t>
            </a:r>
            <a:r>
              <a:rPr kumimoji="0" lang="cs-CZ" alt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cs-CZ" altLang="cs-CZ" sz="1600" b="1" i="1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urden</a:t>
            </a:r>
            <a:r>
              <a:rPr kumimoji="0" lang="cs-CZ" alt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en-US" altLang="cs-CZ" sz="1600" b="1" i="1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7" name="Šipka doprava 152">
            <a:extLst>
              <a:ext uri="{FF2B5EF4-FFF2-40B4-BE49-F238E27FC236}">
                <a16:creationId xmlns:a16="http://schemas.microsoft.com/office/drawing/2014/main" id="{C49AC1FB-87C3-9B95-60AE-884C6A622D0C}"/>
              </a:ext>
            </a:extLst>
          </p:cNvPr>
          <p:cNvSpPr/>
          <p:nvPr/>
        </p:nvSpPr>
        <p:spPr>
          <a:xfrm rot="8760362">
            <a:off x="2587203" y="4445109"/>
            <a:ext cx="576262" cy="446087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Šipka doprava 153">
            <a:extLst>
              <a:ext uri="{FF2B5EF4-FFF2-40B4-BE49-F238E27FC236}">
                <a16:creationId xmlns:a16="http://schemas.microsoft.com/office/drawing/2014/main" id="{C369F069-D833-C6EB-A987-990B3329EA34}"/>
              </a:ext>
            </a:extLst>
          </p:cNvPr>
          <p:cNvSpPr/>
          <p:nvPr/>
        </p:nvSpPr>
        <p:spPr>
          <a:xfrm rot="1878191">
            <a:off x="8220589" y="4972378"/>
            <a:ext cx="577850" cy="446088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Text Box 32">
            <a:extLst>
              <a:ext uri="{FF2B5EF4-FFF2-40B4-BE49-F238E27FC236}">
                <a16:creationId xmlns:a16="http://schemas.microsoft.com/office/drawing/2014/main" id="{F0E2567B-2DDF-859E-0FF2-2158CF0204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19039" y="5380987"/>
            <a:ext cx="2376487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cs-CZ" sz="1600" b="1" i="1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umption of services, perfom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cs-CZ" sz="1600" b="1" i="1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utcome measures</a:t>
            </a:r>
          </a:p>
        </p:txBody>
      </p:sp>
      <p:pic>
        <p:nvPicPr>
          <p:cNvPr id="50" name="Obrázek 49">
            <a:extLst>
              <a:ext uri="{FF2B5EF4-FFF2-40B4-BE49-F238E27FC236}">
                <a16:creationId xmlns:a16="http://schemas.microsoft.com/office/drawing/2014/main" id="{8C4D9B38-21A4-40B0-C6E0-F5843DBDC879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65" t="-1" r="15015" b="12026"/>
          <a:stretch/>
        </p:blipFill>
        <p:spPr>
          <a:xfrm>
            <a:off x="6515590" y="4511831"/>
            <a:ext cx="920121" cy="830262"/>
          </a:xfrm>
          <a:prstGeom prst="rect">
            <a:avLst/>
          </a:prstGeom>
          <a:ln w="38100">
            <a:solidFill>
              <a:srgbClr val="0070C0"/>
            </a:solidFill>
          </a:ln>
        </p:spPr>
      </p:pic>
      <p:sp>
        <p:nvSpPr>
          <p:cNvPr id="51" name="Text Box 20">
            <a:extLst>
              <a:ext uri="{FF2B5EF4-FFF2-40B4-BE49-F238E27FC236}">
                <a16:creationId xmlns:a16="http://schemas.microsoft.com/office/drawing/2014/main" id="{D4752165-E12B-9AE7-6983-1341F8C464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35287" y="1143309"/>
            <a:ext cx="232121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Management</a:t>
            </a:r>
            <a:endParaRPr kumimoji="0" lang="en-US" altLang="cs-CZ" sz="2000" b="0" i="0" u="none" strike="noStrike" kern="120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774D4113-C839-6F0C-B1CB-7E1733B39FF2}"/>
              </a:ext>
            </a:extLst>
          </p:cNvPr>
          <p:cNvSpPr txBox="1"/>
          <p:nvPr/>
        </p:nvSpPr>
        <p:spPr>
          <a:xfrm>
            <a:off x="1539936" y="4162376"/>
            <a:ext cx="587020" cy="815608"/>
          </a:xfrm>
          <a:prstGeom prst="rect">
            <a:avLst/>
          </a:prstGeom>
          <a:solidFill>
            <a:srgbClr val="31849C"/>
          </a:solidFill>
        </p:spPr>
        <p:txBody>
          <a:bodyPr wrap="none" rtlCol="0">
            <a:spAutoFit/>
          </a:bodyPr>
          <a:lstStyle/>
          <a:p>
            <a:pPr algn="ctr"/>
            <a:r>
              <a:rPr lang="cs-CZ" sz="4700" dirty="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TextovéPole 52">
            <a:extLst>
              <a:ext uri="{FF2B5EF4-FFF2-40B4-BE49-F238E27FC236}">
                <a16:creationId xmlns:a16="http://schemas.microsoft.com/office/drawing/2014/main" id="{36FFE82F-98D8-C2AA-0CB3-078542593EEC}"/>
              </a:ext>
            </a:extLst>
          </p:cNvPr>
          <p:cNvSpPr txBox="1"/>
          <p:nvPr/>
        </p:nvSpPr>
        <p:spPr>
          <a:xfrm>
            <a:off x="7289361" y="5265283"/>
            <a:ext cx="587020" cy="815608"/>
          </a:xfrm>
          <a:prstGeom prst="rect">
            <a:avLst/>
          </a:prstGeom>
          <a:solidFill>
            <a:srgbClr val="31849C"/>
          </a:solidFill>
        </p:spPr>
        <p:txBody>
          <a:bodyPr wrap="none" rtlCol="0">
            <a:spAutoFit/>
          </a:bodyPr>
          <a:lstStyle/>
          <a:p>
            <a:pPr algn="ctr"/>
            <a:r>
              <a:rPr lang="cs-CZ" sz="4700" dirty="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D6D2D497-E474-DE34-1B9B-032E36A49573}"/>
              </a:ext>
            </a:extLst>
          </p:cNvPr>
          <p:cNvSpPr txBox="1"/>
          <p:nvPr/>
        </p:nvSpPr>
        <p:spPr>
          <a:xfrm>
            <a:off x="7655486" y="1054049"/>
            <a:ext cx="587020" cy="815608"/>
          </a:xfrm>
          <a:prstGeom prst="rect">
            <a:avLst/>
          </a:prstGeom>
          <a:solidFill>
            <a:srgbClr val="31849C"/>
          </a:solidFill>
        </p:spPr>
        <p:txBody>
          <a:bodyPr wrap="none" rtlCol="0">
            <a:spAutoFit/>
          </a:bodyPr>
          <a:lstStyle/>
          <a:p>
            <a:pPr algn="ctr"/>
            <a:r>
              <a:rPr lang="cs-CZ" sz="4700" dirty="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EEFA50C8-B9FB-9C02-A144-B1F73E106DAB}"/>
              </a:ext>
            </a:extLst>
          </p:cNvPr>
          <p:cNvSpPr txBox="1"/>
          <p:nvPr/>
        </p:nvSpPr>
        <p:spPr>
          <a:xfrm>
            <a:off x="3091613" y="1815826"/>
            <a:ext cx="587020" cy="815608"/>
          </a:xfrm>
          <a:prstGeom prst="rect">
            <a:avLst/>
          </a:prstGeom>
          <a:solidFill>
            <a:srgbClr val="31849C"/>
          </a:solidFill>
        </p:spPr>
        <p:txBody>
          <a:bodyPr wrap="none" rtlCol="0">
            <a:spAutoFit/>
          </a:bodyPr>
          <a:lstStyle/>
          <a:p>
            <a:pPr algn="ctr"/>
            <a:r>
              <a:rPr lang="cs-CZ" sz="4700" dirty="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093089670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1FC336D-8129-4D53-8F9C-520EC60AD4F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179486"/>
            <a:ext cx="11664778" cy="573989"/>
          </a:xfrm>
        </p:spPr>
        <p:txBody>
          <a:bodyPr>
            <a:noAutofit/>
          </a:bodyPr>
          <a:lstStyle/>
          <a:p>
            <a:pPr lvl="0"/>
            <a:r>
              <a:rPr lang="cs-CZ" noProof="0" dirty="0"/>
              <a:t>Dlouhodobý trend objemu akutní lůžkové péče - ČR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1B53D1AA-A6AA-39FD-EB74-1FFBC91C25B9}"/>
              </a:ext>
            </a:extLst>
          </p:cNvPr>
          <p:cNvSpPr txBox="1"/>
          <p:nvPr/>
        </p:nvSpPr>
        <p:spPr>
          <a:xfrm>
            <a:off x="430722" y="1389982"/>
            <a:ext cx="3505720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ve věku věk 20 – 64 let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Group 744">
            <a:extLst>
              <a:ext uri="{FF2B5EF4-FFF2-40B4-BE49-F238E27FC236}">
                <a16:creationId xmlns:a16="http://schemas.microsoft.com/office/drawing/2014/main" id="{4EB5D23F-D944-5F30-3FB6-C2B25FA1397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2739289"/>
              </p:ext>
            </p:extLst>
          </p:nvPr>
        </p:nvGraphicFramePr>
        <p:xfrm>
          <a:off x="438261" y="1810436"/>
          <a:ext cx="3505720" cy="3127754"/>
        </p:xfrm>
        <a:graphic>
          <a:graphicData uri="http://schemas.openxmlformats.org/drawingml/2006/table">
            <a:tbl>
              <a:tblPr/>
              <a:tblGrid>
                <a:gridCol w="11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3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31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endParaRPr kumimoji="0" lang="cs-CZ" altLang="cs-CZ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Celkový počet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altLang="cs-CZ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724">
                <a:tc>
                  <a:txBody>
                    <a:bodyPr/>
                    <a:lstStyle>
                      <a:lvl1pPr ea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20002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38417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566738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749300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12065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16637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21209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25781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ok</a:t>
                      </a: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Akutní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B1107"/>
                          </a:solidFill>
                          <a:effectLst/>
                          <a:latin typeface="Calibri" panose="020F0502020204030204" pitchFamily="34" charset="0"/>
                        </a:rPr>
                        <a:t>Počet OD</a:t>
                      </a:r>
                    </a:p>
                  </a:txBody>
                  <a:tcPr marL="0" marR="0" marT="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08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 70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42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 15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2688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98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 81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30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 33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86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 51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35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 57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627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42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 95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26765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73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 67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10103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29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 49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32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 60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09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 13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26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 14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66648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12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3 79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41855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73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 38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446552"/>
                  </a:ext>
                </a:extLst>
              </a:tr>
            </a:tbl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F0F66A41-89C1-2E0D-715D-C9A00074BA6A}"/>
              </a:ext>
            </a:extLst>
          </p:cNvPr>
          <p:cNvSpPr txBox="1"/>
          <p:nvPr/>
        </p:nvSpPr>
        <p:spPr>
          <a:xfrm>
            <a:off x="4401500" y="1389982"/>
            <a:ext cx="3505720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ve věku věk 65 – 74 let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3B5636F3-31AB-BCFE-CD24-AF72FE902493}"/>
              </a:ext>
            </a:extLst>
          </p:cNvPr>
          <p:cNvSpPr txBox="1"/>
          <p:nvPr/>
        </p:nvSpPr>
        <p:spPr>
          <a:xfrm>
            <a:off x="8332076" y="1389982"/>
            <a:ext cx="3505720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ve věku 75+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ovnoramenný trojúhelník 9">
            <a:extLst>
              <a:ext uri="{FF2B5EF4-FFF2-40B4-BE49-F238E27FC236}">
                <a16:creationId xmlns:a16="http://schemas.microsoft.com/office/drawing/2014/main" id="{A7D28265-EA10-246E-F60A-493FC4040663}"/>
              </a:ext>
            </a:extLst>
          </p:cNvPr>
          <p:cNvSpPr/>
          <p:nvPr/>
        </p:nvSpPr>
        <p:spPr>
          <a:xfrm rot="10800000">
            <a:off x="723481" y="5021206"/>
            <a:ext cx="3034603" cy="267502"/>
          </a:xfrm>
          <a:prstGeom prst="triangle">
            <a:avLst/>
          </a:prstGeom>
          <a:solidFill>
            <a:srgbClr val="203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ovnoramenný trojúhelník 10">
            <a:extLst>
              <a:ext uri="{FF2B5EF4-FFF2-40B4-BE49-F238E27FC236}">
                <a16:creationId xmlns:a16="http://schemas.microsoft.com/office/drawing/2014/main" id="{9044BFF5-8EAB-42BC-9E8C-3B0CFA4836FF}"/>
              </a:ext>
            </a:extLst>
          </p:cNvPr>
          <p:cNvSpPr/>
          <p:nvPr/>
        </p:nvSpPr>
        <p:spPr>
          <a:xfrm rot="10800000">
            <a:off x="4673124" y="5021206"/>
            <a:ext cx="3034603" cy="267502"/>
          </a:xfrm>
          <a:prstGeom prst="triangle">
            <a:avLst/>
          </a:prstGeom>
          <a:solidFill>
            <a:srgbClr val="203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ovnoramenný trojúhelník 11">
            <a:extLst>
              <a:ext uri="{FF2B5EF4-FFF2-40B4-BE49-F238E27FC236}">
                <a16:creationId xmlns:a16="http://schemas.microsoft.com/office/drawing/2014/main" id="{24E1ADE7-CCD4-7502-5467-F2E3ABBD725A}"/>
              </a:ext>
            </a:extLst>
          </p:cNvPr>
          <p:cNvSpPr/>
          <p:nvPr/>
        </p:nvSpPr>
        <p:spPr>
          <a:xfrm rot="10800000">
            <a:off x="8567634" y="5021206"/>
            <a:ext cx="3034603" cy="267502"/>
          </a:xfrm>
          <a:prstGeom prst="triangle">
            <a:avLst/>
          </a:prstGeom>
          <a:solidFill>
            <a:srgbClr val="203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DEDC6BCE-F0F1-86A3-69FA-0B90A6EF957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99615" y="5382869"/>
            <a:ext cx="31024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0 -&gt; 202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89% / + 39%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586D687F-0C31-EEC0-16D5-90040848A5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673123" y="5382869"/>
            <a:ext cx="31024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0 -&gt; 202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110% / + 42%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825A90E6-33B1-9871-898F-BE4DD7B4B63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533720" y="5382869"/>
            <a:ext cx="31024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0 -&gt; 202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78% / + 18%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284EAB1-509B-2EFB-2DA4-92975CFDBC1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63611" y="627906"/>
            <a:ext cx="114378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bornost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s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chiatrie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dětské psychiatrie a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rontopsychiatri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8" name="Group 744">
            <a:extLst>
              <a:ext uri="{FF2B5EF4-FFF2-40B4-BE49-F238E27FC236}">
                <a16:creationId xmlns:a16="http://schemas.microsoft.com/office/drawing/2014/main" id="{69E03448-33A1-D4F0-A114-EDCBF380D3FA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638109237"/>
              </p:ext>
            </p:extLst>
          </p:nvPr>
        </p:nvGraphicFramePr>
        <p:xfrm>
          <a:off x="4401500" y="1806695"/>
          <a:ext cx="3505720" cy="3127754"/>
        </p:xfrm>
        <a:graphic>
          <a:graphicData uri="http://schemas.openxmlformats.org/drawingml/2006/table">
            <a:tbl>
              <a:tblPr/>
              <a:tblGrid>
                <a:gridCol w="11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3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31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endParaRPr kumimoji="0" lang="cs-CZ" altLang="cs-CZ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Celkový počet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altLang="cs-CZ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724">
                <a:tc>
                  <a:txBody>
                    <a:bodyPr/>
                    <a:lstStyle>
                      <a:lvl1pPr ea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20002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38417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566738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749300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12065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16637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21209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25781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ok</a:t>
                      </a: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Akutní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B1107"/>
                          </a:solidFill>
                          <a:effectLst/>
                          <a:latin typeface="Calibri" panose="020F0502020204030204" pitchFamily="34" charset="0"/>
                        </a:rPr>
                        <a:t>Počet OD</a:t>
                      </a:r>
                    </a:p>
                  </a:txBody>
                  <a:tcPr marL="0" marR="0" marT="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4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66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7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15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2688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61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1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90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5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81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2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87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627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6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06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26765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23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10103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3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71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4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37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4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5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8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20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66648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5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14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41855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8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93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446552"/>
                  </a:ext>
                </a:extLst>
              </a:tr>
            </a:tbl>
          </a:graphicData>
        </a:graphic>
      </p:graphicFrame>
      <p:graphicFrame>
        <p:nvGraphicFramePr>
          <p:cNvPr id="19" name="Group 744">
            <a:extLst>
              <a:ext uri="{FF2B5EF4-FFF2-40B4-BE49-F238E27FC236}">
                <a16:creationId xmlns:a16="http://schemas.microsoft.com/office/drawing/2014/main" id="{7C0F657B-1676-82BC-3A0F-F163FDE6CE0F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64622617"/>
              </p:ext>
            </p:extLst>
          </p:nvPr>
        </p:nvGraphicFramePr>
        <p:xfrm>
          <a:off x="8332076" y="1810436"/>
          <a:ext cx="3505720" cy="3127754"/>
        </p:xfrm>
        <a:graphic>
          <a:graphicData uri="http://schemas.openxmlformats.org/drawingml/2006/table">
            <a:tbl>
              <a:tblPr/>
              <a:tblGrid>
                <a:gridCol w="11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3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31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endParaRPr kumimoji="0" lang="cs-CZ" altLang="cs-CZ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Celkový počet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altLang="cs-CZ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724">
                <a:tc>
                  <a:txBody>
                    <a:bodyPr/>
                    <a:lstStyle>
                      <a:lvl1pPr ea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20002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38417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566738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749300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12065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16637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21209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25781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ok</a:t>
                      </a: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Akutní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B1107"/>
                          </a:solidFill>
                          <a:effectLst/>
                          <a:latin typeface="Calibri" panose="020F0502020204030204" pitchFamily="34" charset="0"/>
                        </a:rPr>
                        <a:t>Počet OD</a:t>
                      </a:r>
                    </a:p>
                  </a:txBody>
                  <a:tcPr marL="0" marR="0" marT="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52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44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2688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59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04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42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28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627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10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26765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7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68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10103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01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1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01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9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94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51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66648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6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64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41855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1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19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4465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4444935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1FC336D-8129-4D53-8F9C-520EC60AD4F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133550"/>
            <a:ext cx="11664778" cy="573989"/>
          </a:xfrm>
        </p:spPr>
        <p:txBody>
          <a:bodyPr>
            <a:noAutofit/>
          </a:bodyPr>
          <a:lstStyle/>
          <a:p>
            <a:pPr lvl="0"/>
            <a:r>
              <a:rPr lang="cs-CZ" noProof="0" dirty="0"/>
              <a:t>Dlouhodobý trend objemu akutní lůžkové péče - Praha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1B53D1AA-A6AA-39FD-EB74-1FFBC91C25B9}"/>
              </a:ext>
            </a:extLst>
          </p:cNvPr>
          <p:cNvSpPr txBox="1"/>
          <p:nvPr/>
        </p:nvSpPr>
        <p:spPr>
          <a:xfrm>
            <a:off x="430722" y="1389982"/>
            <a:ext cx="3505720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ve věku věk 20 – 64 let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Group 744">
            <a:extLst>
              <a:ext uri="{FF2B5EF4-FFF2-40B4-BE49-F238E27FC236}">
                <a16:creationId xmlns:a16="http://schemas.microsoft.com/office/drawing/2014/main" id="{4EB5D23F-D944-5F30-3FB6-C2B25FA1397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7193509"/>
              </p:ext>
            </p:extLst>
          </p:nvPr>
        </p:nvGraphicFramePr>
        <p:xfrm>
          <a:off x="438261" y="1810436"/>
          <a:ext cx="3505720" cy="3127754"/>
        </p:xfrm>
        <a:graphic>
          <a:graphicData uri="http://schemas.openxmlformats.org/drawingml/2006/table">
            <a:tbl>
              <a:tblPr/>
              <a:tblGrid>
                <a:gridCol w="11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3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31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endParaRPr kumimoji="0" lang="cs-CZ" altLang="cs-CZ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Celkový počet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altLang="cs-CZ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724">
                <a:tc>
                  <a:txBody>
                    <a:bodyPr/>
                    <a:lstStyle>
                      <a:lvl1pPr ea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20002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38417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566738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749300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12065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16637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21209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25781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ok</a:t>
                      </a: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Akutní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B1107"/>
                          </a:solidFill>
                          <a:effectLst/>
                          <a:latin typeface="Calibri" panose="020F0502020204030204" pitchFamily="34" charset="0"/>
                        </a:rPr>
                        <a:t>Počet OD</a:t>
                      </a:r>
                    </a:p>
                  </a:txBody>
                  <a:tcPr marL="0" marR="0" marT="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26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6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22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2688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5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10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58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8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30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9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00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627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7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84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26765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2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10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10103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9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89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7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72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78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53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5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25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66648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5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85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41855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9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 38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446552"/>
                  </a:ext>
                </a:extLst>
              </a:tr>
            </a:tbl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F0F66A41-89C1-2E0D-715D-C9A00074BA6A}"/>
              </a:ext>
            </a:extLst>
          </p:cNvPr>
          <p:cNvSpPr txBox="1"/>
          <p:nvPr/>
        </p:nvSpPr>
        <p:spPr>
          <a:xfrm>
            <a:off x="4401500" y="1389982"/>
            <a:ext cx="3505720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ve věku věk 65 – 74 let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3B5636F3-31AB-BCFE-CD24-AF72FE902493}"/>
              </a:ext>
            </a:extLst>
          </p:cNvPr>
          <p:cNvSpPr txBox="1"/>
          <p:nvPr/>
        </p:nvSpPr>
        <p:spPr>
          <a:xfrm>
            <a:off x="8332076" y="1389982"/>
            <a:ext cx="3505720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ve věku 75+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ovnoramenný trojúhelník 9">
            <a:extLst>
              <a:ext uri="{FF2B5EF4-FFF2-40B4-BE49-F238E27FC236}">
                <a16:creationId xmlns:a16="http://schemas.microsoft.com/office/drawing/2014/main" id="{A7D28265-EA10-246E-F60A-493FC4040663}"/>
              </a:ext>
            </a:extLst>
          </p:cNvPr>
          <p:cNvSpPr/>
          <p:nvPr/>
        </p:nvSpPr>
        <p:spPr>
          <a:xfrm rot="10800000">
            <a:off x="723481" y="5021206"/>
            <a:ext cx="3034603" cy="267502"/>
          </a:xfrm>
          <a:prstGeom prst="triangle">
            <a:avLst/>
          </a:prstGeom>
          <a:solidFill>
            <a:srgbClr val="203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ovnoramenný trojúhelník 10">
            <a:extLst>
              <a:ext uri="{FF2B5EF4-FFF2-40B4-BE49-F238E27FC236}">
                <a16:creationId xmlns:a16="http://schemas.microsoft.com/office/drawing/2014/main" id="{9044BFF5-8EAB-42BC-9E8C-3B0CFA4836FF}"/>
              </a:ext>
            </a:extLst>
          </p:cNvPr>
          <p:cNvSpPr/>
          <p:nvPr/>
        </p:nvSpPr>
        <p:spPr>
          <a:xfrm rot="10800000">
            <a:off x="4673124" y="5021206"/>
            <a:ext cx="3034603" cy="267502"/>
          </a:xfrm>
          <a:prstGeom prst="triangle">
            <a:avLst/>
          </a:prstGeom>
          <a:solidFill>
            <a:srgbClr val="203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ovnoramenný trojúhelník 11">
            <a:extLst>
              <a:ext uri="{FF2B5EF4-FFF2-40B4-BE49-F238E27FC236}">
                <a16:creationId xmlns:a16="http://schemas.microsoft.com/office/drawing/2014/main" id="{24E1ADE7-CCD4-7502-5467-F2E3ABBD725A}"/>
              </a:ext>
            </a:extLst>
          </p:cNvPr>
          <p:cNvSpPr/>
          <p:nvPr/>
        </p:nvSpPr>
        <p:spPr>
          <a:xfrm rot="10800000">
            <a:off x="8567634" y="5021206"/>
            <a:ext cx="3034603" cy="267502"/>
          </a:xfrm>
          <a:prstGeom prst="triangle">
            <a:avLst/>
          </a:prstGeom>
          <a:solidFill>
            <a:srgbClr val="203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DEDC6BCE-F0F1-86A3-69FA-0B90A6EF957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99615" y="5382869"/>
            <a:ext cx="31024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0 -&gt; 202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310% / + 139%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586D687F-0C31-EEC0-16D5-90040848A5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673123" y="5382869"/>
            <a:ext cx="31024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0 -&gt; 202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208% / + 51%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825A90E6-33B1-9871-898F-BE4DD7B4B63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533720" y="5382869"/>
            <a:ext cx="31024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0 -&gt; 202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163% / -28%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284EAB1-509B-2EFB-2DA4-92975CFDBC1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63611" y="627906"/>
            <a:ext cx="114378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bornost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s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chiatrie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dětské psychiatrie a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rontopsychiatri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8" name="Group 744">
            <a:extLst>
              <a:ext uri="{FF2B5EF4-FFF2-40B4-BE49-F238E27FC236}">
                <a16:creationId xmlns:a16="http://schemas.microsoft.com/office/drawing/2014/main" id="{69E03448-33A1-D4F0-A114-EDCBF380D3FA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57284265"/>
              </p:ext>
            </p:extLst>
          </p:nvPr>
        </p:nvGraphicFramePr>
        <p:xfrm>
          <a:off x="4401500" y="1806695"/>
          <a:ext cx="3505720" cy="3127754"/>
        </p:xfrm>
        <a:graphic>
          <a:graphicData uri="http://schemas.openxmlformats.org/drawingml/2006/table">
            <a:tbl>
              <a:tblPr/>
              <a:tblGrid>
                <a:gridCol w="11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3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31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endParaRPr kumimoji="0" lang="cs-CZ" altLang="cs-CZ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Celkový počet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altLang="cs-CZ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724">
                <a:tc>
                  <a:txBody>
                    <a:bodyPr/>
                    <a:lstStyle>
                      <a:lvl1pPr ea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20002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38417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566738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749300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12065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16637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21209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25781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ok</a:t>
                      </a: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Akutní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B1107"/>
                          </a:solidFill>
                          <a:effectLst/>
                          <a:latin typeface="Calibri" panose="020F0502020204030204" pitchFamily="34" charset="0"/>
                        </a:rPr>
                        <a:t>Počet OD</a:t>
                      </a:r>
                    </a:p>
                  </a:txBody>
                  <a:tcPr marL="0" marR="0" marT="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0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2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2688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5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1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53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44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627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6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26765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3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10103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86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3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1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28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66648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48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41855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0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446552"/>
                  </a:ext>
                </a:extLst>
              </a:tr>
            </a:tbl>
          </a:graphicData>
        </a:graphic>
      </p:graphicFrame>
      <p:graphicFrame>
        <p:nvGraphicFramePr>
          <p:cNvPr id="19" name="Group 744">
            <a:extLst>
              <a:ext uri="{FF2B5EF4-FFF2-40B4-BE49-F238E27FC236}">
                <a16:creationId xmlns:a16="http://schemas.microsoft.com/office/drawing/2014/main" id="{7C0F657B-1676-82BC-3A0F-F163FDE6CE0F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939060401"/>
              </p:ext>
            </p:extLst>
          </p:nvPr>
        </p:nvGraphicFramePr>
        <p:xfrm>
          <a:off x="8332076" y="1810436"/>
          <a:ext cx="3505720" cy="3127754"/>
        </p:xfrm>
        <a:graphic>
          <a:graphicData uri="http://schemas.openxmlformats.org/drawingml/2006/table">
            <a:tbl>
              <a:tblPr/>
              <a:tblGrid>
                <a:gridCol w="11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3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31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endParaRPr kumimoji="0" lang="cs-CZ" altLang="cs-CZ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Celkový počet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altLang="cs-CZ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724">
                <a:tc>
                  <a:txBody>
                    <a:bodyPr/>
                    <a:lstStyle>
                      <a:lvl1pPr ea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20002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38417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566738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749300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12065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16637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21209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25781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ok</a:t>
                      </a: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Akutní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B1107"/>
                          </a:solidFill>
                          <a:effectLst/>
                          <a:latin typeface="Calibri" panose="020F0502020204030204" pitchFamily="34" charset="0"/>
                        </a:rPr>
                        <a:t>Počet OD</a:t>
                      </a:r>
                    </a:p>
                  </a:txBody>
                  <a:tcPr marL="0" marR="0" marT="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2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4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2688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6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6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6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1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627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1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26765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31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10103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12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3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5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28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66648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2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41855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2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4465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931947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1FC336D-8129-4D53-8F9C-520EC60AD4F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180262"/>
            <a:ext cx="11664778" cy="573989"/>
          </a:xfrm>
        </p:spPr>
        <p:txBody>
          <a:bodyPr>
            <a:noAutofit/>
          </a:bodyPr>
          <a:lstStyle/>
          <a:p>
            <a:pPr lvl="0"/>
            <a:r>
              <a:rPr lang="cs-CZ" noProof="0" dirty="0"/>
              <a:t>Dlouhodobý trend objemu následné a dlouhodobé lůžkové péče - ČR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1B53D1AA-A6AA-39FD-EB74-1FFBC91C25B9}"/>
              </a:ext>
            </a:extLst>
          </p:cNvPr>
          <p:cNvSpPr txBox="1"/>
          <p:nvPr/>
        </p:nvSpPr>
        <p:spPr>
          <a:xfrm>
            <a:off x="430722" y="1368718"/>
            <a:ext cx="3505720" cy="369332"/>
          </a:xfrm>
          <a:prstGeom prst="rect">
            <a:avLst/>
          </a:prstGeom>
          <a:solidFill>
            <a:srgbClr val="0000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ve věku věk 20 – 64 let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Group 744">
            <a:extLst>
              <a:ext uri="{FF2B5EF4-FFF2-40B4-BE49-F238E27FC236}">
                <a16:creationId xmlns:a16="http://schemas.microsoft.com/office/drawing/2014/main" id="{4EB5D23F-D944-5F30-3FB6-C2B25FA1397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4967708"/>
              </p:ext>
            </p:extLst>
          </p:nvPr>
        </p:nvGraphicFramePr>
        <p:xfrm>
          <a:off x="438261" y="1789172"/>
          <a:ext cx="3505720" cy="3127754"/>
        </p:xfrm>
        <a:graphic>
          <a:graphicData uri="http://schemas.openxmlformats.org/drawingml/2006/table">
            <a:tbl>
              <a:tblPr/>
              <a:tblGrid>
                <a:gridCol w="11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3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31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endParaRPr kumimoji="0" lang="cs-CZ" altLang="cs-CZ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Celkový počet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altLang="cs-CZ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724">
                <a:tc>
                  <a:txBody>
                    <a:bodyPr/>
                    <a:lstStyle>
                      <a:lvl1pPr ea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20002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38417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566738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749300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12065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16637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21209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25781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ok</a:t>
                      </a: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Akutní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B1107"/>
                          </a:solidFill>
                          <a:effectLst/>
                          <a:latin typeface="Calibri" panose="020F0502020204030204" pitchFamily="34" charset="0"/>
                        </a:rPr>
                        <a:t>Počet OD</a:t>
                      </a:r>
                    </a:p>
                  </a:txBody>
                  <a:tcPr marL="0" marR="0" marT="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22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92 41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91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26 63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2688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24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83 33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35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05 25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62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23 67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89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99 47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627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23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05 95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26765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31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82 76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10103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22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12 65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66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65 06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71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84 19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2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72 41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66648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08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5 75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41855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33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97 60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446552"/>
                  </a:ext>
                </a:extLst>
              </a:tr>
            </a:tbl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F0F66A41-89C1-2E0D-715D-C9A00074BA6A}"/>
              </a:ext>
            </a:extLst>
          </p:cNvPr>
          <p:cNvSpPr txBox="1"/>
          <p:nvPr/>
        </p:nvSpPr>
        <p:spPr>
          <a:xfrm>
            <a:off x="4401500" y="1368718"/>
            <a:ext cx="3505720" cy="369332"/>
          </a:xfrm>
          <a:prstGeom prst="rect">
            <a:avLst/>
          </a:prstGeom>
          <a:solidFill>
            <a:srgbClr val="0000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ve věku věk 65 – 74 let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3B5636F3-31AB-BCFE-CD24-AF72FE902493}"/>
              </a:ext>
            </a:extLst>
          </p:cNvPr>
          <p:cNvSpPr txBox="1"/>
          <p:nvPr/>
        </p:nvSpPr>
        <p:spPr>
          <a:xfrm>
            <a:off x="8332076" y="1368718"/>
            <a:ext cx="3505720" cy="369332"/>
          </a:xfrm>
          <a:prstGeom prst="rect">
            <a:avLst/>
          </a:prstGeom>
          <a:solidFill>
            <a:srgbClr val="0000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ve věku 75+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ovnoramenný trojúhelník 9">
            <a:extLst>
              <a:ext uri="{FF2B5EF4-FFF2-40B4-BE49-F238E27FC236}">
                <a16:creationId xmlns:a16="http://schemas.microsoft.com/office/drawing/2014/main" id="{A7D28265-EA10-246E-F60A-493FC4040663}"/>
              </a:ext>
            </a:extLst>
          </p:cNvPr>
          <p:cNvSpPr/>
          <p:nvPr/>
        </p:nvSpPr>
        <p:spPr>
          <a:xfrm rot="10800000">
            <a:off x="723481" y="4968049"/>
            <a:ext cx="3034603" cy="267502"/>
          </a:xfrm>
          <a:prstGeom prst="triangle">
            <a:avLst/>
          </a:prstGeom>
          <a:solidFill>
            <a:srgbClr val="203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ovnoramenný trojúhelník 10">
            <a:extLst>
              <a:ext uri="{FF2B5EF4-FFF2-40B4-BE49-F238E27FC236}">
                <a16:creationId xmlns:a16="http://schemas.microsoft.com/office/drawing/2014/main" id="{9044BFF5-8EAB-42BC-9E8C-3B0CFA4836FF}"/>
              </a:ext>
            </a:extLst>
          </p:cNvPr>
          <p:cNvSpPr/>
          <p:nvPr/>
        </p:nvSpPr>
        <p:spPr>
          <a:xfrm rot="10800000">
            <a:off x="4673124" y="4968049"/>
            <a:ext cx="3034603" cy="267502"/>
          </a:xfrm>
          <a:prstGeom prst="triangle">
            <a:avLst/>
          </a:prstGeom>
          <a:solidFill>
            <a:srgbClr val="203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ovnoramenný trojúhelník 11">
            <a:extLst>
              <a:ext uri="{FF2B5EF4-FFF2-40B4-BE49-F238E27FC236}">
                <a16:creationId xmlns:a16="http://schemas.microsoft.com/office/drawing/2014/main" id="{24E1ADE7-CCD4-7502-5467-F2E3ABBD725A}"/>
              </a:ext>
            </a:extLst>
          </p:cNvPr>
          <p:cNvSpPr/>
          <p:nvPr/>
        </p:nvSpPr>
        <p:spPr>
          <a:xfrm rot="10800000">
            <a:off x="8567634" y="4968049"/>
            <a:ext cx="3034603" cy="267502"/>
          </a:xfrm>
          <a:prstGeom prst="triangle">
            <a:avLst/>
          </a:prstGeom>
          <a:solidFill>
            <a:srgbClr val="203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DEDC6BCE-F0F1-86A3-69FA-0B90A6EF957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99615" y="5382873"/>
            <a:ext cx="31024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0 -&gt; 202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35% / - 27%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586D687F-0C31-EEC0-16D5-90040848A5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673123" y="5382873"/>
            <a:ext cx="31024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0 -&gt; 202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13% / - 15%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825A90E6-33B1-9871-898F-BE4DD7B4B63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533720" y="5382873"/>
            <a:ext cx="31024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0 -&gt; 202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22% / - 28%</a:t>
            </a:r>
          </a:p>
        </p:txBody>
      </p:sp>
      <p:graphicFrame>
        <p:nvGraphicFramePr>
          <p:cNvPr id="18" name="Group 744">
            <a:extLst>
              <a:ext uri="{FF2B5EF4-FFF2-40B4-BE49-F238E27FC236}">
                <a16:creationId xmlns:a16="http://schemas.microsoft.com/office/drawing/2014/main" id="{69E03448-33A1-D4F0-A114-EDCBF380D3FA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62888500"/>
              </p:ext>
            </p:extLst>
          </p:nvPr>
        </p:nvGraphicFramePr>
        <p:xfrm>
          <a:off x="4401500" y="1785431"/>
          <a:ext cx="3505720" cy="3127754"/>
        </p:xfrm>
        <a:graphic>
          <a:graphicData uri="http://schemas.openxmlformats.org/drawingml/2006/table">
            <a:tbl>
              <a:tblPr/>
              <a:tblGrid>
                <a:gridCol w="11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3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31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endParaRPr kumimoji="0" lang="cs-CZ" altLang="cs-CZ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Celkový počet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altLang="cs-CZ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724">
                <a:tc>
                  <a:txBody>
                    <a:bodyPr/>
                    <a:lstStyle>
                      <a:lvl1pPr ea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20002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38417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566738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749300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12065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16637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21209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25781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ok</a:t>
                      </a: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Akutní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B1107"/>
                          </a:solidFill>
                          <a:effectLst/>
                          <a:latin typeface="Calibri" panose="020F0502020204030204" pitchFamily="34" charset="0"/>
                        </a:rPr>
                        <a:t>Počet OD</a:t>
                      </a:r>
                    </a:p>
                  </a:txBody>
                  <a:tcPr marL="0" marR="0" marT="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1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 67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9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 99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2688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6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 43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7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 13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10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23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5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67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627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3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 76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26765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5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 71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10103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7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 12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3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 94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3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 08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5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81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66648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5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75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41855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0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51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446552"/>
                  </a:ext>
                </a:extLst>
              </a:tr>
            </a:tbl>
          </a:graphicData>
        </a:graphic>
      </p:graphicFrame>
      <p:graphicFrame>
        <p:nvGraphicFramePr>
          <p:cNvPr id="19" name="Group 744">
            <a:extLst>
              <a:ext uri="{FF2B5EF4-FFF2-40B4-BE49-F238E27FC236}">
                <a16:creationId xmlns:a16="http://schemas.microsoft.com/office/drawing/2014/main" id="{7C0F657B-1676-82BC-3A0F-F163FDE6CE0F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945396749"/>
              </p:ext>
            </p:extLst>
          </p:nvPr>
        </p:nvGraphicFramePr>
        <p:xfrm>
          <a:off x="8332076" y="1789172"/>
          <a:ext cx="3505720" cy="3127754"/>
        </p:xfrm>
        <a:graphic>
          <a:graphicData uri="http://schemas.openxmlformats.org/drawingml/2006/table">
            <a:tbl>
              <a:tblPr/>
              <a:tblGrid>
                <a:gridCol w="11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3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31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endParaRPr kumimoji="0" lang="cs-CZ" altLang="cs-CZ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Celkový počet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altLang="cs-CZ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724">
                <a:tc>
                  <a:txBody>
                    <a:bodyPr/>
                    <a:lstStyle>
                      <a:lvl1pPr ea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20002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38417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566738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749300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12065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16637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21209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25781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ok</a:t>
                      </a: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Akutní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B1107"/>
                          </a:solidFill>
                          <a:effectLst/>
                          <a:latin typeface="Calibri" panose="020F0502020204030204" pitchFamily="34" charset="0"/>
                        </a:rPr>
                        <a:t>Počet OD</a:t>
                      </a:r>
                    </a:p>
                  </a:txBody>
                  <a:tcPr marL="0" marR="0" marT="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6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 66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1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 02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2688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5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7 10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43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 40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27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2 54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6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 94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627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6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 23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26765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3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 73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10103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57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 59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2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1 94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12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38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8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 33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66648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15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 81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41855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40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8 43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446552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57AB868E-F255-36F4-67E2-03F024D6C75B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63611" y="712970"/>
            <a:ext cx="114378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bornost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s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chiatrie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dětské psychiatrie a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rontopsychiatri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6180031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1FC336D-8129-4D53-8F9C-520EC60AD4F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192385"/>
            <a:ext cx="11664778" cy="573989"/>
          </a:xfrm>
        </p:spPr>
        <p:txBody>
          <a:bodyPr>
            <a:noAutofit/>
          </a:bodyPr>
          <a:lstStyle/>
          <a:p>
            <a:pPr lvl="0"/>
            <a:r>
              <a:rPr lang="cs-CZ" noProof="0" dirty="0"/>
              <a:t>Dlouhodobý trend objemu následné a dlouhodobé lůžkové péče - Praha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1B53D1AA-A6AA-39FD-EB74-1FFBC91C25B9}"/>
              </a:ext>
            </a:extLst>
          </p:cNvPr>
          <p:cNvSpPr txBox="1"/>
          <p:nvPr/>
        </p:nvSpPr>
        <p:spPr>
          <a:xfrm>
            <a:off x="430722" y="1368718"/>
            <a:ext cx="3505720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ve věku věk 20 – 64 let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Group 744">
            <a:extLst>
              <a:ext uri="{FF2B5EF4-FFF2-40B4-BE49-F238E27FC236}">
                <a16:creationId xmlns:a16="http://schemas.microsoft.com/office/drawing/2014/main" id="{4EB5D23F-D944-5F30-3FB6-C2B25FA1397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2531152"/>
              </p:ext>
            </p:extLst>
          </p:nvPr>
        </p:nvGraphicFramePr>
        <p:xfrm>
          <a:off x="438261" y="1789172"/>
          <a:ext cx="3505720" cy="3127754"/>
        </p:xfrm>
        <a:graphic>
          <a:graphicData uri="http://schemas.openxmlformats.org/drawingml/2006/table">
            <a:tbl>
              <a:tblPr/>
              <a:tblGrid>
                <a:gridCol w="11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3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31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endParaRPr kumimoji="0" lang="cs-CZ" altLang="cs-CZ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Celkový počet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altLang="cs-CZ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724">
                <a:tc>
                  <a:txBody>
                    <a:bodyPr/>
                    <a:lstStyle>
                      <a:lvl1pPr ea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20002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38417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566738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749300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12065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16637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21209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25781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ok</a:t>
                      </a: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Akutní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B1107"/>
                          </a:solidFill>
                          <a:effectLst/>
                          <a:latin typeface="Calibri" panose="020F0502020204030204" pitchFamily="34" charset="0"/>
                        </a:rPr>
                        <a:t>Počet OD</a:t>
                      </a:r>
                    </a:p>
                  </a:txBody>
                  <a:tcPr marL="0" marR="0" marT="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0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 36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6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 43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2688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48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 89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3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 85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0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 59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35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51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627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26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 60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26765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2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 76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10103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2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 83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7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 14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9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 79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0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 49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66648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5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65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41855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0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73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446552"/>
                  </a:ext>
                </a:extLst>
              </a:tr>
            </a:tbl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F0F66A41-89C1-2E0D-715D-C9A00074BA6A}"/>
              </a:ext>
            </a:extLst>
          </p:cNvPr>
          <p:cNvSpPr txBox="1"/>
          <p:nvPr/>
        </p:nvSpPr>
        <p:spPr>
          <a:xfrm>
            <a:off x="4401500" y="1368718"/>
            <a:ext cx="3505720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ve věku věk 65 – 74 let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3B5636F3-31AB-BCFE-CD24-AF72FE902493}"/>
              </a:ext>
            </a:extLst>
          </p:cNvPr>
          <p:cNvSpPr txBox="1"/>
          <p:nvPr/>
        </p:nvSpPr>
        <p:spPr>
          <a:xfrm>
            <a:off x="8332076" y="1368718"/>
            <a:ext cx="3505720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ve věku 75+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ovnoramenný trojúhelník 9">
            <a:extLst>
              <a:ext uri="{FF2B5EF4-FFF2-40B4-BE49-F238E27FC236}">
                <a16:creationId xmlns:a16="http://schemas.microsoft.com/office/drawing/2014/main" id="{A7D28265-EA10-246E-F60A-493FC4040663}"/>
              </a:ext>
            </a:extLst>
          </p:cNvPr>
          <p:cNvSpPr/>
          <p:nvPr/>
        </p:nvSpPr>
        <p:spPr>
          <a:xfrm rot="10800000">
            <a:off x="723481" y="4968049"/>
            <a:ext cx="3034603" cy="267502"/>
          </a:xfrm>
          <a:prstGeom prst="triangle">
            <a:avLst/>
          </a:prstGeom>
          <a:solidFill>
            <a:srgbClr val="203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ovnoramenný trojúhelník 10">
            <a:extLst>
              <a:ext uri="{FF2B5EF4-FFF2-40B4-BE49-F238E27FC236}">
                <a16:creationId xmlns:a16="http://schemas.microsoft.com/office/drawing/2014/main" id="{9044BFF5-8EAB-42BC-9E8C-3B0CFA4836FF}"/>
              </a:ext>
            </a:extLst>
          </p:cNvPr>
          <p:cNvSpPr/>
          <p:nvPr/>
        </p:nvSpPr>
        <p:spPr>
          <a:xfrm rot="10800000">
            <a:off x="4673124" y="4968049"/>
            <a:ext cx="3034603" cy="267502"/>
          </a:xfrm>
          <a:prstGeom prst="triangle">
            <a:avLst/>
          </a:prstGeom>
          <a:solidFill>
            <a:srgbClr val="203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ovnoramenný trojúhelník 11">
            <a:extLst>
              <a:ext uri="{FF2B5EF4-FFF2-40B4-BE49-F238E27FC236}">
                <a16:creationId xmlns:a16="http://schemas.microsoft.com/office/drawing/2014/main" id="{24E1ADE7-CCD4-7502-5467-F2E3ABBD725A}"/>
              </a:ext>
            </a:extLst>
          </p:cNvPr>
          <p:cNvSpPr/>
          <p:nvPr/>
        </p:nvSpPr>
        <p:spPr>
          <a:xfrm rot="10800000">
            <a:off x="8567634" y="4968049"/>
            <a:ext cx="3034603" cy="267502"/>
          </a:xfrm>
          <a:prstGeom prst="triangle">
            <a:avLst/>
          </a:prstGeom>
          <a:solidFill>
            <a:srgbClr val="203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DEDC6BCE-F0F1-86A3-69FA-0B90A6EF957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99615" y="5382873"/>
            <a:ext cx="31024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0 -&gt; 202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27% / + 34%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586D687F-0C31-EEC0-16D5-90040848A5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673123" y="5382873"/>
            <a:ext cx="31024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0 -&gt; 202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29% / + 92%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825A90E6-33B1-9871-898F-BE4DD7B4B63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533720" y="5382873"/>
            <a:ext cx="31024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0 -&gt; 202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800" b="1" dirty="0">
                <a:solidFill>
                  <a:srgbClr val="FF0000"/>
                </a:solidFill>
                <a:latin typeface="Calibri" panose="020F0502020204030204"/>
              </a:rPr>
              <a:t>+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5% / + 10%</a:t>
            </a:r>
          </a:p>
        </p:txBody>
      </p:sp>
      <p:graphicFrame>
        <p:nvGraphicFramePr>
          <p:cNvPr id="18" name="Group 744">
            <a:extLst>
              <a:ext uri="{FF2B5EF4-FFF2-40B4-BE49-F238E27FC236}">
                <a16:creationId xmlns:a16="http://schemas.microsoft.com/office/drawing/2014/main" id="{69E03448-33A1-D4F0-A114-EDCBF380D3FA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574173787"/>
              </p:ext>
            </p:extLst>
          </p:nvPr>
        </p:nvGraphicFramePr>
        <p:xfrm>
          <a:off x="4401500" y="1785431"/>
          <a:ext cx="3505720" cy="3127754"/>
        </p:xfrm>
        <a:graphic>
          <a:graphicData uri="http://schemas.openxmlformats.org/drawingml/2006/table">
            <a:tbl>
              <a:tblPr/>
              <a:tblGrid>
                <a:gridCol w="11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3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31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endParaRPr kumimoji="0" lang="cs-CZ" altLang="cs-CZ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Celkový počet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altLang="cs-CZ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724">
                <a:tc>
                  <a:txBody>
                    <a:bodyPr/>
                    <a:lstStyle>
                      <a:lvl1pPr ea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20002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38417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566738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749300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12065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16637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21209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25781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ok</a:t>
                      </a: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Akutní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B1107"/>
                          </a:solidFill>
                          <a:effectLst/>
                          <a:latin typeface="Calibri" panose="020F0502020204030204" pitchFamily="34" charset="0"/>
                        </a:rPr>
                        <a:t>Počet OD</a:t>
                      </a:r>
                    </a:p>
                  </a:txBody>
                  <a:tcPr marL="0" marR="0" marT="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11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55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2688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78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73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04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47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627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70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26765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3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10103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99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27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63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38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66648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48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41855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29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446552"/>
                  </a:ext>
                </a:extLst>
              </a:tr>
            </a:tbl>
          </a:graphicData>
        </a:graphic>
      </p:graphicFrame>
      <p:graphicFrame>
        <p:nvGraphicFramePr>
          <p:cNvPr id="19" name="Group 744">
            <a:extLst>
              <a:ext uri="{FF2B5EF4-FFF2-40B4-BE49-F238E27FC236}">
                <a16:creationId xmlns:a16="http://schemas.microsoft.com/office/drawing/2014/main" id="{7C0F657B-1676-82BC-3A0F-F163FDE6CE0F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203847967"/>
              </p:ext>
            </p:extLst>
          </p:nvPr>
        </p:nvGraphicFramePr>
        <p:xfrm>
          <a:off x="8332076" y="1789172"/>
          <a:ext cx="3505720" cy="3127754"/>
        </p:xfrm>
        <a:graphic>
          <a:graphicData uri="http://schemas.openxmlformats.org/drawingml/2006/table">
            <a:tbl>
              <a:tblPr/>
              <a:tblGrid>
                <a:gridCol w="11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3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31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endParaRPr kumimoji="0" lang="cs-CZ" altLang="cs-CZ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Celkový počet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altLang="cs-CZ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724">
                <a:tc>
                  <a:txBody>
                    <a:bodyPr/>
                    <a:lstStyle>
                      <a:lvl1pPr ea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20002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38417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566738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749300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12065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16637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21209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25781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ok</a:t>
                      </a: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Akutní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B1107"/>
                          </a:solidFill>
                          <a:effectLst/>
                          <a:latin typeface="Calibri" panose="020F0502020204030204" pitchFamily="34" charset="0"/>
                        </a:rPr>
                        <a:t>Počet OD</a:t>
                      </a:r>
                    </a:p>
                  </a:txBody>
                  <a:tcPr marL="0" marR="0" marT="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29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98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2688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 45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 40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43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82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627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29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26765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54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10103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59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71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21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32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66648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02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41855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53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446552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57AB868E-F255-36F4-67E2-03F024D6C75B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63611" y="712970"/>
            <a:ext cx="114378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bornost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s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chiatrie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dětské psychiatrie a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rontopsychiatri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4354366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45EFCC51-11AF-E39F-5E91-B10820438A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611" y="198597"/>
            <a:ext cx="11664778" cy="573989"/>
          </a:xfrm>
        </p:spPr>
        <p:txBody>
          <a:bodyPr/>
          <a:lstStyle/>
          <a:p>
            <a:r>
              <a:rPr lang="en-US" dirty="0"/>
              <a:t>D</a:t>
            </a:r>
            <a:r>
              <a:rPr lang="cs-CZ" dirty="0" err="1"/>
              <a:t>élka</a:t>
            </a:r>
            <a:r>
              <a:rPr lang="cs-CZ" dirty="0"/>
              <a:t> hospitalizací následné a dlouhodobé péče – ČR (2023)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5C52F5F9-C98F-A882-7592-E9EBA33E3B2F}"/>
              </a:ext>
            </a:extLst>
          </p:cNvPr>
          <p:cNvGraphicFramePr/>
          <p:nvPr/>
        </p:nvGraphicFramePr>
        <p:xfrm>
          <a:off x="523960" y="1291267"/>
          <a:ext cx="3600000" cy="2461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CE5C6B80-E78D-8211-02B7-095EDA362AD1}"/>
              </a:ext>
            </a:extLst>
          </p:cNvPr>
          <p:cNvGraphicFramePr/>
          <p:nvPr/>
        </p:nvGraphicFramePr>
        <p:xfrm>
          <a:off x="4327610" y="1291266"/>
          <a:ext cx="3600000" cy="2461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EDBA246A-3409-7F87-C035-0CB7A2B5DDC2}"/>
              </a:ext>
            </a:extLst>
          </p:cNvPr>
          <p:cNvGraphicFramePr/>
          <p:nvPr/>
        </p:nvGraphicFramePr>
        <p:xfrm>
          <a:off x="8131260" y="1291265"/>
          <a:ext cx="3600000" cy="2461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2" name="TextovéPole 1">
            <a:extLst>
              <a:ext uri="{FF2B5EF4-FFF2-40B4-BE49-F238E27FC236}">
                <a16:creationId xmlns:a16="http://schemas.microsoft.com/office/drawing/2014/main" id="{E2B14388-94A3-F60E-C4A2-B49F0D2F37A0}"/>
              </a:ext>
            </a:extLst>
          </p:cNvPr>
          <p:cNvSpPr txBox="1"/>
          <p:nvPr/>
        </p:nvSpPr>
        <p:spPr>
          <a:xfrm>
            <a:off x="1753046" y="986198"/>
            <a:ext cx="1141828" cy="286285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-19 let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1">
            <a:extLst>
              <a:ext uri="{FF2B5EF4-FFF2-40B4-BE49-F238E27FC236}">
                <a16:creationId xmlns:a16="http://schemas.microsoft.com/office/drawing/2014/main" id="{F565064B-E42D-0B87-8C57-F2D2A72FF32C}"/>
              </a:ext>
            </a:extLst>
          </p:cNvPr>
          <p:cNvSpPr txBox="1"/>
          <p:nvPr/>
        </p:nvSpPr>
        <p:spPr>
          <a:xfrm>
            <a:off x="5556696" y="986198"/>
            <a:ext cx="1141828" cy="286285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-64 let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ovéPole 1">
            <a:extLst>
              <a:ext uri="{FF2B5EF4-FFF2-40B4-BE49-F238E27FC236}">
                <a16:creationId xmlns:a16="http://schemas.microsoft.com/office/drawing/2014/main" id="{3B2024B1-379B-BD3E-23B5-E0D47D56EDBB}"/>
              </a:ext>
            </a:extLst>
          </p:cNvPr>
          <p:cNvSpPr txBox="1"/>
          <p:nvPr/>
        </p:nvSpPr>
        <p:spPr>
          <a:xfrm>
            <a:off x="9360346" y="967417"/>
            <a:ext cx="1141828" cy="286285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5+ let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6B240472-2060-3128-E717-B0E20E55EE3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63611" y="712970"/>
            <a:ext cx="114378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bornost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s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chiatrie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dětské psychiatrie a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rontopsychiatrie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61035C49-C462-F8D6-CB7F-4798F1BE2EB9}"/>
              </a:ext>
            </a:extLst>
          </p:cNvPr>
          <p:cNvGraphicFramePr/>
          <p:nvPr/>
        </p:nvGraphicFramePr>
        <p:xfrm>
          <a:off x="523960" y="3788106"/>
          <a:ext cx="3600000" cy="2461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35B552A2-8748-E4DC-0662-14EAEAD30B2F}"/>
              </a:ext>
            </a:extLst>
          </p:cNvPr>
          <p:cNvGraphicFramePr/>
          <p:nvPr/>
        </p:nvGraphicFramePr>
        <p:xfrm>
          <a:off x="4327610" y="3788105"/>
          <a:ext cx="3600000" cy="2461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A3ADA0D9-2F3D-92AC-428D-239A7B2C2E36}"/>
              </a:ext>
            </a:extLst>
          </p:cNvPr>
          <p:cNvGraphicFramePr/>
          <p:nvPr/>
        </p:nvGraphicFramePr>
        <p:xfrm>
          <a:off x="8131260" y="3788104"/>
          <a:ext cx="3600000" cy="2461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FE5286A3-DC03-009F-A44E-DF5DA97BEA9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73230" y="6249687"/>
            <a:ext cx="28367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Pro rok 2023 zatím předběžná data</a:t>
            </a:r>
          </a:p>
        </p:txBody>
      </p:sp>
      <p:sp>
        <p:nvSpPr>
          <p:cNvPr id="8" name="TextovéPole 1">
            <a:extLst>
              <a:ext uri="{FF2B5EF4-FFF2-40B4-BE49-F238E27FC236}">
                <a16:creationId xmlns:a16="http://schemas.microsoft.com/office/drawing/2014/main" id="{03DDF818-7C8C-6610-CB55-DDEF51313823}"/>
              </a:ext>
            </a:extLst>
          </p:cNvPr>
          <p:cNvSpPr txBox="1"/>
          <p:nvPr/>
        </p:nvSpPr>
        <p:spPr>
          <a:xfrm rot="16200000">
            <a:off x="-223556" y="2014737"/>
            <a:ext cx="1141828" cy="286285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hospitalizací</a:t>
            </a:r>
          </a:p>
        </p:txBody>
      </p:sp>
      <p:sp>
        <p:nvSpPr>
          <p:cNvPr id="16" name="TextovéPole 1">
            <a:extLst>
              <a:ext uri="{FF2B5EF4-FFF2-40B4-BE49-F238E27FC236}">
                <a16:creationId xmlns:a16="http://schemas.microsoft.com/office/drawing/2014/main" id="{14DDDB68-2544-B206-E475-CCA809E11466}"/>
              </a:ext>
            </a:extLst>
          </p:cNvPr>
          <p:cNvSpPr txBox="1"/>
          <p:nvPr/>
        </p:nvSpPr>
        <p:spPr>
          <a:xfrm rot="16200000">
            <a:off x="-223555" y="4485249"/>
            <a:ext cx="1141828" cy="526867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cento hospitalizací 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délkou do 90 dn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1936439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45EFCC51-11AF-E39F-5E91-B10820438A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611" y="163762"/>
            <a:ext cx="11664778" cy="573989"/>
          </a:xfrm>
        </p:spPr>
        <p:txBody>
          <a:bodyPr/>
          <a:lstStyle/>
          <a:p>
            <a:r>
              <a:rPr lang="en-US" dirty="0"/>
              <a:t>D</a:t>
            </a:r>
            <a:r>
              <a:rPr lang="cs-CZ" dirty="0" err="1"/>
              <a:t>élky</a:t>
            </a:r>
            <a:r>
              <a:rPr lang="cs-CZ" dirty="0"/>
              <a:t> hospitalizací následné a dlouhodobé péče – Praha (2023)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5C52F5F9-C98F-A882-7592-E9EBA33E3B2F}"/>
              </a:ext>
            </a:extLst>
          </p:cNvPr>
          <p:cNvGraphicFramePr/>
          <p:nvPr/>
        </p:nvGraphicFramePr>
        <p:xfrm>
          <a:off x="523960" y="1291267"/>
          <a:ext cx="3600000" cy="2461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CE5C6B80-E78D-8211-02B7-095EDA362AD1}"/>
              </a:ext>
            </a:extLst>
          </p:cNvPr>
          <p:cNvGraphicFramePr/>
          <p:nvPr/>
        </p:nvGraphicFramePr>
        <p:xfrm>
          <a:off x="4327610" y="1291266"/>
          <a:ext cx="3600000" cy="2461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EDBA246A-3409-7F87-C035-0CB7A2B5DDC2}"/>
              </a:ext>
            </a:extLst>
          </p:cNvPr>
          <p:cNvGraphicFramePr/>
          <p:nvPr/>
        </p:nvGraphicFramePr>
        <p:xfrm>
          <a:off x="8131260" y="1291265"/>
          <a:ext cx="3600000" cy="2461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2" name="TextovéPole 1">
            <a:extLst>
              <a:ext uri="{FF2B5EF4-FFF2-40B4-BE49-F238E27FC236}">
                <a16:creationId xmlns:a16="http://schemas.microsoft.com/office/drawing/2014/main" id="{E2B14388-94A3-F60E-C4A2-B49F0D2F37A0}"/>
              </a:ext>
            </a:extLst>
          </p:cNvPr>
          <p:cNvSpPr txBox="1"/>
          <p:nvPr/>
        </p:nvSpPr>
        <p:spPr>
          <a:xfrm>
            <a:off x="1753046" y="986198"/>
            <a:ext cx="1141828" cy="286285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-19 let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1">
            <a:extLst>
              <a:ext uri="{FF2B5EF4-FFF2-40B4-BE49-F238E27FC236}">
                <a16:creationId xmlns:a16="http://schemas.microsoft.com/office/drawing/2014/main" id="{F565064B-E42D-0B87-8C57-F2D2A72FF32C}"/>
              </a:ext>
            </a:extLst>
          </p:cNvPr>
          <p:cNvSpPr txBox="1"/>
          <p:nvPr/>
        </p:nvSpPr>
        <p:spPr>
          <a:xfrm>
            <a:off x="5556696" y="986198"/>
            <a:ext cx="1141828" cy="286285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-64 let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ovéPole 1">
            <a:extLst>
              <a:ext uri="{FF2B5EF4-FFF2-40B4-BE49-F238E27FC236}">
                <a16:creationId xmlns:a16="http://schemas.microsoft.com/office/drawing/2014/main" id="{3B2024B1-379B-BD3E-23B5-E0D47D56EDBB}"/>
              </a:ext>
            </a:extLst>
          </p:cNvPr>
          <p:cNvSpPr txBox="1"/>
          <p:nvPr/>
        </p:nvSpPr>
        <p:spPr>
          <a:xfrm>
            <a:off x="9360346" y="967417"/>
            <a:ext cx="1141828" cy="286285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5+ let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6B240472-2060-3128-E717-B0E20E55EE3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63611" y="712970"/>
            <a:ext cx="114378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bornost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s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chiatrie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dětské psychiatrie a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rontopsychiatrie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61035C49-C462-F8D6-CB7F-4798F1BE2EB9}"/>
              </a:ext>
            </a:extLst>
          </p:cNvPr>
          <p:cNvGraphicFramePr/>
          <p:nvPr/>
        </p:nvGraphicFramePr>
        <p:xfrm>
          <a:off x="523960" y="3788106"/>
          <a:ext cx="3600000" cy="2461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35B552A2-8748-E4DC-0662-14EAEAD30B2F}"/>
              </a:ext>
            </a:extLst>
          </p:cNvPr>
          <p:cNvGraphicFramePr/>
          <p:nvPr/>
        </p:nvGraphicFramePr>
        <p:xfrm>
          <a:off x="4327610" y="3788105"/>
          <a:ext cx="3600000" cy="2461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A3ADA0D9-2F3D-92AC-428D-239A7B2C2E36}"/>
              </a:ext>
            </a:extLst>
          </p:cNvPr>
          <p:cNvGraphicFramePr/>
          <p:nvPr/>
        </p:nvGraphicFramePr>
        <p:xfrm>
          <a:off x="8131260" y="3788104"/>
          <a:ext cx="3600000" cy="2461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FE5286A3-DC03-009F-A44E-DF5DA97BEA9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73230" y="6249687"/>
            <a:ext cx="28367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Pro rok 2023 zatím předběžná data</a:t>
            </a:r>
          </a:p>
        </p:txBody>
      </p:sp>
      <p:sp>
        <p:nvSpPr>
          <p:cNvPr id="8" name="TextovéPole 1">
            <a:extLst>
              <a:ext uri="{FF2B5EF4-FFF2-40B4-BE49-F238E27FC236}">
                <a16:creationId xmlns:a16="http://schemas.microsoft.com/office/drawing/2014/main" id="{03DDF818-7C8C-6610-CB55-DDEF51313823}"/>
              </a:ext>
            </a:extLst>
          </p:cNvPr>
          <p:cNvSpPr txBox="1"/>
          <p:nvPr/>
        </p:nvSpPr>
        <p:spPr>
          <a:xfrm rot="16200000">
            <a:off x="-223556" y="2014737"/>
            <a:ext cx="1141828" cy="286285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hospitalizací</a:t>
            </a:r>
          </a:p>
        </p:txBody>
      </p:sp>
      <p:sp>
        <p:nvSpPr>
          <p:cNvPr id="16" name="TextovéPole 1">
            <a:extLst>
              <a:ext uri="{FF2B5EF4-FFF2-40B4-BE49-F238E27FC236}">
                <a16:creationId xmlns:a16="http://schemas.microsoft.com/office/drawing/2014/main" id="{14DDDB68-2544-B206-E475-CCA809E11466}"/>
              </a:ext>
            </a:extLst>
          </p:cNvPr>
          <p:cNvSpPr txBox="1"/>
          <p:nvPr/>
        </p:nvSpPr>
        <p:spPr>
          <a:xfrm rot="16200000">
            <a:off x="-223555" y="4485249"/>
            <a:ext cx="1141828" cy="526867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cento hospitalizací 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délkou do 90 dn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1572146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45EFCC51-11AF-E39F-5E91-B10820438A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611" y="213688"/>
            <a:ext cx="11664778" cy="573989"/>
          </a:xfrm>
        </p:spPr>
        <p:txBody>
          <a:bodyPr/>
          <a:lstStyle/>
          <a:p>
            <a:r>
              <a:rPr lang="en-US" dirty="0"/>
              <a:t>D</a:t>
            </a:r>
            <a:r>
              <a:rPr lang="cs-CZ" dirty="0" err="1"/>
              <a:t>élky</a:t>
            </a:r>
            <a:r>
              <a:rPr lang="cs-CZ" dirty="0"/>
              <a:t> hospitalizací akutní péče – ČR (2023)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5C52F5F9-C98F-A882-7592-E9EBA33E3B2F}"/>
              </a:ext>
            </a:extLst>
          </p:cNvPr>
          <p:cNvGraphicFramePr/>
          <p:nvPr/>
        </p:nvGraphicFramePr>
        <p:xfrm>
          <a:off x="494199" y="1286961"/>
          <a:ext cx="3600000" cy="2461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CE5C6B80-E78D-8211-02B7-095EDA362AD1}"/>
              </a:ext>
            </a:extLst>
          </p:cNvPr>
          <p:cNvGraphicFramePr/>
          <p:nvPr/>
        </p:nvGraphicFramePr>
        <p:xfrm>
          <a:off x="4297849" y="1286960"/>
          <a:ext cx="3600000" cy="2461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EDBA246A-3409-7F87-C035-0CB7A2B5DDC2}"/>
              </a:ext>
            </a:extLst>
          </p:cNvPr>
          <p:cNvGraphicFramePr/>
          <p:nvPr/>
        </p:nvGraphicFramePr>
        <p:xfrm>
          <a:off x="8101499" y="1286959"/>
          <a:ext cx="3600000" cy="2461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TextovéPole 1">
            <a:extLst>
              <a:ext uri="{FF2B5EF4-FFF2-40B4-BE49-F238E27FC236}">
                <a16:creationId xmlns:a16="http://schemas.microsoft.com/office/drawing/2014/main" id="{E2B14388-94A3-F60E-C4A2-B49F0D2F37A0}"/>
              </a:ext>
            </a:extLst>
          </p:cNvPr>
          <p:cNvSpPr txBox="1"/>
          <p:nvPr/>
        </p:nvSpPr>
        <p:spPr>
          <a:xfrm>
            <a:off x="1723285" y="981892"/>
            <a:ext cx="1141828" cy="286285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-19 let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1">
            <a:extLst>
              <a:ext uri="{FF2B5EF4-FFF2-40B4-BE49-F238E27FC236}">
                <a16:creationId xmlns:a16="http://schemas.microsoft.com/office/drawing/2014/main" id="{F565064B-E42D-0B87-8C57-F2D2A72FF32C}"/>
              </a:ext>
            </a:extLst>
          </p:cNvPr>
          <p:cNvSpPr txBox="1"/>
          <p:nvPr/>
        </p:nvSpPr>
        <p:spPr>
          <a:xfrm>
            <a:off x="5526935" y="981892"/>
            <a:ext cx="1141828" cy="286285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-64 let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ovéPole 1">
            <a:extLst>
              <a:ext uri="{FF2B5EF4-FFF2-40B4-BE49-F238E27FC236}">
                <a16:creationId xmlns:a16="http://schemas.microsoft.com/office/drawing/2014/main" id="{3B2024B1-379B-BD3E-23B5-E0D47D56EDBB}"/>
              </a:ext>
            </a:extLst>
          </p:cNvPr>
          <p:cNvSpPr txBox="1"/>
          <p:nvPr/>
        </p:nvSpPr>
        <p:spPr>
          <a:xfrm>
            <a:off x="9330585" y="963111"/>
            <a:ext cx="1141828" cy="286285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5+ let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6B240472-2060-3128-E717-B0E20E55EE3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63611" y="712970"/>
            <a:ext cx="114378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bornost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s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chiatrie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dětské psychiatrie a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rontopsychiatrie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">
            <a:extLst>
              <a:ext uri="{FF2B5EF4-FFF2-40B4-BE49-F238E27FC236}">
                <a16:creationId xmlns:a16="http://schemas.microsoft.com/office/drawing/2014/main" id="{1A624141-E766-70A6-919E-9D12EE4B77B4}"/>
              </a:ext>
            </a:extLst>
          </p:cNvPr>
          <p:cNvSpPr txBox="1"/>
          <p:nvPr/>
        </p:nvSpPr>
        <p:spPr>
          <a:xfrm rot="16200000">
            <a:off x="-223556" y="2014737"/>
            <a:ext cx="1141828" cy="286285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hospitalizací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50224986-8F08-183B-3C6F-3C62950ADA3B}"/>
              </a:ext>
            </a:extLst>
          </p:cNvPr>
          <p:cNvSpPr txBox="1"/>
          <p:nvPr/>
        </p:nvSpPr>
        <p:spPr>
          <a:xfrm>
            <a:off x="893135" y="4114801"/>
            <a:ext cx="1080836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3600" b="1" dirty="0"/>
              <a:t>Počet akutních lůžek narostl mezi roky 2017 a 2023 </a:t>
            </a:r>
          </a:p>
          <a:p>
            <a:pPr algn="ctr"/>
            <a:r>
              <a:rPr lang="cs-CZ" sz="3600" b="1" dirty="0"/>
              <a:t>z 1 381 na 2 068: </a:t>
            </a:r>
          </a:p>
          <a:p>
            <a:pPr algn="ctr"/>
            <a:r>
              <a:rPr lang="cs-CZ" sz="3600" b="1" dirty="0"/>
              <a:t>tj. +687 lůžek = 141 tis. potenciálních OD za rok</a:t>
            </a:r>
          </a:p>
        </p:txBody>
      </p:sp>
    </p:spTree>
    <p:extLst>
      <p:ext uri="{BB962C8B-B14F-4D97-AF65-F5344CB8AC3E}">
        <p14:creationId xmlns:p14="http://schemas.microsoft.com/office/powerpoint/2010/main" val="1104113342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45EFCC51-11AF-E39F-5E91-B10820438A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611" y="205992"/>
            <a:ext cx="11664778" cy="573989"/>
          </a:xfrm>
        </p:spPr>
        <p:txBody>
          <a:bodyPr/>
          <a:lstStyle/>
          <a:p>
            <a:r>
              <a:rPr lang="en-US" dirty="0"/>
              <a:t>D</a:t>
            </a:r>
            <a:r>
              <a:rPr lang="cs-CZ" dirty="0" err="1"/>
              <a:t>élky</a:t>
            </a:r>
            <a:r>
              <a:rPr lang="cs-CZ" dirty="0"/>
              <a:t> hospitalizací akutní péče – Praha (2023)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5C52F5F9-C98F-A882-7592-E9EBA33E3B2F}"/>
              </a:ext>
            </a:extLst>
          </p:cNvPr>
          <p:cNvGraphicFramePr/>
          <p:nvPr/>
        </p:nvGraphicFramePr>
        <p:xfrm>
          <a:off x="494199" y="1286961"/>
          <a:ext cx="3600000" cy="2461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CE5C6B80-E78D-8211-02B7-095EDA362AD1}"/>
              </a:ext>
            </a:extLst>
          </p:cNvPr>
          <p:cNvGraphicFramePr/>
          <p:nvPr/>
        </p:nvGraphicFramePr>
        <p:xfrm>
          <a:off x="4297849" y="1286960"/>
          <a:ext cx="3600000" cy="2461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EDBA246A-3409-7F87-C035-0CB7A2B5DDC2}"/>
              </a:ext>
            </a:extLst>
          </p:cNvPr>
          <p:cNvGraphicFramePr/>
          <p:nvPr/>
        </p:nvGraphicFramePr>
        <p:xfrm>
          <a:off x="8101499" y="1286959"/>
          <a:ext cx="3600000" cy="2461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TextovéPole 1">
            <a:extLst>
              <a:ext uri="{FF2B5EF4-FFF2-40B4-BE49-F238E27FC236}">
                <a16:creationId xmlns:a16="http://schemas.microsoft.com/office/drawing/2014/main" id="{E2B14388-94A3-F60E-C4A2-B49F0D2F37A0}"/>
              </a:ext>
            </a:extLst>
          </p:cNvPr>
          <p:cNvSpPr txBox="1"/>
          <p:nvPr/>
        </p:nvSpPr>
        <p:spPr>
          <a:xfrm>
            <a:off x="1723285" y="981892"/>
            <a:ext cx="1141828" cy="286285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-19 let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1">
            <a:extLst>
              <a:ext uri="{FF2B5EF4-FFF2-40B4-BE49-F238E27FC236}">
                <a16:creationId xmlns:a16="http://schemas.microsoft.com/office/drawing/2014/main" id="{F565064B-E42D-0B87-8C57-F2D2A72FF32C}"/>
              </a:ext>
            </a:extLst>
          </p:cNvPr>
          <p:cNvSpPr txBox="1"/>
          <p:nvPr/>
        </p:nvSpPr>
        <p:spPr>
          <a:xfrm>
            <a:off x="5526935" y="981892"/>
            <a:ext cx="1141828" cy="286285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-64 let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ovéPole 1">
            <a:extLst>
              <a:ext uri="{FF2B5EF4-FFF2-40B4-BE49-F238E27FC236}">
                <a16:creationId xmlns:a16="http://schemas.microsoft.com/office/drawing/2014/main" id="{3B2024B1-379B-BD3E-23B5-E0D47D56EDBB}"/>
              </a:ext>
            </a:extLst>
          </p:cNvPr>
          <p:cNvSpPr txBox="1"/>
          <p:nvPr/>
        </p:nvSpPr>
        <p:spPr>
          <a:xfrm>
            <a:off x="9330585" y="963111"/>
            <a:ext cx="1141828" cy="286285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5+ let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6B240472-2060-3128-E717-B0E20E55EE3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63611" y="712970"/>
            <a:ext cx="114378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bornost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s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chiatrie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dětské psychiatrie a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rontopsychiatrie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">
            <a:extLst>
              <a:ext uri="{FF2B5EF4-FFF2-40B4-BE49-F238E27FC236}">
                <a16:creationId xmlns:a16="http://schemas.microsoft.com/office/drawing/2014/main" id="{1A624141-E766-70A6-919E-9D12EE4B77B4}"/>
              </a:ext>
            </a:extLst>
          </p:cNvPr>
          <p:cNvSpPr txBox="1"/>
          <p:nvPr/>
        </p:nvSpPr>
        <p:spPr>
          <a:xfrm rot="16200000">
            <a:off x="-223556" y="2014737"/>
            <a:ext cx="1141828" cy="286285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hospitalizací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50224986-8F08-183B-3C6F-3C62950ADA3B}"/>
              </a:ext>
            </a:extLst>
          </p:cNvPr>
          <p:cNvSpPr txBox="1"/>
          <p:nvPr/>
        </p:nvSpPr>
        <p:spPr>
          <a:xfrm>
            <a:off x="893135" y="4114801"/>
            <a:ext cx="1080836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3600" b="1" dirty="0"/>
              <a:t>Počet akutních lůžek narostl mezi roky 2017 a 2022 </a:t>
            </a:r>
          </a:p>
          <a:p>
            <a:pPr algn="ctr"/>
            <a:r>
              <a:rPr lang="cs-CZ" sz="3600" b="1" dirty="0"/>
              <a:t>z 417 na 500: </a:t>
            </a:r>
          </a:p>
          <a:p>
            <a:pPr algn="ctr"/>
            <a:r>
              <a:rPr lang="cs-CZ" sz="3600" b="1" dirty="0"/>
              <a:t>tj. +83 lůžek = 30 tis. potenciálních OD za rok</a:t>
            </a:r>
          </a:p>
        </p:txBody>
      </p:sp>
    </p:spTree>
    <p:extLst>
      <p:ext uri="{BB962C8B-B14F-4D97-AF65-F5344CB8AC3E}">
        <p14:creationId xmlns:p14="http://schemas.microsoft.com/office/powerpoint/2010/main" val="2411169299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ovéPole 1">
            <a:extLst>
              <a:ext uri="{FF2B5EF4-FFF2-40B4-BE49-F238E27FC236}">
                <a16:creationId xmlns:a16="http://schemas.microsoft.com/office/drawing/2014/main" id="{50224986-8F08-183B-3C6F-3C62950ADA3B}"/>
              </a:ext>
            </a:extLst>
          </p:cNvPr>
          <p:cNvSpPr txBox="1"/>
          <p:nvPr/>
        </p:nvSpPr>
        <p:spPr>
          <a:xfrm>
            <a:off x="347358" y="4057062"/>
            <a:ext cx="1166477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3000" b="1" dirty="0">
                <a:solidFill>
                  <a:srgbClr val="237133"/>
                </a:solidFill>
              </a:rPr>
              <a:t>Pokud bychom měli přesunout do akutního režimu dlouhodobé hospitalizace s délkou do 60 dnů, potřebovali bychom </a:t>
            </a:r>
          </a:p>
          <a:p>
            <a:pPr algn="ctr"/>
            <a:r>
              <a:rPr lang="cs-CZ" sz="3000" b="1" dirty="0">
                <a:solidFill>
                  <a:srgbClr val="237133"/>
                </a:solidFill>
              </a:rPr>
              <a:t>pro děti a mladistvé + 254 lůžek, dospělé 20-64 let + 1217 lůžek </a:t>
            </a:r>
          </a:p>
          <a:p>
            <a:pPr algn="ctr"/>
            <a:r>
              <a:rPr lang="cs-CZ" sz="3000" b="1" dirty="0">
                <a:solidFill>
                  <a:srgbClr val="237133"/>
                </a:solidFill>
              </a:rPr>
              <a:t>a pro seniory + 373 lůžek </a:t>
            </a:r>
          </a:p>
        </p:txBody>
      </p:sp>
      <p:sp>
        <p:nvSpPr>
          <p:cNvPr id="6" name="Nadpis 2">
            <a:extLst>
              <a:ext uri="{FF2B5EF4-FFF2-40B4-BE49-F238E27FC236}">
                <a16:creationId xmlns:a16="http://schemas.microsoft.com/office/drawing/2014/main" id="{D28E655E-E792-4991-4F03-2F7D43F42E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611" y="177528"/>
            <a:ext cx="11664778" cy="573989"/>
          </a:xfrm>
        </p:spPr>
        <p:txBody>
          <a:bodyPr/>
          <a:lstStyle/>
          <a:p>
            <a:r>
              <a:rPr lang="en-US" dirty="0"/>
              <a:t>D</a:t>
            </a:r>
            <a:r>
              <a:rPr lang="cs-CZ" dirty="0" err="1"/>
              <a:t>élky</a:t>
            </a:r>
            <a:r>
              <a:rPr lang="cs-CZ" dirty="0"/>
              <a:t> hospitalizací následné a dlouhodobé péče – ČR (2023)</a:t>
            </a:r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61496EA8-4C2E-8BC9-A043-C3AC44E3598F}"/>
              </a:ext>
            </a:extLst>
          </p:cNvPr>
          <p:cNvGraphicFramePr/>
          <p:nvPr/>
        </p:nvGraphicFramePr>
        <p:xfrm>
          <a:off x="523960" y="1291267"/>
          <a:ext cx="3600000" cy="2461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6144D51E-01B4-88A0-6511-1633467D5529}"/>
              </a:ext>
            </a:extLst>
          </p:cNvPr>
          <p:cNvGraphicFramePr/>
          <p:nvPr/>
        </p:nvGraphicFramePr>
        <p:xfrm>
          <a:off x="4327610" y="1291266"/>
          <a:ext cx="3600000" cy="2461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F436DFD0-8C56-41CF-70D4-7540B2400956}"/>
              </a:ext>
            </a:extLst>
          </p:cNvPr>
          <p:cNvGraphicFramePr/>
          <p:nvPr/>
        </p:nvGraphicFramePr>
        <p:xfrm>
          <a:off x="8131260" y="1291265"/>
          <a:ext cx="3600000" cy="2461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TextovéPole 1">
            <a:extLst>
              <a:ext uri="{FF2B5EF4-FFF2-40B4-BE49-F238E27FC236}">
                <a16:creationId xmlns:a16="http://schemas.microsoft.com/office/drawing/2014/main" id="{F4287283-A2F4-42CD-64F0-F757E5C32251}"/>
              </a:ext>
            </a:extLst>
          </p:cNvPr>
          <p:cNvSpPr txBox="1"/>
          <p:nvPr/>
        </p:nvSpPr>
        <p:spPr>
          <a:xfrm>
            <a:off x="1753046" y="986198"/>
            <a:ext cx="1141828" cy="286285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-19 let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ovéPole 1">
            <a:extLst>
              <a:ext uri="{FF2B5EF4-FFF2-40B4-BE49-F238E27FC236}">
                <a16:creationId xmlns:a16="http://schemas.microsoft.com/office/drawing/2014/main" id="{DCB81D44-8689-FB4E-718F-B013F856AD22}"/>
              </a:ext>
            </a:extLst>
          </p:cNvPr>
          <p:cNvSpPr txBox="1"/>
          <p:nvPr/>
        </p:nvSpPr>
        <p:spPr>
          <a:xfrm>
            <a:off x="5556696" y="986198"/>
            <a:ext cx="1141828" cy="286285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-64 let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ovéPole 1">
            <a:extLst>
              <a:ext uri="{FF2B5EF4-FFF2-40B4-BE49-F238E27FC236}">
                <a16:creationId xmlns:a16="http://schemas.microsoft.com/office/drawing/2014/main" id="{A81F9E65-9912-CE66-81E4-A58412A0A84B}"/>
              </a:ext>
            </a:extLst>
          </p:cNvPr>
          <p:cNvSpPr txBox="1"/>
          <p:nvPr/>
        </p:nvSpPr>
        <p:spPr>
          <a:xfrm>
            <a:off x="9360346" y="967417"/>
            <a:ext cx="1141828" cy="286285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5+ let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C243258-A0AE-BE54-762A-7CB0F8D0101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63611" y="712970"/>
            <a:ext cx="114378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bornost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s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chiatrie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dětské psychiatrie a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rontopsychiatrie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TextovéPole 1">
            <a:extLst>
              <a:ext uri="{FF2B5EF4-FFF2-40B4-BE49-F238E27FC236}">
                <a16:creationId xmlns:a16="http://schemas.microsoft.com/office/drawing/2014/main" id="{8DDB0C7F-D0C0-5598-3743-E9B9353E6D54}"/>
              </a:ext>
            </a:extLst>
          </p:cNvPr>
          <p:cNvSpPr txBox="1"/>
          <p:nvPr/>
        </p:nvSpPr>
        <p:spPr>
          <a:xfrm rot="16200000">
            <a:off x="-223556" y="2014737"/>
            <a:ext cx="1141828" cy="286285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hospitalizací</a:t>
            </a:r>
          </a:p>
        </p:txBody>
      </p:sp>
      <p:sp>
        <p:nvSpPr>
          <p:cNvPr id="23" name="Šipka: dolů 22">
            <a:extLst>
              <a:ext uri="{FF2B5EF4-FFF2-40B4-BE49-F238E27FC236}">
                <a16:creationId xmlns:a16="http://schemas.microsoft.com/office/drawing/2014/main" id="{5A9C6ABB-5A60-C304-43F5-206C3929991C}"/>
              </a:ext>
            </a:extLst>
          </p:cNvPr>
          <p:cNvSpPr/>
          <p:nvPr/>
        </p:nvSpPr>
        <p:spPr>
          <a:xfrm>
            <a:off x="1244009" y="3692149"/>
            <a:ext cx="680484" cy="393850"/>
          </a:xfrm>
          <a:prstGeom prst="downArrow">
            <a:avLst/>
          </a:prstGeom>
          <a:solidFill>
            <a:srgbClr val="23713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4" name="Šipka: dolů 23">
            <a:extLst>
              <a:ext uri="{FF2B5EF4-FFF2-40B4-BE49-F238E27FC236}">
                <a16:creationId xmlns:a16="http://schemas.microsoft.com/office/drawing/2014/main" id="{A20E40C8-0082-EFDA-9B46-E148A869C754}"/>
              </a:ext>
            </a:extLst>
          </p:cNvPr>
          <p:cNvSpPr/>
          <p:nvPr/>
        </p:nvSpPr>
        <p:spPr>
          <a:xfrm>
            <a:off x="4998020" y="3695246"/>
            <a:ext cx="680484" cy="393850"/>
          </a:xfrm>
          <a:prstGeom prst="downArrow">
            <a:avLst/>
          </a:prstGeom>
          <a:solidFill>
            <a:srgbClr val="23713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5" name="Šipka: dolů 24">
            <a:extLst>
              <a:ext uri="{FF2B5EF4-FFF2-40B4-BE49-F238E27FC236}">
                <a16:creationId xmlns:a16="http://schemas.microsoft.com/office/drawing/2014/main" id="{F7ACE10E-752C-6742-B306-0F61CD08B838}"/>
              </a:ext>
            </a:extLst>
          </p:cNvPr>
          <p:cNvSpPr/>
          <p:nvPr/>
        </p:nvSpPr>
        <p:spPr>
          <a:xfrm>
            <a:off x="8711921" y="3692149"/>
            <a:ext cx="680484" cy="393850"/>
          </a:xfrm>
          <a:prstGeom prst="downArrow">
            <a:avLst/>
          </a:prstGeom>
          <a:solidFill>
            <a:srgbClr val="23713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42615998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ovéPole 1">
            <a:extLst>
              <a:ext uri="{FF2B5EF4-FFF2-40B4-BE49-F238E27FC236}">
                <a16:creationId xmlns:a16="http://schemas.microsoft.com/office/drawing/2014/main" id="{50224986-8F08-183B-3C6F-3C62950ADA3B}"/>
              </a:ext>
            </a:extLst>
          </p:cNvPr>
          <p:cNvSpPr txBox="1"/>
          <p:nvPr/>
        </p:nvSpPr>
        <p:spPr>
          <a:xfrm>
            <a:off x="347358" y="4057062"/>
            <a:ext cx="1166477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3000" b="1" dirty="0">
                <a:solidFill>
                  <a:srgbClr val="237133"/>
                </a:solidFill>
              </a:rPr>
              <a:t>Pokud bychom měli přesunout do akutního režimu dlouhodobé hospitalizace s délkou do 60 dnů, potřebovali bychom </a:t>
            </a:r>
          </a:p>
          <a:p>
            <a:pPr algn="ctr"/>
            <a:r>
              <a:rPr lang="cs-CZ" sz="3000" b="1" dirty="0">
                <a:solidFill>
                  <a:srgbClr val="237133"/>
                </a:solidFill>
              </a:rPr>
              <a:t>pro děti a mladistvé + 53 lůžek, dospělé 20-64 let + 224 lůžek </a:t>
            </a:r>
          </a:p>
          <a:p>
            <a:pPr algn="ctr"/>
            <a:r>
              <a:rPr lang="cs-CZ" sz="3000" b="1" dirty="0">
                <a:solidFill>
                  <a:srgbClr val="237133"/>
                </a:solidFill>
              </a:rPr>
              <a:t>a pro seniory + 87 lůžek </a:t>
            </a:r>
          </a:p>
        </p:txBody>
      </p:sp>
      <p:sp>
        <p:nvSpPr>
          <p:cNvPr id="6" name="Nadpis 2">
            <a:extLst>
              <a:ext uri="{FF2B5EF4-FFF2-40B4-BE49-F238E27FC236}">
                <a16:creationId xmlns:a16="http://schemas.microsoft.com/office/drawing/2014/main" id="{D28E655E-E792-4991-4F03-2F7D43F42E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611" y="177528"/>
            <a:ext cx="11664778" cy="573989"/>
          </a:xfrm>
        </p:spPr>
        <p:txBody>
          <a:bodyPr/>
          <a:lstStyle/>
          <a:p>
            <a:r>
              <a:rPr lang="en-US" dirty="0"/>
              <a:t>D</a:t>
            </a:r>
            <a:r>
              <a:rPr lang="cs-CZ" dirty="0" err="1"/>
              <a:t>élky</a:t>
            </a:r>
            <a:r>
              <a:rPr lang="cs-CZ" dirty="0"/>
              <a:t> hospitalizací následné a dlouhodobé péče – Praha (2023)</a:t>
            </a:r>
          </a:p>
        </p:txBody>
      </p:sp>
      <p:sp>
        <p:nvSpPr>
          <p:cNvPr id="18" name="TextovéPole 1">
            <a:extLst>
              <a:ext uri="{FF2B5EF4-FFF2-40B4-BE49-F238E27FC236}">
                <a16:creationId xmlns:a16="http://schemas.microsoft.com/office/drawing/2014/main" id="{F4287283-A2F4-42CD-64F0-F757E5C32251}"/>
              </a:ext>
            </a:extLst>
          </p:cNvPr>
          <p:cNvSpPr txBox="1"/>
          <p:nvPr/>
        </p:nvSpPr>
        <p:spPr>
          <a:xfrm>
            <a:off x="1753046" y="986198"/>
            <a:ext cx="1141828" cy="286285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-19 let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ovéPole 1">
            <a:extLst>
              <a:ext uri="{FF2B5EF4-FFF2-40B4-BE49-F238E27FC236}">
                <a16:creationId xmlns:a16="http://schemas.microsoft.com/office/drawing/2014/main" id="{DCB81D44-8689-FB4E-718F-B013F856AD22}"/>
              </a:ext>
            </a:extLst>
          </p:cNvPr>
          <p:cNvSpPr txBox="1"/>
          <p:nvPr/>
        </p:nvSpPr>
        <p:spPr>
          <a:xfrm>
            <a:off x="5556696" y="986198"/>
            <a:ext cx="1141828" cy="286285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-64 let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ovéPole 1">
            <a:extLst>
              <a:ext uri="{FF2B5EF4-FFF2-40B4-BE49-F238E27FC236}">
                <a16:creationId xmlns:a16="http://schemas.microsoft.com/office/drawing/2014/main" id="{A81F9E65-9912-CE66-81E4-A58412A0A84B}"/>
              </a:ext>
            </a:extLst>
          </p:cNvPr>
          <p:cNvSpPr txBox="1"/>
          <p:nvPr/>
        </p:nvSpPr>
        <p:spPr>
          <a:xfrm>
            <a:off x="9360346" y="967417"/>
            <a:ext cx="1141828" cy="286285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5+ let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C243258-A0AE-BE54-762A-7CB0F8D0101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63611" y="712970"/>
            <a:ext cx="114378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bornost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s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chiatrie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dětské psychiatrie a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rontopsychiatrie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TextovéPole 1">
            <a:extLst>
              <a:ext uri="{FF2B5EF4-FFF2-40B4-BE49-F238E27FC236}">
                <a16:creationId xmlns:a16="http://schemas.microsoft.com/office/drawing/2014/main" id="{8DDB0C7F-D0C0-5598-3743-E9B9353E6D54}"/>
              </a:ext>
            </a:extLst>
          </p:cNvPr>
          <p:cNvSpPr txBox="1"/>
          <p:nvPr/>
        </p:nvSpPr>
        <p:spPr>
          <a:xfrm rot="16200000">
            <a:off x="-223556" y="2014737"/>
            <a:ext cx="1141828" cy="286285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hospitalizací</a:t>
            </a:r>
          </a:p>
        </p:txBody>
      </p:sp>
      <p:sp>
        <p:nvSpPr>
          <p:cNvPr id="23" name="Šipka: dolů 22">
            <a:extLst>
              <a:ext uri="{FF2B5EF4-FFF2-40B4-BE49-F238E27FC236}">
                <a16:creationId xmlns:a16="http://schemas.microsoft.com/office/drawing/2014/main" id="{5A9C6ABB-5A60-C304-43F5-206C3929991C}"/>
              </a:ext>
            </a:extLst>
          </p:cNvPr>
          <p:cNvSpPr/>
          <p:nvPr/>
        </p:nvSpPr>
        <p:spPr>
          <a:xfrm>
            <a:off x="1244009" y="3692149"/>
            <a:ext cx="680484" cy="393850"/>
          </a:xfrm>
          <a:prstGeom prst="downArrow">
            <a:avLst/>
          </a:prstGeom>
          <a:solidFill>
            <a:srgbClr val="23713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4" name="Šipka: dolů 23">
            <a:extLst>
              <a:ext uri="{FF2B5EF4-FFF2-40B4-BE49-F238E27FC236}">
                <a16:creationId xmlns:a16="http://schemas.microsoft.com/office/drawing/2014/main" id="{A20E40C8-0082-EFDA-9B46-E148A869C754}"/>
              </a:ext>
            </a:extLst>
          </p:cNvPr>
          <p:cNvSpPr/>
          <p:nvPr/>
        </p:nvSpPr>
        <p:spPr>
          <a:xfrm>
            <a:off x="4998020" y="3695246"/>
            <a:ext cx="680484" cy="393850"/>
          </a:xfrm>
          <a:prstGeom prst="downArrow">
            <a:avLst/>
          </a:prstGeom>
          <a:solidFill>
            <a:srgbClr val="23713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5" name="Šipka: dolů 24">
            <a:extLst>
              <a:ext uri="{FF2B5EF4-FFF2-40B4-BE49-F238E27FC236}">
                <a16:creationId xmlns:a16="http://schemas.microsoft.com/office/drawing/2014/main" id="{F7ACE10E-752C-6742-B306-0F61CD08B838}"/>
              </a:ext>
            </a:extLst>
          </p:cNvPr>
          <p:cNvSpPr/>
          <p:nvPr/>
        </p:nvSpPr>
        <p:spPr>
          <a:xfrm>
            <a:off x="8711921" y="3692149"/>
            <a:ext cx="680484" cy="393850"/>
          </a:xfrm>
          <a:prstGeom prst="downArrow">
            <a:avLst/>
          </a:prstGeom>
          <a:solidFill>
            <a:srgbClr val="23713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E35EA28A-6943-D3C2-DA51-FE99443B16A9}"/>
              </a:ext>
            </a:extLst>
          </p:cNvPr>
          <p:cNvGraphicFramePr/>
          <p:nvPr/>
        </p:nvGraphicFramePr>
        <p:xfrm>
          <a:off x="523960" y="1291267"/>
          <a:ext cx="3600000" cy="2461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4B3FEDA6-053F-A3E6-C31B-B34AB2A5052E}"/>
              </a:ext>
            </a:extLst>
          </p:cNvPr>
          <p:cNvGraphicFramePr/>
          <p:nvPr/>
        </p:nvGraphicFramePr>
        <p:xfrm>
          <a:off x="4327610" y="1291266"/>
          <a:ext cx="3600000" cy="2461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103AAB3D-A0CF-8958-CBAA-C63725BB9489}"/>
              </a:ext>
            </a:extLst>
          </p:cNvPr>
          <p:cNvGraphicFramePr/>
          <p:nvPr/>
        </p:nvGraphicFramePr>
        <p:xfrm>
          <a:off x="8131260" y="1291265"/>
          <a:ext cx="3600000" cy="2461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7465361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411608D-76B8-A5C3-8AF3-9D625342F059}"/>
              </a:ext>
            </a:extLst>
          </p:cNvPr>
          <p:cNvSpPr txBox="1">
            <a:spLocks/>
          </p:cNvSpPr>
          <p:nvPr/>
        </p:nvSpPr>
        <p:spPr>
          <a:xfrm>
            <a:off x="411690" y="364522"/>
            <a:ext cx="11304060" cy="7747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D7144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3" name="Zaoblený obdélník 35">
            <a:extLst>
              <a:ext uri="{FF2B5EF4-FFF2-40B4-BE49-F238E27FC236}">
                <a16:creationId xmlns:a16="http://schemas.microsoft.com/office/drawing/2014/main" id="{3A00230B-736A-1F66-38A6-5592F9868981}"/>
              </a:ext>
            </a:extLst>
          </p:cNvPr>
          <p:cNvSpPr/>
          <p:nvPr/>
        </p:nvSpPr>
        <p:spPr>
          <a:xfrm>
            <a:off x="411690" y="895978"/>
            <a:ext cx="11425268" cy="4188381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0" b="1" i="0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tenciál NZI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0" b="1" i="0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 pohledu hodnoc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0" b="1" i="0" u="none" strike="noStrike" kern="120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kytovatelů / center </a:t>
            </a:r>
          </a:p>
        </p:txBody>
      </p:sp>
    </p:spTree>
    <p:extLst>
      <p:ext uri="{BB962C8B-B14F-4D97-AF65-F5344CB8AC3E}">
        <p14:creationId xmlns:p14="http://schemas.microsoft.com/office/powerpoint/2010/main" val="4238866341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E967A590-A083-65FE-493A-0EF7AD7F21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611" y="258805"/>
            <a:ext cx="11664778" cy="573989"/>
          </a:xfrm>
        </p:spPr>
        <p:txBody>
          <a:bodyPr/>
          <a:lstStyle/>
          <a:p>
            <a:r>
              <a:rPr lang="cs-CZ" dirty="0"/>
              <a:t>Hospitalizace u dlouhodobé a následné hospitalizace </a:t>
            </a:r>
            <a:r>
              <a:rPr lang="cs-CZ" u="sng" dirty="0"/>
              <a:t>delší jak 365 dní</a:t>
            </a:r>
            <a:r>
              <a:rPr lang="en-US" dirty="0"/>
              <a:t> – </a:t>
            </a:r>
            <a:r>
              <a:rPr lang="cs-CZ" dirty="0"/>
              <a:t>ČR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92B08DC2-1305-D974-DFC4-2FA0A77F867F}"/>
              </a:ext>
            </a:extLst>
          </p:cNvPr>
          <p:cNvSpPr txBox="1"/>
          <p:nvPr/>
        </p:nvSpPr>
        <p:spPr>
          <a:xfrm>
            <a:off x="2125221" y="1448410"/>
            <a:ext cx="3505720" cy="369332"/>
          </a:xfrm>
          <a:prstGeom prst="rect">
            <a:avLst/>
          </a:prstGeom>
          <a:solidFill>
            <a:srgbClr val="0000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ace delší než 1 rok**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" name="Group 744">
            <a:extLst>
              <a:ext uri="{FF2B5EF4-FFF2-40B4-BE49-F238E27FC236}">
                <a16:creationId xmlns:a16="http://schemas.microsoft.com/office/drawing/2014/main" id="{76EB7FBF-1B32-963C-9D84-281E4B34D3FA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4905273"/>
              </p:ext>
            </p:extLst>
          </p:nvPr>
        </p:nvGraphicFramePr>
        <p:xfrm>
          <a:off x="2132760" y="1868864"/>
          <a:ext cx="3505720" cy="2919999"/>
        </p:xfrm>
        <a:graphic>
          <a:graphicData uri="http://schemas.openxmlformats.org/drawingml/2006/table">
            <a:tbl>
              <a:tblPr/>
              <a:tblGrid>
                <a:gridCol w="11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3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4426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endParaRPr kumimoji="0" lang="cs-CZ" altLang="cs-CZ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Následné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altLang="cs-CZ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697">
                <a:tc>
                  <a:txBody>
                    <a:bodyPr/>
                    <a:lstStyle>
                      <a:lvl1pPr ea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20002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38417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566738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749300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12065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16637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21209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25781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ok</a:t>
                      </a: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Počet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B1107"/>
                          </a:solidFill>
                          <a:effectLst/>
                          <a:latin typeface="Calibri" panose="020F0502020204030204" pitchFamily="34" charset="0"/>
                        </a:rPr>
                        <a:t>Průměrný věk</a:t>
                      </a:r>
                    </a:p>
                  </a:txBody>
                  <a:tcPr marL="0" marR="0" marT="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027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2027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22027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6275"/>
                  </a:ext>
                </a:extLst>
              </a:tr>
              <a:tr h="22027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267654"/>
                  </a:ext>
                </a:extLst>
              </a:tr>
              <a:tr h="22027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101035"/>
                  </a:ext>
                </a:extLst>
              </a:tr>
              <a:tr h="22027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22027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22027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22027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666484"/>
                  </a:ext>
                </a:extLst>
              </a:tr>
              <a:tr h="22027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418559"/>
                  </a:ext>
                </a:extLst>
              </a:tr>
              <a:tr h="22027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446552"/>
                  </a:ext>
                </a:extLst>
              </a:tr>
            </a:tbl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EC3A2052-985E-090D-1980-E235A3D7863C}"/>
              </a:ext>
            </a:extLst>
          </p:cNvPr>
          <p:cNvSpPr txBox="1"/>
          <p:nvPr/>
        </p:nvSpPr>
        <p:spPr>
          <a:xfrm>
            <a:off x="6095999" y="1448410"/>
            <a:ext cx="3505720" cy="369332"/>
          </a:xfrm>
          <a:prstGeom prst="rect">
            <a:avLst/>
          </a:prstGeom>
          <a:solidFill>
            <a:srgbClr val="0000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ace delší než 2 roky**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ovnoramenný trojúhelník 5">
            <a:extLst>
              <a:ext uri="{FF2B5EF4-FFF2-40B4-BE49-F238E27FC236}">
                <a16:creationId xmlns:a16="http://schemas.microsoft.com/office/drawing/2014/main" id="{70325E7A-7C74-3C82-080E-E12452280A77}"/>
              </a:ext>
            </a:extLst>
          </p:cNvPr>
          <p:cNvSpPr/>
          <p:nvPr/>
        </p:nvSpPr>
        <p:spPr>
          <a:xfrm rot="10800000">
            <a:off x="2417980" y="5047741"/>
            <a:ext cx="3034603" cy="267502"/>
          </a:xfrm>
          <a:prstGeom prst="triangle">
            <a:avLst/>
          </a:prstGeom>
          <a:solidFill>
            <a:srgbClr val="203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ovnoramenný trojúhelník 9">
            <a:extLst>
              <a:ext uri="{FF2B5EF4-FFF2-40B4-BE49-F238E27FC236}">
                <a16:creationId xmlns:a16="http://schemas.microsoft.com/office/drawing/2014/main" id="{22A35A87-5CD0-DA22-403A-B782FCB2C4A9}"/>
              </a:ext>
            </a:extLst>
          </p:cNvPr>
          <p:cNvSpPr/>
          <p:nvPr/>
        </p:nvSpPr>
        <p:spPr>
          <a:xfrm rot="10800000">
            <a:off x="6367623" y="5047741"/>
            <a:ext cx="3034603" cy="267502"/>
          </a:xfrm>
          <a:prstGeom prst="triangle">
            <a:avLst/>
          </a:prstGeom>
          <a:solidFill>
            <a:srgbClr val="203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76DA9601-8BB1-785B-D00C-2F59E79ED0A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394114" y="5335564"/>
            <a:ext cx="31024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0 -&gt; 202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17%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553211F4-100A-F09B-7D14-B337CBE6D60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367622" y="5335564"/>
            <a:ext cx="31024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0 -&gt; 202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20%</a:t>
            </a:r>
          </a:p>
        </p:txBody>
      </p:sp>
      <p:graphicFrame>
        <p:nvGraphicFramePr>
          <p:cNvPr id="13" name="Group 744">
            <a:extLst>
              <a:ext uri="{FF2B5EF4-FFF2-40B4-BE49-F238E27FC236}">
                <a16:creationId xmlns:a16="http://schemas.microsoft.com/office/drawing/2014/main" id="{1C028D77-8B26-1F81-E248-4297925B7C5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095999" y="1865124"/>
          <a:ext cx="3505720" cy="2950448"/>
        </p:xfrm>
        <a:graphic>
          <a:graphicData uri="http://schemas.openxmlformats.org/drawingml/2006/table">
            <a:tbl>
              <a:tblPr/>
              <a:tblGrid>
                <a:gridCol w="11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3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468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endParaRPr kumimoji="0" lang="cs-CZ" altLang="cs-CZ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Následné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altLang="cs-CZ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5332">
                <a:tc>
                  <a:txBody>
                    <a:bodyPr/>
                    <a:lstStyle>
                      <a:lvl1pPr ea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20002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38417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566738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749300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12065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16637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21209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25781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ok</a:t>
                      </a: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Počet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B1107"/>
                          </a:solidFill>
                          <a:effectLst/>
                          <a:latin typeface="Calibri" panose="020F0502020204030204" pitchFamily="34" charset="0"/>
                        </a:rPr>
                        <a:t>Průměrný věk</a:t>
                      </a:r>
                    </a:p>
                  </a:txBody>
                  <a:tcPr marL="0" marR="0" marT="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257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2257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22257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6275"/>
                  </a:ext>
                </a:extLst>
              </a:tr>
              <a:tr h="22257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267654"/>
                  </a:ext>
                </a:extLst>
              </a:tr>
              <a:tr h="22257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101035"/>
                  </a:ext>
                </a:extLst>
              </a:tr>
              <a:tr h="22257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22257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22257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22257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666484"/>
                  </a:ext>
                </a:extLst>
              </a:tr>
              <a:tr h="22257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418559"/>
                  </a:ext>
                </a:extLst>
              </a:tr>
              <a:tr h="22257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446552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C36F3664-AADC-BB1F-E5DF-0ED51C55588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3611" y="712970"/>
            <a:ext cx="114378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bornost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s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chiatrie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dětské psychiatrie a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rontopsychiatri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75E9B548-B43F-D367-8051-874886DC7847}"/>
              </a:ext>
            </a:extLst>
          </p:cNvPr>
          <p:cNvSpPr txBox="1"/>
          <p:nvPr/>
        </p:nvSpPr>
        <p:spPr>
          <a:xfrm>
            <a:off x="936172" y="6271552"/>
            <a:ext cx="616329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hospitalizací, které byly ukončeny z důvodu zúčtovacího období</a:t>
            </a:r>
          </a:p>
        </p:txBody>
      </p:sp>
    </p:spTree>
    <p:extLst>
      <p:ext uri="{BB962C8B-B14F-4D97-AF65-F5344CB8AC3E}">
        <p14:creationId xmlns:p14="http://schemas.microsoft.com/office/powerpoint/2010/main" val="2956423976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E967A590-A083-65FE-493A-0EF7AD7F21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611" y="250416"/>
            <a:ext cx="11664778" cy="573989"/>
          </a:xfrm>
        </p:spPr>
        <p:txBody>
          <a:bodyPr/>
          <a:lstStyle/>
          <a:p>
            <a:r>
              <a:rPr lang="cs-CZ" dirty="0"/>
              <a:t>Hospitalizace u dlouhodobé a následné hospitalizace </a:t>
            </a:r>
            <a:r>
              <a:rPr lang="cs-CZ" u="sng" dirty="0"/>
              <a:t>delší jak 365 dní - Praha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92B08DC2-1305-D974-DFC4-2FA0A77F867F}"/>
              </a:ext>
            </a:extLst>
          </p:cNvPr>
          <p:cNvSpPr txBox="1"/>
          <p:nvPr/>
        </p:nvSpPr>
        <p:spPr>
          <a:xfrm>
            <a:off x="2125221" y="1448410"/>
            <a:ext cx="3505720" cy="369332"/>
          </a:xfrm>
          <a:prstGeom prst="rect">
            <a:avLst/>
          </a:prstGeom>
          <a:solidFill>
            <a:srgbClr val="0000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ace delší než 1 rok**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" name="Group 744">
            <a:extLst>
              <a:ext uri="{FF2B5EF4-FFF2-40B4-BE49-F238E27FC236}">
                <a16:creationId xmlns:a16="http://schemas.microsoft.com/office/drawing/2014/main" id="{76EB7FBF-1B32-963C-9D84-281E4B34D3FA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132760" y="1868864"/>
          <a:ext cx="3505720" cy="2919999"/>
        </p:xfrm>
        <a:graphic>
          <a:graphicData uri="http://schemas.openxmlformats.org/drawingml/2006/table">
            <a:tbl>
              <a:tblPr/>
              <a:tblGrid>
                <a:gridCol w="11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3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4426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endParaRPr kumimoji="0" lang="cs-CZ" altLang="cs-CZ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Následné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altLang="cs-CZ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697">
                <a:tc>
                  <a:txBody>
                    <a:bodyPr/>
                    <a:lstStyle>
                      <a:lvl1pPr ea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20002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38417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566738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749300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12065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16637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21209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25781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ok</a:t>
                      </a: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Počet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B1107"/>
                          </a:solidFill>
                          <a:effectLst/>
                          <a:latin typeface="Calibri" panose="020F0502020204030204" pitchFamily="34" charset="0"/>
                        </a:rPr>
                        <a:t>Průměrný věk</a:t>
                      </a:r>
                    </a:p>
                  </a:txBody>
                  <a:tcPr marL="0" marR="0" marT="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027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2027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22027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6275"/>
                  </a:ext>
                </a:extLst>
              </a:tr>
              <a:tr h="22027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267654"/>
                  </a:ext>
                </a:extLst>
              </a:tr>
              <a:tr h="22027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101035"/>
                  </a:ext>
                </a:extLst>
              </a:tr>
              <a:tr h="22027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22027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22027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22027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666484"/>
                  </a:ext>
                </a:extLst>
              </a:tr>
              <a:tr h="22027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418559"/>
                  </a:ext>
                </a:extLst>
              </a:tr>
              <a:tr h="22027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446552"/>
                  </a:ext>
                </a:extLst>
              </a:tr>
            </a:tbl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EC3A2052-985E-090D-1980-E235A3D7863C}"/>
              </a:ext>
            </a:extLst>
          </p:cNvPr>
          <p:cNvSpPr txBox="1"/>
          <p:nvPr/>
        </p:nvSpPr>
        <p:spPr>
          <a:xfrm>
            <a:off x="6095999" y="1448410"/>
            <a:ext cx="3505720" cy="369332"/>
          </a:xfrm>
          <a:prstGeom prst="rect">
            <a:avLst/>
          </a:prstGeom>
          <a:solidFill>
            <a:srgbClr val="0000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ace delší než 2 roky**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ovnoramenný trojúhelník 5">
            <a:extLst>
              <a:ext uri="{FF2B5EF4-FFF2-40B4-BE49-F238E27FC236}">
                <a16:creationId xmlns:a16="http://schemas.microsoft.com/office/drawing/2014/main" id="{70325E7A-7C74-3C82-080E-E12452280A77}"/>
              </a:ext>
            </a:extLst>
          </p:cNvPr>
          <p:cNvSpPr/>
          <p:nvPr/>
        </p:nvSpPr>
        <p:spPr>
          <a:xfrm rot="10800000">
            <a:off x="2417980" y="5047741"/>
            <a:ext cx="3034603" cy="267502"/>
          </a:xfrm>
          <a:prstGeom prst="triangle">
            <a:avLst/>
          </a:prstGeom>
          <a:solidFill>
            <a:srgbClr val="203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ovnoramenný trojúhelník 9">
            <a:extLst>
              <a:ext uri="{FF2B5EF4-FFF2-40B4-BE49-F238E27FC236}">
                <a16:creationId xmlns:a16="http://schemas.microsoft.com/office/drawing/2014/main" id="{22A35A87-5CD0-DA22-403A-B782FCB2C4A9}"/>
              </a:ext>
            </a:extLst>
          </p:cNvPr>
          <p:cNvSpPr/>
          <p:nvPr/>
        </p:nvSpPr>
        <p:spPr>
          <a:xfrm rot="10800000">
            <a:off x="6367623" y="5047741"/>
            <a:ext cx="3034603" cy="267502"/>
          </a:xfrm>
          <a:prstGeom prst="triangle">
            <a:avLst/>
          </a:prstGeom>
          <a:solidFill>
            <a:srgbClr val="203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76DA9601-8BB1-785B-D00C-2F59E79ED0A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394114" y="5335564"/>
            <a:ext cx="31024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0 -&gt; 202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800" b="1" dirty="0">
                <a:solidFill>
                  <a:srgbClr val="0000FF"/>
                </a:solidFill>
                <a:latin typeface="Calibri" panose="020F0502020204030204"/>
              </a:rPr>
              <a:t>- 44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553211F4-100A-F09B-7D14-B337CBE6D60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367622" y="5335564"/>
            <a:ext cx="31024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0 -&gt; 202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76%</a:t>
            </a:r>
          </a:p>
        </p:txBody>
      </p:sp>
      <p:graphicFrame>
        <p:nvGraphicFramePr>
          <p:cNvPr id="13" name="Group 744">
            <a:extLst>
              <a:ext uri="{FF2B5EF4-FFF2-40B4-BE49-F238E27FC236}">
                <a16:creationId xmlns:a16="http://schemas.microsoft.com/office/drawing/2014/main" id="{1C028D77-8B26-1F81-E248-4297925B7C5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095999" y="1865124"/>
          <a:ext cx="3505720" cy="2950448"/>
        </p:xfrm>
        <a:graphic>
          <a:graphicData uri="http://schemas.openxmlformats.org/drawingml/2006/table">
            <a:tbl>
              <a:tblPr/>
              <a:tblGrid>
                <a:gridCol w="11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3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468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endParaRPr kumimoji="0" lang="cs-CZ" altLang="cs-CZ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Následné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altLang="cs-CZ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5332">
                <a:tc>
                  <a:txBody>
                    <a:bodyPr/>
                    <a:lstStyle>
                      <a:lvl1pPr ea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20002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38417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566738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749300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12065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16637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21209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25781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ok</a:t>
                      </a: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Počet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B1107"/>
                          </a:solidFill>
                          <a:effectLst/>
                          <a:latin typeface="Calibri" panose="020F0502020204030204" pitchFamily="34" charset="0"/>
                        </a:rPr>
                        <a:t>Průměrný věk</a:t>
                      </a:r>
                    </a:p>
                  </a:txBody>
                  <a:tcPr marL="0" marR="0" marT="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257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2257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22257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6275"/>
                  </a:ext>
                </a:extLst>
              </a:tr>
              <a:tr h="22257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267654"/>
                  </a:ext>
                </a:extLst>
              </a:tr>
              <a:tr h="22257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101035"/>
                  </a:ext>
                </a:extLst>
              </a:tr>
              <a:tr h="22257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22257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22257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22257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666484"/>
                  </a:ext>
                </a:extLst>
              </a:tr>
              <a:tr h="22257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418559"/>
                  </a:ext>
                </a:extLst>
              </a:tr>
              <a:tr h="22257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446552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C36F3664-AADC-BB1F-E5DF-0ED51C55588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3611" y="712970"/>
            <a:ext cx="114378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bornost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s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chiatrie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dětské psychiatrie a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rontopsychiatri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75E9B548-B43F-D367-8051-874886DC7847}"/>
              </a:ext>
            </a:extLst>
          </p:cNvPr>
          <p:cNvSpPr txBox="1"/>
          <p:nvPr/>
        </p:nvSpPr>
        <p:spPr>
          <a:xfrm>
            <a:off x="936172" y="6271552"/>
            <a:ext cx="616329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hospitalizací, které byly ukončeny z důvodu zúčtovacího období</a:t>
            </a:r>
          </a:p>
        </p:txBody>
      </p:sp>
    </p:spTree>
    <p:extLst>
      <p:ext uri="{BB962C8B-B14F-4D97-AF65-F5344CB8AC3E}">
        <p14:creationId xmlns:p14="http://schemas.microsoft.com/office/powerpoint/2010/main" val="3119640259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5591" y="274793"/>
            <a:ext cx="11664778" cy="573989"/>
          </a:xfrm>
        </p:spPr>
        <p:txBody>
          <a:bodyPr>
            <a:normAutofit/>
          </a:bodyPr>
          <a:lstStyle/>
          <a:p>
            <a:r>
              <a:rPr lang="cs-CZ" sz="2800" dirty="0"/>
              <a:t>Dlouhodobé psychiatrické hospitalizace delší jak 365 dní</a:t>
            </a:r>
            <a:endParaRPr lang="en-US" sz="2800" dirty="0"/>
          </a:p>
        </p:txBody>
      </p:sp>
      <p:sp>
        <p:nvSpPr>
          <p:cNvPr id="294" name="Obdélník 293">
            <a:extLst>
              <a:ext uri="{FF2B5EF4-FFF2-40B4-BE49-F238E27FC236}">
                <a16:creationId xmlns:a16="http://schemas.microsoft.com/office/drawing/2014/main" id="{A0440E8B-A5A4-4A9C-AD80-B493A3AD6F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61631" y="1091133"/>
            <a:ext cx="491044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dlouhodobých hospitalizací dle kraje bydliště (202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:</a:t>
            </a:r>
          </a:p>
        </p:txBody>
      </p:sp>
      <p:sp>
        <p:nvSpPr>
          <p:cNvPr id="200" name="TextBox 6">
            <a:extLst>
              <a:ext uri="{FF2B5EF4-FFF2-40B4-BE49-F238E27FC236}">
                <a16:creationId xmlns:a16="http://schemas.microsoft.com/office/drawing/2014/main" id="{34BCED0E-0EE4-4668-A26F-69E0296352B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1631" y="706842"/>
            <a:ext cx="116431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finice: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bornost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s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chiatrie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dětské psychiatrie a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rontopsychiatri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RHZS 2013–2023</a:t>
            </a:r>
          </a:p>
        </p:txBody>
      </p:sp>
      <p:graphicFrame>
        <p:nvGraphicFramePr>
          <p:cNvPr id="312" name="Graf 311">
            <a:extLst>
              <a:ext uri="{FF2B5EF4-FFF2-40B4-BE49-F238E27FC236}">
                <a16:creationId xmlns:a16="http://schemas.microsoft.com/office/drawing/2014/main" id="{747DCC21-A428-4B79-815C-B37CF5C48C92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352322" y="1591588"/>
          <a:ext cx="3933012" cy="4545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313" name="Tabulka 4">
            <a:extLst>
              <a:ext uri="{FF2B5EF4-FFF2-40B4-BE49-F238E27FC236}">
                <a16:creationId xmlns:a16="http://schemas.microsoft.com/office/drawing/2014/main" id="{C709D96E-042B-49C6-8DB7-84AD335002B3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4148231" y="1848996"/>
          <a:ext cx="1616490" cy="4288388"/>
        </p:xfrm>
        <a:graphic>
          <a:graphicData uri="http://schemas.openxmlformats.org/drawingml/2006/table">
            <a:tbl>
              <a:tblPr/>
              <a:tblGrid>
                <a:gridCol w="16164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81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bsolutní hodnoty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668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668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668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668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668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668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668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668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668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668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5668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5668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5668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5668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5668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315" name="Obdélník 314">
            <a:extLst>
              <a:ext uri="{FF2B5EF4-FFF2-40B4-BE49-F238E27FC236}">
                <a16:creationId xmlns:a16="http://schemas.microsoft.com/office/drawing/2014/main" id="{4A4D6878-2C16-4895-9440-DE871EF67128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65768" y="1445243"/>
            <a:ext cx="39330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dlouhodobých hospitalizací delších jak 365 dní na 100 000 obyvatel v roce 20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6" name="Obdélník 105">
            <a:extLst>
              <a:ext uri="{FF2B5EF4-FFF2-40B4-BE49-F238E27FC236}">
                <a16:creationId xmlns:a16="http://schemas.microsoft.com/office/drawing/2014/main" id="{1A187EA3-E052-42C1-8813-91180C40BF2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19492" y="1791421"/>
            <a:ext cx="127568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 bydliště pacienta:</a:t>
            </a:r>
          </a:p>
        </p:txBody>
      </p:sp>
      <p:sp>
        <p:nvSpPr>
          <p:cNvPr id="107" name="TextBox 2">
            <a:extLst>
              <a:ext uri="{FF2B5EF4-FFF2-40B4-BE49-F238E27FC236}">
                <a16:creationId xmlns:a16="http://schemas.microsoft.com/office/drawing/2014/main" id="{205A74DA-CCE6-41D8-8B73-C344A55ABA1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288553" y="1948556"/>
            <a:ext cx="57179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počtu hospitalizací delších než rok v přepočtu na 100 tisíc obyvatel</a:t>
            </a:r>
            <a:endParaRPr kumimoji="0" lang="cs-CZ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E65C0B8E-B61D-2E66-06BD-5A211FE41B4A}"/>
              </a:ext>
            </a:extLst>
          </p:cNvPr>
          <p:cNvGraphicFramePr/>
          <p:nvPr/>
        </p:nvGraphicFramePr>
        <p:xfrm>
          <a:off x="6405196" y="2145322"/>
          <a:ext cx="5205046" cy="40620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  <p:extLst>
      <p:ext uri="{BB962C8B-B14F-4D97-AF65-F5344CB8AC3E}">
        <p14:creationId xmlns:p14="http://schemas.microsoft.com/office/powerpoint/2010/main" val="1665198935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: se zakulacenými rohy na opačné straně 3">
            <a:extLst>
              <a:ext uri="{FF2B5EF4-FFF2-40B4-BE49-F238E27FC236}">
                <a16:creationId xmlns:a16="http://schemas.microsoft.com/office/drawing/2014/main" id="{167A20BD-62DA-44FE-AF48-7FBD2BEA4689}"/>
              </a:ext>
            </a:extLst>
          </p:cNvPr>
          <p:cNvSpPr/>
          <p:nvPr/>
        </p:nvSpPr>
        <p:spPr>
          <a:xfrm flipV="1">
            <a:off x="-4680" y="787665"/>
            <a:ext cx="5833745" cy="2787745"/>
          </a:xfrm>
          <a:prstGeom prst="round2DiagRect">
            <a:avLst>
              <a:gd name="adj1" fmla="val 50000"/>
              <a:gd name="adj2" fmla="val 0"/>
            </a:avLst>
          </a:prstGeom>
          <a:solidFill>
            <a:srgbClr val="5BCC72">
              <a:alpha val="49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71AFB65-5EC3-4B45-AC2F-AB3CB64FBF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846" y="1449859"/>
            <a:ext cx="5833745" cy="1688758"/>
          </a:xfrm>
        </p:spPr>
        <p:txBody>
          <a:bodyPr/>
          <a:lstStyle/>
          <a:p>
            <a:pPr algn="l"/>
            <a:r>
              <a:rPr lang="cs-CZ" sz="2400" b="1" i="1" dirty="0">
                <a:solidFill>
                  <a:schemeClr val="bg1"/>
                </a:solidFill>
              </a:rPr>
              <a:t>Analytické studie programu Zdraví 2030: </a:t>
            </a:r>
            <a:r>
              <a:rPr lang="cs-CZ" sz="3600" b="1" dirty="0">
                <a:solidFill>
                  <a:schemeClr val="bg1"/>
                </a:solidFill>
              </a:rPr>
              <a:t>Národní informační systém pro psychiatrii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164F2552-388B-4793-BF8A-077744D27E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91710" y="4717024"/>
            <a:ext cx="11608580" cy="1382233"/>
          </a:xfrm>
        </p:spPr>
        <p:txBody>
          <a:bodyPr>
            <a:normAutofit/>
          </a:bodyPr>
          <a:lstStyle/>
          <a:p>
            <a:r>
              <a:rPr lang="cs-CZ" sz="4000" dirty="0">
                <a:solidFill>
                  <a:srgbClr val="3F55A6"/>
                </a:solidFill>
              </a:rPr>
              <a:t>Spádová oblast psychiatrické péče v Praze </a:t>
            </a:r>
            <a:endParaRPr lang="en-US" sz="4000" dirty="0">
              <a:solidFill>
                <a:srgbClr val="3F55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4938693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235622"/>
            <a:ext cx="11664778" cy="573989"/>
          </a:xfrm>
        </p:spPr>
        <p:txBody>
          <a:bodyPr anchor="t">
            <a:normAutofit/>
          </a:bodyPr>
          <a:lstStyle/>
          <a:p>
            <a:r>
              <a:rPr lang="cs-CZ" sz="2800" dirty="0"/>
              <a:t>Pacienti zdravotnických zařízení </a:t>
            </a:r>
            <a:r>
              <a:rPr lang="cs-CZ" sz="2800" dirty="0" err="1"/>
              <a:t>odb</a:t>
            </a:r>
            <a:r>
              <a:rPr lang="cs-CZ" sz="2800" dirty="0"/>
              <a:t>. psychiatrie v hl. městě Praze</a:t>
            </a:r>
          </a:p>
        </p:txBody>
      </p:sp>
      <p:graphicFrame>
        <p:nvGraphicFramePr>
          <p:cNvPr id="3" name="Graf 2">
            <a:extLst>
              <a:ext uri="{FF2B5EF4-FFF2-40B4-BE49-F238E27FC236}">
                <a16:creationId xmlns:a16="http://schemas.microsoft.com/office/drawing/2014/main" id="{15D5418D-678A-5C9D-9CD8-8B84FA83138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858644"/>
              </p:ext>
            </p:extLst>
          </p:nvPr>
        </p:nvGraphicFramePr>
        <p:xfrm>
          <a:off x="5697695" y="1871187"/>
          <a:ext cx="6131701" cy="45936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2C48DB95-5570-35B0-8B67-C59F0775DACA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82687775"/>
              </p:ext>
            </p:extLst>
          </p:nvPr>
        </p:nvGraphicFramePr>
        <p:xfrm>
          <a:off x="25827" y="1756611"/>
          <a:ext cx="9054005" cy="46814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1541C66B-E137-AAED-AEA8-BE1FBCD7FDF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55074020"/>
              </p:ext>
            </p:extLst>
          </p:nvPr>
        </p:nvGraphicFramePr>
        <p:xfrm>
          <a:off x="6494306" y="5363297"/>
          <a:ext cx="1868989" cy="11015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8689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2031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sng" strike="noStrike" dirty="0">
                          <a:effectLst/>
                          <a:latin typeface="+mn-lt"/>
                        </a:rPr>
                        <a:t>Kraj bydliště </a:t>
                      </a:r>
                      <a:r>
                        <a:rPr lang="cs-CZ" sz="1200" b="1" u="none" strike="noStrike" dirty="0">
                          <a:effectLst/>
                          <a:latin typeface="+mn-lt"/>
                        </a:rPr>
                        <a:t>pacientů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31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aha </a:t>
                      </a:r>
                    </a:p>
                  </a:txBody>
                  <a:tcPr marL="36000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031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ředočeský kraj</a:t>
                      </a:r>
                    </a:p>
                  </a:txBody>
                  <a:tcPr marL="36000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031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tatní</a:t>
                      </a:r>
                    </a:p>
                  </a:txBody>
                  <a:tcPr marL="36000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0312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6" name="Skupina 5">
            <a:extLst>
              <a:ext uri="{FF2B5EF4-FFF2-40B4-BE49-F238E27FC236}">
                <a16:creationId xmlns:a16="http://schemas.microsoft.com/office/drawing/2014/main" id="{5E497346-236E-4354-2BA2-1219F3FF526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574153" y="5630430"/>
            <a:ext cx="144000" cy="586437"/>
            <a:chOff x="8055025" y="4842889"/>
            <a:chExt cx="144000" cy="586437"/>
          </a:xfrm>
        </p:grpSpPr>
        <p:sp>
          <p:nvSpPr>
            <p:cNvPr id="7" name="Obdélník 6">
              <a:extLst>
                <a:ext uri="{FF2B5EF4-FFF2-40B4-BE49-F238E27FC236}">
                  <a16:creationId xmlns:a16="http://schemas.microsoft.com/office/drawing/2014/main" id="{274ACB25-3BDC-FEBC-AFAB-24F6A7C6A956}"/>
                </a:ext>
              </a:extLst>
            </p:cNvPr>
            <p:cNvSpPr/>
            <p:nvPr/>
          </p:nvSpPr>
          <p:spPr>
            <a:xfrm>
              <a:off x="8055025" y="4842889"/>
              <a:ext cx="144000" cy="144000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Obdélník 7">
              <a:extLst>
                <a:ext uri="{FF2B5EF4-FFF2-40B4-BE49-F238E27FC236}">
                  <a16:creationId xmlns:a16="http://schemas.microsoft.com/office/drawing/2014/main" id="{15B53C85-3DB7-24A8-1206-913D3FFFC335}"/>
                </a:ext>
              </a:extLst>
            </p:cNvPr>
            <p:cNvSpPr/>
            <p:nvPr/>
          </p:nvSpPr>
          <p:spPr>
            <a:xfrm>
              <a:off x="8055025" y="5054536"/>
              <a:ext cx="144000" cy="144000"/>
            </a:xfrm>
            <a:prstGeom prst="rect">
              <a:avLst/>
            </a:prstGeom>
            <a:solidFill>
              <a:srgbClr val="FFC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Obdélník 8">
              <a:extLst>
                <a:ext uri="{FF2B5EF4-FFF2-40B4-BE49-F238E27FC236}">
                  <a16:creationId xmlns:a16="http://schemas.microsoft.com/office/drawing/2014/main" id="{78C07C24-E2B2-85AA-B197-B86B202F5441}"/>
                </a:ext>
              </a:extLst>
            </p:cNvPr>
            <p:cNvSpPr/>
            <p:nvPr/>
          </p:nvSpPr>
          <p:spPr>
            <a:xfrm>
              <a:off x="8055025" y="5285326"/>
              <a:ext cx="144000" cy="14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" name="TextBox 6">
            <a:extLst>
              <a:ext uri="{FF2B5EF4-FFF2-40B4-BE49-F238E27FC236}">
                <a16:creationId xmlns:a16="http://schemas.microsoft.com/office/drawing/2014/main" id="{3F2B21F7-0D11-57C8-8DF8-0E657E18C8B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88000" y="665785"/>
            <a:ext cx="116431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 (NRHZS)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, kteří mají v daném roce vykázánu jakoukoli péči pro sledovanou diagnózu (ambulantní nebo hospitalizační) u odbornosti psychiatrie.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2DD47980-1A11-346F-5286-AB5514B3A91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950463" y="1487374"/>
            <a:ext cx="46236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 </a:t>
            </a:r>
            <a:r>
              <a:rPr kumimoji="0" lang="cs-CZ" sz="1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šetřených v Praze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 odbornosti psychiatrie v letech 2022 a 2023 dle hlavních dg. skupin 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341F5CC-FA5D-C776-B092-F9240FB0C86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7603957" y="1458242"/>
            <a:ext cx="43393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 </a:t>
            </a:r>
            <a:r>
              <a:rPr kumimoji="0" lang="cs-CZ" sz="1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šetřených v Praze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 odbornosti psychiatrie v roce 2023 dle hlavních dg. skupin a bydliště </a:t>
            </a:r>
          </a:p>
        </p:txBody>
      </p:sp>
    </p:spTree>
    <p:extLst>
      <p:ext uri="{BB962C8B-B14F-4D97-AF65-F5344CB8AC3E}">
        <p14:creationId xmlns:p14="http://schemas.microsoft.com/office/powerpoint/2010/main" val="2925913557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235622"/>
            <a:ext cx="11664778" cy="573989"/>
          </a:xfrm>
        </p:spPr>
        <p:txBody>
          <a:bodyPr anchor="t">
            <a:normAutofit/>
          </a:bodyPr>
          <a:lstStyle/>
          <a:p>
            <a:r>
              <a:rPr lang="cs-CZ" sz="2800" dirty="0"/>
              <a:t>Pacienti HMP s psychiatrickou péčí pro vybrané diagnózy dle kraje ZZ</a:t>
            </a:r>
          </a:p>
        </p:txBody>
      </p:sp>
      <p:graphicFrame>
        <p:nvGraphicFramePr>
          <p:cNvPr id="3" name="Graf 2">
            <a:extLst>
              <a:ext uri="{FF2B5EF4-FFF2-40B4-BE49-F238E27FC236}">
                <a16:creationId xmlns:a16="http://schemas.microsoft.com/office/drawing/2014/main" id="{859AF1CB-9853-A20B-5520-8C7F06211FF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1901679"/>
              </p:ext>
            </p:extLst>
          </p:nvPr>
        </p:nvGraphicFramePr>
        <p:xfrm>
          <a:off x="5697695" y="1871187"/>
          <a:ext cx="6131701" cy="45936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5617F520-D197-8BB6-81E0-2F31C0425C7A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91819063"/>
              </p:ext>
            </p:extLst>
          </p:nvPr>
        </p:nvGraphicFramePr>
        <p:xfrm>
          <a:off x="25827" y="1756611"/>
          <a:ext cx="9054005" cy="46814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2E9C7AB-E626-545A-B630-171004AE8D9D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78498383"/>
              </p:ext>
            </p:extLst>
          </p:nvPr>
        </p:nvGraphicFramePr>
        <p:xfrm>
          <a:off x="6494306" y="5363297"/>
          <a:ext cx="1868989" cy="11015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8689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2031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sng" strike="noStrike" dirty="0">
                          <a:effectLst/>
                          <a:latin typeface="+mn-lt"/>
                        </a:rPr>
                        <a:t>Kraj zdravotnického zařízení</a:t>
                      </a:r>
                      <a:endParaRPr lang="cs-CZ" sz="1200" b="1" i="0" u="sng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31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aha </a:t>
                      </a:r>
                    </a:p>
                  </a:txBody>
                  <a:tcPr marL="36000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031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ředočeský kraj</a:t>
                      </a:r>
                    </a:p>
                  </a:txBody>
                  <a:tcPr marL="36000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031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tatní</a:t>
                      </a:r>
                    </a:p>
                  </a:txBody>
                  <a:tcPr marL="36000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0312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6" name="Skupina 5">
            <a:extLst>
              <a:ext uri="{FF2B5EF4-FFF2-40B4-BE49-F238E27FC236}">
                <a16:creationId xmlns:a16="http://schemas.microsoft.com/office/drawing/2014/main" id="{9C23E22B-1AD1-EBB1-E656-10043A0009CB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574153" y="5630430"/>
            <a:ext cx="144000" cy="586437"/>
            <a:chOff x="8055025" y="4842889"/>
            <a:chExt cx="144000" cy="586437"/>
          </a:xfrm>
        </p:grpSpPr>
        <p:sp>
          <p:nvSpPr>
            <p:cNvPr id="7" name="Obdélník 6">
              <a:extLst>
                <a:ext uri="{FF2B5EF4-FFF2-40B4-BE49-F238E27FC236}">
                  <a16:creationId xmlns:a16="http://schemas.microsoft.com/office/drawing/2014/main" id="{65D2AC36-1240-9B61-02A5-70758575E235}"/>
                </a:ext>
              </a:extLst>
            </p:cNvPr>
            <p:cNvSpPr/>
            <p:nvPr/>
          </p:nvSpPr>
          <p:spPr>
            <a:xfrm>
              <a:off x="8055025" y="4842889"/>
              <a:ext cx="144000" cy="144000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Obdélník 7">
              <a:extLst>
                <a:ext uri="{FF2B5EF4-FFF2-40B4-BE49-F238E27FC236}">
                  <a16:creationId xmlns:a16="http://schemas.microsoft.com/office/drawing/2014/main" id="{01FD5409-2E0C-00D4-EE21-26AE1F6AC2BC}"/>
                </a:ext>
              </a:extLst>
            </p:cNvPr>
            <p:cNvSpPr/>
            <p:nvPr/>
          </p:nvSpPr>
          <p:spPr>
            <a:xfrm>
              <a:off x="8055025" y="5054536"/>
              <a:ext cx="144000" cy="144000"/>
            </a:xfrm>
            <a:prstGeom prst="rect">
              <a:avLst/>
            </a:prstGeom>
            <a:solidFill>
              <a:srgbClr val="FFC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Obdélník 8">
              <a:extLst>
                <a:ext uri="{FF2B5EF4-FFF2-40B4-BE49-F238E27FC236}">
                  <a16:creationId xmlns:a16="http://schemas.microsoft.com/office/drawing/2014/main" id="{79507901-E1BF-88B2-BF97-65FA4675BB39}"/>
                </a:ext>
              </a:extLst>
            </p:cNvPr>
            <p:cNvSpPr/>
            <p:nvPr/>
          </p:nvSpPr>
          <p:spPr>
            <a:xfrm>
              <a:off x="8055025" y="5285326"/>
              <a:ext cx="144000" cy="14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" name="TextBox 6">
            <a:extLst>
              <a:ext uri="{FF2B5EF4-FFF2-40B4-BE49-F238E27FC236}">
                <a16:creationId xmlns:a16="http://schemas.microsoft.com/office/drawing/2014/main" id="{2D821FE3-BDF3-42F8-6456-0981639FEAF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88000" y="665785"/>
            <a:ext cx="116431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 (NRHZS)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, kteří mají v daném roce vykázánu jakoukoli péči pro sledovanou diagnózu (ambulantní nebo hospitalizační) u odbornosti psychiatrie.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05539583-C9FC-F623-AA45-ABD4516C8A7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475874" y="1487374"/>
            <a:ext cx="509827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 </a:t>
            </a:r>
            <a:r>
              <a:rPr kumimoji="0" lang="cs-CZ" sz="1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bydlištěm v hl. městě Praze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etech 2022 a 2023 dle hlavních dg. skupin 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84006077-FC29-F69D-6544-EBAB1902F56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7603957" y="1265738"/>
            <a:ext cx="433939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 </a:t>
            </a:r>
            <a:r>
              <a:rPr kumimoji="0" lang="cs-CZ" sz="1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bydlištěm v hl. městě Praze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etech 2022 a 2023 dle hlavních dg. skupin a kraje zdravotnického zařízení</a:t>
            </a:r>
          </a:p>
        </p:txBody>
      </p:sp>
    </p:spTree>
    <p:extLst>
      <p:ext uri="{BB962C8B-B14F-4D97-AF65-F5344CB8AC3E}">
        <p14:creationId xmlns:p14="http://schemas.microsoft.com/office/powerpoint/2010/main" val="2215765379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: se zakulacenými rohy na opačné straně 3">
            <a:extLst>
              <a:ext uri="{FF2B5EF4-FFF2-40B4-BE49-F238E27FC236}">
                <a16:creationId xmlns:a16="http://schemas.microsoft.com/office/drawing/2014/main" id="{167A20BD-62DA-44FE-AF48-7FBD2BEA4689}"/>
              </a:ext>
            </a:extLst>
          </p:cNvPr>
          <p:cNvSpPr/>
          <p:nvPr/>
        </p:nvSpPr>
        <p:spPr>
          <a:xfrm flipV="1">
            <a:off x="-4680" y="787665"/>
            <a:ext cx="5833745" cy="2787745"/>
          </a:xfrm>
          <a:prstGeom prst="round2DiagRect">
            <a:avLst>
              <a:gd name="adj1" fmla="val 50000"/>
              <a:gd name="adj2" fmla="val 0"/>
            </a:avLst>
          </a:prstGeom>
          <a:solidFill>
            <a:srgbClr val="5BCC72">
              <a:alpha val="49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71AFB65-5EC3-4B45-AC2F-AB3CB64FBF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846" y="1449859"/>
            <a:ext cx="5833745" cy="1688758"/>
          </a:xfrm>
        </p:spPr>
        <p:txBody>
          <a:bodyPr/>
          <a:lstStyle/>
          <a:p>
            <a:pPr algn="l"/>
            <a:r>
              <a:rPr lang="cs-CZ" sz="2400" b="1" i="1" dirty="0">
                <a:solidFill>
                  <a:schemeClr val="bg1"/>
                </a:solidFill>
              </a:rPr>
              <a:t>Analytické studie programu Zdraví 2030: </a:t>
            </a:r>
            <a:r>
              <a:rPr lang="cs-CZ" sz="3600" b="1" dirty="0">
                <a:solidFill>
                  <a:schemeClr val="bg1"/>
                </a:solidFill>
              </a:rPr>
              <a:t>Národní informační systém pro psychiatrii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164F2552-388B-4793-BF8A-077744D27E4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l-PL" sz="3600" dirty="0">
                <a:solidFill>
                  <a:srgbClr val="3F55A6"/>
                </a:solidFill>
              </a:rPr>
              <a:t>Propojení dat resortů MPSV a MZ ČR</a:t>
            </a:r>
          </a:p>
          <a:p>
            <a:endParaRPr lang="en-US" sz="3600" dirty="0"/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76617FC3-09B7-F4EA-D5CD-7891864E5EA7}"/>
              </a:ext>
            </a:extLst>
          </p:cNvPr>
          <p:cNvSpPr txBox="1"/>
          <p:nvPr/>
        </p:nvSpPr>
        <p:spPr>
          <a:xfrm>
            <a:off x="213245" y="4990019"/>
            <a:ext cx="335267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885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0" b="1" i="0" u="none" strike="noStrike" kern="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ZIS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426EFA4C-4F70-C0FD-DDDA-740A158894A3}"/>
              </a:ext>
            </a:extLst>
          </p:cNvPr>
          <p:cNvSpPr txBox="1"/>
          <p:nvPr/>
        </p:nvSpPr>
        <p:spPr>
          <a:xfrm>
            <a:off x="7003786" y="4990018"/>
            <a:ext cx="281929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885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0" b="1" i="0" u="none" strike="noStrike" kern="0" cap="none" spc="0" normalizeH="0" baseline="0" noProof="0" dirty="0">
                <a:ln>
                  <a:noFill/>
                </a:ln>
                <a:solidFill>
                  <a:srgbClr val="30829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SIS</a:t>
            </a:r>
          </a:p>
        </p:txBody>
      </p:sp>
      <p:sp>
        <p:nvSpPr>
          <p:cNvPr id="7" name="Šipka: doprava 6">
            <a:extLst>
              <a:ext uri="{FF2B5EF4-FFF2-40B4-BE49-F238E27FC236}">
                <a16:creationId xmlns:a16="http://schemas.microsoft.com/office/drawing/2014/main" id="{D29D8B39-6A69-AE57-DAF1-AA75D9459186}"/>
              </a:ext>
            </a:extLst>
          </p:cNvPr>
          <p:cNvSpPr/>
          <p:nvPr/>
        </p:nvSpPr>
        <p:spPr>
          <a:xfrm>
            <a:off x="2945145" y="5629380"/>
            <a:ext cx="425375" cy="282937"/>
          </a:xfrm>
          <a:prstGeom prst="rightArrow">
            <a:avLst/>
          </a:prstGeom>
          <a:solidFill>
            <a:srgbClr val="308297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0885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116" b="0" i="0" u="none" strike="noStrike" kern="0" cap="none" spc="0" normalizeH="0" baseline="0" noProof="0">
              <a:ln>
                <a:noFill/>
              </a:ln>
              <a:solidFill>
                <a:srgbClr val="30829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Šipka: doprava 7">
            <a:extLst>
              <a:ext uri="{FF2B5EF4-FFF2-40B4-BE49-F238E27FC236}">
                <a16:creationId xmlns:a16="http://schemas.microsoft.com/office/drawing/2014/main" id="{90A3FC6E-946C-5E2C-38C9-55415367437A}"/>
              </a:ext>
            </a:extLst>
          </p:cNvPr>
          <p:cNvSpPr/>
          <p:nvPr/>
        </p:nvSpPr>
        <p:spPr>
          <a:xfrm rot="10800000">
            <a:off x="6327862" y="5618453"/>
            <a:ext cx="432069" cy="304789"/>
          </a:xfrm>
          <a:prstGeom prst="rightArrow">
            <a:avLst>
              <a:gd name="adj1" fmla="val 56977"/>
              <a:gd name="adj2" fmla="val 50000"/>
            </a:avLst>
          </a:prstGeom>
          <a:solidFill>
            <a:srgbClr val="308297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0885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116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CE4E0B41-5A99-F592-A18D-462786C010E4}"/>
              </a:ext>
            </a:extLst>
          </p:cNvPr>
          <p:cNvSpPr txBox="1"/>
          <p:nvPr/>
        </p:nvSpPr>
        <p:spPr>
          <a:xfrm>
            <a:off x="3587917" y="5194113"/>
            <a:ext cx="2514503" cy="1069139"/>
          </a:xfrm>
          <a:prstGeom prst="rect">
            <a:avLst/>
          </a:prstGeom>
          <a:solidFill>
            <a:srgbClr val="3F55A6"/>
          </a:solidFill>
        </p:spPr>
        <p:txBody>
          <a:bodyPr wrap="square" rtlCol="0">
            <a:spAutoFit/>
          </a:bodyPr>
          <a:lstStyle/>
          <a:p>
            <a:pPr marL="0" marR="0" lvl="0" indent="0" algn="ctr" defTabSz="10885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116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ntrální sklad ukazatelů / indikátorů</a:t>
            </a:r>
          </a:p>
        </p:txBody>
      </p:sp>
    </p:spTree>
    <p:extLst>
      <p:ext uri="{BB962C8B-B14F-4D97-AF65-F5344CB8AC3E}">
        <p14:creationId xmlns:p14="http://schemas.microsoft.com/office/powerpoint/2010/main" val="1956616679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3666B594-9990-BF7D-D0E0-D6F4593C78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3921" y="1012139"/>
            <a:ext cx="1924357" cy="1239363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C19F14AB-A373-A6CA-4B74-00E19D74D2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28495" y="5411726"/>
            <a:ext cx="2072167" cy="1284541"/>
          </a:xfrm>
          <a:prstGeom prst="rect">
            <a:avLst/>
          </a:prstGeom>
        </p:spPr>
      </p:pic>
      <p:pic>
        <p:nvPicPr>
          <p:cNvPr id="4" name="Obrázek 3">
            <a:extLst>
              <a:ext uri="{FF2B5EF4-FFF2-40B4-BE49-F238E27FC236}">
                <a16:creationId xmlns:a16="http://schemas.microsoft.com/office/drawing/2014/main" id="{CEEFCD1E-F5B6-A7B2-39B4-E5BB89EBD8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4680" y="3716668"/>
            <a:ext cx="1832929" cy="1517734"/>
          </a:xfrm>
          <a:prstGeom prst="rect">
            <a:avLst/>
          </a:prstGeom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F6B7D1DD-1D26-BBE3-A388-76F5297975A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00711" y="3641486"/>
            <a:ext cx="1855133" cy="1604747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2857D0C-57EF-86E6-7473-CD4AFB8310D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54503" y="818065"/>
            <a:ext cx="1778662" cy="1517734"/>
          </a:xfrm>
          <a:prstGeom prst="rect">
            <a:avLst/>
          </a:prstGeom>
        </p:spPr>
      </p:pic>
      <p:sp>
        <p:nvSpPr>
          <p:cNvPr id="7" name="Šipka: obousměrná vodorovná 6">
            <a:extLst>
              <a:ext uri="{FF2B5EF4-FFF2-40B4-BE49-F238E27FC236}">
                <a16:creationId xmlns:a16="http://schemas.microsoft.com/office/drawing/2014/main" id="{A53D5C0A-9CAC-65FC-2F3F-879F9FA8D822}"/>
              </a:ext>
            </a:extLst>
          </p:cNvPr>
          <p:cNvSpPr/>
          <p:nvPr/>
        </p:nvSpPr>
        <p:spPr>
          <a:xfrm>
            <a:off x="3487660" y="1410763"/>
            <a:ext cx="4953838" cy="251494"/>
          </a:xfrm>
          <a:prstGeom prst="leftRightArrow">
            <a:avLst/>
          </a:prstGeom>
          <a:solidFill>
            <a:srgbClr val="3F55A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BB7634DE-3919-2AF7-6601-83747F767207}"/>
              </a:ext>
            </a:extLst>
          </p:cNvPr>
          <p:cNvSpPr txBox="1"/>
          <p:nvPr/>
        </p:nvSpPr>
        <p:spPr>
          <a:xfrm>
            <a:off x="4146835" y="880375"/>
            <a:ext cx="365848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1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kytovatelé</a:t>
            </a:r>
            <a:r>
              <a:rPr kumimoji="0" lang="cs-CZ" sz="30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30AB042B-9E37-F8D0-0E72-4DFFF06DDD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65619" y="3457309"/>
            <a:ext cx="1974581" cy="1680084"/>
          </a:xfrm>
          <a:prstGeom prst="rect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24570305-7DC8-A70D-D618-51B91D2968F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76085" y="3582943"/>
            <a:ext cx="1789534" cy="1522635"/>
          </a:xfrm>
          <a:prstGeom prst="rect">
            <a:avLst/>
          </a:prstGeom>
        </p:spPr>
      </p:pic>
      <p:sp>
        <p:nvSpPr>
          <p:cNvPr id="11" name="Šipka: obousměrná vodorovná 10">
            <a:extLst>
              <a:ext uri="{FF2B5EF4-FFF2-40B4-BE49-F238E27FC236}">
                <a16:creationId xmlns:a16="http://schemas.microsoft.com/office/drawing/2014/main" id="{8A132284-BF54-2F4B-0535-B5AA1FE1A936}"/>
              </a:ext>
            </a:extLst>
          </p:cNvPr>
          <p:cNvSpPr/>
          <p:nvPr/>
        </p:nvSpPr>
        <p:spPr>
          <a:xfrm>
            <a:off x="4350935" y="4317525"/>
            <a:ext cx="3446584" cy="274564"/>
          </a:xfrm>
          <a:prstGeom prst="leftRightArrow">
            <a:avLst/>
          </a:prstGeom>
          <a:solidFill>
            <a:srgbClr val="3F55A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D877E587-9910-E1F9-2A90-878BE2CEEE97}"/>
              </a:ext>
            </a:extLst>
          </p:cNvPr>
          <p:cNvSpPr txBox="1"/>
          <p:nvPr/>
        </p:nvSpPr>
        <p:spPr>
          <a:xfrm>
            <a:off x="4267413" y="3812642"/>
            <a:ext cx="365848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1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zumace služeb</a:t>
            </a:r>
          </a:p>
        </p:txBody>
      </p:sp>
      <p:sp>
        <p:nvSpPr>
          <p:cNvPr id="13" name="Šipka: ohnutá 12">
            <a:extLst>
              <a:ext uri="{FF2B5EF4-FFF2-40B4-BE49-F238E27FC236}">
                <a16:creationId xmlns:a16="http://schemas.microsoft.com/office/drawing/2014/main" id="{AAFB015E-B1BB-50B3-B422-3015EBA81870}"/>
              </a:ext>
            </a:extLst>
          </p:cNvPr>
          <p:cNvSpPr/>
          <p:nvPr/>
        </p:nvSpPr>
        <p:spPr>
          <a:xfrm rot="10800000" flipH="1">
            <a:off x="2495803" y="5494341"/>
            <a:ext cx="1855132" cy="948202"/>
          </a:xfrm>
          <a:prstGeom prst="bentArrow">
            <a:avLst/>
          </a:prstGeom>
          <a:solidFill>
            <a:srgbClr val="3F55A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Šipka: ohnutá 13">
            <a:extLst>
              <a:ext uri="{FF2B5EF4-FFF2-40B4-BE49-F238E27FC236}">
                <a16:creationId xmlns:a16="http://schemas.microsoft.com/office/drawing/2014/main" id="{3078EA69-47C2-1C83-B034-AB2013BA3EC0}"/>
              </a:ext>
            </a:extLst>
          </p:cNvPr>
          <p:cNvSpPr/>
          <p:nvPr/>
        </p:nvSpPr>
        <p:spPr>
          <a:xfrm rot="10800000">
            <a:off x="8083562" y="5478679"/>
            <a:ext cx="1974580" cy="948202"/>
          </a:xfrm>
          <a:prstGeom prst="bentArrow">
            <a:avLst/>
          </a:prstGeom>
          <a:solidFill>
            <a:srgbClr val="3F55A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62800F71-FD64-7342-5E9F-5D23DA359D63}"/>
              </a:ext>
            </a:extLst>
          </p:cNvPr>
          <p:cNvSpPr txBox="1"/>
          <p:nvPr/>
        </p:nvSpPr>
        <p:spPr>
          <a:xfrm>
            <a:off x="425613" y="5765051"/>
            <a:ext cx="296514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1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jektorie pacientů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9BD081FE-800F-AFF9-E774-4453C5470622}"/>
              </a:ext>
            </a:extLst>
          </p:cNvPr>
          <p:cNvSpPr txBox="1"/>
          <p:nvPr/>
        </p:nvSpPr>
        <p:spPr>
          <a:xfrm>
            <a:off x="9070852" y="5820877"/>
            <a:ext cx="296514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1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jektorie pacientů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0017CCF-04DE-8107-E62C-468CCAFB18AE}"/>
              </a:ext>
            </a:extLst>
          </p:cNvPr>
          <p:cNvSpPr txBox="1"/>
          <p:nvPr/>
        </p:nvSpPr>
        <p:spPr>
          <a:xfrm>
            <a:off x="1567544" y="2764542"/>
            <a:ext cx="16579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ace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81C191BB-6852-DCEC-47BC-36A841BF79F7}"/>
              </a:ext>
            </a:extLst>
          </p:cNvPr>
          <p:cNvSpPr txBox="1"/>
          <p:nvPr/>
        </p:nvSpPr>
        <p:spPr>
          <a:xfrm>
            <a:off x="2619606" y="2454971"/>
            <a:ext cx="16579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lady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F09DED6E-352D-1385-373C-9A5693E17949}"/>
              </a:ext>
            </a:extLst>
          </p:cNvPr>
          <p:cNvSpPr txBox="1"/>
          <p:nvPr/>
        </p:nvSpPr>
        <p:spPr>
          <a:xfrm>
            <a:off x="3270518" y="2898107"/>
            <a:ext cx="16579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kony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9550A16C-AFFC-2692-E749-C1B24B50C5DC}"/>
              </a:ext>
            </a:extLst>
          </p:cNvPr>
          <p:cNvSpPr txBox="1"/>
          <p:nvPr/>
        </p:nvSpPr>
        <p:spPr>
          <a:xfrm>
            <a:off x="7296526" y="2434265"/>
            <a:ext cx="16579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mocnost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84AD99C0-AA78-A48A-CCFA-A9812D4E9733}"/>
              </a:ext>
            </a:extLst>
          </p:cNvPr>
          <p:cNvSpPr txBox="1"/>
          <p:nvPr/>
        </p:nvSpPr>
        <p:spPr>
          <a:xfrm>
            <a:off x="8229128" y="2713441"/>
            <a:ext cx="16579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validita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51D8B97-8AA4-8E4B-8DF2-25424A7299AB}"/>
              </a:ext>
            </a:extLst>
          </p:cNvPr>
          <p:cNvSpPr txBox="1"/>
          <p:nvPr/>
        </p:nvSpPr>
        <p:spPr>
          <a:xfrm>
            <a:off x="9534577" y="2511681"/>
            <a:ext cx="19732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bytové služby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01075EE4-47A6-C724-698B-D1385FE8A728}"/>
              </a:ext>
            </a:extLst>
          </p:cNvPr>
          <p:cNvSpPr txBox="1"/>
          <p:nvPr/>
        </p:nvSpPr>
        <p:spPr>
          <a:xfrm>
            <a:off x="8756678" y="3090305"/>
            <a:ext cx="16579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nP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2FCD95D-246E-1068-8808-665540D162F7}"/>
              </a:ext>
            </a:extLst>
          </p:cNvPr>
          <p:cNvSpPr txBox="1"/>
          <p:nvPr/>
        </p:nvSpPr>
        <p:spPr>
          <a:xfrm>
            <a:off x="299552" y="2485749"/>
            <a:ext cx="1503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yp péče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BC150F1C-84FF-D21C-6F35-6E24B09F3D20}"/>
              </a:ext>
            </a:extLst>
          </p:cNvPr>
          <p:cNvSpPr txBox="1"/>
          <p:nvPr/>
        </p:nvSpPr>
        <p:spPr>
          <a:xfrm>
            <a:off x="510209" y="3121083"/>
            <a:ext cx="1503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utnost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04A9E296-1CE0-60B9-3DDB-A1579E42EE34}"/>
              </a:ext>
            </a:extLst>
          </p:cNvPr>
          <p:cNvSpPr txBox="1"/>
          <p:nvPr/>
        </p:nvSpPr>
        <p:spPr>
          <a:xfrm>
            <a:off x="10201099" y="2979986"/>
            <a:ext cx="1503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pora</a:t>
            </a:r>
          </a:p>
        </p:txBody>
      </p:sp>
      <p:sp>
        <p:nvSpPr>
          <p:cNvPr id="27" name="Nadpis 1">
            <a:extLst>
              <a:ext uri="{FF2B5EF4-FFF2-40B4-BE49-F238E27FC236}">
                <a16:creationId xmlns:a16="http://schemas.microsoft.com/office/drawing/2014/main" id="{FBC826AC-6831-2711-779E-7FF82F3F4B18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63611" y="235622"/>
            <a:ext cx="11664778" cy="573989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308297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cs-CZ" sz="2600" dirty="0"/>
              <a:t>Současné možnosti společných meziresortních analýz nejsou malé </a:t>
            </a:r>
          </a:p>
        </p:txBody>
      </p:sp>
    </p:spTree>
    <p:extLst>
      <p:ext uri="{BB962C8B-B14F-4D97-AF65-F5344CB8AC3E}">
        <p14:creationId xmlns:p14="http://schemas.microsoft.com/office/powerpoint/2010/main" val="3514137613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235622"/>
            <a:ext cx="11664778" cy="573989"/>
          </a:xfrm>
        </p:spPr>
        <p:txBody>
          <a:bodyPr anchor="t">
            <a:normAutofit/>
          </a:bodyPr>
          <a:lstStyle/>
          <a:p>
            <a:r>
              <a:rPr lang="cs-CZ" b="1" dirty="0">
                <a:latin typeface="+mn-lt"/>
              </a:rPr>
              <a:t>Obsah a časová dostupnost dat</a:t>
            </a:r>
            <a:endParaRPr lang="cs-CZ" dirty="0"/>
          </a:p>
        </p:txBody>
      </p:sp>
      <p:graphicFrame>
        <p:nvGraphicFramePr>
          <p:cNvPr id="3" name="Tabulka 4">
            <a:extLst>
              <a:ext uri="{FF2B5EF4-FFF2-40B4-BE49-F238E27FC236}">
                <a16:creationId xmlns:a16="http://schemas.microsoft.com/office/drawing/2014/main" id="{3695EE8C-E9D1-D087-83A4-C7C6D9697463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8412606" y="530887"/>
          <a:ext cx="2700000" cy="640080"/>
        </p:xfrm>
        <a:graphic>
          <a:graphicData uri="http://schemas.openxmlformats.org/drawingml/2006/table">
            <a:tbl>
              <a:tblPr firstRow="1" bandRow="1"/>
              <a:tblGrid>
                <a:gridCol w="360000">
                  <a:extLst>
                    <a:ext uri="{9D8B030D-6E8A-4147-A177-3AD203B41FA5}">
                      <a16:colId xmlns:a16="http://schemas.microsoft.com/office/drawing/2014/main" val="135019957"/>
                    </a:ext>
                  </a:extLst>
                </a:gridCol>
                <a:gridCol w="2340000">
                  <a:extLst>
                    <a:ext uri="{9D8B030D-6E8A-4147-A177-3AD203B41FA5}">
                      <a16:colId xmlns:a16="http://schemas.microsoft.com/office/drawing/2014/main" val="2963614280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cs-CZ" sz="1400" b="0" dirty="0"/>
                    </a:p>
                  </a:txBody>
                  <a:tcPr marL="0" marR="0" marT="0" marB="0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2B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r>
                        <a:rPr lang="cs-CZ" sz="1400" b="0" dirty="0">
                          <a:solidFill>
                            <a:schemeClr val="tx1"/>
                          </a:solidFill>
                        </a:rPr>
                        <a:t>Data nedostupná</a:t>
                      </a:r>
                    </a:p>
                  </a:txBody>
                  <a:tcPr marL="0" marR="0" marT="0" marB="0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6777274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cs-CZ" sz="1400" b="0" dirty="0"/>
                    </a:p>
                  </a:txBody>
                  <a:tcPr marL="0" marR="0" marT="0" marB="0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7A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r>
                        <a:rPr lang="cs-CZ" sz="1400" b="0" dirty="0">
                          <a:solidFill>
                            <a:schemeClr val="tx1"/>
                          </a:solidFill>
                        </a:rPr>
                        <a:t>Data částečně dostupná</a:t>
                      </a:r>
                    </a:p>
                  </a:txBody>
                  <a:tcPr marL="0" marR="0" marT="0" marB="0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3012651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cs-CZ" sz="1400" b="0" dirty="0"/>
                    </a:p>
                  </a:txBody>
                  <a:tcPr marL="0" marR="0" marT="0" marB="0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r>
                        <a:rPr lang="cs-CZ" sz="1400" b="0" dirty="0">
                          <a:solidFill>
                            <a:schemeClr val="tx1"/>
                          </a:solidFill>
                        </a:rPr>
                        <a:t>Data dostupná</a:t>
                      </a:r>
                    </a:p>
                  </a:txBody>
                  <a:tcPr marL="0" marR="0" marT="0" marB="0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025967"/>
                  </a:ext>
                </a:extLst>
              </a:tr>
            </a:tbl>
          </a:graphicData>
        </a:graphic>
      </p:graphicFrame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0571CC49-97F8-EE56-0493-7A7F4355E84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514540" y="1416772"/>
          <a:ext cx="10969185" cy="3200400"/>
        </p:xfrm>
        <a:graphic>
          <a:graphicData uri="http://schemas.openxmlformats.org/drawingml/2006/table">
            <a:tbl>
              <a:tblPr firstRow="1" bandRow="1"/>
              <a:tblGrid>
                <a:gridCol w="3204000">
                  <a:extLst>
                    <a:ext uri="{9D8B030D-6E8A-4147-A177-3AD203B41FA5}">
                      <a16:colId xmlns:a16="http://schemas.microsoft.com/office/drawing/2014/main" val="1577844425"/>
                    </a:ext>
                  </a:extLst>
                </a:gridCol>
                <a:gridCol w="464656">
                  <a:extLst>
                    <a:ext uri="{9D8B030D-6E8A-4147-A177-3AD203B41FA5}">
                      <a16:colId xmlns:a16="http://schemas.microsoft.com/office/drawing/2014/main" val="2733150614"/>
                    </a:ext>
                  </a:extLst>
                </a:gridCol>
                <a:gridCol w="464656">
                  <a:extLst>
                    <a:ext uri="{9D8B030D-6E8A-4147-A177-3AD203B41FA5}">
                      <a16:colId xmlns:a16="http://schemas.microsoft.com/office/drawing/2014/main" val="3105382"/>
                    </a:ext>
                  </a:extLst>
                </a:gridCol>
                <a:gridCol w="463657">
                  <a:extLst>
                    <a:ext uri="{9D8B030D-6E8A-4147-A177-3AD203B41FA5}">
                      <a16:colId xmlns:a16="http://schemas.microsoft.com/office/drawing/2014/main" val="3082580491"/>
                    </a:ext>
                  </a:extLst>
                </a:gridCol>
                <a:gridCol w="465656">
                  <a:extLst>
                    <a:ext uri="{9D8B030D-6E8A-4147-A177-3AD203B41FA5}">
                      <a16:colId xmlns:a16="http://schemas.microsoft.com/office/drawing/2014/main" val="3250674503"/>
                    </a:ext>
                  </a:extLst>
                </a:gridCol>
                <a:gridCol w="464656">
                  <a:extLst>
                    <a:ext uri="{9D8B030D-6E8A-4147-A177-3AD203B41FA5}">
                      <a16:colId xmlns:a16="http://schemas.microsoft.com/office/drawing/2014/main" val="1658824084"/>
                    </a:ext>
                  </a:extLst>
                </a:gridCol>
                <a:gridCol w="464656">
                  <a:extLst>
                    <a:ext uri="{9D8B030D-6E8A-4147-A177-3AD203B41FA5}">
                      <a16:colId xmlns:a16="http://schemas.microsoft.com/office/drawing/2014/main" val="3034330730"/>
                    </a:ext>
                  </a:extLst>
                </a:gridCol>
                <a:gridCol w="464656">
                  <a:extLst>
                    <a:ext uri="{9D8B030D-6E8A-4147-A177-3AD203B41FA5}">
                      <a16:colId xmlns:a16="http://schemas.microsoft.com/office/drawing/2014/main" val="4198500329"/>
                    </a:ext>
                  </a:extLst>
                </a:gridCol>
                <a:gridCol w="464656">
                  <a:extLst>
                    <a:ext uri="{9D8B030D-6E8A-4147-A177-3AD203B41FA5}">
                      <a16:colId xmlns:a16="http://schemas.microsoft.com/office/drawing/2014/main" val="2409101000"/>
                    </a:ext>
                  </a:extLst>
                </a:gridCol>
                <a:gridCol w="464656">
                  <a:extLst>
                    <a:ext uri="{9D8B030D-6E8A-4147-A177-3AD203B41FA5}">
                      <a16:colId xmlns:a16="http://schemas.microsoft.com/office/drawing/2014/main" val="2203310984"/>
                    </a:ext>
                  </a:extLst>
                </a:gridCol>
                <a:gridCol w="464656">
                  <a:extLst>
                    <a:ext uri="{9D8B030D-6E8A-4147-A177-3AD203B41FA5}">
                      <a16:colId xmlns:a16="http://schemas.microsoft.com/office/drawing/2014/main" val="2273481926"/>
                    </a:ext>
                  </a:extLst>
                </a:gridCol>
                <a:gridCol w="464656">
                  <a:extLst>
                    <a:ext uri="{9D8B030D-6E8A-4147-A177-3AD203B41FA5}">
                      <a16:colId xmlns:a16="http://schemas.microsoft.com/office/drawing/2014/main" val="2498444085"/>
                    </a:ext>
                  </a:extLst>
                </a:gridCol>
                <a:gridCol w="464656">
                  <a:extLst>
                    <a:ext uri="{9D8B030D-6E8A-4147-A177-3AD203B41FA5}">
                      <a16:colId xmlns:a16="http://schemas.microsoft.com/office/drawing/2014/main" val="3868497724"/>
                    </a:ext>
                  </a:extLst>
                </a:gridCol>
                <a:gridCol w="464656">
                  <a:extLst>
                    <a:ext uri="{9D8B030D-6E8A-4147-A177-3AD203B41FA5}">
                      <a16:colId xmlns:a16="http://schemas.microsoft.com/office/drawing/2014/main" val="2663857180"/>
                    </a:ext>
                  </a:extLst>
                </a:gridCol>
                <a:gridCol w="464656">
                  <a:extLst>
                    <a:ext uri="{9D8B030D-6E8A-4147-A177-3AD203B41FA5}">
                      <a16:colId xmlns:a16="http://schemas.microsoft.com/office/drawing/2014/main" val="312904097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1999868817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969025475"/>
                    </a:ext>
                  </a:extLst>
                </a:gridCol>
              </a:tblGrid>
              <a:tr h="1116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lang="cs-CZ" sz="1400" b="1" dirty="0">
                          <a:latin typeface="+mn-lt"/>
                        </a:rPr>
                        <a:t>Dat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cs-CZ" sz="1400" b="1" spc="-100" baseline="0" dirty="0">
                          <a:latin typeface="+mn-lt"/>
                        </a:rPr>
                        <a:t>201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cs-CZ" sz="1400" b="1" spc="-100" baseline="0" dirty="0">
                          <a:latin typeface="+mn-lt"/>
                        </a:rPr>
                        <a:t>201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cs-CZ" sz="1400" b="1" spc="-100" baseline="0" dirty="0">
                          <a:latin typeface="+mn-lt"/>
                        </a:rPr>
                        <a:t>201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cs-CZ" sz="1400" b="1" spc="-100" baseline="0" dirty="0">
                          <a:latin typeface="+mn-lt"/>
                        </a:rPr>
                        <a:t>201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cs-CZ" sz="1400" b="1" spc="-100" baseline="0" dirty="0">
                          <a:latin typeface="+mn-lt"/>
                        </a:rPr>
                        <a:t>201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cs-CZ" sz="1400" b="1" spc="-100" baseline="0" dirty="0">
                          <a:latin typeface="+mn-lt"/>
                        </a:rPr>
                        <a:t>201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cs-CZ" sz="1400" b="1" spc="-100" baseline="0" dirty="0">
                          <a:latin typeface="+mn-lt"/>
                        </a:rPr>
                        <a:t>201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cs-CZ" sz="1400" b="1" spc="-100" baseline="0" dirty="0">
                          <a:latin typeface="+mn-lt"/>
                        </a:rPr>
                        <a:t>201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cs-CZ" sz="1400" b="1" spc="-100" baseline="0" dirty="0">
                          <a:latin typeface="+mn-lt"/>
                        </a:rPr>
                        <a:t>201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cs-CZ" sz="1400" b="1" spc="-100" baseline="0" dirty="0">
                          <a:latin typeface="+mn-lt"/>
                        </a:rPr>
                        <a:t>201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cs-CZ" sz="1400" b="1" spc="-100" baseline="0" dirty="0">
                          <a:latin typeface="+mn-lt"/>
                        </a:rPr>
                        <a:t>20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cs-CZ" sz="1400" b="1" spc="-100" baseline="0" dirty="0">
                          <a:latin typeface="+mn-lt"/>
                        </a:rPr>
                        <a:t>202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cs-CZ" sz="1400" b="1" spc="-100" baseline="0" dirty="0">
                          <a:latin typeface="+mn-lt"/>
                        </a:rPr>
                        <a:t>202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cs-CZ" sz="1400" b="1" spc="-100" baseline="0" dirty="0">
                          <a:latin typeface="+mn-lt"/>
                        </a:rPr>
                        <a:t>202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 b="1" dirty="0"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latin typeface="+mn-lt"/>
                        </a:rPr>
                        <a:t>Form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0827147"/>
                  </a:ext>
                </a:extLst>
              </a:tr>
              <a:tr h="1116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lang="cs-CZ" sz="1400" dirty="0">
                          <a:latin typeface="+mn-lt"/>
                        </a:rPr>
                        <a:t>Dočasná pracovní neschopnost*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144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144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7A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+mn-lt"/>
                        </a:rPr>
                        <a:t>Datum od-do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2923499"/>
                  </a:ext>
                </a:extLst>
              </a:tr>
              <a:tr h="1116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lang="cs-CZ" sz="1400" dirty="0">
                          <a:latin typeface="+mn-lt"/>
                        </a:rPr>
                        <a:t>Důchody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144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144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144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7A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+mn-lt"/>
                        </a:rPr>
                        <a:t>Měsíc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2252308"/>
                  </a:ext>
                </a:extLst>
              </a:tr>
              <a:tr h="1116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lang="cs-CZ" sz="1400" dirty="0">
                          <a:latin typeface="+mn-lt"/>
                        </a:rPr>
                        <a:t>Sociální pobytové a ambulantní služby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7A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7A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7A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7A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tum od-do</a:t>
                      </a:r>
                      <a:endParaRPr kumimoji="0" lang="cs-CZ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9943583"/>
                  </a:ext>
                </a:extLst>
              </a:tr>
              <a:tr h="1116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lang="cs-CZ" sz="1400" dirty="0">
                          <a:latin typeface="+mn-lt"/>
                        </a:rPr>
                        <a:t>Zaměstnání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7A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7A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tum od-do</a:t>
                      </a:r>
                      <a:endParaRPr kumimoji="0" lang="cs-CZ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51238"/>
                  </a:ext>
                </a:extLst>
              </a:tr>
              <a:tr h="1116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lang="cs-CZ" sz="1400" dirty="0">
                          <a:latin typeface="+mn-lt"/>
                        </a:rPr>
                        <a:t>SVČ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7A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7A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tum od-do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6323747"/>
                  </a:ext>
                </a:extLst>
              </a:tr>
              <a:tr h="1116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lang="cs-CZ" sz="1400" dirty="0">
                          <a:latin typeface="+mn-lt"/>
                        </a:rPr>
                        <a:t>Vyměřovací základ**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2B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2B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7A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+mn-lt"/>
                        </a:rPr>
                        <a:t>Rok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6498204"/>
                  </a:ext>
                </a:extLst>
              </a:tr>
              <a:tr h="1116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lang="cs-CZ" sz="1400" dirty="0">
                          <a:latin typeface="+mn-lt"/>
                        </a:rPr>
                        <a:t>Pomoc v hmotné nouzi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2B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2B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2B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2B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7A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+mn-lt"/>
                        </a:rPr>
                        <a:t>Měsíc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7180056"/>
                  </a:ext>
                </a:extLst>
              </a:tr>
              <a:tr h="1116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lang="cs-CZ" sz="1400" dirty="0">
                          <a:latin typeface="+mn-lt"/>
                        </a:rPr>
                        <a:t>Příspěvek na péči + stupeň závislosti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2B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2B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2B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2B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7A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+mn-lt"/>
                        </a:rPr>
                        <a:t>Měsíc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6687992"/>
                  </a:ext>
                </a:extLst>
              </a:tr>
              <a:tr h="1116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lang="cs-CZ" sz="1400" dirty="0">
                          <a:latin typeface="+mn-lt"/>
                        </a:rPr>
                        <a:t>Dávky nemocenského pojištění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2B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2B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2B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2B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2B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2B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2B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2B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2B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tum od-do</a:t>
                      </a:r>
                      <a:endParaRPr kumimoji="0" lang="cs-CZ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8202709"/>
                  </a:ext>
                </a:extLst>
              </a:tr>
              <a:tr h="1116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lang="cs-CZ" sz="1400" dirty="0">
                          <a:latin typeface="+mn-lt"/>
                        </a:rPr>
                        <a:t>Evidence úřadu prác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2B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2B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2B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7A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7A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tum od-do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2124835"/>
                  </a:ext>
                </a:extLst>
              </a:tr>
              <a:tr h="1116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lang="cs-CZ" sz="1400" dirty="0">
                          <a:latin typeface="+mn-lt"/>
                        </a:rPr>
                        <a:t>Dávky státní sociální podpory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2B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2B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7A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tum od-do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0756071"/>
                  </a:ext>
                </a:extLst>
              </a:tr>
              <a:tr h="1116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lang="cs-CZ" sz="1400" dirty="0">
                          <a:latin typeface="+mn-lt"/>
                        </a:rPr>
                        <a:t>Průkaz OZ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2B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2B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2B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2B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7A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tum od-do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6386293"/>
                  </a:ext>
                </a:extLst>
              </a:tr>
              <a:tr h="18403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lang="cs-CZ" sz="1400" dirty="0">
                          <a:latin typeface="+mn-lt"/>
                        </a:rPr>
                        <a:t>Dávky v nezaměstnanosti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144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144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144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144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+mn-lt"/>
                        </a:rPr>
                        <a:t>Měsíc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3647499"/>
                  </a:ext>
                </a:extLst>
              </a:tr>
              <a:tr h="664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lang="cs-CZ" sz="1400" dirty="0">
                          <a:latin typeface="+mn-lt"/>
                        </a:rPr>
                        <a:t>Exekuc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7A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7A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7A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7A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7A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7A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C74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tum od-</a:t>
                      </a:r>
                      <a:r>
                        <a:rPr kumimoji="0" lang="cs-CZ" sz="14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</a:t>
                      </a:r>
                      <a:endParaRPr kumimoji="0" lang="cs-CZ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5267366"/>
                  </a:ext>
                </a:extLst>
              </a:tr>
            </a:tbl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AC4AD1E8-4ED0-C2F7-31F7-F21DA014474E}"/>
              </a:ext>
            </a:extLst>
          </p:cNvPr>
          <p:cNvSpPr txBox="1"/>
          <p:nvPr/>
        </p:nvSpPr>
        <p:spPr>
          <a:xfrm>
            <a:off x="514540" y="4929052"/>
            <a:ext cx="988584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*Zatím nejsou k dispozici záznamy o DPN zahájených v roce 2023, které pokračovaly v roce 2024.</a:t>
            </a:r>
          </a:p>
          <a:p>
            <a:r>
              <a:rPr lang="cs-CZ" sz="1400" dirty="0"/>
              <a:t>**Vyměřovací základy za rok 2023 zatím nejsou kompletně k dispozici, jelikož daňová přiznání jsou podávána až v průběhu roku 2024.</a:t>
            </a:r>
          </a:p>
        </p:txBody>
      </p:sp>
    </p:spTree>
    <p:extLst>
      <p:ext uri="{BB962C8B-B14F-4D97-AF65-F5344CB8AC3E}">
        <p14:creationId xmlns:p14="http://schemas.microsoft.com/office/powerpoint/2010/main" val="667722890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235622"/>
            <a:ext cx="11664778" cy="573989"/>
          </a:xfrm>
        </p:spPr>
        <p:txBody>
          <a:bodyPr anchor="t">
            <a:normAutofit/>
          </a:bodyPr>
          <a:lstStyle/>
          <a:p>
            <a:r>
              <a:rPr lang="cs-CZ" dirty="0"/>
              <a:t>ČR: Počet pacientů v pobytových sociálních službách s psychiatrickou diagnózou</a:t>
            </a:r>
          </a:p>
        </p:txBody>
      </p:sp>
      <p:sp>
        <p:nvSpPr>
          <p:cNvPr id="3" name="TextovéPole 1">
            <a:extLst>
              <a:ext uri="{FF2B5EF4-FFF2-40B4-BE49-F238E27FC236}">
                <a16:creationId xmlns:a16="http://schemas.microsoft.com/office/drawing/2014/main" id="{0F7F96FB-3F6E-9294-3504-CFF8A6D9BDB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63611" y="884470"/>
            <a:ext cx="75558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sociální informační systém (NSIS); data o pobytových sociálních službách</a:t>
            </a: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endParaRPr kumimoji="0" lang="cs-CZ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EACA96-93A7-CE71-75F4-3B2C61BE7D48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5999" y="1783873"/>
          <a:ext cx="11340000" cy="392049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4860000">
                  <a:extLst>
                    <a:ext uri="{9D8B030D-6E8A-4147-A177-3AD203B41FA5}">
                      <a16:colId xmlns:a16="http://schemas.microsoft.com/office/drawing/2014/main" val="2033744326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3011277565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647873978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4119123176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3451980790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844583604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3540119448"/>
                    </a:ext>
                  </a:extLst>
                </a:gridCol>
              </a:tblGrid>
              <a:tr h="18252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 Druh služby</a:t>
                      </a:r>
                      <a:endParaRPr lang="cs-CZ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1646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18</a:t>
                      </a:r>
                      <a:endParaRPr lang="cs-CZ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36000" marT="9525" marB="0" anchor="ctr">
                    <a:solidFill>
                      <a:srgbClr val="1646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19</a:t>
                      </a:r>
                      <a:endParaRPr lang="cs-CZ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36000" marT="9525" marB="0" anchor="ctr">
                    <a:solidFill>
                      <a:srgbClr val="1646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0</a:t>
                      </a:r>
                      <a:endParaRPr lang="cs-CZ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36000" marT="9525" marB="0" anchor="ctr">
                    <a:solidFill>
                      <a:srgbClr val="1646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>
                          <a:solidFill>
                            <a:schemeClr val="bg1"/>
                          </a:solidFill>
                          <a:effectLst/>
                        </a:rPr>
                        <a:t>2021</a:t>
                      </a:r>
                      <a:endParaRPr lang="cs-CZ" sz="14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36000" marT="9525" marB="0" anchor="ctr">
                    <a:solidFill>
                      <a:srgbClr val="1646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2</a:t>
                      </a:r>
                      <a:endParaRPr lang="cs-CZ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36000" marT="9525" marB="0" anchor="ctr">
                    <a:solidFill>
                      <a:srgbClr val="1646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36000" marT="9525" marB="0" anchor="ctr">
                    <a:solidFill>
                      <a:srgbClr val="1646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7237916"/>
                  </a:ext>
                </a:extLst>
              </a:tr>
              <a:tr h="9325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dirty="0"/>
                        <a:t>Počet pacientů v pobytových sociálních službách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7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48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66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2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03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08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43748707"/>
                  </a:ext>
                </a:extLst>
              </a:tr>
              <a:tr h="182523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– z toho s psychiatrickou diagnózou:</a:t>
                      </a:r>
                    </a:p>
                  </a:txBody>
                  <a:tcPr marL="9525" marR="9525" marT="9525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480</a:t>
                      </a:r>
                      <a:b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9,8 %)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187</a:t>
                      </a:r>
                      <a:b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0,5 %)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480</a:t>
                      </a:r>
                      <a:b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0,3 %)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925</a:t>
                      </a:r>
                      <a:b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0,8 %)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568</a:t>
                      </a:r>
                      <a:b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2,4 %)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226</a:t>
                      </a:r>
                      <a:b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3,1 %)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765252"/>
                  </a:ext>
                </a:extLst>
              </a:tr>
              <a:tr h="9325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skyt konkrétních diagnóz: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1434797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rganické duševní poruchy, Alzheimerova n. (F00-F09, G30)</a:t>
                      </a: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6 931 (39,8 %)</a:t>
                      </a: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8 724 (41,0 %)</a:t>
                      </a: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8 472 (41,1 %)</a:t>
                      </a: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9 689 (41,7 %)</a:t>
                      </a: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2 153 (43,4 %)</a:t>
                      </a: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2 918 (44,2 %)</a:t>
                      </a: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9456894"/>
                  </a:ext>
                </a:extLst>
              </a:tr>
              <a:tr h="14426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uchy duševní a poruchy chování způsobené užíváním alkoholu (F10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7 (0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4 (0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8 (0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1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7 (1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7 (0,9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38122071"/>
                  </a:ext>
                </a:extLst>
              </a:tr>
              <a:tr h="14426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uchy duševní a poruchy chování </a:t>
                      </a:r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pů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už. </a:t>
                      </a:r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oakt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látek (F11-F19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0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0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(0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(0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0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 (0,1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6068211"/>
                  </a:ext>
                </a:extLst>
              </a:tr>
              <a:tr h="7970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chizofrenie‚ poruchy </a:t>
                      </a:r>
                      <a:r>
                        <a:rPr lang="cs-CZ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chizotypální</a:t>
                      </a:r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a poruchy s bludy (F20-F29)</a:t>
                      </a: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 060 (4,4 %)</a:t>
                      </a: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 995 (4,2 %)</a:t>
                      </a: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 819 (4,1 %)</a:t>
                      </a: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 880 (4,1 %)</a:t>
                      </a: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 910 (4,0 %)</a:t>
                      </a: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 848 (4,0 %)</a:t>
                      </a: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3159909"/>
                  </a:ext>
                </a:extLst>
              </a:tr>
              <a:tr h="79704">
                <a:tc>
                  <a:txBody>
                    <a:bodyPr/>
                    <a:lstStyle/>
                    <a:p>
                      <a:pPr algn="l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fektivní poruchy (bez deprese) (F30-F39 bez F32, F33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 (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1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 (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 (0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 (0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0,4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27714683"/>
                  </a:ext>
                </a:extLst>
              </a:tr>
              <a:tr h="7970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presivní porucha (F32, F33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3 (1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24 (1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1 (1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2 (1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1 (1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6 (1,6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15146328"/>
                  </a:ext>
                </a:extLst>
              </a:tr>
              <a:tr h="7970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eurotické‚ stresové a somatoformní poruchy (F40-F48 bez F42)</a:t>
                      </a: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 939 (3,2 %)</a:t>
                      </a: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 000 (3,2 %)</a:t>
                      </a: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 795 (3,0 %)</a:t>
                      </a: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 999 (3,1 %)</a:t>
                      </a: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 013 (3,1 %)</a:t>
                      </a: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 009 (3,1 %)</a:t>
                      </a: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0761947"/>
                  </a:ext>
                </a:extLst>
              </a:tr>
              <a:tr h="7970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sedantně-nutkavá porucha (F42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0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0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0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0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0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0,0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3073030"/>
                  </a:ext>
                </a:extLst>
              </a:tr>
              <a:tr h="14426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yndromy poruch chování‚ spoj. s fyziolog. poruch. a </a:t>
                      </a:r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mat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</a:t>
                      </a: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ktory 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50-F59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 (0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 (0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8 (0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6 (0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1 (0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 (0,3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03201661"/>
                  </a:ext>
                </a:extLst>
              </a:tr>
              <a:tr h="79704">
                <a:tc>
                  <a:txBody>
                    <a:bodyPr/>
                    <a:lstStyle/>
                    <a:p>
                      <a:pPr algn="l" fontAlgn="b"/>
                      <a:r>
                        <a:rPr lang="pl-P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uchy osobnosti a chování (F60, F61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 (0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(0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0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 (0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 (0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 (0,3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97967030"/>
                  </a:ext>
                </a:extLst>
              </a:tr>
              <a:tr h="7970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ěny osobnosti a chování (F62-F69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 (0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0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0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0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0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0,1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60603319"/>
                  </a:ext>
                </a:extLst>
              </a:tr>
              <a:tr h="7970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entální retardace (F70-F79)</a:t>
                      </a: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 042 (10,8 %)</a:t>
                      </a: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9 997 (10,6 %)</a:t>
                      </a: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9 828 (10,5 %)</a:t>
                      </a: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9 785 (10,3 %)</a:t>
                      </a: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9 793 (10,1 %)</a:t>
                      </a: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9 676 (10,0 %)</a:t>
                      </a: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1776212"/>
                  </a:ext>
                </a:extLst>
              </a:tr>
              <a:tr h="7970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uchy psychického vývoje (F80-F89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(0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 (0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(0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0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0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 (0,2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7987532"/>
                  </a:ext>
                </a:extLst>
              </a:tr>
              <a:tr h="14426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uchy chování a emocí s obvyklým nástupem v dětství a v </a:t>
                      </a:r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sp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(F90-F98)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0,1 %)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0,1 %)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0,1 %)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 (0,1 %)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 (0,2 %)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 (0,2 %)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5185942"/>
                  </a:ext>
                </a:extLst>
              </a:tr>
            </a:tbl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A7639F70-5DC3-C654-A5C2-38744E58401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3611" y="1324936"/>
            <a:ext cx="108140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 je počet unikátních osob, které alespoň 1 den v daném roce čerpaly pobytovou sociální službu.</a:t>
            </a:r>
          </a:p>
        </p:txBody>
      </p:sp>
    </p:spTree>
    <p:extLst>
      <p:ext uri="{BB962C8B-B14F-4D97-AF65-F5344CB8AC3E}">
        <p14:creationId xmlns:p14="http://schemas.microsoft.com/office/powerpoint/2010/main" val="1657198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9" descr="Letecký snímek Nemocnice Blansko ">
            <a:extLst>
              <a:ext uri="{FF2B5EF4-FFF2-40B4-BE49-F238E27FC236}">
                <a16:creationId xmlns:a16="http://schemas.microsoft.com/office/drawing/2014/main" id="{D271330C-57F4-8602-E0F8-840F8F43E6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91" t="28146" r="35474" b="28563"/>
          <a:stretch>
            <a:fillRect/>
          </a:stretch>
        </p:blipFill>
        <p:spPr bwMode="auto">
          <a:xfrm>
            <a:off x="5446836" y="3006969"/>
            <a:ext cx="897095" cy="857859"/>
          </a:xfrm>
          <a:prstGeom prst="rect">
            <a:avLst/>
          </a:prstGeom>
          <a:noFill/>
          <a:ln w="38100">
            <a:solidFill>
              <a:srgbClr val="608DC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24A7C488-FF72-0705-8016-A2B8E7B05A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51668" y="863235"/>
            <a:ext cx="928234" cy="922899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4EF45339-BE7D-C77A-FECE-4F412A2B5CFD}"/>
              </a:ext>
            </a:extLst>
          </p:cNvPr>
          <p:cNvSpPr txBox="1"/>
          <p:nvPr/>
        </p:nvSpPr>
        <p:spPr>
          <a:xfrm>
            <a:off x="5121660" y="3973448"/>
            <a:ext cx="1547446" cy="369332"/>
          </a:xfrm>
          <a:prstGeom prst="rect">
            <a:avLst/>
          </a:prstGeom>
          <a:solidFill>
            <a:srgbClr val="B6E5F3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ZS / centrum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" name="Přímá spojnice se šipkou 4">
            <a:extLst>
              <a:ext uri="{FF2B5EF4-FFF2-40B4-BE49-F238E27FC236}">
                <a16:creationId xmlns:a16="http://schemas.microsoft.com/office/drawing/2014/main" id="{B97826CF-03DA-731B-CB20-AC0C46413735}"/>
              </a:ext>
            </a:extLst>
          </p:cNvPr>
          <p:cNvCxnSpPr>
            <a:cxnSpLocks/>
          </p:cNvCxnSpPr>
          <p:nvPr/>
        </p:nvCxnSpPr>
        <p:spPr>
          <a:xfrm flipH="1">
            <a:off x="3910708" y="4552034"/>
            <a:ext cx="1131354" cy="4540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ovéPole 5">
            <a:extLst>
              <a:ext uri="{FF2B5EF4-FFF2-40B4-BE49-F238E27FC236}">
                <a16:creationId xmlns:a16="http://schemas.microsoft.com/office/drawing/2014/main" id="{B570F754-02DD-463B-ECEE-7B9438DF7259}"/>
              </a:ext>
            </a:extLst>
          </p:cNvPr>
          <p:cNvSpPr txBox="1"/>
          <p:nvPr/>
        </p:nvSpPr>
        <p:spPr>
          <a:xfrm>
            <a:off x="2396271" y="6212787"/>
            <a:ext cx="717747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14647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ukturální indikátory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E8BDDE52-8C7E-BEB4-4133-E94BD8B6C3EE}"/>
              </a:ext>
            </a:extLst>
          </p:cNvPr>
          <p:cNvSpPr txBox="1"/>
          <p:nvPr/>
        </p:nvSpPr>
        <p:spPr>
          <a:xfrm>
            <a:off x="2043588" y="5135949"/>
            <a:ext cx="22481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sonální kapacity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8" name="Přímá spojnice se šipkou 7">
            <a:extLst>
              <a:ext uri="{FF2B5EF4-FFF2-40B4-BE49-F238E27FC236}">
                <a16:creationId xmlns:a16="http://schemas.microsoft.com/office/drawing/2014/main" id="{0027DB25-255B-7823-0ABA-B6D4729BAD3B}"/>
              </a:ext>
            </a:extLst>
          </p:cNvPr>
          <p:cNvCxnSpPr>
            <a:cxnSpLocks/>
            <a:endCxn id="9" idx="0"/>
          </p:cNvCxnSpPr>
          <p:nvPr/>
        </p:nvCxnSpPr>
        <p:spPr>
          <a:xfrm>
            <a:off x="5894057" y="4587182"/>
            <a:ext cx="0" cy="7023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ovéPole 8">
            <a:extLst>
              <a:ext uri="{FF2B5EF4-FFF2-40B4-BE49-F238E27FC236}">
                <a16:creationId xmlns:a16="http://schemas.microsoft.com/office/drawing/2014/main" id="{C274B1D7-5246-45BE-9234-85DB13F92B0E}"/>
              </a:ext>
            </a:extLst>
          </p:cNvPr>
          <p:cNvSpPr txBox="1"/>
          <p:nvPr/>
        </p:nvSpPr>
        <p:spPr>
          <a:xfrm>
            <a:off x="4769972" y="5289545"/>
            <a:ext cx="22481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bavení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B6D24972-56E4-8026-C5E8-6A67BCA35529}"/>
              </a:ext>
            </a:extLst>
          </p:cNvPr>
          <p:cNvCxnSpPr>
            <a:cxnSpLocks/>
          </p:cNvCxnSpPr>
          <p:nvPr/>
        </p:nvCxnSpPr>
        <p:spPr>
          <a:xfrm>
            <a:off x="6746053" y="4559144"/>
            <a:ext cx="1061516" cy="5780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156283F5-61BD-6FA7-920C-B5E9D967B097}"/>
              </a:ext>
            </a:extLst>
          </p:cNvPr>
          <p:cNvSpPr txBox="1"/>
          <p:nvPr/>
        </p:nvSpPr>
        <p:spPr>
          <a:xfrm>
            <a:off x="7478116" y="5169427"/>
            <a:ext cx="27437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voz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amp;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těž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amp;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pád 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Pravá složená závorka 11">
            <a:extLst>
              <a:ext uri="{FF2B5EF4-FFF2-40B4-BE49-F238E27FC236}">
                <a16:creationId xmlns:a16="http://schemas.microsoft.com/office/drawing/2014/main" id="{B11DB552-228B-9B51-64B6-BBEAE33CAB87}"/>
              </a:ext>
            </a:extLst>
          </p:cNvPr>
          <p:cNvSpPr/>
          <p:nvPr/>
        </p:nvSpPr>
        <p:spPr>
          <a:xfrm rot="5400000">
            <a:off x="5784956" y="3037656"/>
            <a:ext cx="400111" cy="5895941"/>
          </a:xfrm>
          <a:prstGeom prst="rightBrace">
            <a:avLst/>
          </a:prstGeom>
          <a:solidFill>
            <a:srgbClr val="14647B"/>
          </a:solidFill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3" name="Přímá spojnice se šipkou 12">
            <a:extLst>
              <a:ext uri="{FF2B5EF4-FFF2-40B4-BE49-F238E27FC236}">
                <a16:creationId xmlns:a16="http://schemas.microsoft.com/office/drawing/2014/main" id="{0EADEC80-B496-524F-E56C-9D5F0FD5D05A}"/>
              </a:ext>
            </a:extLst>
          </p:cNvPr>
          <p:cNvCxnSpPr>
            <a:cxnSpLocks/>
          </p:cNvCxnSpPr>
          <p:nvPr/>
        </p:nvCxnSpPr>
        <p:spPr>
          <a:xfrm flipH="1" flipV="1">
            <a:off x="3471203" y="1786134"/>
            <a:ext cx="1766034" cy="12148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24267A32-7F0E-C0F0-7B1A-10017CFC974E}"/>
              </a:ext>
            </a:extLst>
          </p:cNvPr>
          <p:cNvSpPr txBox="1"/>
          <p:nvPr/>
        </p:nvSpPr>
        <p:spPr>
          <a:xfrm>
            <a:off x="1576965" y="4219612"/>
            <a:ext cx="154988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5" name="Přímá spojnice se šipkou 14">
            <a:extLst>
              <a:ext uri="{FF2B5EF4-FFF2-40B4-BE49-F238E27FC236}">
                <a16:creationId xmlns:a16="http://schemas.microsoft.com/office/drawing/2014/main" id="{4C388688-312E-B04D-5BDA-59ABD6141483}"/>
              </a:ext>
            </a:extLst>
          </p:cNvPr>
          <p:cNvCxnSpPr>
            <a:cxnSpLocks/>
          </p:cNvCxnSpPr>
          <p:nvPr/>
        </p:nvCxnSpPr>
        <p:spPr>
          <a:xfrm flipH="1">
            <a:off x="3234827" y="3466713"/>
            <a:ext cx="205358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769D2311-2E99-69EE-E5A7-24875160F46A}"/>
              </a:ext>
            </a:extLst>
          </p:cNvPr>
          <p:cNvSpPr txBox="1"/>
          <p:nvPr/>
        </p:nvSpPr>
        <p:spPr>
          <a:xfrm>
            <a:off x="1580142" y="3094141"/>
            <a:ext cx="154988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jem péče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kony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4E22A02B-D48E-D6F7-06F1-C9285860F97A}"/>
              </a:ext>
            </a:extLst>
          </p:cNvPr>
          <p:cNvSpPr txBox="1"/>
          <p:nvPr/>
        </p:nvSpPr>
        <p:spPr>
          <a:xfrm>
            <a:off x="5042062" y="417703"/>
            <a:ext cx="1547446" cy="369332"/>
          </a:xfrm>
          <a:prstGeom prst="rect">
            <a:avLst/>
          </a:prstGeom>
          <a:solidFill>
            <a:srgbClr val="B6E5F3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íť PZS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Pravá složená závorka 17">
            <a:extLst>
              <a:ext uri="{FF2B5EF4-FFF2-40B4-BE49-F238E27FC236}">
                <a16:creationId xmlns:a16="http://schemas.microsoft.com/office/drawing/2014/main" id="{8D5348BC-40F3-3F08-9606-E4AC4CC1C1D9}"/>
              </a:ext>
            </a:extLst>
          </p:cNvPr>
          <p:cNvSpPr/>
          <p:nvPr/>
        </p:nvSpPr>
        <p:spPr>
          <a:xfrm rot="10800000">
            <a:off x="935687" y="2429639"/>
            <a:ext cx="400111" cy="2889140"/>
          </a:xfrm>
          <a:prstGeom prst="rightBrace">
            <a:avLst>
              <a:gd name="adj1" fmla="val 8333"/>
              <a:gd name="adj2" fmla="val 50000"/>
            </a:avLst>
          </a:prstGeom>
          <a:solidFill>
            <a:srgbClr val="14647B"/>
          </a:solidFill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482CC362-74B1-EFC5-E7A5-902274E103FA}"/>
              </a:ext>
            </a:extLst>
          </p:cNvPr>
          <p:cNvCxnSpPr>
            <a:cxnSpLocks/>
          </p:cNvCxnSpPr>
          <p:nvPr/>
        </p:nvCxnSpPr>
        <p:spPr>
          <a:xfrm flipH="1">
            <a:off x="3228062" y="3854016"/>
            <a:ext cx="2009175" cy="5600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AAFA1C69-83FC-C274-BF60-401DF52FEBED}"/>
              </a:ext>
            </a:extLst>
          </p:cNvPr>
          <p:cNvSpPr txBox="1"/>
          <p:nvPr/>
        </p:nvSpPr>
        <p:spPr>
          <a:xfrm>
            <a:off x="1776401" y="1456482"/>
            <a:ext cx="154988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ivita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lady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6F5D8E64-90A9-E9DD-A737-12EA8AFF8EB5}"/>
              </a:ext>
            </a:extLst>
          </p:cNvPr>
          <p:cNvSpPr txBox="1"/>
          <p:nvPr/>
        </p:nvSpPr>
        <p:spPr>
          <a:xfrm rot="16200000">
            <a:off x="-972576" y="3658765"/>
            <a:ext cx="313632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14647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LUME</a:t>
            </a:r>
          </a:p>
        </p:txBody>
      </p:sp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4745245A-6FAF-229F-9087-75C0183E7748}"/>
              </a:ext>
            </a:extLst>
          </p:cNvPr>
          <p:cNvCxnSpPr>
            <a:cxnSpLocks/>
          </p:cNvCxnSpPr>
          <p:nvPr/>
        </p:nvCxnSpPr>
        <p:spPr>
          <a:xfrm flipV="1">
            <a:off x="6504883" y="1924459"/>
            <a:ext cx="1996022" cy="10398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E3230C9C-FA28-76DE-801A-EB3248574110}"/>
              </a:ext>
            </a:extLst>
          </p:cNvPr>
          <p:cNvCxnSpPr>
            <a:cxnSpLocks/>
          </p:cNvCxnSpPr>
          <p:nvPr/>
        </p:nvCxnSpPr>
        <p:spPr>
          <a:xfrm>
            <a:off x="6558848" y="3419210"/>
            <a:ext cx="210189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582739C3-2AD1-F9A6-B4B6-14EA9F7FC3A1}"/>
              </a:ext>
            </a:extLst>
          </p:cNvPr>
          <p:cNvSpPr txBox="1"/>
          <p:nvPr/>
        </p:nvSpPr>
        <p:spPr>
          <a:xfrm>
            <a:off x="8647659" y="1432191"/>
            <a:ext cx="154988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jektori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asy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2B22D109-50B9-30BC-25A9-B90C1A160642}"/>
              </a:ext>
            </a:extLst>
          </p:cNvPr>
          <p:cNvSpPr txBox="1"/>
          <p:nvPr/>
        </p:nvSpPr>
        <p:spPr>
          <a:xfrm>
            <a:off x="8691400" y="3065267"/>
            <a:ext cx="21018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-UP, dlouhodobé výsledky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FB5D865B-7B2A-7055-3035-1385BDA8EB72}"/>
              </a:ext>
            </a:extLst>
          </p:cNvPr>
          <p:cNvCxnSpPr>
            <a:cxnSpLocks/>
          </p:cNvCxnSpPr>
          <p:nvPr/>
        </p:nvCxnSpPr>
        <p:spPr>
          <a:xfrm>
            <a:off x="6546355" y="3779576"/>
            <a:ext cx="2114385" cy="6442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4B7C028B-C327-FD3E-67BC-94AC5A7CFFD5}"/>
              </a:ext>
            </a:extLst>
          </p:cNvPr>
          <p:cNvSpPr txBox="1"/>
          <p:nvPr/>
        </p:nvSpPr>
        <p:spPr>
          <a:xfrm>
            <a:off x="8647659" y="4253179"/>
            <a:ext cx="21018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lezy, procesy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Pravá složená závorka 27">
            <a:extLst>
              <a:ext uri="{FF2B5EF4-FFF2-40B4-BE49-F238E27FC236}">
                <a16:creationId xmlns:a16="http://schemas.microsoft.com/office/drawing/2014/main" id="{17F15F44-DD5E-D045-6732-5E217570DAFC}"/>
              </a:ext>
            </a:extLst>
          </p:cNvPr>
          <p:cNvSpPr/>
          <p:nvPr/>
        </p:nvSpPr>
        <p:spPr>
          <a:xfrm>
            <a:off x="10681886" y="2512088"/>
            <a:ext cx="400111" cy="2889140"/>
          </a:xfrm>
          <a:prstGeom prst="rightBrace">
            <a:avLst>
              <a:gd name="adj1" fmla="val 8333"/>
              <a:gd name="adj2" fmla="val 50000"/>
            </a:avLst>
          </a:prstGeom>
          <a:solidFill>
            <a:srgbClr val="14647B"/>
          </a:solidFill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44068C1E-69CD-0D3E-E1B9-60A13A555B57}"/>
              </a:ext>
            </a:extLst>
          </p:cNvPr>
          <p:cNvSpPr txBox="1"/>
          <p:nvPr/>
        </p:nvSpPr>
        <p:spPr>
          <a:xfrm rot="5400000">
            <a:off x="9824326" y="3758004"/>
            <a:ext cx="313632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14647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UTPUTS </a:t>
            </a:r>
          </a:p>
        </p:txBody>
      </p:sp>
      <p:sp>
        <p:nvSpPr>
          <p:cNvPr id="30" name="Šipka: nahoru 29">
            <a:extLst>
              <a:ext uri="{FF2B5EF4-FFF2-40B4-BE49-F238E27FC236}">
                <a16:creationId xmlns:a16="http://schemas.microsoft.com/office/drawing/2014/main" id="{486CAA44-C76A-643A-2B4B-EFAE0145A9E1}"/>
              </a:ext>
            </a:extLst>
          </p:cNvPr>
          <p:cNvSpPr/>
          <p:nvPr/>
        </p:nvSpPr>
        <p:spPr>
          <a:xfrm>
            <a:off x="485279" y="1924458"/>
            <a:ext cx="204830" cy="1328757"/>
          </a:xfrm>
          <a:prstGeom prst="upArrow">
            <a:avLst/>
          </a:prstGeom>
          <a:solidFill>
            <a:srgbClr val="14647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BB300451-4691-506F-6BE9-619F7EDAD303}"/>
              </a:ext>
            </a:extLst>
          </p:cNvPr>
          <p:cNvSpPr txBox="1"/>
          <p:nvPr/>
        </p:nvSpPr>
        <p:spPr>
          <a:xfrm rot="20450809">
            <a:off x="135435" y="738580"/>
            <a:ext cx="220280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14647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ST EFFECTIVENESS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3DA3FC45-BC3A-C636-5A00-0A009B52A439}"/>
              </a:ext>
            </a:extLst>
          </p:cNvPr>
          <p:cNvSpPr txBox="1"/>
          <p:nvPr/>
        </p:nvSpPr>
        <p:spPr>
          <a:xfrm rot="1608653">
            <a:off x="9691890" y="698461"/>
            <a:ext cx="220280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14647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UTPU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14647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OST</a:t>
            </a:r>
          </a:p>
        </p:txBody>
      </p:sp>
      <p:sp>
        <p:nvSpPr>
          <p:cNvPr id="33" name="Šipka: obousměrná svislá 32">
            <a:extLst>
              <a:ext uri="{FF2B5EF4-FFF2-40B4-BE49-F238E27FC236}">
                <a16:creationId xmlns:a16="http://schemas.microsoft.com/office/drawing/2014/main" id="{50316D2B-D8DD-B2FE-55DD-D01FE77AF774}"/>
              </a:ext>
            </a:extLst>
          </p:cNvPr>
          <p:cNvSpPr/>
          <p:nvPr/>
        </p:nvSpPr>
        <p:spPr>
          <a:xfrm>
            <a:off x="5673753" y="1892979"/>
            <a:ext cx="328674" cy="1005370"/>
          </a:xfrm>
          <a:prstGeom prst="upDownArrow">
            <a:avLst>
              <a:gd name="adj1" fmla="val 23149"/>
              <a:gd name="adj2" fmla="val 50000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E3996248-7B3F-9EC8-E75E-5DBE9B69F517}"/>
              </a:ext>
            </a:extLst>
          </p:cNvPr>
          <p:cNvSpPr txBox="1"/>
          <p:nvPr/>
        </p:nvSpPr>
        <p:spPr>
          <a:xfrm>
            <a:off x="4769656" y="2157613"/>
            <a:ext cx="2202808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nchmarking</a:t>
            </a:r>
          </a:p>
        </p:txBody>
      </p:sp>
      <p:sp>
        <p:nvSpPr>
          <p:cNvPr id="35" name="Šipka: nahoru 34">
            <a:extLst>
              <a:ext uri="{FF2B5EF4-FFF2-40B4-BE49-F238E27FC236}">
                <a16:creationId xmlns:a16="http://schemas.microsoft.com/office/drawing/2014/main" id="{347E778B-CB79-FB87-0B17-135040E72F6A}"/>
              </a:ext>
            </a:extLst>
          </p:cNvPr>
          <p:cNvSpPr/>
          <p:nvPr/>
        </p:nvSpPr>
        <p:spPr>
          <a:xfrm>
            <a:off x="11248746" y="1892979"/>
            <a:ext cx="204830" cy="1328757"/>
          </a:xfrm>
          <a:prstGeom prst="upArrow">
            <a:avLst/>
          </a:prstGeom>
          <a:solidFill>
            <a:srgbClr val="14647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7439400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0" y="235622"/>
            <a:ext cx="11848179" cy="573989"/>
          </a:xfrm>
        </p:spPr>
        <p:txBody>
          <a:bodyPr anchor="t">
            <a:noAutofit/>
          </a:bodyPr>
          <a:lstStyle/>
          <a:p>
            <a:r>
              <a:rPr lang="cs-CZ" dirty="0"/>
              <a:t>Praha: Počet pacientů v pobytových sociálních službách s psychiatrickou dg.</a:t>
            </a:r>
          </a:p>
        </p:txBody>
      </p:sp>
      <p:sp>
        <p:nvSpPr>
          <p:cNvPr id="4" name="TextovéPole 1">
            <a:extLst>
              <a:ext uri="{FF2B5EF4-FFF2-40B4-BE49-F238E27FC236}">
                <a16:creationId xmlns:a16="http://schemas.microsoft.com/office/drawing/2014/main" id="{015F8B7C-88F0-5AEE-1F17-82C7E1A8271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63611" y="884470"/>
            <a:ext cx="75558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sociální informační systém (NSIS); data o pobytových sociálních službách</a:t>
            </a: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endParaRPr kumimoji="0" lang="cs-CZ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6D6F5424-8613-77F3-DD80-61F5D7EF14D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3611" y="1324936"/>
            <a:ext cx="108140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 je počet unikátních osob s bydlištěm v Hl. m. Praha, které alespoň 1 den v daném roce čerpaly pobytovou sociální službu.</a:t>
            </a:r>
          </a:p>
        </p:txBody>
      </p:sp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45D28DDB-605B-AEA6-5C09-552EFEC687A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5999" y="1783873"/>
          <a:ext cx="11340000" cy="392049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4860000">
                  <a:extLst>
                    <a:ext uri="{9D8B030D-6E8A-4147-A177-3AD203B41FA5}">
                      <a16:colId xmlns:a16="http://schemas.microsoft.com/office/drawing/2014/main" val="2033744326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3011277565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647873978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4119123176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3451980790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844583604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3540119448"/>
                    </a:ext>
                  </a:extLst>
                </a:gridCol>
              </a:tblGrid>
              <a:tr h="18252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 Druh služby</a:t>
                      </a:r>
                      <a:endParaRPr lang="cs-CZ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1646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18</a:t>
                      </a:r>
                      <a:endParaRPr lang="cs-CZ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36000" marT="9525" marB="0" anchor="ctr">
                    <a:solidFill>
                      <a:srgbClr val="1646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19</a:t>
                      </a:r>
                      <a:endParaRPr lang="cs-CZ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36000" marT="9525" marB="0" anchor="ctr">
                    <a:solidFill>
                      <a:srgbClr val="1646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0</a:t>
                      </a:r>
                      <a:endParaRPr lang="cs-CZ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36000" marT="9525" marB="0" anchor="ctr">
                    <a:solidFill>
                      <a:srgbClr val="1646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>
                          <a:solidFill>
                            <a:schemeClr val="bg1"/>
                          </a:solidFill>
                          <a:effectLst/>
                        </a:rPr>
                        <a:t>2021</a:t>
                      </a:r>
                      <a:endParaRPr lang="cs-CZ" sz="14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36000" marT="9525" marB="0" anchor="ctr">
                    <a:solidFill>
                      <a:srgbClr val="1646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2</a:t>
                      </a:r>
                      <a:endParaRPr lang="cs-CZ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36000" marT="9525" marB="0" anchor="ctr">
                    <a:solidFill>
                      <a:srgbClr val="1646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36000" marT="9525" marB="0" anchor="ctr">
                    <a:solidFill>
                      <a:srgbClr val="1646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7237916"/>
                  </a:ext>
                </a:extLst>
              </a:tr>
              <a:tr h="9325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dirty="0"/>
                        <a:t>Počet pacientů v pobytových sociálních službách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7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2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1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2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5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55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43748707"/>
                  </a:ext>
                </a:extLst>
              </a:tr>
              <a:tr h="182523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– z toho s psychiatrickou diagnózou:</a:t>
                      </a:r>
                    </a:p>
                  </a:txBody>
                  <a:tcPr marL="9525" marR="9525" marT="9525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09</a:t>
                      </a:r>
                      <a:b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6 %)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15</a:t>
                      </a:r>
                      <a:b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9 %)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55</a:t>
                      </a:r>
                      <a:b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3 %)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40</a:t>
                      </a:r>
                      <a:b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6 %)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98</a:t>
                      </a:r>
                      <a:b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98</a:t>
                      </a:r>
                      <a:b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,0 %)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765252"/>
                  </a:ext>
                </a:extLst>
              </a:tr>
              <a:tr h="9325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skyt konkrétních diagnóz: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1434797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rganické duševní poruchy, Alzheimerova n. (F00-F09, G30)</a:t>
                      </a: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 588 (52,6 %)</a:t>
                      </a: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 979 (53,6 %)</a:t>
                      </a: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 951 (54,3 %)</a:t>
                      </a: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 975 (54,0 %)</a:t>
                      </a: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 282 (55,1 %)</a:t>
                      </a: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 260 (55,0 %)</a:t>
                      </a: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9456894"/>
                  </a:ext>
                </a:extLst>
              </a:tr>
              <a:tr h="14426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uchy duševní a poruchy chování způsobené užíváním alkoholu (F10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0,5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0,5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0,4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0,7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0,8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0,7 %)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238122071"/>
                  </a:ext>
                </a:extLst>
              </a:tr>
              <a:tr h="14426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uchy duševní a poruchy chování </a:t>
                      </a:r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pů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už. </a:t>
                      </a:r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oakt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látek (F11-F19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0,1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0,1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0,1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0,1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0,2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0,3 %)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36068211"/>
                  </a:ext>
                </a:extLst>
              </a:tr>
              <a:tr h="7970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chizofrenie‚ poruchy </a:t>
                      </a:r>
                      <a:r>
                        <a:rPr lang="cs-CZ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chizotypální</a:t>
                      </a:r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a poruchy s bludy (F20-F29)</a:t>
                      </a: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74 (4,3 %)</a:t>
                      </a: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42 (3,7 %)</a:t>
                      </a: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03 (3,3 %)</a:t>
                      </a: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99 (3,2 %)</a:t>
                      </a: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10 (3,2 %)</a:t>
                      </a: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11 (3,3 %)</a:t>
                      </a: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3159909"/>
                  </a:ext>
                </a:extLst>
              </a:tr>
              <a:tr h="79704">
                <a:tc>
                  <a:txBody>
                    <a:bodyPr/>
                    <a:lstStyle/>
                    <a:p>
                      <a:pPr algn="l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fektivní poruchy (bez deprese) (F30-F39 bez F32, F33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(1,3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1,2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(1,1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(0,8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0,6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0,7 %)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427714683"/>
                  </a:ext>
                </a:extLst>
              </a:tr>
              <a:tr h="7970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presivní porucha (F32, F33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 (2,9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 (2,5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 (2,6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 (2,6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 (2,3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 (2,0 %)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515146328"/>
                  </a:ext>
                </a:extLst>
              </a:tr>
              <a:tr h="7970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eurotické‚ stresové a somatoformní poruchy (F40-F48 bez F42)</a:t>
                      </a: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33 (5,0 %)</a:t>
                      </a: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48 (4,8 %)</a:t>
                      </a: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46 (3,8 %)</a:t>
                      </a: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40 (3,7 %)</a:t>
                      </a: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30 (3,4 %)</a:t>
                      </a: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32 (3,5 %)</a:t>
                      </a: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0761947"/>
                  </a:ext>
                </a:extLst>
              </a:tr>
              <a:tr h="7970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sedantně-nutkavá porucha (F42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,1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0,1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0,1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0,1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0,1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0,1 %)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33073030"/>
                  </a:ext>
                </a:extLst>
              </a:tr>
              <a:tr h="14426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yndromy poruch chování‚ spoj. s fyziolog. poruch. a </a:t>
                      </a:r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mat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</a:t>
                      </a: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ktory 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50-F59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(0,7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0,6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0,5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0,5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0,5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0,5 %)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03201661"/>
                  </a:ext>
                </a:extLst>
              </a:tr>
              <a:tr h="79704">
                <a:tc>
                  <a:txBody>
                    <a:bodyPr/>
                    <a:lstStyle/>
                    <a:p>
                      <a:pPr algn="l" fontAlgn="b"/>
                      <a:r>
                        <a:rPr lang="pl-P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uchy osobnosti a chování (F60, F61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0,3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0,2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0,2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0,2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0,2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0,2 %)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97967030"/>
                  </a:ext>
                </a:extLst>
              </a:tr>
              <a:tr h="7970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ěny osobnosti a chování (F62-F69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0,1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0,0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0,1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0,1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,0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0,1 %)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960603319"/>
                  </a:ext>
                </a:extLst>
              </a:tr>
              <a:tr h="7970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entální retardace (F70-F79)</a:t>
                      </a: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99 (3,4 %)</a:t>
                      </a: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21 (3,5 %)</a:t>
                      </a: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11 (3,4 %)</a:t>
                      </a: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30 (3,6 %)</a:t>
                      </a: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46 (3,6 %)</a:t>
                      </a: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58 (3,7 %)</a:t>
                      </a: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1776212"/>
                  </a:ext>
                </a:extLst>
              </a:tr>
              <a:tr h="7970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uchy psychického vývoje (F80-F89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0,2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0,2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0,2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0,2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0,2 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0,2 %)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057987532"/>
                  </a:ext>
                </a:extLst>
              </a:tr>
              <a:tr h="14426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uchy chování a emocí s obvyklým nástupem v dětství a v </a:t>
                      </a:r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sp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(F90-F98)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0,2 %)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0,2 %)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0,2 %)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0,3 %)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0,2 %)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0,2 %)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51859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89758566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8A39AEE-E5CD-401B-9B9B-A53FDAF708A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0" y="284899"/>
            <a:ext cx="11928389" cy="573989"/>
          </a:xfrm>
        </p:spPr>
        <p:txBody>
          <a:bodyPr>
            <a:noAutofit/>
          </a:bodyPr>
          <a:lstStyle/>
          <a:p>
            <a:r>
              <a:rPr lang="cs-CZ" dirty="0"/>
              <a:t>Schizofrenie‚ poruchy </a:t>
            </a:r>
            <a:r>
              <a:rPr lang="cs-CZ" dirty="0" err="1"/>
              <a:t>schizotypální</a:t>
            </a:r>
            <a:r>
              <a:rPr lang="cs-CZ" dirty="0"/>
              <a:t> a poruchy s bludy: c</a:t>
            </a:r>
            <a:r>
              <a:rPr lang="cs-CZ" b="1" dirty="0"/>
              <a:t>harakteristika pacientů (2023)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3128386D-AFEA-402A-BD53-804CC713D8C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71927" y="1656962"/>
            <a:ext cx="59578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mografická struktura pacientů (2023):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EA86ADAD-C077-4FD6-9F3F-F1922F63D575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871927" y="2161655"/>
          <a:ext cx="4296963" cy="8915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6332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498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9861">
                  <a:extLst>
                    <a:ext uri="{9D8B030D-6E8A-4147-A177-3AD203B41FA5}">
                      <a16:colId xmlns:a16="http://schemas.microsoft.com/office/drawing/2014/main" val="446682958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Věk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N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Průměr (SD)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Medián (IQR)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 věku 65+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9182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66CCFF"/>
                          </a:solidFill>
                          <a:effectLst/>
                          <a:latin typeface="Calibri" panose="020F0502020204030204" pitchFamily="34" charset="0"/>
                        </a:rPr>
                        <a:t>Muži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64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,4 (14,3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6; 56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 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525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FF9999"/>
                          </a:solidFill>
                          <a:effectLst/>
                          <a:latin typeface="Calibri" panose="020F0502020204030204" pitchFamily="34" charset="0"/>
                        </a:rPr>
                        <a:t>Žen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539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9 (15,8)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43; 66)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 %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525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18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2 (15,5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39; 62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7 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3D558477-A904-3268-6326-CE61E00C2AE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72591" y="760605"/>
            <a:ext cx="114508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 (NRHZS), Národní sociální informační systém (NSIS);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se s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izofrenií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‚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hizotypálním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ruchami a poruchami s bludy (diagnóza F20–F29 dle MKN-10)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D7FABA0C-F48A-DA5F-E735-F931C34CBBB3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1511348" y="3589660"/>
          <a:ext cx="3018122" cy="2322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74307249-AE49-C39C-2869-A0FBED60F09D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6134283" y="2081899"/>
          <a:ext cx="5386534" cy="46437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B62D8EE4-F0F8-E541-94E8-6BD48B7FF45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230451" y="1497124"/>
            <a:ext cx="556531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ově specifická intervalová prevalence (2023)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30" b="0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= podíl populace ČR daného věku s onemocněním</a:t>
            </a:r>
          </a:p>
        </p:txBody>
      </p:sp>
    </p:spTree>
    <p:extLst>
      <p:ext uri="{BB962C8B-B14F-4D97-AF65-F5344CB8AC3E}">
        <p14:creationId xmlns:p14="http://schemas.microsoft.com/office/powerpoint/2010/main" val="1788705040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7380FAB-D974-05ED-EFC0-7181AC147EB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0" y="205634"/>
            <a:ext cx="11928389" cy="573989"/>
          </a:xfrm>
        </p:spPr>
        <p:txBody>
          <a:bodyPr>
            <a:noAutofit/>
          </a:bodyPr>
          <a:lstStyle/>
          <a:p>
            <a:r>
              <a:rPr lang="cs-CZ" dirty="0"/>
              <a:t>Schizofrenie‚ poruchy </a:t>
            </a:r>
            <a:r>
              <a:rPr lang="cs-CZ" dirty="0" err="1"/>
              <a:t>schizotypální</a:t>
            </a:r>
            <a:r>
              <a:rPr lang="cs-CZ" dirty="0"/>
              <a:t> a poruchy s bludy: typologie ekonomické aktivity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09249B0D-1B55-5B4E-91B5-D4172025D92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2591" y="601114"/>
            <a:ext cx="114508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 (NRHZS), Národní sociální informační systém (NSIS);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se s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izofrenií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‚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hizotypálním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ruchami a poruchami s bludy (diagnóza F20–F29 dle MKN-10)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8" name="Tabulka 15">
            <a:extLst>
              <a:ext uri="{FF2B5EF4-FFF2-40B4-BE49-F238E27FC236}">
                <a16:creationId xmlns:a16="http://schemas.microsoft.com/office/drawing/2014/main" id="{E6A51C9C-00DB-6AE2-5265-5E1FF728ADC3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597615" y="1250645"/>
          <a:ext cx="10460245" cy="4596739"/>
        </p:xfrm>
        <a:graphic>
          <a:graphicData uri="http://schemas.openxmlformats.org/drawingml/2006/table">
            <a:tbl>
              <a:tblPr firstRow="1" bandRow="1"/>
              <a:tblGrid>
                <a:gridCol w="2241482">
                  <a:extLst>
                    <a:ext uri="{9D8B030D-6E8A-4147-A177-3AD203B41FA5}">
                      <a16:colId xmlns:a16="http://schemas.microsoft.com/office/drawing/2014/main" val="1062236662"/>
                    </a:ext>
                  </a:extLst>
                </a:gridCol>
                <a:gridCol w="2988641">
                  <a:extLst>
                    <a:ext uri="{9D8B030D-6E8A-4147-A177-3AD203B41FA5}">
                      <a16:colId xmlns:a16="http://schemas.microsoft.com/office/drawing/2014/main" val="1810231425"/>
                    </a:ext>
                  </a:extLst>
                </a:gridCol>
                <a:gridCol w="3539546">
                  <a:extLst>
                    <a:ext uri="{9D8B030D-6E8A-4147-A177-3AD203B41FA5}">
                      <a16:colId xmlns:a16="http://schemas.microsoft.com/office/drawing/2014/main" val="4232371901"/>
                    </a:ext>
                  </a:extLst>
                </a:gridCol>
                <a:gridCol w="1690576">
                  <a:extLst>
                    <a:ext uri="{9D8B030D-6E8A-4147-A177-3AD203B41FA5}">
                      <a16:colId xmlns:a16="http://schemas.microsoft.com/office/drawing/2014/main" val="838838626"/>
                    </a:ext>
                  </a:extLst>
                </a:gridCol>
              </a:tblGrid>
              <a:tr h="557156">
                <a:tc rowSpan="9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</a:t>
                      </a:r>
                      <a:r>
                        <a:rPr lang="en-US" sz="16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ient</a:t>
                      </a:r>
                      <a:r>
                        <a:rPr lang="cs-CZ" sz="16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</a:t>
                      </a:r>
                      <a:br>
                        <a:rPr lang="cs-CZ" sz="16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6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 onemocněním</a:t>
                      </a:r>
                      <a:br>
                        <a:rPr lang="cs-CZ" sz="16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6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 roce 2023</a:t>
                      </a:r>
                      <a:br>
                        <a:rPr lang="cs-CZ" sz="16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6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e věku 20–64 le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dirty="0">
                          <a:solidFill>
                            <a:srgbClr val="D7144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8 809 (100 %)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5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acující</a:t>
                      </a:r>
                    </a:p>
                    <a:p>
                      <a:pPr algn="l" fontAlgn="b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zaměstnání</a:t>
                      </a:r>
                      <a:b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/nebo SVČ)</a:t>
                      </a:r>
                    </a:p>
                    <a:p>
                      <a:pPr algn="l" fontAlgn="b"/>
                      <a:r>
                        <a:rPr lang="cs-CZ" sz="20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 650 </a:t>
                      </a:r>
                      <a:r>
                        <a:rPr lang="cs-CZ" sz="2000" b="1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40,3 %)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) Bez invalidního a starobního důchodu, pracovní neschopnost &lt; 30 dní / rok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 083 (13,1 %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6435871"/>
                  </a:ext>
                </a:extLst>
              </a:tr>
              <a:tr h="557156"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2) Bez invalidního a starobního důchodu, pracovní neschopnost ≥ 30 dní / rok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 536 (4,0 %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0887771"/>
                  </a:ext>
                </a:extLst>
              </a:tr>
              <a:tr h="557156"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r>
                        <a:rPr lang="cs-CZ" sz="16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3) Invalidní důchod,</a:t>
                      </a:r>
                    </a:p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acovní neschopnost &lt; 30 dní / rok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13 (17,0 %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1203515"/>
                  </a:ext>
                </a:extLst>
              </a:tr>
              <a:tr h="557156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4) Invalidní důchod,</a:t>
                      </a:r>
                      <a:b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acovní neschopnost ≥ 30 dní / rok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11 (6,0 %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0778683"/>
                  </a:ext>
                </a:extLst>
              </a:tr>
              <a:tr h="47362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5) Starobní důchod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0,3 %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0723070"/>
                  </a:ext>
                </a:extLst>
              </a:tr>
              <a:tr h="473623"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cs-CZ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2149627"/>
                  </a:ext>
                </a:extLst>
              </a:tr>
              <a:tr h="47362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pracující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bez zaměstnání</a:t>
                      </a:r>
                      <a:b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 bez SVČ)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0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 159 (59,7 %)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6) Bez invalidního a starobního důchodu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31 (9,6 %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7741876"/>
                  </a:ext>
                </a:extLst>
              </a:tr>
              <a:tr h="473623"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7) Invalidní důchod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8 940 (48,8 %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8998110"/>
                  </a:ext>
                </a:extLst>
              </a:tr>
              <a:tr h="473623"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8) Starobní důchod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8 (1,3 %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414474"/>
                  </a:ext>
                </a:extLst>
              </a:tr>
            </a:tbl>
          </a:graphicData>
        </a:graphic>
      </p:graphicFrame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2A2A0480-0987-0DB2-3D03-3EF19DE9D235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 flipV="1">
            <a:off x="2261535" y="2737345"/>
            <a:ext cx="379562" cy="1026544"/>
          </a:xfrm>
          <a:prstGeom prst="straightConnector1">
            <a:avLst/>
          </a:prstGeom>
          <a:noFill/>
          <a:ln w="12700" cap="flat" cmpd="sng" algn="ctr">
            <a:solidFill>
              <a:srgbClr val="D7144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0" name="Přímá spojnice se šipkou 19">
            <a:extLst>
              <a:ext uri="{FF2B5EF4-FFF2-40B4-BE49-F238E27FC236}">
                <a16:creationId xmlns:a16="http://schemas.microsoft.com/office/drawing/2014/main" id="{D2E79033-B745-7B06-AB36-56D3CF48342C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2261535" y="3746629"/>
            <a:ext cx="379562" cy="1026544"/>
          </a:xfrm>
          <a:prstGeom prst="straightConnector1">
            <a:avLst/>
          </a:prstGeom>
          <a:noFill/>
          <a:ln w="12700" cap="flat" cmpd="sng" algn="ctr">
            <a:solidFill>
              <a:srgbClr val="D7144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271BB9E8-044F-B1DA-111B-44971FE67E0C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 flipV="1">
            <a:off x="5088123" y="1633174"/>
            <a:ext cx="379562" cy="1026544"/>
          </a:xfrm>
          <a:prstGeom prst="straightConnector1">
            <a:avLst/>
          </a:prstGeom>
          <a:noFill/>
          <a:ln w="12700" cap="flat" cmpd="sng" algn="ctr">
            <a:solidFill>
              <a:srgbClr val="D7144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E46D0A4A-5490-1461-AC47-1F5F3B6A2F21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088123" y="2642458"/>
            <a:ext cx="379562" cy="1026544"/>
          </a:xfrm>
          <a:prstGeom prst="straightConnector1">
            <a:avLst/>
          </a:prstGeom>
          <a:noFill/>
          <a:ln w="12700" cap="flat" cmpd="sng" algn="ctr">
            <a:solidFill>
              <a:srgbClr val="D7144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19E89584-6935-C081-1B3A-8EDEFC4E67CB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V="1">
            <a:off x="5088123" y="4704164"/>
            <a:ext cx="379562" cy="462395"/>
          </a:xfrm>
          <a:prstGeom prst="straightConnector1">
            <a:avLst/>
          </a:prstGeom>
          <a:noFill/>
          <a:ln w="12700" cap="flat" cmpd="sng" algn="ctr">
            <a:solidFill>
              <a:srgbClr val="D7144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412D43D2-69EA-BF0A-9B53-B3E2E2DDD009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088123" y="5149299"/>
            <a:ext cx="379562" cy="460800"/>
          </a:xfrm>
          <a:prstGeom prst="straightConnector1">
            <a:avLst/>
          </a:prstGeom>
          <a:noFill/>
          <a:ln w="12700" cap="flat" cmpd="sng" algn="ctr">
            <a:solidFill>
              <a:srgbClr val="D7144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6A829B5F-877E-D50B-0846-C0E52D7FAE24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V="1">
            <a:off x="5094947" y="2181873"/>
            <a:ext cx="379562" cy="462395"/>
          </a:xfrm>
          <a:prstGeom prst="straightConnector1">
            <a:avLst/>
          </a:prstGeom>
          <a:noFill/>
          <a:ln w="12700" cap="flat" cmpd="sng" algn="ctr">
            <a:solidFill>
              <a:srgbClr val="D7144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88A7480A-CB68-1A5A-7943-79300B6B7B8C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5094947" y="2640656"/>
            <a:ext cx="379562" cy="460800"/>
          </a:xfrm>
          <a:prstGeom prst="straightConnector1">
            <a:avLst/>
          </a:prstGeom>
          <a:noFill/>
          <a:ln w="12700" cap="flat" cmpd="sng" algn="ctr">
            <a:solidFill>
              <a:srgbClr val="D7144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A1DD30BA-6F29-B411-CB05-805A443AAF8C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>
          <a:xfrm>
            <a:off x="5088123" y="2647066"/>
            <a:ext cx="379562" cy="420"/>
          </a:xfrm>
          <a:prstGeom prst="straightConnector1">
            <a:avLst/>
          </a:prstGeom>
          <a:noFill/>
          <a:ln w="12700" cap="flat" cmpd="sng" algn="ctr">
            <a:solidFill>
              <a:srgbClr val="D7144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8" name="Přímá spojnice se šipkou 27">
            <a:extLst>
              <a:ext uri="{FF2B5EF4-FFF2-40B4-BE49-F238E27FC236}">
                <a16:creationId xmlns:a16="http://schemas.microsoft.com/office/drawing/2014/main" id="{3B587BD3-FC72-C791-2510-31E538F04A61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>
          <a:xfrm>
            <a:off x="5101771" y="5159055"/>
            <a:ext cx="379562" cy="420"/>
          </a:xfrm>
          <a:prstGeom prst="straightConnector1">
            <a:avLst/>
          </a:prstGeom>
          <a:noFill/>
          <a:ln w="12700" cap="flat" cmpd="sng" algn="ctr">
            <a:solidFill>
              <a:srgbClr val="D71440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2060661536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7380FAB-D974-05ED-EFC0-7181AC147EB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611" y="194900"/>
            <a:ext cx="11664778" cy="573989"/>
          </a:xfrm>
        </p:spPr>
        <p:txBody>
          <a:bodyPr>
            <a:normAutofit/>
          </a:bodyPr>
          <a:lstStyle/>
          <a:p>
            <a:r>
              <a:rPr lang="cs-CZ" dirty="0"/>
              <a:t>Schizofrenie‚ poruchy </a:t>
            </a:r>
            <a:r>
              <a:rPr lang="cs-CZ" dirty="0" err="1"/>
              <a:t>schizotypální</a:t>
            </a:r>
            <a:r>
              <a:rPr lang="cs-CZ" dirty="0"/>
              <a:t> a poruchy s bludy: pobíraný důchod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260387A7-061A-DD12-59AF-A86F4BB9702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2591" y="1334460"/>
            <a:ext cx="541659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validní a starobní důchod pobíraný 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 s onemocněním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 roce 2023 dle věku (20–64 let):</a:t>
            </a:r>
          </a:p>
        </p:txBody>
      </p:sp>
      <p:graphicFrame>
        <p:nvGraphicFramePr>
          <p:cNvPr id="29" name="Graf 28">
            <a:extLst>
              <a:ext uri="{FF2B5EF4-FFF2-40B4-BE49-F238E27FC236}">
                <a16:creationId xmlns:a16="http://schemas.microsoft.com/office/drawing/2014/main" id="{BF0E7D9F-9FC7-566A-89F9-3A0059C89743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86254" y="2002970"/>
          <a:ext cx="5277600" cy="30632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30" name="TextovéPole 29">
            <a:extLst>
              <a:ext uri="{FF2B5EF4-FFF2-40B4-BE49-F238E27FC236}">
                <a16:creationId xmlns:a16="http://schemas.microsoft.com/office/drawing/2014/main" id="{F8D96716-8800-2E0A-531F-786895C79E7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130749" y="3206798"/>
            <a:ext cx="8340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osob</a:t>
            </a:r>
          </a:p>
        </p:txBody>
      </p:sp>
      <p:graphicFrame>
        <p:nvGraphicFramePr>
          <p:cNvPr id="32" name="Tabulka 31">
            <a:extLst>
              <a:ext uri="{FF2B5EF4-FFF2-40B4-BE49-F238E27FC236}">
                <a16:creationId xmlns:a16="http://schemas.microsoft.com/office/drawing/2014/main" id="{BD145A4B-89C1-7C21-9894-0B6339E38C8B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1480794" y="5299409"/>
          <a:ext cx="3183360" cy="111442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411360">
                  <a:extLst>
                    <a:ext uri="{9D8B030D-6E8A-4147-A177-3AD203B41FA5}">
                      <a16:colId xmlns:a16="http://schemas.microsoft.com/office/drawing/2014/main" val="2826027048"/>
                    </a:ext>
                  </a:extLst>
                </a:gridCol>
                <a:gridCol w="2772000">
                  <a:extLst>
                    <a:ext uri="{9D8B030D-6E8A-4147-A177-3AD203B41FA5}">
                      <a16:colId xmlns:a16="http://schemas.microsoft.com/office/drawing/2014/main" val="3945566008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robní důchod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04140835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00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validní důchod 3. stupně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7968092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validní důchod 2. stupně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947493449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validní důchod 1. stupně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18726861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z invalidního a starobního důchodu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072970864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47C6EB89-B479-DBFE-9A3B-170B2B3C731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72591" y="590380"/>
            <a:ext cx="114508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 (NRHZS), Národní sociální informační systém (NSIS);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se s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izofrenií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‚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hizotypálním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ruchami a poruchami s bludy (diagnóza F20–F29 dle MKN-10)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AB958997-1D8C-B8A1-E214-9E38DE4C5C57}"/>
              </a:ext>
            </a:extLst>
          </p:cNvPr>
          <p:cNvCxnSpPr/>
          <p:nvPr/>
        </p:nvCxnSpPr>
        <p:spPr>
          <a:xfrm>
            <a:off x="1706880" y="2107472"/>
            <a:ext cx="0" cy="28800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6" name="Tabulka 35">
            <a:extLst>
              <a:ext uri="{FF2B5EF4-FFF2-40B4-BE49-F238E27FC236}">
                <a16:creationId xmlns:a16="http://schemas.microsoft.com/office/drawing/2014/main" id="{A58468EA-3E3C-1F95-B018-CE44E502E380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7665088" y="5302528"/>
          <a:ext cx="2859360" cy="1114425"/>
        </p:xfrm>
        <a:graphic>
          <a:graphicData uri="http://schemas.openxmlformats.org/drawingml/2006/table">
            <a:tbl>
              <a:tblPr/>
              <a:tblGrid>
                <a:gridCol w="411360">
                  <a:extLst>
                    <a:ext uri="{9D8B030D-6E8A-4147-A177-3AD203B41FA5}">
                      <a16:colId xmlns:a16="http://schemas.microsoft.com/office/drawing/2014/main" val="2826027048"/>
                    </a:ext>
                  </a:extLst>
                </a:gridCol>
                <a:gridCol w="2448000">
                  <a:extLst>
                    <a:ext uri="{9D8B030D-6E8A-4147-A177-3AD203B41FA5}">
                      <a16:colId xmlns:a16="http://schemas.microsoft.com/office/drawing/2014/main" val="3945566008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z příspěvku na péči (</a:t>
                      </a:r>
                      <a:r>
                        <a:rPr lang="cs-CZ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P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1408355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np: I – lehká závislost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6809275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np: II – středně těžká závislost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7493449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np: III – těžká závislost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7268617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5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pl-PL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p: IV – úplná závislost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2970864"/>
                  </a:ext>
                </a:extLst>
              </a:tr>
            </a:tbl>
          </a:graphicData>
        </a:graphic>
      </p:graphicFrame>
      <p:sp>
        <p:nvSpPr>
          <p:cNvPr id="3" name="TextovéPole 2">
            <a:extLst>
              <a:ext uri="{FF2B5EF4-FFF2-40B4-BE49-F238E27FC236}">
                <a16:creationId xmlns:a16="http://schemas.microsoft.com/office/drawing/2014/main" id="{260387A7-061A-DD12-59AF-A86F4BB9702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358815" y="1334460"/>
            <a:ext cx="541659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spěvek na péči (stupeň závislosti) pobíraný 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 s onemocněním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 roce 2023 dle věku (20–64 let):</a:t>
            </a: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3082DAEA-5460-FEF0-E5A4-D3B5AC3BB408}"/>
              </a:ext>
            </a:extLst>
          </p:cNvPr>
          <p:cNvGraphicFramePr/>
          <p:nvPr>
            <p:custDataLst>
              <p:tags r:id="rId9"/>
            </p:custDataLst>
          </p:nvPr>
        </p:nvGraphicFramePr>
        <p:xfrm>
          <a:off x="6641809" y="2029093"/>
          <a:ext cx="5277600" cy="31950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9A20BE30-26B1-CADF-252F-56D67666FE2A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 rot="16200000">
            <a:off x="5973910" y="3164446"/>
            <a:ext cx="10714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pacientů</a:t>
            </a:r>
          </a:p>
        </p:txBody>
      </p:sp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7CB19F76-A611-6561-0659-D5BEB03FEA4E}"/>
              </a:ext>
            </a:extLst>
          </p:cNvPr>
          <p:cNvCxnSpPr/>
          <p:nvPr/>
        </p:nvCxnSpPr>
        <p:spPr>
          <a:xfrm>
            <a:off x="7665088" y="2107469"/>
            <a:ext cx="0" cy="30600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6542995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3D62FAD-39C0-0809-44C9-95F1CEFD87F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421449" y="1424249"/>
          <a:ext cx="5475766" cy="4680023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5475766">
                  <a:extLst>
                    <a:ext uri="{9D8B030D-6E8A-4147-A177-3AD203B41FA5}">
                      <a16:colId xmlns:a16="http://schemas.microsoft.com/office/drawing/2014/main" val="2538747958"/>
                    </a:ext>
                  </a:extLst>
                </a:gridCol>
              </a:tblGrid>
              <a:tr h="246317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u="none" strike="noStrike" dirty="0">
                          <a:effectLst/>
                        </a:rPr>
                        <a:t>J06 Akutní infekce h. dýchacích cest na více místech a </a:t>
                      </a:r>
                      <a:r>
                        <a:rPr lang="cs-CZ" sz="1400" b="1" u="none" strike="noStrike" dirty="0" err="1">
                          <a:effectLst/>
                        </a:rPr>
                        <a:t>neurč</a:t>
                      </a:r>
                      <a:r>
                        <a:rPr lang="cs-CZ" sz="1400" b="1" u="none" strike="noStrike" dirty="0">
                          <a:effectLst/>
                        </a:rPr>
                        <a:t>. lokalizací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93087400"/>
                  </a:ext>
                </a:extLst>
              </a:tr>
              <a:tr h="246317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54 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rzalgie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40200747"/>
                  </a:ext>
                </a:extLst>
              </a:tr>
              <a:tr h="246317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07 COVID19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390849945"/>
                  </a:ext>
                </a:extLst>
              </a:tr>
              <a:tr h="246317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b="1" u="none" strike="noStrike" dirty="0">
                          <a:solidFill>
                            <a:srgbClr val="C00000"/>
                          </a:solidFill>
                          <a:effectLst/>
                        </a:rPr>
                        <a:t>F32 Depresivní fáze </a:t>
                      </a:r>
                      <a:endParaRPr lang="cs-CZ" sz="1800" b="1" i="0" u="none" strike="noStrike" kern="1200" dirty="0">
                        <a:solidFill>
                          <a:srgbClr val="C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99964409"/>
                  </a:ext>
                </a:extLst>
              </a:tr>
              <a:tr h="246317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F33 Periodická depresivní porucha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83370402"/>
                  </a:ext>
                </a:extLst>
              </a:tr>
              <a:tr h="246317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F20 Schizofrenie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172211711"/>
                  </a:ext>
                </a:extLst>
              </a:tr>
              <a:tr h="246317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u="none" strike="noStrike" dirty="0">
                          <a:effectLst/>
                        </a:rPr>
                        <a:t>J11 Chřipka, virus neidentifikován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539565902"/>
                  </a:ext>
                </a:extLst>
              </a:tr>
              <a:tr h="246317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u="none" strike="noStrike" dirty="0">
                          <a:effectLst/>
                        </a:rPr>
                        <a:t>J02 Akutní zánět hltanu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370330357"/>
                  </a:ext>
                </a:extLst>
              </a:tr>
              <a:tr h="246317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03 Akutní zánět mandlí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010419404"/>
                  </a:ext>
                </a:extLst>
              </a:tr>
              <a:tr h="246317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u="none" strike="noStrike" dirty="0">
                          <a:effectLst/>
                        </a:rPr>
                        <a:t>K30 Funkční dyspepsie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54610847"/>
                  </a:ext>
                </a:extLst>
              </a:tr>
              <a:tr h="246317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u="none" strike="noStrike" dirty="0">
                          <a:effectLst/>
                        </a:rPr>
                        <a:t>J20 Akutní zánět průdušek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76198360"/>
                  </a:ext>
                </a:extLst>
              </a:tr>
              <a:tr h="246317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	F41 Jiné anxiózní poruchy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79689308"/>
                  </a:ext>
                </a:extLst>
              </a:tr>
              <a:tr h="246317">
                <a:tc>
                  <a:txBody>
                    <a:bodyPr/>
                    <a:lstStyle/>
                    <a:p>
                      <a:pPr algn="r" fontAlgn="b"/>
                      <a:r>
                        <a:rPr lang="pl-PL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F43 Reakce na těžký stres a poruchy přizpůsobení</a:t>
                      </a:r>
                      <a:endParaRPr lang="cs-CZ" sz="14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934224200"/>
                  </a:ext>
                </a:extLst>
              </a:tr>
              <a:tr h="246317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00 Akutní zánět nosohltanu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101888153"/>
                  </a:ext>
                </a:extLst>
              </a:tr>
              <a:tr h="246317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1" u="none" strike="noStrike" dirty="0">
                          <a:effectLst/>
                        </a:rPr>
                        <a:t>A09 Jiná gastroenteritida a kolitida infekčního a NS původu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20693264"/>
                  </a:ext>
                </a:extLst>
              </a:tr>
              <a:tr h="246317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F31 Bipolární afektivní porucha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116175088"/>
                  </a:ext>
                </a:extLst>
              </a:tr>
              <a:tr h="246317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04 Akutní zánět hrtanu a průdušnice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84465120"/>
                  </a:ext>
                </a:extLst>
              </a:tr>
              <a:tr h="246317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F25 </a:t>
                      </a:r>
                      <a:r>
                        <a:rPr lang="pt-BR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Schizoafektivní poruchy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71311137"/>
                  </a:ext>
                </a:extLst>
              </a:tr>
              <a:tr h="246317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u="none" strike="noStrike" dirty="0">
                          <a:effectLst/>
                        </a:rPr>
                        <a:t>Jiná diagnóza 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19" marR="2519" marT="2519" marB="0" anchor="b"/>
                </a:tc>
                <a:extLst>
                  <a:ext uri="{0D108BD9-81ED-4DB2-BD59-A6C34878D82A}">
                    <a16:rowId xmlns:a16="http://schemas.microsoft.com/office/drawing/2014/main" val="3731992341"/>
                  </a:ext>
                </a:extLst>
              </a:tr>
            </a:tbl>
          </a:graphicData>
        </a:graphic>
      </p:graphicFrame>
      <p:sp>
        <p:nvSpPr>
          <p:cNvPr id="5" name="Nadpis 4">
            <a:extLst>
              <a:ext uri="{FF2B5EF4-FFF2-40B4-BE49-F238E27FC236}">
                <a16:creationId xmlns:a16="http://schemas.microsoft.com/office/drawing/2014/main" id="{527B85F3-D0BC-4DDA-5360-A8014A6C0E86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72591" y="210780"/>
            <a:ext cx="11655798" cy="734016"/>
          </a:xfrm>
        </p:spPr>
        <p:txBody>
          <a:bodyPr vert="horz" lIns="91440" tIns="45720" rIns="91440" bIns="45720" rtlCol="0" anchor="t">
            <a:normAutofit fontScale="97500"/>
          </a:bodyPr>
          <a:lstStyle/>
          <a:p>
            <a:r>
              <a:rPr lang="cs-CZ" dirty="0"/>
              <a:t>Pracovní neschopnost: přehled nejčastějších příčin v roce 2023 (věk 20-64 let)</a:t>
            </a: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3C59EE32-20A3-73F0-AD13-63857DF824CE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5717923" y="1040808"/>
          <a:ext cx="4127827" cy="52217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A32370A4-2F56-77EF-C45A-C5951503409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72591" y="575464"/>
            <a:ext cx="86456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jčastější příčiny pracovních neschopností u pacientů s F2 a F3 v roce 2023, dle MKN-10: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331432F7-9595-EC0B-BD87-A2A61973CD9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944947" y="3178627"/>
            <a:ext cx="362589" cy="199055"/>
          </a:xfrm>
          <a:prstGeom prst="rect">
            <a:avLst/>
          </a:prstGeom>
          <a:solidFill>
            <a:srgbClr val="A5A5A5"/>
          </a:solidFill>
          <a:ln>
            <a:solidFill>
              <a:srgbClr val="A5A5A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7BA5E050-ED8D-1907-2782-23C8006DB80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369742" y="3095673"/>
            <a:ext cx="19283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nchmark ČR</a:t>
            </a:r>
          </a:p>
        </p:txBody>
      </p:sp>
    </p:spTree>
    <p:extLst>
      <p:ext uri="{BB962C8B-B14F-4D97-AF65-F5344CB8AC3E}">
        <p14:creationId xmlns:p14="http://schemas.microsoft.com/office/powerpoint/2010/main" val="342110215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: se zakulacenými rohy na opačné straně 3">
            <a:extLst>
              <a:ext uri="{FF2B5EF4-FFF2-40B4-BE49-F238E27FC236}">
                <a16:creationId xmlns:a16="http://schemas.microsoft.com/office/drawing/2014/main" id="{167A20BD-62DA-44FE-AF48-7FBD2BEA4689}"/>
              </a:ext>
            </a:extLst>
          </p:cNvPr>
          <p:cNvSpPr/>
          <p:nvPr/>
        </p:nvSpPr>
        <p:spPr>
          <a:xfrm flipV="1">
            <a:off x="-4680" y="787665"/>
            <a:ext cx="5833745" cy="2787745"/>
          </a:xfrm>
          <a:prstGeom prst="round2DiagRect">
            <a:avLst>
              <a:gd name="adj1" fmla="val 50000"/>
              <a:gd name="adj2" fmla="val 0"/>
            </a:avLst>
          </a:prstGeom>
          <a:solidFill>
            <a:srgbClr val="5BCC72">
              <a:alpha val="49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71AFB65-5EC3-4B45-AC2F-AB3CB64FBF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846" y="1449859"/>
            <a:ext cx="5833745" cy="1688758"/>
          </a:xfrm>
        </p:spPr>
        <p:txBody>
          <a:bodyPr/>
          <a:lstStyle/>
          <a:p>
            <a:pPr algn="l"/>
            <a:r>
              <a:rPr lang="cs-CZ" sz="2400" b="1" i="1" dirty="0">
                <a:solidFill>
                  <a:schemeClr val="bg1"/>
                </a:solidFill>
              </a:rPr>
              <a:t>Analytické studie programu Zdraví 2030: </a:t>
            </a:r>
            <a:r>
              <a:rPr lang="cs-CZ" sz="3600" b="1" dirty="0">
                <a:solidFill>
                  <a:schemeClr val="bg1"/>
                </a:solidFill>
              </a:rPr>
              <a:t>Národní informační systém pro psychiatrii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164F2552-388B-4793-BF8A-077744D27E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89846" y="4829132"/>
            <a:ext cx="10952034" cy="1241203"/>
          </a:xfrm>
        </p:spPr>
        <p:txBody>
          <a:bodyPr>
            <a:normAutofit/>
          </a:bodyPr>
          <a:lstStyle/>
          <a:p>
            <a:r>
              <a:rPr lang="cs-CZ" sz="3600" dirty="0">
                <a:solidFill>
                  <a:srgbClr val="3F55A6"/>
                </a:solidFill>
              </a:rPr>
              <a:t>Publikace výstupů a systém pro otevírání dat</a:t>
            </a:r>
            <a:endParaRPr lang="en-US" sz="3600" dirty="0">
              <a:solidFill>
                <a:srgbClr val="3F55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5855782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FC5601F-E110-4047-0613-9FF85981D1DB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63611" y="365125"/>
            <a:ext cx="11664778" cy="57398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308297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cs-CZ" sz="2600" dirty="0"/>
              <a:t>Národní portál psychiatrické péče: Informační systém psychiatrie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E88BA76C-269D-76AA-F294-BA306AD6BA24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8"/>
          <a:srcRect l="16857" t="4191" r="17000" b="10984"/>
          <a:stretch/>
        </p:blipFill>
        <p:spPr>
          <a:xfrm>
            <a:off x="416050" y="1567557"/>
            <a:ext cx="5372049" cy="3875302"/>
          </a:xfrm>
          <a:prstGeom prst="rect">
            <a:avLst/>
          </a:prstGeom>
        </p:spPr>
      </p:pic>
      <p:pic>
        <p:nvPicPr>
          <p:cNvPr id="4" name="Obrázek 3">
            <a:extLst>
              <a:ext uri="{FF2B5EF4-FFF2-40B4-BE49-F238E27FC236}">
                <a16:creationId xmlns:a16="http://schemas.microsoft.com/office/drawing/2014/main" id="{44D98C51-BB6C-F794-39A5-8EE9604BDD14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9"/>
          <a:srcRect l="10071" t="4318" r="11857" b="3238"/>
          <a:stretch/>
        </p:blipFill>
        <p:spPr>
          <a:xfrm>
            <a:off x="5975068" y="1573995"/>
            <a:ext cx="5808608" cy="3868863"/>
          </a:xfrm>
          <a:prstGeom prst="rect">
            <a:avLst/>
          </a:prstGeom>
        </p:spPr>
      </p:pic>
      <p:sp>
        <p:nvSpPr>
          <p:cNvPr id="5" name="TextovéPole 4">
            <a:extLst>
              <a:ext uri="{FF2B5EF4-FFF2-40B4-BE49-F238E27FC236}">
                <a16:creationId xmlns:a16="http://schemas.microsoft.com/office/drawing/2014/main" id="{C85EBC29-EAB6-0738-D661-5A21F7DE55E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3611" y="733334"/>
            <a:ext cx="1176431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563C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https://psychiatrie.uzis.cz/cs/psychiatrie-v-datech/informacni-system/</a:t>
            </a:r>
          </a:p>
        </p:txBody>
      </p:sp>
      <p:sp>
        <p:nvSpPr>
          <p:cNvPr id="6" name="Nadpis 1">
            <a:extLst>
              <a:ext uri="{FF2B5EF4-FFF2-40B4-BE49-F238E27FC236}">
                <a16:creationId xmlns:a16="http://schemas.microsoft.com/office/drawing/2014/main" id="{BED2F2DF-413C-0754-87DC-B6559B6F6E6D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63152" y="5592636"/>
            <a:ext cx="11664778" cy="5739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rgbClr val="308297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cs-CZ" dirty="0"/>
              <a:t>Otevřená data na portálu NZIP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BEE74434-1B35-C2F8-598A-4320C6287E8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24439" y="6073412"/>
            <a:ext cx="1099492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563C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https://www.nzip.cz/modul/datove-zpravodajstvi#datove-vystupy</a:t>
            </a:r>
          </a:p>
        </p:txBody>
      </p:sp>
    </p:spTree>
    <p:extLst>
      <p:ext uri="{BB962C8B-B14F-4D97-AF65-F5344CB8AC3E}">
        <p14:creationId xmlns:p14="http://schemas.microsoft.com/office/powerpoint/2010/main" val="1101284604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: se zakulacenými rohy na opačné straně 3">
            <a:extLst>
              <a:ext uri="{FF2B5EF4-FFF2-40B4-BE49-F238E27FC236}">
                <a16:creationId xmlns:a16="http://schemas.microsoft.com/office/drawing/2014/main" id="{167A20BD-62DA-44FE-AF48-7FBD2BEA4689}"/>
              </a:ext>
            </a:extLst>
          </p:cNvPr>
          <p:cNvSpPr/>
          <p:nvPr/>
        </p:nvSpPr>
        <p:spPr>
          <a:xfrm flipV="1">
            <a:off x="-4680" y="787665"/>
            <a:ext cx="5833745" cy="2787745"/>
          </a:xfrm>
          <a:prstGeom prst="round2DiagRect">
            <a:avLst>
              <a:gd name="adj1" fmla="val 50000"/>
              <a:gd name="adj2" fmla="val 0"/>
            </a:avLst>
          </a:prstGeom>
          <a:solidFill>
            <a:srgbClr val="5BCC72">
              <a:alpha val="49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71AFB65-5EC3-4B45-AC2F-AB3CB64FBF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846" y="1449859"/>
            <a:ext cx="5833745" cy="1688758"/>
          </a:xfrm>
        </p:spPr>
        <p:txBody>
          <a:bodyPr/>
          <a:lstStyle/>
          <a:p>
            <a:pPr algn="l"/>
            <a:r>
              <a:rPr lang="cs-CZ" sz="2400" b="1" i="1" dirty="0">
                <a:solidFill>
                  <a:schemeClr val="bg1"/>
                </a:solidFill>
              </a:rPr>
              <a:t>Analytické studie programu Zdraví 2030: </a:t>
            </a:r>
            <a:r>
              <a:rPr lang="cs-CZ" sz="3600" b="1" dirty="0">
                <a:solidFill>
                  <a:schemeClr val="bg1"/>
                </a:solidFill>
              </a:rPr>
              <a:t>Národní informační systém pro psychiatrii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164F2552-388B-4793-BF8A-077744D27E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89846" y="4829132"/>
            <a:ext cx="10952034" cy="1241203"/>
          </a:xfrm>
        </p:spPr>
        <p:txBody>
          <a:bodyPr>
            <a:normAutofit/>
          </a:bodyPr>
          <a:lstStyle/>
          <a:p>
            <a:r>
              <a:rPr lang="cs-CZ" sz="3600" dirty="0">
                <a:solidFill>
                  <a:srgbClr val="3F55A6"/>
                </a:solidFill>
              </a:rPr>
              <a:t>Závěrem: nutné další kroky </a:t>
            </a:r>
            <a:endParaRPr lang="en-US" sz="3600" dirty="0">
              <a:solidFill>
                <a:srgbClr val="3F55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5084336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ovéPole 1">
            <a:extLst>
              <a:ext uri="{FF2B5EF4-FFF2-40B4-BE49-F238E27FC236}">
                <a16:creationId xmlns:a16="http://schemas.microsoft.com/office/drawing/2014/main" id="{46466F0F-04BA-ACBD-325D-E9B263C97957}"/>
              </a:ext>
            </a:extLst>
          </p:cNvPr>
          <p:cNvSpPr txBox="1"/>
          <p:nvPr/>
        </p:nvSpPr>
        <p:spPr>
          <a:xfrm>
            <a:off x="471377" y="446565"/>
            <a:ext cx="918653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200" b="1" dirty="0">
                <a:solidFill>
                  <a:srgbClr val="C00000"/>
                </a:solidFill>
              </a:rPr>
              <a:t>Navýšení kapacit ambulantního segmentu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5F9297F1-B917-6700-DA60-1A761C7352DA}"/>
              </a:ext>
            </a:extLst>
          </p:cNvPr>
          <p:cNvSpPr txBox="1"/>
          <p:nvPr/>
        </p:nvSpPr>
        <p:spPr>
          <a:xfrm>
            <a:off x="985284" y="1109327"/>
            <a:ext cx="8403265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v"/>
            </a:pPr>
            <a:r>
              <a:rPr lang="cs-CZ" sz="2700" b="1" dirty="0"/>
              <a:t>Bonifikace za náběr nových pacientů</a:t>
            </a:r>
          </a:p>
          <a:p>
            <a:pPr marL="457200" indent="-457200">
              <a:buFont typeface="Wingdings" panose="05000000000000000000" pitchFamily="2" charset="2"/>
              <a:buChar char="v"/>
            </a:pPr>
            <a:r>
              <a:rPr lang="cs-CZ" sz="2700" b="1" dirty="0"/>
              <a:t>Bonifikace za péči o těžké pacienty (signální kódy?)</a:t>
            </a:r>
          </a:p>
          <a:p>
            <a:pPr marL="457200" indent="-457200">
              <a:buFont typeface="Wingdings" panose="05000000000000000000" pitchFamily="2" charset="2"/>
              <a:buChar char="v"/>
            </a:pPr>
            <a:r>
              <a:rPr lang="cs-CZ" sz="2700" b="1" dirty="0"/>
              <a:t>Zvýhodnění dle ordinačních dob </a:t>
            </a:r>
          </a:p>
          <a:p>
            <a:pPr marL="457200" indent="-457200">
              <a:buFont typeface="Wingdings" panose="05000000000000000000" pitchFamily="2" charset="2"/>
              <a:buChar char="v"/>
            </a:pPr>
            <a:r>
              <a:rPr lang="cs-CZ" sz="2700" b="1" dirty="0"/>
              <a:t>Posílení NLZP, sester  </a:t>
            </a:r>
          </a:p>
          <a:p>
            <a:pPr marL="457200" indent="-457200">
              <a:buFont typeface="Wingdings" panose="05000000000000000000" pitchFamily="2" charset="2"/>
              <a:buChar char="v"/>
            </a:pPr>
            <a:r>
              <a:rPr lang="cs-CZ" sz="2700" b="1" dirty="0"/>
              <a:t>Ambulance u PALP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BEC86C72-9BAE-F5C6-D44F-618984E55286}"/>
              </a:ext>
            </a:extLst>
          </p:cNvPr>
          <p:cNvSpPr txBox="1"/>
          <p:nvPr/>
        </p:nvSpPr>
        <p:spPr>
          <a:xfrm>
            <a:off x="471377" y="3865930"/>
            <a:ext cx="918653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200" b="1" dirty="0">
                <a:solidFill>
                  <a:srgbClr val="C00000"/>
                </a:solidFill>
              </a:rPr>
              <a:t>Posílení spolupráce s PL / PLDD a péče o děti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731B1ED7-6A46-71C5-56AC-020C050498DD}"/>
              </a:ext>
            </a:extLst>
          </p:cNvPr>
          <p:cNvSpPr txBox="1"/>
          <p:nvPr/>
        </p:nvSpPr>
        <p:spPr>
          <a:xfrm>
            <a:off x="985284" y="4528692"/>
            <a:ext cx="840326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v"/>
            </a:pPr>
            <a:r>
              <a:rPr lang="cs-CZ" sz="2800" b="1" dirty="0"/>
              <a:t>Kódy pro telefonické konzultace s bonifikací i pro PL</a:t>
            </a:r>
          </a:p>
          <a:p>
            <a:pPr marL="457200" indent="-457200">
              <a:buFont typeface="Wingdings" panose="05000000000000000000" pitchFamily="2" charset="2"/>
              <a:buChar char="v"/>
            </a:pPr>
            <a:r>
              <a:rPr lang="cs-CZ" sz="2800" b="1" dirty="0"/>
              <a:t>Valorizovat úhrady u odbornosti 305 v péči o děti</a:t>
            </a:r>
          </a:p>
          <a:p>
            <a:pPr marL="457200" indent="-457200">
              <a:buFont typeface="Wingdings" panose="05000000000000000000" pitchFamily="2" charset="2"/>
              <a:buChar char="v"/>
            </a:pPr>
            <a:r>
              <a:rPr lang="cs-CZ" sz="2800" b="1" dirty="0">
                <a:effectLst/>
                <a:ea typeface="Times New Roman" panose="02020603050405020304" pitchFamily="18" charset="0"/>
              </a:rPr>
              <a:t>Zavést pojištění pro </a:t>
            </a:r>
            <a:r>
              <a:rPr lang="cs-CZ" sz="2800" b="1" dirty="0" err="1">
                <a:effectLst/>
                <a:ea typeface="Times New Roman" panose="02020603050405020304" pitchFamily="18" charset="0"/>
              </a:rPr>
              <a:t>odb</a:t>
            </a:r>
            <a:r>
              <a:rPr lang="cs-CZ" sz="2800" b="1" dirty="0">
                <a:effectLst/>
                <a:ea typeface="Times New Roman" panose="02020603050405020304" pitchFamily="18" charset="0"/>
              </a:rPr>
              <a:t>. 305 v péči o děti </a:t>
            </a:r>
          </a:p>
          <a:p>
            <a:pPr marL="457200" indent="-457200">
              <a:buFont typeface="Wingdings" panose="05000000000000000000" pitchFamily="2" charset="2"/>
              <a:buChar char="v"/>
            </a:pPr>
            <a:r>
              <a:rPr lang="cs-CZ" sz="2800" b="1" dirty="0"/>
              <a:t>Oddělení pro děti /adolescenty u PALP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6DE5A826-8736-F69B-77D5-A915109E5D1D}"/>
              </a:ext>
            </a:extLst>
          </p:cNvPr>
          <p:cNvSpPr txBox="1"/>
          <p:nvPr/>
        </p:nvSpPr>
        <p:spPr>
          <a:xfrm rot="19943138">
            <a:off x="4570570" y="2586826"/>
            <a:ext cx="25936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b="1" dirty="0">
                <a:solidFill>
                  <a:srgbClr val="FF0000"/>
                </a:solidFill>
              </a:rPr>
              <a:t>Soc-zdrav pomezí služeb ?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1115B3B9-BCD9-5516-7C18-113B0EC53761}"/>
              </a:ext>
            </a:extLst>
          </p:cNvPr>
          <p:cNvSpPr txBox="1"/>
          <p:nvPr/>
        </p:nvSpPr>
        <p:spPr>
          <a:xfrm rot="19943138">
            <a:off x="7322453" y="5560888"/>
            <a:ext cx="25936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b="1" dirty="0">
                <a:solidFill>
                  <a:srgbClr val="FF0000"/>
                </a:solidFill>
              </a:rPr>
              <a:t>Kompetence sester ?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AF6CC1A7-0CFC-C9C4-EE33-5F337F43A394}"/>
              </a:ext>
            </a:extLst>
          </p:cNvPr>
          <p:cNvSpPr txBox="1"/>
          <p:nvPr/>
        </p:nvSpPr>
        <p:spPr>
          <a:xfrm>
            <a:off x="9408356" y="246732"/>
            <a:ext cx="130780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9000" dirty="0">
                <a:solidFill>
                  <a:srgbClr val="FF0000"/>
                </a:solidFill>
                <a:latin typeface="Arial Black" panose="020B0A04020102020204" pitchFamily="34" charset="0"/>
              </a:rPr>
              <a:t>?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126BAC50-B611-EC46-12D9-D4E14D3E562E}"/>
              </a:ext>
            </a:extLst>
          </p:cNvPr>
          <p:cNvSpPr txBox="1"/>
          <p:nvPr/>
        </p:nvSpPr>
        <p:spPr>
          <a:xfrm>
            <a:off x="10421994" y="1579346"/>
            <a:ext cx="130780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9000" dirty="0">
                <a:solidFill>
                  <a:srgbClr val="FF0000"/>
                </a:solidFill>
                <a:latin typeface="Arial Black" panose="020B0A04020102020204" pitchFamily="34" charset="0"/>
              </a:rPr>
              <a:t>?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F5BACD1A-67E0-9621-55E7-522D6692BA0D}"/>
              </a:ext>
            </a:extLst>
          </p:cNvPr>
          <p:cNvSpPr txBox="1"/>
          <p:nvPr/>
        </p:nvSpPr>
        <p:spPr>
          <a:xfrm>
            <a:off x="10940904" y="3036395"/>
            <a:ext cx="130780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9000" dirty="0">
                <a:solidFill>
                  <a:srgbClr val="FF0000"/>
                </a:solidFill>
                <a:latin typeface="Arial Black" panose="020B0A04020102020204" pitchFamily="34" charset="0"/>
              </a:rPr>
              <a:t>?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A5CD3063-B9C9-E60E-EFCA-5CA35060EFDB}"/>
              </a:ext>
            </a:extLst>
          </p:cNvPr>
          <p:cNvSpPr txBox="1"/>
          <p:nvPr/>
        </p:nvSpPr>
        <p:spPr>
          <a:xfrm>
            <a:off x="10062258" y="4230728"/>
            <a:ext cx="130780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9000" dirty="0">
                <a:solidFill>
                  <a:srgbClr val="FF0000"/>
                </a:solidFill>
                <a:latin typeface="Arial Black" panose="020B0A04020102020204" pitchFamily="34" charset="0"/>
              </a:rPr>
              <a:t>?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02E5BF0D-D43A-4AE8-C95F-37B2A5A3E673}"/>
              </a:ext>
            </a:extLst>
          </p:cNvPr>
          <p:cNvSpPr txBox="1"/>
          <p:nvPr/>
        </p:nvSpPr>
        <p:spPr>
          <a:xfrm>
            <a:off x="9494878" y="5489589"/>
            <a:ext cx="130780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9000" dirty="0">
                <a:solidFill>
                  <a:srgbClr val="FF0000"/>
                </a:solidFill>
                <a:latin typeface="Arial Black" panose="020B0A04020102020204" pitchFamily="34" charset="0"/>
              </a:rPr>
              <a:t>?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59921596-142B-600F-8D16-E39FD36CA213}"/>
              </a:ext>
            </a:extLst>
          </p:cNvPr>
          <p:cNvSpPr txBox="1"/>
          <p:nvPr/>
        </p:nvSpPr>
        <p:spPr>
          <a:xfrm rot="19943138">
            <a:off x="7445626" y="2505146"/>
            <a:ext cx="2737688" cy="830997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400" b="1" dirty="0">
                <a:solidFill>
                  <a:schemeClr val="bg1"/>
                </a:solidFill>
              </a:rPr>
              <a:t>Zlepšení vykazování výkonů!</a:t>
            </a:r>
          </a:p>
        </p:txBody>
      </p:sp>
    </p:spTree>
    <p:extLst>
      <p:ext uri="{BB962C8B-B14F-4D97-AF65-F5344CB8AC3E}">
        <p14:creationId xmlns:p14="http://schemas.microsoft.com/office/powerpoint/2010/main" val="2340385300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ovéPole 1">
            <a:extLst>
              <a:ext uri="{FF2B5EF4-FFF2-40B4-BE49-F238E27FC236}">
                <a16:creationId xmlns:a16="http://schemas.microsoft.com/office/drawing/2014/main" id="{E113E048-C68C-3EB6-07D0-E6A2C7685573}"/>
              </a:ext>
            </a:extLst>
          </p:cNvPr>
          <p:cNvSpPr txBox="1"/>
          <p:nvPr/>
        </p:nvSpPr>
        <p:spPr>
          <a:xfrm>
            <a:off x="1502735" y="202013"/>
            <a:ext cx="918653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6000" b="1" dirty="0">
                <a:solidFill>
                  <a:schemeClr val="accent2">
                    <a:lumMod val="50000"/>
                  </a:schemeClr>
                </a:solidFill>
              </a:rPr>
              <a:t>Je naprosto nezbytné posílit vzdělávání v relevantních oborech a navýšit počet absolventů </a:t>
            </a:r>
          </a:p>
        </p:txBody>
      </p:sp>
      <p:sp>
        <p:nvSpPr>
          <p:cNvPr id="3" name="Šipka: dolů 2">
            <a:extLst>
              <a:ext uri="{FF2B5EF4-FFF2-40B4-BE49-F238E27FC236}">
                <a16:creationId xmlns:a16="http://schemas.microsoft.com/office/drawing/2014/main" id="{13C2496D-3FBA-80E7-B54D-96739A48E47F}"/>
              </a:ext>
            </a:extLst>
          </p:cNvPr>
          <p:cNvSpPr/>
          <p:nvPr/>
        </p:nvSpPr>
        <p:spPr>
          <a:xfrm>
            <a:off x="5199321" y="5135532"/>
            <a:ext cx="1892595" cy="627321"/>
          </a:xfrm>
          <a:prstGeom prst="downArrow">
            <a:avLst/>
          </a:prstGeom>
          <a:solidFill>
            <a:srgbClr val="23713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E262991C-1723-A47E-81A4-A34F22B727F3}"/>
              </a:ext>
            </a:extLst>
          </p:cNvPr>
          <p:cNvSpPr txBox="1"/>
          <p:nvPr/>
        </p:nvSpPr>
        <p:spPr>
          <a:xfrm>
            <a:off x="4814776" y="6039299"/>
            <a:ext cx="256244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600" b="1" dirty="0">
                <a:solidFill>
                  <a:srgbClr val="FF0000"/>
                </a:solidFill>
              </a:rPr>
              <a:t>Vyplatí se to?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7FC61AB7-0341-6ABB-9D78-A0CF9F558166}"/>
              </a:ext>
            </a:extLst>
          </p:cNvPr>
          <p:cNvSpPr txBox="1"/>
          <p:nvPr/>
        </p:nvSpPr>
        <p:spPr>
          <a:xfrm rot="18959743">
            <a:off x="8644917" y="3363662"/>
            <a:ext cx="25936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b="1" dirty="0">
                <a:solidFill>
                  <a:srgbClr val="FF0000"/>
                </a:solidFill>
              </a:rPr>
              <a:t>Počet školenců</a:t>
            </a:r>
          </a:p>
          <a:p>
            <a:pPr algn="ctr"/>
            <a:r>
              <a:rPr lang="cs-CZ" sz="2400" b="1" dirty="0">
                <a:solidFill>
                  <a:srgbClr val="FF0000"/>
                </a:solidFill>
              </a:rPr>
              <a:t>na školitele ??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F90B53EA-46B4-DDE7-608E-C08C0579BB19}"/>
              </a:ext>
            </a:extLst>
          </p:cNvPr>
          <p:cNvSpPr txBox="1"/>
          <p:nvPr/>
        </p:nvSpPr>
        <p:spPr>
          <a:xfrm rot="1673854">
            <a:off x="928009" y="3094949"/>
            <a:ext cx="259361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b="1" dirty="0">
                <a:solidFill>
                  <a:srgbClr val="FF0000"/>
                </a:solidFill>
              </a:rPr>
              <a:t>Podpora </a:t>
            </a:r>
            <a:r>
              <a:rPr lang="cs-CZ" sz="2400" b="1" dirty="0" err="1">
                <a:solidFill>
                  <a:srgbClr val="FF0000"/>
                </a:solidFill>
              </a:rPr>
              <a:t>gerontopsychiatrie</a:t>
            </a:r>
            <a:endParaRPr lang="cs-CZ" sz="2400" b="1" dirty="0">
              <a:solidFill>
                <a:srgbClr val="FF0000"/>
              </a:solidFill>
            </a:endParaRPr>
          </a:p>
          <a:p>
            <a:pPr algn="ctr"/>
            <a:r>
              <a:rPr lang="cs-CZ" sz="2400" b="1" dirty="0">
                <a:solidFill>
                  <a:srgbClr val="FF0000"/>
                </a:solidFill>
              </a:rPr>
              <a:t>Sexuolog</a:t>
            </a:r>
          </a:p>
          <a:p>
            <a:pPr algn="ctr"/>
            <a:r>
              <a:rPr lang="cs-CZ" sz="2400" b="1" dirty="0">
                <a:solidFill>
                  <a:srgbClr val="FF0000"/>
                </a:solidFill>
              </a:rPr>
              <a:t>….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9A6E3828-3C2C-FA82-0236-46E2667BE386}"/>
              </a:ext>
            </a:extLst>
          </p:cNvPr>
          <p:cNvSpPr txBox="1"/>
          <p:nvPr/>
        </p:nvSpPr>
        <p:spPr>
          <a:xfrm rot="1475089">
            <a:off x="467697" y="4932675"/>
            <a:ext cx="25936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b="1" dirty="0">
                <a:solidFill>
                  <a:srgbClr val="FF0000"/>
                </a:solidFill>
              </a:rPr>
              <a:t>Kurzy pro PL. PLDD, psychology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82DFE9A8-9A3E-5026-87AE-C6311064DB6E}"/>
              </a:ext>
            </a:extLst>
          </p:cNvPr>
          <p:cNvSpPr txBox="1"/>
          <p:nvPr/>
        </p:nvSpPr>
        <p:spPr>
          <a:xfrm rot="18959743">
            <a:off x="9247094" y="4792396"/>
            <a:ext cx="25936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b="1" dirty="0">
                <a:solidFill>
                  <a:srgbClr val="FF0000"/>
                </a:solidFill>
              </a:rPr>
              <a:t>Rezidenční místa</a:t>
            </a:r>
          </a:p>
        </p:txBody>
      </p:sp>
    </p:spTree>
    <p:extLst>
      <p:ext uri="{BB962C8B-B14F-4D97-AF65-F5344CB8AC3E}">
        <p14:creationId xmlns:p14="http://schemas.microsoft.com/office/powerpoint/2010/main" val="12411563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Tru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Fals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  <p:tag name="SLIDEFAB_SHAPECONDITIONMETACTIONDELETE" val="Fals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  <p:tag name="SLIDEFAB_RESIZEMODE" val="1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PSYCHO2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CC72"/>
      </a:accent1>
      <a:accent2>
        <a:srgbClr val="308297"/>
      </a:accent2>
      <a:accent3>
        <a:srgbClr val="FF7F72"/>
      </a:accent3>
      <a:accent4>
        <a:srgbClr val="3F55A6"/>
      </a:accent4>
      <a:accent5>
        <a:srgbClr val="F4C049"/>
      </a:accent5>
      <a:accent6>
        <a:srgbClr val="767171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9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4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4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5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4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5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6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7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8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9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0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PSYCHO22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CC72"/>
    </a:accent1>
    <a:accent2>
      <a:srgbClr val="308297"/>
    </a:accent2>
    <a:accent3>
      <a:srgbClr val="FF7F72"/>
    </a:accent3>
    <a:accent4>
      <a:srgbClr val="3F55A6"/>
    </a:accent4>
    <a:accent5>
      <a:srgbClr val="F4C049"/>
    </a:accent5>
    <a:accent6>
      <a:srgbClr val="767171"/>
    </a:accent6>
    <a:hlink>
      <a:srgbClr val="0563C1"/>
    </a:hlink>
    <a:folHlink>
      <a:srgbClr val="954F72"/>
    </a:folHlink>
  </a:clrScheme>
</a:themeOverride>
</file>

<file path=ppt/theme/themeOverride7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81</TotalTime>
  <Words>12140</Words>
  <Application>Microsoft Office PowerPoint</Application>
  <PresentationFormat>Širokoúhlá obrazovka</PresentationFormat>
  <Paragraphs>3862</Paragraphs>
  <Slides>102</Slides>
  <Notes>57</Notes>
  <HiddenSlides>0</HiddenSlides>
  <MMClips>0</MMClips>
  <ScaleCrop>false</ScaleCrop>
  <HeadingPairs>
    <vt:vector size="6" baseType="variant">
      <vt:variant>
        <vt:lpstr>Použitá písma</vt:lpstr>
      </vt:variant>
      <vt:variant>
        <vt:i4>11</vt:i4>
      </vt:variant>
      <vt:variant>
        <vt:lpstr>Motiv</vt:lpstr>
      </vt:variant>
      <vt:variant>
        <vt:i4>8</vt:i4>
      </vt:variant>
      <vt:variant>
        <vt:lpstr>Nadpisy snímků</vt:lpstr>
      </vt:variant>
      <vt:variant>
        <vt:i4>102</vt:i4>
      </vt:variant>
    </vt:vector>
  </HeadingPairs>
  <TitlesOfParts>
    <vt:vector size="121" baseType="lpstr">
      <vt:lpstr>Algerian</vt:lpstr>
      <vt:lpstr>Arial</vt:lpstr>
      <vt:lpstr>Arial Black</vt:lpstr>
      <vt:lpstr>Arial CE</vt:lpstr>
      <vt:lpstr>Calibri</vt:lpstr>
      <vt:lpstr>Calibri Light</vt:lpstr>
      <vt:lpstr>Source Sans Pro</vt:lpstr>
      <vt:lpstr>Symbol</vt:lpstr>
      <vt:lpstr>Times New Roman</vt:lpstr>
      <vt:lpstr>Trebuchet MS</vt:lpstr>
      <vt:lpstr>Wingdings</vt:lpstr>
      <vt:lpstr>Motiv Office</vt:lpstr>
      <vt:lpstr>9_Motiv Office</vt:lpstr>
      <vt:lpstr>1_Motiv Office</vt:lpstr>
      <vt:lpstr>2_Motiv Office</vt:lpstr>
      <vt:lpstr>3_Motiv Office</vt:lpstr>
      <vt:lpstr>14_Motiv Office</vt:lpstr>
      <vt:lpstr>4_Motiv Office</vt:lpstr>
      <vt:lpstr>5_Motiv Office</vt:lpstr>
      <vt:lpstr>Prezentace aplikace PowerPoint</vt:lpstr>
      <vt:lpstr>Analytické studie programu Zdraví 2030: Národní informační systém pro psychiatrii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Analytické studie programu Zdraví 2030: Národní informační systém pro psychiatrii</vt:lpstr>
      <vt:lpstr>Celkový počet pacientů s psychiatrickou péčí: ČR</vt:lpstr>
      <vt:lpstr>Celkový počet pacientů s psychiatrickou péčí: Praha</vt:lpstr>
      <vt:lpstr>Celkový počet pacientů s psychiatrickou péčí: Praha a Středočeský kraj</vt:lpstr>
      <vt:lpstr>Celkový počet pacientů s psychiatrickou péčí</vt:lpstr>
      <vt:lpstr>Celkový počet dětí a mladistvých s psychiatrickou péčí</vt:lpstr>
      <vt:lpstr>Celkový počet pacientů 20–64 let s psychiatrickou péčí</vt:lpstr>
      <vt:lpstr>Celkový počet pacientů 65+ let s psychiatrickou péčí</vt:lpstr>
      <vt:lpstr>Pacienti s vybranými psychiatrickými onemocněními na 100 000 obyvatel</vt:lpstr>
      <vt:lpstr>Pacienti s vybranými psychiatrickými onemocněními na 100 000 obyvatel</vt:lpstr>
      <vt:lpstr>Praha: vývoj počtu dětí a mladistvých s psychiatrickou péčí</vt:lpstr>
      <vt:lpstr>Praha: počet dětí a mladistvých s psychiatrickou péčí pro vybrané diagnózy</vt:lpstr>
      <vt:lpstr>Praha: počet dětí a mladistvých s psychiatrickou péčí pro vybrané diagnózy</vt:lpstr>
      <vt:lpstr>Praha: vývoj počtu pacientů ve věku 20 – 64 let s psychiatrickou péčí</vt:lpstr>
      <vt:lpstr>Praha: vývoj počtu pacientů ve věku 65+ let s psychiatrickou péčí</vt:lpstr>
      <vt:lpstr>Analytické studie programu Zdraví 2030: Národní informační systém pro psychiatrii</vt:lpstr>
      <vt:lpstr>Sebevražednost dětí a mladistvých </vt:lpstr>
      <vt:lpstr>Sebevražednost osob 20–64 let </vt:lpstr>
      <vt:lpstr>Sebevražednost osob 65+ let </vt:lpstr>
      <vt:lpstr>Hospitalizace po pokusu o sebevraždu dětí a mladistvých </vt:lpstr>
      <vt:lpstr>Hospitalizace po pokusu o sebevraždu pacientů 20–64 let </vt:lpstr>
      <vt:lpstr>Hospitalizace po pokusu o sebevraždu pacientů 65+ let </vt:lpstr>
      <vt:lpstr>Analytické studie programu Zdraví 2030: Národní informační systém pro psychiatrii</vt:lpstr>
      <vt:lpstr>Prezentace aplikace PowerPoint</vt:lpstr>
      <vt:lpstr>Věková struktura obyvatelstva HMP a její očekávaný vývoj</vt:lpstr>
      <vt:lpstr>Praha: statistická predikce prevalence vybraných chorob do roku 2030</vt:lpstr>
      <vt:lpstr>Počet živě narozených v HMP a predikované počty do roku 2070 </vt:lpstr>
      <vt:lpstr>Psychiatrické diagnózy - ČR: predikce možného vývoje populační zátěže</vt:lpstr>
      <vt:lpstr>Psychiatrické diagnózy - Praha: predikce možného vývoje populační zátěže</vt:lpstr>
      <vt:lpstr>Úhrady související s F diagnózami: populace ČR</vt:lpstr>
      <vt:lpstr>Úhrady související s F diagnózami: populace Praha</vt:lpstr>
      <vt:lpstr>Analytické studie programu Zdraví 2030: Národní informační systém pro psychiatrii</vt:lpstr>
      <vt:lpstr>Praha: psychiatričtí pacienti v péči praktických lékařů</vt:lpstr>
      <vt:lpstr>Praha: psychiatričtí pacienti v péči klinických psychologů</vt:lpstr>
      <vt:lpstr>Přehled celkového počtů pracovníků se vzděláním pro péči o duševní zdraví v ČR</vt:lpstr>
      <vt:lpstr>Přehled celkového počtů pracovníků se vzděláním pro péči o duševní zdraví v Praze</vt:lpstr>
      <vt:lpstr>Věk a pohlaví aktivních lékařů se specializací „Psychiatrie“ v ČR</vt:lpstr>
      <vt:lpstr>Věk a pohlaví aktivních lékařů se specializací „Dětská a dorostová psychiatrie“ v ČR</vt:lpstr>
      <vt:lpstr>Psychiatři aktivní v roce 2023 podle věku a pohlaví v Praze</vt:lpstr>
      <vt:lpstr>Ambulantní dětští psychiatři aktivní v roce 2023 dle věku a pohlaví: Praha</vt:lpstr>
      <vt:lpstr>Úvazky lékařů v ambulantních zařízeních na 100 tis. obyvatel v r. 2023</vt:lpstr>
      <vt:lpstr>Úvazky lékařů na 100 tis. obyvatel v r. 2023</vt:lpstr>
      <vt:lpstr>Počet lékařských služeb dle druhu zařízení v Praze</vt:lpstr>
      <vt:lpstr>Rozložení kapacit není mezi městskými částmi rovnoměrné</vt:lpstr>
      <vt:lpstr>Dynamika počtu psychiatrických ordinací pro děti i dospělé (2018-2023)</vt:lpstr>
      <vt:lpstr>Dynamika počtu psychiatrických ordinací pro děti i dospělé (2018-2023)</vt:lpstr>
      <vt:lpstr>Prezentace aplikace PowerPoint</vt:lpstr>
      <vt:lpstr>Přehled celkového počtů pracovníků vybraných specializací v ČR</vt:lpstr>
      <vt:lpstr>Přehled celkového počtů pracovníků vybraných specializací v Praze </vt:lpstr>
      <vt:lpstr>Analytické studie programu Zdraví 2030: Národní informační systém pro psychiatrii</vt:lpstr>
      <vt:lpstr>Počet zařízení a počet nasmlouvaných lůžek v krajích</vt:lpstr>
      <vt:lpstr>Počet nasmlouvaných lůžek v krajích</vt:lpstr>
      <vt:lpstr>Dlouhodobý trend objemu akutní lůžkové péče: hospitalizace u dětí - ČR</vt:lpstr>
      <vt:lpstr>Dlouhodobý trend objemu akutní lůžkové péče: hospitalizace u dětí - Praha</vt:lpstr>
      <vt:lpstr>Dlouhodobý trend objemu následné a dlouhodobé lůžkové péče: hospitalizace u dětí - ČR</vt:lpstr>
      <vt:lpstr>Dlouhodobý trend objemu následné a dlouhodobé lůžkové péče: hospitalizace u dětí - Praha</vt:lpstr>
      <vt:lpstr>Dlouhodobý trend objemu akutní lůžkové péče - ČR</vt:lpstr>
      <vt:lpstr>Dlouhodobý trend objemu akutní lůžkové péče - Praha</vt:lpstr>
      <vt:lpstr>Dlouhodobý trend objemu následné a dlouhodobé lůžkové péče - ČR</vt:lpstr>
      <vt:lpstr>Dlouhodobý trend objemu následné a dlouhodobé lůžkové péče - Praha</vt:lpstr>
      <vt:lpstr>Délka hospitalizací následné a dlouhodobé péče – ČR (2023)</vt:lpstr>
      <vt:lpstr>Délky hospitalizací následné a dlouhodobé péče – Praha (2023)</vt:lpstr>
      <vt:lpstr>Délky hospitalizací akutní péče – ČR (2023)</vt:lpstr>
      <vt:lpstr>Délky hospitalizací akutní péče – Praha (2023)</vt:lpstr>
      <vt:lpstr>Délky hospitalizací následné a dlouhodobé péče – ČR (2023)</vt:lpstr>
      <vt:lpstr>Délky hospitalizací následné a dlouhodobé péče – Praha (2023)</vt:lpstr>
      <vt:lpstr>Hospitalizace u dlouhodobé a následné hospitalizace delší jak 365 dní – ČR</vt:lpstr>
      <vt:lpstr>Hospitalizace u dlouhodobé a následné hospitalizace delší jak 365 dní - Praha</vt:lpstr>
      <vt:lpstr>Dlouhodobé psychiatrické hospitalizace delší jak 365 dní</vt:lpstr>
      <vt:lpstr>Analytické studie programu Zdraví 2030: Národní informační systém pro psychiatrii</vt:lpstr>
      <vt:lpstr>Pacienti zdravotnických zařízení odb. psychiatrie v hl. městě Praze</vt:lpstr>
      <vt:lpstr>Pacienti HMP s psychiatrickou péčí pro vybrané diagnózy dle kraje ZZ</vt:lpstr>
      <vt:lpstr>Analytické studie programu Zdraví 2030: Národní informační systém pro psychiatrii</vt:lpstr>
      <vt:lpstr>Prezentace aplikace PowerPoint</vt:lpstr>
      <vt:lpstr>Obsah a časová dostupnost dat</vt:lpstr>
      <vt:lpstr>ČR: Počet pacientů v pobytových sociálních službách s psychiatrickou diagnózou</vt:lpstr>
      <vt:lpstr>Praha: Počet pacientů v pobytových sociálních službách s psychiatrickou dg.</vt:lpstr>
      <vt:lpstr>Schizofrenie‚ poruchy schizotypální a poruchy s bludy: charakteristika pacientů (2023)</vt:lpstr>
      <vt:lpstr>Schizofrenie‚ poruchy schizotypální a poruchy s bludy: typologie ekonomické aktivity</vt:lpstr>
      <vt:lpstr>Schizofrenie‚ poruchy schizotypální a poruchy s bludy: pobíraný důchod</vt:lpstr>
      <vt:lpstr>Pracovní neschopnost: přehled nejčastějších příčin v roce 2023 (věk 20-64 let)</vt:lpstr>
      <vt:lpstr>Analytické studie programu Zdraví 2030: Národní informační systém pro psychiatrii</vt:lpstr>
      <vt:lpstr>Prezentace aplikace PowerPoint</vt:lpstr>
      <vt:lpstr>Analytické studie programu Zdraví 2030: Národní informační systém pro psychiatrii</vt:lpstr>
      <vt:lpstr>Prezentace aplikace PowerPoint</vt:lpstr>
      <vt:lpstr>Prezentace aplikace PowerPoint</vt:lpstr>
      <vt:lpstr>Získané specializované/odborné způsobilosti v péči o duševní zdraví podle NRZP </vt:lpstr>
      <vt:lpstr>Absolventi/uznané odbornosti/specializace z let 2012–2022 a jejich stav zaměstnání k 31. 9. 2023 </vt:lpstr>
      <vt:lpstr>Prezentace aplikace PowerPoint</vt:lpstr>
    </vt:vector>
  </TitlesOfParts>
  <Company>Office365 deplo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Koptíková Jana Mgr. Ph.D.</dc:creator>
  <cp:lastModifiedBy>Dušek Ladislav prof. RNDr. Ph.D.</cp:lastModifiedBy>
  <cp:revision>107</cp:revision>
  <dcterms:created xsi:type="dcterms:W3CDTF">2023-01-16T09:24:06Z</dcterms:created>
  <dcterms:modified xsi:type="dcterms:W3CDTF">2024-10-30T05:53:15Z</dcterms:modified>
</cp:coreProperties>
</file>